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2"/>
  </p:notesMasterIdLst>
  <p:sldIdLst>
    <p:sldId id="2147481388" r:id="rId2"/>
    <p:sldId id="2147481409" r:id="rId3"/>
    <p:sldId id="258" r:id="rId4"/>
    <p:sldId id="259" r:id="rId5"/>
    <p:sldId id="261" r:id="rId6"/>
    <p:sldId id="2147481394" r:id="rId7"/>
    <p:sldId id="270" r:id="rId8"/>
    <p:sldId id="2147481365" r:id="rId9"/>
    <p:sldId id="2147481370" r:id="rId10"/>
    <p:sldId id="2147481368" r:id="rId11"/>
    <p:sldId id="2147481369" r:id="rId12"/>
    <p:sldId id="2147481371" r:id="rId13"/>
    <p:sldId id="2147481395" r:id="rId14"/>
    <p:sldId id="2147481378" r:id="rId15"/>
    <p:sldId id="2147481379" r:id="rId16"/>
    <p:sldId id="2147481380" r:id="rId17"/>
    <p:sldId id="2147481382" r:id="rId18"/>
    <p:sldId id="2147481398" r:id="rId19"/>
    <p:sldId id="2147481356" r:id="rId20"/>
    <p:sldId id="2147481376" r:id="rId21"/>
    <p:sldId id="2147481404" r:id="rId22"/>
    <p:sldId id="2147481403" r:id="rId23"/>
    <p:sldId id="2147481372" r:id="rId24"/>
    <p:sldId id="2147481400" r:id="rId25"/>
    <p:sldId id="2147481383" r:id="rId26"/>
    <p:sldId id="2147481384" r:id="rId27"/>
    <p:sldId id="263" r:id="rId28"/>
    <p:sldId id="280" r:id="rId29"/>
    <p:sldId id="2147481392" r:id="rId30"/>
    <p:sldId id="265" r:id="rId31"/>
  </p:sldIdLst>
  <p:sldSz cx="12192000" cy="6858000"/>
  <p:notesSz cx="6858000" cy="9144000"/>
  <p:embeddedFontLst>
    <p:embeddedFont>
      <p:font typeface="Akrobat Black" panose="00000A00000000000000" charset="-52"/>
      <p:bold r:id="rId33"/>
    </p:embeddedFont>
    <p:embeddedFont>
      <p:font typeface="Akrobat Light" panose="00000500000000000000" charset="-52"/>
      <p:regular r:id="rId34"/>
    </p:embeddedFont>
    <p:embeddedFont>
      <p:font typeface="Akrobat SemiBold" panose="00000700000000000000" charset="-52"/>
      <p:bold r:id="rId35"/>
    </p:embeddedFont>
  </p:embeddedFont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озділ за замовчуванням" id="{993FB7D3-36B9-4130-89D6-975880FD3BA1}">
          <p14:sldIdLst>
            <p14:sldId id="2147481388"/>
          </p14:sldIdLst>
        </p14:section>
        <p14:section name="Блок №1. Представлення" id="{90B2735A-E50C-4149-98F6-BDC1C97CB714}">
          <p14:sldIdLst>
            <p14:sldId id="2147481409"/>
            <p14:sldId id="258"/>
            <p14:sldId id="259"/>
            <p14:sldId id="261"/>
          </p14:sldIdLst>
        </p14:section>
        <p14:section name="Виклики" id="{271889F8-8FEE-4D35-9C6C-F20410CDE458}">
          <p14:sldIdLst>
            <p14:sldId id="2147481394"/>
            <p14:sldId id="270"/>
            <p14:sldId id="2147481365"/>
            <p14:sldId id="2147481370"/>
            <p14:sldId id="2147481368"/>
            <p14:sldId id="2147481369"/>
            <p14:sldId id="2147481371"/>
            <p14:sldId id="2147481395"/>
            <p14:sldId id="2147481378"/>
            <p14:sldId id="2147481379"/>
            <p14:sldId id="2147481380"/>
            <p14:sldId id="2147481382"/>
            <p14:sldId id="2147481398"/>
            <p14:sldId id="2147481356"/>
            <p14:sldId id="2147481376"/>
            <p14:sldId id="2147481404"/>
            <p14:sldId id="2147481403"/>
            <p14:sldId id="2147481372"/>
            <p14:sldId id="2147481400"/>
            <p14:sldId id="2147481383"/>
            <p14:sldId id="2147481384"/>
            <p14:sldId id="263"/>
            <p14:sldId id="280"/>
            <p14:sldId id="2147481392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orient="horz" pos="3929" userDrawn="1">
          <p15:clr>
            <a:srgbClr val="A4A3A4"/>
          </p15:clr>
        </p15:guide>
        <p15:guide id="4" pos="7287" userDrawn="1">
          <p15:clr>
            <a:srgbClr val="A4A3A4"/>
          </p15:clr>
        </p15:guide>
        <p15:guide id="5" orient="horz" pos="9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A1A"/>
    <a:srgbClr val="000000"/>
    <a:srgbClr val="1E1E1E"/>
    <a:srgbClr val="E9A82A"/>
    <a:srgbClr val="F2F2F2"/>
    <a:srgbClr val="2B6AE9"/>
    <a:srgbClr val="404040"/>
    <a:srgbClr val="DED4F6"/>
    <a:srgbClr val="0E9169"/>
    <a:srgbClr val="064E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30" autoAdjust="0"/>
    <p:restoredTop sz="95482" autoAdjust="0"/>
  </p:normalViewPr>
  <p:slideViewPr>
    <p:cSldViewPr snapToGrid="0" showGuides="1">
      <p:cViewPr varScale="1">
        <p:scale>
          <a:sx n="108" d="100"/>
          <a:sy n="108" d="100"/>
        </p:scale>
        <p:origin x="1614" y="-1038"/>
      </p:cViewPr>
      <p:guideLst>
        <p:guide orient="horz" pos="414"/>
        <p:guide pos="393"/>
        <p:guide orient="horz" pos="3929"/>
        <p:guide pos="7287"/>
        <p:guide orient="horz" pos="935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1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3.fntdata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krobat Light" panose="00000500000000000000" pitchFamily="50" charset="-52"/>
              </a:defRPr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krobat Light" panose="00000500000000000000" pitchFamily="50" charset="-52"/>
              </a:defRPr>
            </a:lvl1pPr>
          </a:lstStyle>
          <a:p>
            <a:fld id="{776B2050-915C-433E-BDC6-A2B67202639F}" type="datetimeFigureOut">
              <a:rPr lang="uk-UA" smtClean="0"/>
              <a:pPr/>
              <a:t>28.10.2024</a:t>
            </a:fld>
            <a:endParaRPr lang="uk-UA" dirty="0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 dirty="0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dirty="0"/>
              <a:t>Клацніть, щоб відредагувати стилі зразків тексту</a:t>
            </a:r>
          </a:p>
          <a:p>
            <a:pPr lvl="1"/>
            <a:r>
              <a:rPr lang="uk-UA" dirty="0"/>
              <a:t>Другий рівень</a:t>
            </a:r>
          </a:p>
          <a:p>
            <a:pPr lvl="2"/>
            <a:r>
              <a:rPr lang="uk-UA" dirty="0"/>
              <a:t>Третій рівень</a:t>
            </a:r>
          </a:p>
          <a:p>
            <a:pPr lvl="3"/>
            <a:r>
              <a:rPr lang="uk-UA" dirty="0"/>
              <a:t>Четвертий рівень</a:t>
            </a:r>
          </a:p>
          <a:p>
            <a:pPr lvl="4"/>
            <a:r>
              <a:rPr lang="uk-UA" dirty="0"/>
              <a:t>П’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krobat Light" panose="00000500000000000000" pitchFamily="50" charset="-52"/>
              </a:defRPr>
            </a:lvl1pPr>
          </a:lstStyle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krobat Light" panose="00000500000000000000" pitchFamily="50" charset="-52"/>
              </a:defRPr>
            </a:lvl1pPr>
          </a:lstStyle>
          <a:p>
            <a:fld id="{8E9D7791-29FC-46EF-AB21-9C96135B7F9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77348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krobat Light" panose="00000500000000000000" pitchFamily="50" charset="-5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krobat Light" panose="00000500000000000000" pitchFamily="50" charset="-5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krobat Light" panose="00000500000000000000" pitchFamily="50" charset="-5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krobat Light" panose="00000500000000000000" pitchFamily="50" charset="-5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krobat Light" panose="00000500000000000000" pitchFamily="50" charset="-5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dirty="0"/>
              <a:t>Що за формат?</a:t>
            </a:r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499408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200" dirty="0"/>
              <a:t>- Як виявити? </a:t>
            </a:r>
          </a:p>
          <a:p>
            <a:r>
              <a:rPr lang="uk-UA" sz="1200" dirty="0"/>
              <a:t>- Як зрозуміти, що покращити?</a:t>
            </a:r>
            <a:br>
              <a:rPr lang="en-US" sz="1200" dirty="0"/>
            </a:br>
            <a:br>
              <a:rPr lang="en-US" sz="1200" dirty="0"/>
            </a:br>
            <a:r>
              <a:rPr lang="uk-UA" sz="1200" dirty="0"/>
              <a:t>Гарантую, що кожен хто спробує – побачить дуже багато цікавого та відкриє для себе щось нове.    </a:t>
            </a:r>
          </a:p>
          <a:p>
            <a:endParaRPr lang="uk-UA" sz="1200" dirty="0"/>
          </a:p>
          <a:p>
            <a:r>
              <a:rPr lang="uk-UA" sz="1200" dirty="0"/>
              <a:t>-      Як облаштована каса? В якому місці розташований грошовий бокс, реєстратор розрахункових операцій тощо?  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На скільки зручно видавати решту? Чи є розмінна монета? Як спростити роботу та підвищити швидкість обслуговування? 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На скільки зручно працювати з поповненням полиць? Лотки для рибної вітрини однакового розміру, при цьому продаж оселедця </a:t>
            </a:r>
            <a:r>
              <a:rPr lang="uk-UA" sz="1200" dirty="0" err="1"/>
              <a:t>слабосоленого</a:t>
            </a:r>
            <a:r>
              <a:rPr lang="uk-UA" sz="1200" dirty="0"/>
              <a:t> може сягати до 40 % від всієї рибної вітрини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На скільки зручно працювати з поповненням полиць? </a:t>
            </a:r>
            <a:r>
              <a:rPr lang="uk-UA" sz="1200" b="1" dirty="0"/>
              <a:t>Задіяли ТЗД з подальшим роздрукуванням завдання на </a:t>
            </a:r>
            <a:r>
              <a:rPr lang="uk-UA" sz="1200" b="1" dirty="0" err="1"/>
              <a:t>термопринтер</a:t>
            </a:r>
            <a:r>
              <a:rPr lang="uk-UA" sz="1200" b="1" dirty="0"/>
              <a:t> на касову стрічку  </a:t>
            </a:r>
          </a:p>
          <a:p>
            <a:pPr marL="285750" indent="-285750">
              <a:buFontTx/>
              <a:buChar char="-"/>
            </a:pPr>
            <a:endParaRPr lang="uk-UA" sz="1200" dirty="0"/>
          </a:p>
          <a:p>
            <a:endParaRPr lang="uk-UA" sz="1200" dirty="0"/>
          </a:p>
          <a:p>
            <a:r>
              <a:rPr lang="uk-UA" sz="1200" dirty="0"/>
              <a:t>Така робота має носити системний характер. </a:t>
            </a:r>
          </a:p>
          <a:p>
            <a:endParaRPr lang="uk-UA" sz="1200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2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68917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uk-UA" sz="1200" dirty="0"/>
              <a:t>Друк білих цінників на аркушах паперу А-4 та ручне вирізання їх ножицями; 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Додані кольорові цінники (кольоровий папір)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Відмовились від кольорового паперу, замінили прозорими кольоровими пластиковими накладками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Відмовились від звичайного паперу формату А-4 та пластикових накладок замінив на касову стрічку та </a:t>
            </a:r>
            <a:r>
              <a:rPr lang="uk-UA" sz="1200" dirty="0" err="1"/>
              <a:t>термопринтер</a:t>
            </a:r>
            <a:r>
              <a:rPr lang="uk-UA" sz="1200" dirty="0"/>
              <a:t> з автоматичним </a:t>
            </a:r>
            <a:r>
              <a:rPr lang="uk-UA" sz="1200" dirty="0" err="1"/>
              <a:t>автообрізанням</a:t>
            </a:r>
            <a:r>
              <a:rPr lang="uk-UA" sz="1200" dirty="0"/>
              <a:t> в безпосередній близькості до торгівельного залу  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2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516092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200" dirty="0"/>
              <a:t>Стандартний підхід: проаналізувати процес, причини виникнення, покращити безпеку – збільшити  кількість охоронців, інвестувати у охоронні системи і </a:t>
            </a:r>
            <a:r>
              <a:rPr lang="uk-UA" sz="1200" dirty="0" err="1"/>
              <a:t>т.д</a:t>
            </a:r>
            <a:r>
              <a:rPr lang="uk-UA" sz="1200" dirty="0"/>
              <a:t>. </a:t>
            </a:r>
          </a:p>
          <a:p>
            <a:endParaRPr lang="uk-UA" sz="1200" dirty="0"/>
          </a:p>
          <a:p>
            <a:r>
              <a:rPr lang="uk-UA" sz="1200" dirty="0"/>
              <a:t>Який результат очікуємо? </a:t>
            </a:r>
          </a:p>
          <a:p>
            <a:endParaRPr lang="uk-UA" sz="1200" dirty="0"/>
          </a:p>
          <a:p>
            <a:r>
              <a:rPr lang="uk-UA" sz="1200" dirty="0"/>
              <a:t>На скільки зменшимо втрати?</a:t>
            </a:r>
          </a:p>
          <a:p>
            <a:endParaRPr lang="uk-UA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200" dirty="0"/>
              <a:t>І саме головне питання: «Якою ціною?»</a:t>
            </a:r>
            <a:br>
              <a:rPr lang="uk-UA" sz="1200" dirty="0"/>
            </a:br>
            <a:br>
              <a:rPr lang="uk-UA" sz="1200" dirty="0"/>
            </a:br>
            <a:r>
              <a:rPr lang="uk-UA" sz="1200" dirty="0"/>
              <a:t>Рішення: відмовитись від класичної охорони взагалі, яка б коштувала приблизно 1 % від ТО + додаткові інвестиції </a:t>
            </a:r>
          </a:p>
          <a:p>
            <a:endParaRPr lang="uk-UA" sz="1200" dirty="0"/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2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541545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200" dirty="0"/>
              <a:t> </a:t>
            </a:r>
            <a:r>
              <a:rPr lang="ru-RU" sz="1200" dirty="0"/>
              <a:t>В</a:t>
            </a:r>
            <a:r>
              <a:rPr lang="uk-UA" sz="1200" dirty="0" err="1"/>
              <a:t>икористання</a:t>
            </a:r>
            <a:r>
              <a:rPr lang="uk-UA" sz="1200" dirty="0"/>
              <a:t> тендерної платформи дозволяє не втрачаючи у якості суттєво зменшити витрати</a:t>
            </a:r>
          </a:p>
          <a:p>
            <a:endParaRPr lang="uk-UA" sz="1200" dirty="0"/>
          </a:p>
          <a:p>
            <a:r>
              <a:rPr lang="uk-UA" sz="1200" dirty="0"/>
              <a:t>Запустили в цьому році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2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96839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200" b="1" dirty="0"/>
              <a:t>(співробітнику магазину не потрібно знати хто відповідає за конкретне питання, система самостійно надсилає запит відповідальній особі)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07995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uk-UA" sz="1200" i="1" dirty="0"/>
              <a:t>Як приклад: мав особистий досвід роботи на державній службі, в перший робочий день дали купу регламентуючих документів, інструкцій, наказів. Для того, щоб тільки полистати та підписати їх про ознайомлення мені знадобилось біля трьох годин, при цьому мене вже чекали, щоб я скоріше приступив до виконання службових обов’язків. Звісно, що я так їх і не прочитав. </a:t>
            </a:r>
            <a:r>
              <a:rPr lang="uk-UA" sz="1200" b="1" i="1" dirty="0"/>
              <a:t>За 3 роки на державній службі мені знадобилось максимум 5-10 % тієї інформації, з якою я повинен був ознайомитись. </a:t>
            </a:r>
            <a:br>
              <a:rPr lang="en-US" sz="1200" b="1" i="1" dirty="0"/>
            </a:br>
            <a:br>
              <a:rPr lang="en-US" sz="1200" b="1" i="1" dirty="0"/>
            </a:br>
            <a:r>
              <a:rPr lang="uk-UA" sz="1200" dirty="0"/>
              <a:t>створена єдина база всіх регламентуючих документів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відмовились від стандартних інструкцій та регламентів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всі документи спрощенні для сприйняття (менше тексту, більше візуалізації)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співробітникам потрібно знати лише те, що дійсно знадобиться під час виконання функціональних обов’язків </a:t>
            </a:r>
          </a:p>
          <a:p>
            <a:pPr marL="285750" indent="-285750">
              <a:buFontTx/>
              <a:buChar char="-"/>
            </a:pPr>
            <a:r>
              <a:rPr lang="uk-UA" sz="1200" dirty="0"/>
              <a:t>навчання через доволі короткий теоретичний курс та наставництво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200" b="1" i="1" dirty="0"/>
              <a:t>      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0532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200" dirty="0"/>
              <a:t>Як приклад: доволі часто на співбесідах я чую, що показниками за якими оцінювали кандидата на попередньому місці роботи є виконання планового товарообігу, маржинального доходу, плану витрат чи наприклад </a:t>
            </a:r>
            <a:r>
              <a:rPr lang="en-US" sz="1200" dirty="0"/>
              <a:t>EBITDA</a:t>
            </a:r>
            <a:r>
              <a:rPr lang="uk-UA" sz="1200" dirty="0"/>
              <a:t>. При цьому, зазвичай не має розуміння як безпосередньо вони впливали на той чи інший показник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uk-UA" sz="1200" dirty="0"/>
          </a:p>
          <a:p>
            <a:endParaRPr lang="uk-UA" sz="1200" i="1" dirty="0"/>
          </a:p>
          <a:p>
            <a:r>
              <a:rPr lang="uk-UA" sz="1200" b="1" i="1" dirty="0"/>
              <a:t>Ми розробили загальний та регіональний рейтинг мережі, де відслідковуються лише ті показники на які вони мають вплив.</a:t>
            </a:r>
          </a:p>
          <a:p>
            <a:endParaRPr lang="uk-UA" sz="1200" i="1" dirty="0"/>
          </a:p>
          <a:p>
            <a:r>
              <a:rPr lang="uk-UA" sz="1200" i="1" dirty="0"/>
              <a:t>Такі рейтинги не впливають на розмір ЗП, проте дозволяють відслідковувати виконання операційних стандартів.</a:t>
            </a:r>
          </a:p>
          <a:p>
            <a:endParaRPr lang="uk-UA" sz="1200" i="1" dirty="0"/>
          </a:p>
          <a:p>
            <a:r>
              <a:rPr lang="uk-UA" sz="1200" i="1" dirty="0"/>
              <a:t>Але певні заохочення за високі на низькі досягнення є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uk-UA" sz="1200" dirty="0"/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91559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dirty="0"/>
              <a:t>1. Багатоступеневе планування, бюджетування</a:t>
            </a:r>
          </a:p>
          <a:p>
            <a:endParaRPr lang="uk-UA" sz="1200" dirty="0"/>
          </a:p>
          <a:p>
            <a:r>
              <a:rPr lang="uk-UA" sz="1200" dirty="0"/>
              <a:t>Бюджет – необхідність:</a:t>
            </a:r>
          </a:p>
          <a:p>
            <a:r>
              <a:rPr lang="uk-UA" sz="1200" dirty="0"/>
              <a:t> - фінансове планування;</a:t>
            </a:r>
          </a:p>
          <a:p>
            <a:r>
              <a:rPr lang="uk-UA" sz="1200" dirty="0"/>
              <a:t> - контроль витрат;</a:t>
            </a:r>
          </a:p>
          <a:p>
            <a:r>
              <a:rPr lang="uk-UA" sz="1200" dirty="0"/>
              <a:t> - прийняття обґрунтованих рішень;</a:t>
            </a:r>
          </a:p>
          <a:p>
            <a:r>
              <a:rPr lang="uk-UA" sz="1200" dirty="0"/>
              <a:t> - оцінка результативності;</a:t>
            </a:r>
          </a:p>
          <a:p>
            <a:r>
              <a:rPr lang="uk-UA" sz="1200" dirty="0"/>
              <a:t> - визначення пріоритетності.</a:t>
            </a:r>
          </a:p>
          <a:p>
            <a:endParaRPr lang="uk-UA" sz="1200" dirty="0"/>
          </a:p>
          <a:p>
            <a:r>
              <a:rPr lang="uk-UA" sz="1200" dirty="0"/>
              <a:t>Планування на всіх рівнях:</a:t>
            </a:r>
          </a:p>
          <a:p>
            <a:r>
              <a:rPr lang="uk-UA" sz="1200" dirty="0"/>
              <a:t> - компанії;</a:t>
            </a:r>
          </a:p>
          <a:p>
            <a:r>
              <a:rPr lang="uk-UA" sz="1200" dirty="0"/>
              <a:t> - департаментів;</a:t>
            </a:r>
          </a:p>
          <a:p>
            <a:r>
              <a:rPr lang="uk-UA" sz="1200" dirty="0"/>
              <a:t> - магазину.  </a:t>
            </a:r>
          </a:p>
          <a:p>
            <a:endParaRPr lang="uk-UA" sz="1200" dirty="0"/>
          </a:p>
          <a:p>
            <a:endParaRPr lang="uk-UA" sz="1200" dirty="0"/>
          </a:p>
          <a:p>
            <a:endParaRPr lang="ru-UA" sz="1200" dirty="0"/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36318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sz="1200" dirty="0"/>
          </a:p>
          <a:p>
            <a:r>
              <a:rPr lang="uk-UA" sz="1200" dirty="0"/>
              <a:t>Це те, що перетворить звичайні дані в цінну інформацію.</a:t>
            </a:r>
          </a:p>
          <a:p>
            <a:endParaRPr lang="uk-UA" sz="1200" dirty="0"/>
          </a:p>
          <a:p>
            <a:r>
              <a:rPr lang="uk-UA" sz="1200" dirty="0"/>
              <a:t>Дозволяє не тільки контролювати та </a:t>
            </a:r>
            <a:r>
              <a:rPr lang="uk-UA" sz="1200" dirty="0" err="1"/>
              <a:t>моніторити</a:t>
            </a:r>
            <a:r>
              <a:rPr lang="uk-UA" sz="1200" dirty="0"/>
              <a:t> ключові показники, а і </a:t>
            </a:r>
            <a:r>
              <a:rPr lang="uk-UA" sz="1200" dirty="0" err="1"/>
              <a:t>оперативно</a:t>
            </a:r>
            <a:r>
              <a:rPr lang="uk-UA" sz="1200" dirty="0"/>
              <a:t> реагувати.   </a:t>
            </a:r>
          </a:p>
          <a:p>
            <a:br>
              <a:rPr lang="uk-UA" dirty="0"/>
            </a:br>
            <a:r>
              <a:rPr lang="uk-UA" sz="1200" dirty="0"/>
              <a:t>Будь-який процес може мати цифрову метрику. </a:t>
            </a:r>
          </a:p>
          <a:p>
            <a:endParaRPr lang="uk-UA" sz="1200" dirty="0"/>
          </a:p>
          <a:p>
            <a:r>
              <a:rPr lang="uk-UA" sz="1200" dirty="0"/>
              <a:t>Все залежить від ваших потреб та бажань, за допомогою такого інструменти зможете аналізувати будь-що.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86692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200" dirty="0"/>
              <a:t>система генерує повідомлення в разі відхилень від завданих нормативних показників):</a:t>
            </a:r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02983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dirty="0"/>
              <a:t>5. Постійно змінюйте фокус уваги</a:t>
            </a:r>
          </a:p>
          <a:p>
            <a:endParaRPr lang="uk-UA" sz="1200" dirty="0"/>
          </a:p>
          <a:p>
            <a:r>
              <a:rPr lang="uk-UA" sz="1200" dirty="0"/>
              <a:t>  - не можливо </a:t>
            </a:r>
            <a:r>
              <a:rPr lang="uk-UA" sz="1200" dirty="0" err="1"/>
              <a:t>моніторити</a:t>
            </a:r>
            <a:r>
              <a:rPr lang="uk-UA" sz="1200" dirty="0"/>
              <a:t> всі показники одночасно і одночасно їх покращувати </a:t>
            </a:r>
          </a:p>
          <a:p>
            <a:endParaRPr lang="uk-UA" sz="1200" dirty="0"/>
          </a:p>
          <a:p>
            <a:r>
              <a:rPr lang="uk-UA" sz="1200" dirty="0"/>
              <a:t>  - не важливо чи це стосується збільшення дохідної чи витратної частини</a:t>
            </a:r>
          </a:p>
          <a:p>
            <a:endParaRPr lang="uk-UA" sz="1200" dirty="0"/>
          </a:p>
          <a:p>
            <a:r>
              <a:rPr lang="uk-UA" sz="1200" dirty="0"/>
              <a:t> - робіть фокус на конкретний показник на конкретний період</a:t>
            </a:r>
          </a:p>
          <a:p>
            <a:endParaRPr lang="uk-UA" sz="1200" dirty="0"/>
          </a:p>
          <a:p>
            <a:r>
              <a:rPr lang="uk-UA" sz="1200" b="1" dirty="0"/>
              <a:t>Головне: підлеглий робить те на, що звертає увагу керівник       </a:t>
            </a:r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0596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своєчасність та стабільність розміру ЗП; рівень ЗП; прозорість ЗП; жодного </a:t>
            </a:r>
            <a:r>
              <a:rPr lang="uk-UA" sz="1200" dirty="0" err="1"/>
              <a:t>депріміювання</a:t>
            </a:r>
            <a:r>
              <a:rPr lang="uk-UA" sz="1200" dirty="0"/>
              <a:t> (вирахування за втрати чи нестачі тощо);</a:t>
            </a:r>
          </a:p>
          <a:p>
            <a:r>
              <a:rPr lang="uk-UA" sz="1200" dirty="0"/>
              <a:t>Базові умови праці (переодягнутися, випити кави, розігріти їжу, сходити в туалет, наявність витратних матеріалів тощо)</a:t>
            </a:r>
            <a:br>
              <a:rPr lang="uk-UA" sz="1200" dirty="0"/>
            </a:br>
            <a:br>
              <a:rPr lang="uk-UA" sz="1200" dirty="0"/>
            </a:br>
            <a:r>
              <a:rPr lang="uk-UA" sz="1200" b="1" dirty="0"/>
              <a:t> - Додаткові активності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змінюйте відношення, персонал це вже не ресурс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реагуйте на будь-яке звернення (це не означає, що необхідно задовольнити, але якісний зворотній зв’язок надати зобов’язані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надайте право на доступ до керівництва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відзначайте їх досягнення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спілкуйтесь поза межами роботи, допомагайте у вирішенні особистих проблем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створіть календар мотиваційних заходів (тимчасові змагання з необхідним для бізнесу акцентом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Створюйте «</a:t>
            </a:r>
            <a:r>
              <a:rPr lang="uk-UA" sz="1200" dirty="0" err="1"/>
              <a:t>Вау</a:t>
            </a:r>
            <a:r>
              <a:rPr lang="uk-UA" sz="1200" dirty="0"/>
              <a:t> ефект», як приклад: за певні досягнення нагорода може бути путівка за кордон на відпочинок для всієї сім’ї  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змагання на постійній основі: «Рейтинг мережі»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uk-UA" sz="1200" dirty="0"/>
              <a:t>додатковий дисконт для співробітників у власній мережі         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uk-UA" sz="1200" dirty="0"/>
          </a:p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9D7791-29FC-46EF-AB21-9C96135B7F97}" type="slidenum">
              <a:rPr lang="uk-UA" smtClean="0"/>
              <a:t>1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71712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F8D2EC-D3F4-05CE-9034-00526C3E1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FE0324D9-F579-14A5-B735-7408E1B536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FA5C71A0-98DB-CE35-73CB-2F7501BB6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5A9E051E-87E3-1CD1-D48A-07FE0D11B1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F8963C12-DC23-06F0-B9D3-E51352A8E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195843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82445B-5BDB-C862-55EA-61F14FA1E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F7D42355-5655-7908-9A0C-D6A051987D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42362D10-405F-9BAF-D7B6-A1C6614A9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1F0EEFB1-DFD1-43D9-5423-BFEB8EAAC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87FFD6F4-6818-47EF-572D-E5A62B395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72698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49DE96D0-121F-EFFC-3FDB-4E322A7740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23330CE0-E01F-E0E0-EC3B-84F299C1F6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C3D13EB7-2539-C838-D8E2-B8E1DC627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3B35BD06-8623-6B54-C4D9-377BE2D5B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3C00BAD6-B3E2-597C-4814-2C34E6DE1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36331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0EA179-8C2A-86A7-36BC-86ABBBA64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11A853AF-A643-D914-BA05-3D69C4A54C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4DE21860-71EE-6CB1-F7C1-978371CC4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0DD0ADF6-7C35-D12A-46EC-51C3E0C26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CD4B317-CEBF-F026-BF2A-266F07EC1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52453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DC0562-7E6B-7C7F-93C4-BE56B9FC3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53DA9D67-3CAB-C12C-2DAE-B11E34D5B9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F0A6413F-EEDD-AADC-AC23-FD5966B4C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477B786E-0DFE-2BF7-EE38-1CC714E9C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2984E1E9-4E42-5D71-7823-7A916B43D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62558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39964C-FF5B-A934-F54A-D6FCD308E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DF541F7A-A01C-8E01-1C89-CA03008535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C0AAD5BB-2D14-C0E4-1ABE-A34FC2E884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095D65C9-2F65-EC0C-2FAE-02C2BA458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7AF2F83E-45F2-2220-2254-C8CAC2FED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A0E0F80E-0C50-7BA6-4332-C0E0F2F28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47027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508F01-B2C6-D461-DA5E-D3322F131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FB17EBEB-0988-3B2D-5EFB-B527D19FBA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D4F1C70F-10DA-7BDB-BA3E-A15AFBFB26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DBED5D14-3BF8-9E85-B9DB-0B51F771F3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6F919B9F-7DE6-2CF7-2273-DE0AAC314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9F9AE01A-7B81-6672-A984-D91A610A0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125E5CD6-01C8-D79D-11B7-DFC57FD3B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AB35844A-59D5-FFF9-132C-0E26C498D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1664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A03178-056C-5E78-952F-35DBA21A1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A322A906-8559-65AC-7B6D-FDCAFBC834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3405AC60-C37F-D418-C597-F831B73BE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55660E43-1434-D41C-CB74-816EC461E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64632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288ED9B8-ACEE-C4B6-E8F6-6A2B85F76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4C29CABD-B2C6-A1F0-84E2-EA93BCBDE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DA189752-F71B-879C-3094-089A74700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6192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5692CE-92CA-8E81-2E11-86F8EB9FB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42CF1130-0E33-19DA-FF43-A80107C82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E79A9A63-FD64-5C9D-408B-9808BB229D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5A208C21-288B-2103-E537-48E22DD69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70A1949F-9A79-3B35-C3E7-F779B7C52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DC9091A8-9A1E-BD6E-3898-3DE118AD6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90369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E15ABA-8351-EF79-86CE-DEA0FDDC7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DD2CFEBE-42BA-9C9A-F56A-A1BECB5A29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55276AE9-A42B-44F9-7168-F7333E198B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AF86C773-B91E-4C2B-4E15-D15C404CD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C5F19702-3B42-C50B-96CE-4C12D83C9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488A7CB7-21FD-CD86-FEAF-B366E8BAB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65780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284B8D84-4F7A-E6AC-9B9A-392568F5A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4D745F1E-9143-3455-A465-851FB27E3B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EBC98536-68D8-5FE9-5817-AB475F202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5F756F4-90AF-47F5-B61B-88DDF3DD727D}" type="datetimeFigureOut">
              <a:rPr lang="uk-UA" smtClean="0"/>
              <a:t>28.10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348A8898-D55B-F958-2CC2-C27A2F6424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C6F63970-C414-E22B-60D1-6C0F59A3C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43A4A11-5C43-4068-860F-7BC9CEC02E86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95110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22.emf"/><Relationship Id="rId5" Type="http://schemas.openxmlformats.org/officeDocument/2006/relationships/image" Target="../media/image21.png"/><Relationship Id="rId4" Type="http://schemas.openxmlformats.org/officeDocument/2006/relationships/image" Target="../media/image1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24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28.png"/><Relationship Id="rId5" Type="http://schemas.openxmlformats.org/officeDocument/2006/relationships/image" Target="../media/image21.png"/><Relationship Id="rId4" Type="http://schemas.openxmlformats.org/officeDocument/2006/relationships/image" Target="../media/image27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2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3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35.jpg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jpeg"/><Relationship Id="rId7" Type="http://schemas.openxmlformats.org/officeDocument/2006/relationships/image" Target="../media/image42.svg"/><Relationship Id="rId12" Type="http://schemas.openxmlformats.org/officeDocument/2006/relationships/image" Target="../media/image47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1.svg"/><Relationship Id="rId1" Type="http://schemas.openxmlformats.org/officeDocument/2006/relationships/tags" Target="../tags/tag12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svg"/><Relationship Id="rId15" Type="http://schemas.openxmlformats.org/officeDocument/2006/relationships/image" Target="../media/image50.png"/><Relationship Id="rId10" Type="http://schemas.openxmlformats.org/officeDocument/2006/relationships/image" Target="../media/image45.jpeg"/><Relationship Id="rId4" Type="http://schemas.openxmlformats.org/officeDocument/2006/relationships/image" Target="../media/image39.png"/><Relationship Id="rId9" Type="http://schemas.openxmlformats.org/officeDocument/2006/relationships/image" Target="../media/image44.svg"/><Relationship Id="rId14" Type="http://schemas.openxmlformats.org/officeDocument/2006/relationships/image" Target="../media/image49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4.png"/><Relationship Id="rId18" Type="http://schemas.openxmlformats.org/officeDocument/2006/relationships/image" Target="../media/image40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44.svg"/><Relationship Id="rId17" Type="http://schemas.openxmlformats.org/officeDocument/2006/relationships/image" Target="../media/image39.png"/><Relationship Id="rId2" Type="http://schemas.openxmlformats.org/officeDocument/2006/relationships/image" Target="../media/image55.jpeg"/><Relationship Id="rId16" Type="http://schemas.openxmlformats.org/officeDocument/2006/relationships/image" Target="../media/image67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svg"/><Relationship Id="rId11" Type="http://schemas.openxmlformats.org/officeDocument/2006/relationships/image" Target="../media/image43.png"/><Relationship Id="rId5" Type="http://schemas.openxmlformats.org/officeDocument/2006/relationships/image" Target="../media/image58.png"/><Relationship Id="rId15" Type="http://schemas.openxmlformats.org/officeDocument/2006/relationships/image" Target="../media/image66.png"/><Relationship Id="rId10" Type="http://schemas.openxmlformats.org/officeDocument/2006/relationships/image" Target="../media/image63.svg"/><Relationship Id="rId4" Type="http://schemas.openxmlformats.org/officeDocument/2006/relationships/image" Target="../media/image57.svg"/><Relationship Id="rId9" Type="http://schemas.openxmlformats.org/officeDocument/2006/relationships/image" Target="../media/image62.png"/><Relationship Id="rId14" Type="http://schemas.openxmlformats.org/officeDocument/2006/relationships/image" Target="../media/image65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13" Type="http://schemas.openxmlformats.org/officeDocument/2006/relationships/image" Target="../media/image64.png"/><Relationship Id="rId18" Type="http://schemas.openxmlformats.org/officeDocument/2006/relationships/image" Target="../media/image70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12" Type="http://schemas.openxmlformats.org/officeDocument/2006/relationships/image" Target="../media/image44.svg"/><Relationship Id="rId17" Type="http://schemas.openxmlformats.org/officeDocument/2006/relationships/image" Target="../media/image69.png"/><Relationship Id="rId2" Type="http://schemas.openxmlformats.org/officeDocument/2006/relationships/image" Target="../media/image68.jpeg"/><Relationship Id="rId16" Type="http://schemas.openxmlformats.org/officeDocument/2006/relationships/image" Target="../media/image67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svg"/><Relationship Id="rId11" Type="http://schemas.openxmlformats.org/officeDocument/2006/relationships/image" Target="../media/image43.png"/><Relationship Id="rId5" Type="http://schemas.openxmlformats.org/officeDocument/2006/relationships/image" Target="../media/image58.png"/><Relationship Id="rId15" Type="http://schemas.openxmlformats.org/officeDocument/2006/relationships/image" Target="../media/image66.png"/><Relationship Id="rId10" Type="http://schemas.openxmlformats.org/officeDocument/2006/relationships/image" Target="../media/image63.svg"/><Relationship Id="rId19" Type="http://schemas.openxmlformats.org/officeDocument/2006/relationships/image" Target="../media/image71.png"/><Relationship Id="rId4" Type="http://schemas.openxmlformats.org/officeDocument/2006/relationships/image" Target="../media/image57.svg"/><Relationship Id="rId9" Type="http://schemas.openxmlformats.org/officeDocument/2006/relationships/image" Target="../media/image62.png"/><Relationship Id="rId14" Type="http://schemas.openxmlformats.org/officeDocument/2006/relationships/image" Target="../media/image65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75.png"/><Relationship Id="rId5" Type="http://schemas.openxmlformats.org/officeDocument/2006/relationships/image" Target="../media/image74.sv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svg"/><Relationship Id="rId10" Type="http://schemas.openxmlformats.org/officeDocument/2006/relationships/image" Target="../media/image14.sv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svg"/><Relationship Id="rId11" Type="http://schemas.openxmlformats.org/officeDocument/2006/relationships/image" Target="../media/image17.jpe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9.svg"/><Relationship Id="rId9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0.jp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Відео 2" title="Motorcycle Racing">
            <a:hlinkClick r:id="" action="ppaction://media"/>
            <a:extLst>
              <a:ext uri="{FF2B5EF4-FFF2-40B4-BE49-F238E27FC236}">
                <a16:creationId xmlns:a16="http://schemas.microsoft.com/office/drawing/2014/main" id="{26F5BA51-5426-564A-0E1B-994534FB5A5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Прямокутник 1">
            <a:extLst>
              <a:ext uri="{FF2B5EF4-FFF2-40B4-BE49-F238E27FC236}">
                <a16:creationId xmlns:a16="http://schemas.microsoft.com/office/drawing/2014/main" id="{95D214B0-8F42-2B6F-EE18-403E728C53E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3" name="Паралелограм 82">
            <a:extLst>
              <a:ext uri="{FF2B5EF4-FFF2-40B4-BE49-F238E27FC236}">
                <a16:creationId xmlns:a16="http://schemas.microsoft.com/office/drawing/2014/main" id="{6BF4CC66-1DB0-0604-C8EC-A104B1D0BEAC}"/>
              </a:ext>
            </a:extLst>
          </p:cNvPr>
          <p:cNvSpPr/>
          <p:nvPr/>
        </p:nvSpPr>
        <p:spPr>
          <a:xfrm>
            <a:off x="-742562" y="4261071"/>
            <a:ext cx="7809546" cy="590116"/>
          </a:xfrm>
          <a:prstGeom prst="parallelogram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9" name="Паралелограм 78">
            <a:extLst>
              <a:ext uri="{FF2B5EF4-FFF2-40B4-BE49-F238E27FC236}">
                <a16:creationId xmlns:a16="http://schemas.microsoft.com/office/drawing/2014/main" id="{68E9D4C4-DE13-CCDC-3584-90FF8253C380}"/>
              </a:ext>
            </a:extLst>
          </p:cNvPr>
          <p:cNvSpPr/>
          <p:nvPr/>
        </p:nvSpPr>
        <p:spPr>
          <a:xfrm>
            <a:off x="-785358" y="4183053"/>
            <a:ext cx="7809546" cy="590116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E31949-F8F4-564E-CC57-EC776D94EC8D}"/>
              </a:ext>
            </a:extLst>
          </p:cNvPr>
          <p:cNvSpPr txBox="1"/>
          <p:nvPr/>
        </p:nvSpPr>
        <p:spPr>
          <a:xfrm>
            <a:off x="497712" y="1740624"/>
            <a:ext cx="1046321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uk-UA" sz="8000" b="1" dirty="0">
                <a:solidFill>
                  <a:srgbClr val="E9A82A"/>
                </a:solidFill>
                <a:latin typeface="Akrobat Black" panose="00000A00000000000000" pitchFamily="50" charset="-52"/>
              </a:rPr>
              <a:t>Операційна ефективність</a:t>
            </a:r>
            <a:br>
              <a:rPr lang="uk-UA" sz="8000" b="1" dirty="0">
                <a:solidFill>
                  <a:srgbClr val="E9A82A"/>
                </a:solidFill>
                <a:latin typeface="Akrobat Black" panose="00000A00000000000000" pitchFamily="50" charset="-52"/>
              </a:rPr>
            </a:br>
            <a:r>
              <a:rPr lang="uk-UA" sz="8000" b="1" dirty="0">
                <a:ln>
                  <a:solidFill>
                    <a:schemeClr val="bg1"/>
                  </a:solidFill>
                </a:ln>
                <a:noFill/>
                <a:latin typeface="Akrobat Black" panose="00000A00000000000000" pitchFamily="50" charset="-52"/>
              </a:rPr>
              <a:t>в умовах турбулентності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2676AF-CFB3-DEA5-F36B-3DF1E0F7CB67}"/>
              </a:ext>
            </a:extLst>
          </p:cNvPr>
          <p:cNvSpPr txBox="1"/>
          <p:nvPr/>
        </p:nvSpPr>
        <p:spPr>
          <a:xfrm>
            <a:off x="631507" y="4183052"/>
            <a:ext cx="123748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800" dirty="0">
                <a:latin typeface="Akrobat Light" panose="00000500000000000000" pitchFamily="50" charset="-52"/>
              </a:rPr>
              <a:t>Як не злетіти з треку при великих швидкостях</a:t>
            </a:r>
          </a:p>
        </p:txBody>
      </p:sp>
      <p:grpSp>
        <p:nvGrpSpPr>
          <p:cNvPr id="49" name="Google Shape;12;p2">
            <a:extLst>
              <a:ext uri="{FF2B5EF4-FFF2-40B4-BE49-F238E27FC236}">
                <a16:creationId xmlns:a16="http://schemas.microsoft.com/office/drawing/2014/main" id="{8609D9CE-FE47-9EE4-3B31-29B75C3A284F}"/>
              </a:ext>
            </a:extLst>
          </p:cNvPr>
          <p:cNvGrpSpPr/>
          <p:nvPr/>
        </p:nvGrpSpPr>
        <p:grpSpPr>
          <a:xfrm>
            <a:off x="864817" y="-151666"/>
            <a:ext cx="1145952" cy="657282"/>
            <a:chOff x="864825" y="2381600"/>
            <a:chExt cx="802825" cy="460475"/>
          </a:xfrm>
        </p:grpSpPr>
        <p:sp>
          <p:nvSpPr>
            <p:cNvPr id="50" name="Google Shape;13;p2">
              <a:extLst>
                <a:ext uri="{FF2B5EF4-FFF2-40B4-BE49-F238E27FC236}">
                  <a16:creationId xmlns:a16="http://schemas.microsoft.com/office/drawing/2014/main" id="{B82309E4-4AA4-934B-0ACD-4040AF452E6E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4;p2">
              <a:extLst>
                <a:ext uri="{FF2B5EF4-FFF2-40B4-BE49-F238E27FC236}">
                  <a16:creationId xmlns:a16="http://schemas.microsoft.com/office/drawing/2014/main" id="{260AC848-19B0-EAD4-36B0-30CD57151FB0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5;p2">
              <a:extLst>
                <a:ext uri="{FF2B5EF4-FFF2-40B4-BE49-F238E27FC236}">
                  <a16:creationId xmlns:a16="http://schemas.microsoft.com/office/drawing/2014/main" id="{53906863-ED9C-AC94-863C-8367B938B826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6;p2">
              <a:extLst>
                <a:ext uri="{FF2B5EF4-FFF2-40B4-BE49-F238E27FC236}">
                  <a16:creationId xmlns:a16="http://schemas.microsoft.com/office/drawing/2014/main" id="{EC3AABFC-F835-7F8C-E6AC-5DE0341DED34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7;p2">
              <a:extLst>
                <a:ext uri="{FF2B5EF4-FFF2-40B4-BE49-F238E27FC236}">
                  <a16:creationId xmlns:a16="http://schemas.microsoft.com/office/drawing/2014/main" id="{64FE75CF-E1CA-CD9A-838A-365B4C89D7E7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8;p2">
              <a:extLst>
                <a:ext uri="{FF2B5EF4-FFF2-40B4-BE49-F238E27FC236}">
                  <a16:creationId xmlns:a16="http://schemas.microsoft.com/office/drawing/2014/main" id="{FDAB551E-7574-69DD-A2E1-5EBC157003A2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9;p2">
              <a:extLst>
                <a:ext uri="{FF2B5EF4-FFF2-40B4-BE49-F238E27FC236}">
                  <a16:creationId xmlns:a16="http://schemas.microsoft.com/office/drawing/2014/main" id="{D5977127-C328-E1E7-441D-7FC8D2418492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20;p2">
              <a:extLst>
                <a:ext uri="{FF2B5EF4-FFF2-40B4-BE49-F238E27FC236}">
                  <a16:creationId xmlns:a16="http://schemas.microsoft.com/office/drawing/2014/main" id="{D43427A9-65A0-0DE8-7743-6A76EB9C2C6F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21;p2">
              <a:extLst>
                <a:ext uri="{FF2B5EF4-FFF2-40B4-BE49-F238E27FC236}">
                  <a16:creationId xmlns:a16="http://schemas.microsoft.com/office/drawing/2014/main" id="{89CEA0CC-EBA5-F733-6F05-5615FC7CBBA0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22;p2">
              <a:extLst>
                <a:ext uri="{FF2B5EF4-FFF2-40B4-BE49-F238E27FC236}">
                  <a16:creationId xmlns:a16="http://schemas.microsoft.com/office/drawing/2014/main" id="{CE9B5116-EFAB-7F03-D764-AF7C1C5A23E9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23;p2">
              <a:extLst>
                <a:ext uri="{FF2B5EF4-FFF2-40B4-BE49-F238E27FC236}">
                  <a16:creationId xmlns:a16="http://schemas.microsoft.com/office/drawing/2014/main" id="{EFE9BC45-1ADC-CFD5-D3D5-BF4B982701C9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24;p2">
              <a:extLst>
                <a:ext uri="{FF2B5EF4-FFF2-40B4-BE49-F238E27FC236}">
                  <a16:creationId xmlns:a16="http://schemas.microsoft.com/office/drawing/2014/main" id="{BBAABDE0-FD97-C65E-00B8-74E53EFF96B8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25;p2">
              <a:extLst>
                <a:ext uri="{FF2B5EF4-FFF2-40B4-BE49-F238E27FC236}">
                  <a16:creationId xmlns:a16="http://schemas.microsoft.com/office/drawing/2014/main" id="{BC2F2E82-C3A2-EBB1-CEE3-5110FE9C32E4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26;p2">
              <a:extLst>
                <a:ext uri="{FF2B5EF4-FFF2-40B4-BE49-F238E27FC236}">
                  <a16:creationId xmlns:a16="http://schemas.microsoft.com/office/drawing/2014/main" id="{45B63AF1-3FB0-0E23-5511-100CA57F81BA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27;p2">
              <a:extLst>
                <a:ext uri="{FF2B5EF4-FFF2-40B4-BE49-F238E27FC236}">
                  <a16:creationId xmlns:a16="http://schemas.microsoft.com/office/drawing/2014/main" id="{20C6CAC1-E786-1299-72B1-D6D5E92DF104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28;p2">
              <a:extLst>
                <a:ext uri="{FF2B5EF4-FFF2-40B4-BE49-F238E27FC236}">
                  <a16:creationId xmlns:a16="http://schemas.microsoft.com/office/drawing/2014/main" id="{5C52C426-FEE1-5896-BAB9-C36FC9584D40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6" name="Google Shape;32;p2">
            <a:extLst>
              <a:ext uri="{FF2B5EF4-FFF2-40B4-BE49-F238E27FC236}">
                <a16:creationId xmlns:a16="http://schemas.microsoft.com/office/drawing/2014/main" id="{9E192A7F-54AE-4D31-DC54-C2D52EB5AF3E}"/>
              </a:ext>
            </a:extLst>
          </p:cNvPr>
          <p:cNvGrpSpPr/>
          <p:nvPr/>
        </p:nvGrpSpPr>
        <p:grpSpPr>
          <a:xfrm>
            <a:off x="4724462" y="6518301"/>
            <a:ext cx="2743076" cy="657293"/>
            <a:chOff x="5227825" y="3000800"/>
            <a:chExt cx="1865150" cy="446925"/>
          </a:xfrm>
          <a:solidFill>
            <a:srgbClr val="2B6AE9"/>
          </a:solidFill>
        </p:grpSpPr>
        <p:sp>
          <p:nvSpPr>
            <p:cNvPr id="67" name="Google Shape;33;p2">
              <a:extLst>
                <a:ext uri="{FF2B5EF4-FFF2-40B4-BE49-F238E27FC236}">
                  <a16:creationId xmlns:a16="http://schemas.microsoft.com/office/drawing/2014/main" id="{FB88AF7E-BCC5-99FF-7739-921312638D4D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34;p2">
              <a:extLst>
                <a:ext uri="{FF2B5EF4-FFF2-40B4-BE49-F238E27FC236}">
                  <a16:creationId xmlns:a16="http://schemas.microsoft.com/office/drawing/2014/main" id="{FBC191E6-4330-3F6D-AC99-15FC00E6FE2C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35;p2">
              <a:extLst>
                <a:ext uri="{FF2B5EF4-FFF2-40B4-BE49-F238E27FC236}">
                  <a16:creationId xmlns:a16="http://schemas.microsoft.com/office/drawing/2014/main" id="{404CD6B6-144D-99F7-D8E6-B5AB04409D95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36;p2">
              <a:extLst>
                <a:ext uri="{FF2B5EF4-FFF2-40B4-BE49-F238E27FC236}">
                  <a16:creationId xmlns:a16="http://schemas.microsoft.com/office/drawing/2014/main" id="{4F4FE7B9-542E-F3C9-2AF2-41BDD96F07AE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37;p2">
              <a:extLst>
                <a:ext uri="{FF2B5EF4-FFF2-40B4-BE49-F238E27FC236}">
                  <a16:creationId xmlns:a16="http://schemas.microsoft.com/office/drawing/2014/main" id="{9FBC7A26-2DAD-083B-505C-142F3F10EFDC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38;p2">
              <a:extLst>
                <a:ext uri="{FF2B5EF4-FFF2-40B4-BE49-F238E27FC236}">
                  <a16:creationId xmlns:a16="http://schemas.microsoft.com/office/drawing/2014/main" id="{8331145A-D968-E59D-727A-BC11A980DB75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39;p2">
              <a:extLst>
                <a:ext uri="{FF2B5EF4-FFF2-40B4-BE49-F238E27FC236}">
                  <a16:creationId xmlns:a16="http://schemas.microsoft.com/office/drawing/2014/main" id="{4D44626C-3EF8-A0B9-11F5-219D5023A253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40;p2">
              <a:extLst>
                <a:ext uri="{FF2B5EF4-FFF2-40B4-BE49-F238E27FC236}">
                  <a16:creationId xmlns:a16="http://schemas.microsoft.com/office/drawing/2014/main" id="{66898558-7A10-9EE0-43A5-734252E2D4CC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41;p2">
              <a:extLst>
                <a:ext uri="{FF2B5EF4-FFF2-40B4-BE49-F238E27FC236}">
                  <a16:creationId xmlns:a16="http://schemas.microsoft.com/office/drawing/2014/main" id="{61357EA2-4D8D-21F6-A266-0A5EC0D9524C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6" name="Google Shape;42;p2">
            <a:extLst>
              <a:ext uri="{FF2B5EF4-FFF2-40B4-BE49-F238E27FC236}">
                <a16:creationId xmlns:a16="http://schemas.microsoft.com/office/drawing/2014/main" id="{08F65831-8DD1-8065-41B3-38B1BE7D0A4B}"/>
              </a:ext>
            </a:extLst>
          </p:cNvPr>
          <p:cNvSpPr/>
          <p:nvPr/>
        </p:nvSpPr>
        <p:spPr>
          <a:xfrm>
            <a:off x="9862785" y="5452852"/>
            <a:ext cx="1878269" cy="1878269"/>
          </a:xfrm>
          <a:prstGeom prst="ellipse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43;p2">
            <a:extLst>
              <a:ext uri="{FF2B5EF4-FFF2-40B4-BE49-F238E27FC236}">
                <a16:creationId xmlns:a16="http://schemas.microsoft.com/office/drawing/2014/main" id="{9015FDB3-4794-0AF9-168C-750B45CD9C59}"/>
              </a:ext>
            </a:extLst>
          </p:cNvPr>
          <p:cNvSpPr/>
          <p:nvPr/>
        </p:nvSpPr>
        <p:spPr>
          <a:xfrm>
            <a:off x="364867" y="5951837"/>
            <a:ext cx="533280" cy="533280"/>
          </a:xfrm>
          <a:prstGeom prst="mathMultiply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8" name="Google Shape;44;p2">
            <a:extLst>
              <a:ext uri="{FF2B5EF4-FFF2-40B4-BE49-F238E27FC236}">
                <a16:creationId xmlns:a16="http://schemas.microsoft.com/office/drawing/2014/main" id="{EDB6E0EA-0D35-3D93-67E4-1670B1FE59FC}"/>
              </a:ext>
            </a:extLst>
          </p:cNvPr>
          <p:cNvSpPr/>
          <p:nvPr/>
        </p:nvSpPr>
        <p:spPr>
          <a:xfrm>
            <a:off x="11110798" y="440840"/>
            <a:ext cx="432769" cy="432769"/>
          </a:xfrm>
          <a:prstGeom prst="mathMultiply">
            <a:avLst>
              <a:gd name="adj1" fmla="val 23520"/>
            </a:avLst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dirty="0"/>
              <a:t>  </a:t>
            </a:r>
            <a:endParaRPr dirty="0"/>
          </a:p>
        </p:txBody>
      </p:sp>
      <p:grpSp>
        <p:nvGrpSpPr>
          <p:cNvPr id="5" name="Групувати 4">
            <a:extLst>
              <a:ext uri="{FF2B5EF4-FFF2-40B4-BE49-F238E27FC236}">
                <a16:creationId xmlns:a16="http://schemas.microsoft.com/office/drawing/2014/main" id="{EF5DA372-F2C9-6F82-1EFE-33523DB2B3B1}"/>
              </a:ext>
            </a:extLst>
          </p:cNvPr>
          <p:cNvGrpSpPr/>
          <p:nvPr/>
        </p:nvGrpSpPr>
        <p:grpSpPr>
          <a:xfrm>
            <a:off x="12934562" y="1712145"/>
            <a:ext cx="10335523" cy="5477815"/>
            <a:chOff x="-6522720" y="-347878"/>
            <a:chExt cx="4786769" cy="2536982"/>
          </a:xfrm>
        </p:grpSpPr>
        <p:sp>
          <p:nvSpPr>
            <p:cNvPr id="6" name="Прямокутник 50">
              <a:extLst>
                <a:ext uri="{FF2B5EF4-FFF2-40B4-BE49-F238E27FC236}">
                  <a16:creationId xmlns:a16="http://schemas.microsoft.com/office/drawing/2014/main" id="{D555D0AE-9052-A443-736B-8ED4D4FD9F8E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7" name="Прямокутник 50">
              <a:extLst>
                <a:ext uri="{FF2B5EF4-FFF2-40B4-BE49-F238E27FC236}">
                  <a16:creationId xmlns:a16="http://schemas.microsoft.com/office/drawing/2014/main" id="{3B38C637-C948-C424-6026-F9940F1E8B3A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9" name="Рисунок 8" descr="Зображення, що містить одежа, особа, Обличчя людини, шия&#10;&#10;Автоматично згенерований опис">
            <a:extLst>
              <a:ext uri="{FF2B5EF4-FFF2-40B4-BE49-F238E27FC236}">
                <a16:creationId xmlns:a16="http://schemas.microsoft.com/office/drawing/2014/main" id="{19D06B45-B8EA-75E7-A65A-0F8CCB6A64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2737" y="-900929"/>
            <a:ext cx="6228999" cy="7758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529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89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аралелограм 10">
            <a:extLst>
              <a:ext uri="{FF2B5EF4-FFF2-40B4-BE49-F238E27FC236}">
                <a16:creationId xmlns:a16="http://schemas.microsoft.com/office/drawing/2014/main" id="{0308A10B-1E81-EBB4-F64C-6C45EEC6B02C}"/>
              </a:ext>
            </a:extLst>
          </p:cNvPr>
          <p:cNvSpPr/>
          <p:nvPr/>
        </p:nvSpPr>
        <p:spPr>
          <a:xfrm>
            <a:off x="-1" y="4318000"/>
            <a:ext cx="12192001" cy="2540000"/>
          </a:xfrm>
          <a:prstGeom prst="parallelogram">
            <a:avLst>
              <a:gd name="adj" fmla="val 0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92EE97D-6042-830C-058F-D2157C50A641}"/>
              </a:ext>
            </a:extLst>
          </p:cNvPr>
          <p:cNvSpPr txBox="1"/>
          <p:nvPr/>
        </p:nvSpPr>
        <p:spPr>
          <a:xfrm>
            <a:off x="462457" y="232708"/>
            <a:ext cx="988169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3. </a:t>
            </a:r>
            <a:r>
              <a:rPr lang="ru-RU" sz="6000" b="1" dirty="0" err="1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Прозорість</a:t>
            </a:r>
            <a:r>
              <a:rPr lang="ru-RU" sz="6000" b="1" dirty="0">
                <a:latin typeface="+mj-lt"/>
              </a:rPr>
              <a:t> та </a:t>
            </a:r>
            <a:r>
              <a:rPr lang="ru-RU" sz="6000" b="1" dirty="0" err="1">
                <a:latin typeface="+mj-lt"/>
              </a:rPr>
              <a:t>доступність</a:t>
            </a:r>
            <a:r>
              <a:rPr lang="ru-RU" sz="6000" b="1" dirty="0">
                <a:latin typeface="+mj-lt"/>
              </a:rPr>
              <a:t> </a:t>
            </a:r>
            <a:r>
              <a:rPr lang="ru-RU" sz="6000" b="1" dirty="0" err="1">
                <a:latin typeface="+mj-lt"/>
              </a:rPr>
              <a:t>інформації</a:t>
            </a:r>
            <a:endParaRPr lang="uk-UA" sz="6000" b="1" dirty="0">
              <a:latin typeface="+mj-lt"/>
            </a:endParaRPr>
          </a:p>
        </p:txBody>
      </p:sp>
      <p:pic>
        <p:nvPicPr>
          <p:cNvPr id="8" name="Рисунок 7" descr="Зображення, що містить текст, знімок екрана, ігровий автомат, дизайн&#10;&#10;Автоматично згенерований опис">
            <a:extLst>
              <a:ext uri="{FF2B5EF4-FFF2-40B4-BE49-F238E27FC236}">
                <a16:creationId xmlns:a16="http://schemas.microsoft.com/office/drawing/2014/main" id="{A02D8267-CC53-7BCF-371F-CDDF5F9254B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" r="47972"/>
          <a:stretch/>
        </p:blipFill>
        <p:spPr>
          <a:xfrm>
            <a:off x="6552748" y="1761355"/>
            <a:ext cx="3545509" cy="4559300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14" name="Паралелограм 13">
            <a:extLst>
              <a:ext uri="{FF2B5EF4-FFF2-40B4-BE49-F238E27FC236}">
                <a16:creationId xmlns:a16="http://schemas.microsoft.com/office/drawing/2014/main" id="{BC1CE142-820D-4892-8D0B-2BAA3C6674D0}"/>
              </a:ext>
            </a:extLst>
          </p:cNvPr>
          <p:cNvSpPr/>
          <p:nvPr/>
        </p:nvSpPr>
        <p:spPr>
          <a:xfrm>
            <a:off x="-7388188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5" name="Групувати 14">
            <a:extLst>
              <a:ext uri="{FF2B5EF4-FFF2-40B4-BE49-F238E27FC236}">
                <a16:creationId xmlns:a16="http://schemas.microsoft.com/office/drawing/2014/main" id="{4C3E6784-3347-82C9-924E-D9969F42C203}"/>
              </a:ext>
            </a:extLst>
          </p:cNvPr>
          <p:cNvGrpSpPr/>
          <p:nvPr/>
        </p:nvGrpSpPr>
        <p:grpSpPr>
          <a:xfrm>
            <a:off x="-6825719" y="2114785"/>
            <a:ext cx="6079525" cy="4417339"/>
            <a:chOff x="1327793" y="1"/>
            <a:chExt cx="9339651" cy="6786123"/>
          </a:xfrm>
        </p:grpSpPr>
        <p:sp>
          <p:nvSpPr>
            <p:cNvPr id="16" name="Прямокутник: округлені кути 15">
              <a:extLst>
                <a:ext uri="{FF2B5EF4-FFF2-40B4-BE49-F238E27FC236}">
                  <a16:creationId xmlns:a16="http://schemas.microsoft.com/office/drawing/2014/main" id="{E75D8D6B-BF58-50F6-CB1F-332ACA185EF4}"/>
                </a:ext>
              </a:extLst>
            </p:cNvPr>
            <p:cNvSpPr/>
            <p:nvPr/>
          </p:nvSpPr>
          <p:spPr>
            <a:xfrm>
              <a:off x="1989366" y="657225"/>
              <a:ext cx="7886154" cy="5473232"/>
            </a:xfrm>
            <a:prstGeom prst="roundRect">
              <a:avLst>
                <a:gd name="adj" fmla="val 117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17" name="Рисунок 88" descr="Зображення, що містить знімок екрана, чорний, дизайн&#10;&#10;Автоматично згенерований опис">
              <a:extLst>
                <a:ext uri="{FF2B5EF4-FFF2-40B4-BE49-F238E27FC236}">
                  <a16:creationId xmlns:a16="http://schemas.microsoft.com/office/drawing/2014/main" id="{FA76AC56-BB27-111D-30B6-44358F4C81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rot="16200000">
              <a:off x="2507590" y="-1179796"/>
              <a:ext cx="6786123" cy="9145718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9D7B1C3-BBA9-2542-52E6-13A783A575B3}"/>
                </a:ext>
              </a:extLst>
            </p:cNvPr>
            <p:cNvSpPr txBox="1"/>
            <p:nvPr/>
          </p:nvSpPr>
          <p:spPr>
            <a:xfrm>
              <a:off x="1983885" y="2063110"/>
              <a:ext cx="8683559" cy="20734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en-US" dirty="0"/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B05A5271-367B-7E5C-C7E3-3267E5DFA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21560" y="1101401"/>
              <a:ext cx="7955759" cy="4409280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00EC323-B29B-D506-06B1-1FF75C03CF0E}"/>
              </a:ext>
            </a:extLst>
          </p:cNvPr>
          <p:cNvSpPr txBox="1"/>
          <p:nvPr/>
        </p:nvSpPr>
        <p:spPr>
          <a:xfrm>
            <a:off x="12886454" y="2681759"/>
            <a:ext cx="5319713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b="1" dirty="0">
                <a:latin typeface="+mj-lt"/>
              </a:rPr>
              <a:t>Рейтинг має 5 блоків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b="1" dirty="0">
                <a:latin typeface="+mj-lt"/>
              </a:rPr>
              <a:t>Фінанси</a:t>
            </a:r>
            <a:r>
              <a:rPr lang="uk-UA" sz="1800" dirty="0"/>
              <a:t> (% виконання плану ТО, середній чек </a:t>
            </a:r>
            <a:r>
              <a:rPr lang="en-US" sz="1800" dirty="0" err="1"/>
              <a:t>Lfl</a:t>
            </a:r>
            <a:r>
              <a:rPr lang="uk-UA" sz="1800" dirty="0"/>
              <a:t>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Процеси</a:t>
            </a:r>
            <a:r>
              <a:rPr lang="uk-UA" sz="1800" dirty="0"/>
              <a:t> (% СКЮ без продажів, % доступності ТОП-30 артикулів, % невід’ємних залишків, % виконання завдання верифікації, % неправильних цінників, % виконання операцій за допомогою ТЗД, % своєчасного виконання завдань по інвентаризаціям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Ефективність</a:t>
            </a:r>
            <a:r>
              <a:rPr lang="uk-UA" sz="1800" b="1" dirty="0"/>
              <a:t> </a:t>
            </a:r>
            <a:r>
              <a:rPr lang="uk-UA" sz="1800" dirty="0"/>
              <a:t>(продуктивність, швидкість сканування, % відмін на касі, %  ручного вводу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Персонал</a:t>
            </a:r>
            <a:r>
              <a:rPr lang="uk-UA" sz="1800" dirty="0"/>
              <a:t> (% комплектації, % плинності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Втрати</a:t>
            </a:r>
            <a:r>
              <a:rPr lang="uk-UA" sz="1800" dirty="0"/>
              <a:t>  (% списань, % втрат від уцінки, % нестач).   </a:t>
            </a:r>
          </a:p>
        </p:txBody>
      </p:sp>
      <p:grpSp>
        <p:nvGrpSpPr>
          <p:cNvPr id="21" name="Google Shape;758;p23">
            <a:extLst>
              <a:ext uri="{FF2B5EF4-FFF2-40B4-BE49-F238E27FC236}">
                <a16:creationId xmlns:a16="http://schemas.microsoft.com/office/drawing/2014/main" id="{45DCAC20-0F08-526C-DF25-2C3C57B21516}"/>
              </a:ext>
            </a:extLst>
          </p:cNvPr>
          <p:cNvGrpSpPr/>
          <p:nvPr/>
        </p:nvGrpSpPr>
        <p:grpSpPr>
          <a:xfrm>
            <a:off x="10387236" y="-130432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22" name="Google Shape;759;p23">
              <a:extLst>
                <a:ext uri="{FF2B5EF4-FFF2-40B4-BE49-F238E27FC236}">
                  <a16:creationId xmlns:a16="http://schemas.microsoft.com/office/drawing/2014/main" id="{055FFF72-5873-DDF2-FCFC-B6468853E9E3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760;p23">
              <a:extLst>
                <a:ext uri="{FF2B5EF4-FFF2-40B4-BE49-F238E27FC236}">
                  <a16:creationId xmlns:a16="http://schemas.microsoft.com/office/drawing/2014/main" id="{EBC79F1F-D2F0-4A50-9E02-5A78EB5F9B1E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761;p23">
              <a:extLst>
                <a:ext uri="{FF2B5EF4-FFF2-40B4-BE49-F238E27FC236}">
                  <a16:creationId xmlns:a16="http://schemas.microsoft.com/office/drawing/2014/main" id="{46D0A27A-3667-43EB-FF89-3217D33FA2CB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762;p23">
              <a:extLst>
                <a:ext uri="{FF2B5EF4-FFF2-40B4-BE49-F238E27FC236}">
                  <a16:creationId xmlns:a16="http://schemas.microsoft.com/office/drawing/2014/main" id="{5FE8B7A4-A68A-210B-8D7C-9115290BC0FE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763;p23">
              <a:extLst>
                <a:ext uri="{FF2B5EF4-FFF2-40B4-BE49-F238E27FC236}">
                  <a16:creationId xmlns:a16="http://schemas.microsoft.com/office/drawing/2014/main" id="{D399323A-434D-6CFF-4987-AFA91C2B158A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64;p23">
              <a:extLst>
                <a:ext uri="{FF2B5EF4-FFF2-40B4-BE49-F238E27FC236}">
                  <a16:creationId xmlns:a16="http://schemas.microsoft.com/office/drawing/2014/main" id="{017095C6-92E8-A906-C10A-B4AFCC574D5F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65;p23">
              <a:extLst>
                <a:ext uri="{FF2B5EF4-FFF2-40B4-BE49-F238E27FC236}">
                  <a16:creationId xmlns:a16="http://schemas.microsoft.com/office/drawing/2014/main" id="{20E17EEA-9DA6-4130-A256-0795699C1D8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66;p23">
              <a:extLst>
                <a:ext uri="{FF2B5EF4-FFF2-40B4-BE49-F238E27FC236}">
                  <a16:creationId xmlns:a16="http://schemas.microsoft.com/office/drawing/2014/main" id="{C32E1DB2-EEDC-2B5F-6ACF-2BF0DC78DE6E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67;p23">
              <a:extLst>
                <a:ext uri="{FF2B5EF4-FFF2-40B4-BE49-F238E27FC236}">
                  <a16:creationId xmlns:a16="http://schemas.microsoft.com/office/drawing/2014/main" id="{3D7396A3-260A-1E49-9023-D07D1B3B377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68;p23">
              <a:extLst>
                <a:ext uri="{FF2B5EF4-FFF2-40B4-BE49-F238E27FC236}">
                  <a16:creationId xmlns:a16="http://schemas.microsoft.com/office/drawing/2014/main" id="{F0F52260-88AF-8D18-72E0-2979B9606ECD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69;p23">
              <a:extLst>
                <a:ext uri="{FF2B5EF4-FFF2-40B4-BE49-F238E27FC236}">
                  <a16:creationId xmlns:a16="http://schemas.microsoft.com/office/drawing/2014/main" id="{17922451-4CB0-F238-87C4-4977713482CD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70;p23">
              <a:extLst>
                <a:ext uri="{FF2B5EF4-FFF2-40B4-BE49-F238E27FC236}">
                  <a16:creationId xmlns:a16="http://schemas.microsoft.com/office/drawing/2014/main" id="{510DF332-309D-EE82-61D1-E7C824E65F89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71;p23">
              <a:extLst>
                <a:ext uri="{FF2B5EF4-FFF2-40B4-BE49-F238E27FC236}">
                  <a16:creationId xmlns:a16="http://schemas.microsoft.com/office/drawing/2014/main" id="{E94513A0-ECC9-87E9-C877-2CF90699C76B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72;p23">
              <a:extLst>
                <a:ext uri="{FF2B5EF4-FFF2-40B4-BE49-F238E27FC236}">
                  <a16:creationId xmlns:a16="http://schemas.microsoft.com/office/drawing/2014/main" id="{7542C6DC-96F5-A4E0-C850-72063ECC05FE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73;p23">
              <a:extLst>
                <a:ext uri="{FF2B5EF4-FFF2-40B4-BE49-F238E27FC236}">
                  <a16:creationId xmlns:a16="http://schemas.microsoft.com/office/drawing/2014/main" id="{F22BE5A0-4528-4F71-25A7-E82E063136F6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74;p23">
              <a:extLst>
                <a:ext uri="{FF2B5EF4-FFF2-40B4-BE49-F238E27FC236}">
                  <a16:creationId xmlns:a16="http://schemas.microsoft.com/office/drawing/2014/main" id="{131CED4B-C0E6-6BC1-C9AF-D197EE12106D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0043407-F294-88E6-9DDF-B5732C459AF4}"/>
              </a:ext>
            </a:extLst>
          </p:cNvPr>
          <p:cNvSpPr txBox="1"/>
          <p:nvPr/>
        </p:nvSpPr>
        <p:spPr>
          <a:xfrm>
            <a:off x="1515504" y="2681759"/>
            <a:ext cx="531971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uk-UA" sz="1800" b="1" dirty="0">
                <a:latin typeface="+mj-lt"/>
              </a:rPr>
              <a:t>Прості для сприйняття</a:t>
            </a:r>
          </a:p>
          <a:p>
            <a:r>
              <a:rPr lang="uk-UA" sz="1800" b="1" dirty="0">
                <a:latin typeface="+mj-lt"/>
              </a:rPr>
              <a:t> </a:t>
            </a:r>
          </a:p>
          <a:p>
            <a:r>
              <a:rPr lang="uk-UA" sz="1800" b="1" dirty="0">
                <a:latin typeface="+mj-lt"/>
              </a:rPr>
              <a:t>2.    Лише саме необхідне</a:t>
            </a:r>
          </a:p>
          <a:p>
            <a:endParaRPr lang="uk-UA" sz="1800" b="1" dirty="0">
              <a:latin typeface="+mj-lt"/>
            </a:endParaRPr>
          </a:p>
          <a:p>
            <a:r>
              <a:rPr lang="uk-UA" b="1" dirty="0">
                <a:latin typeface="+mj-lt"/>
              </a:rPr>
              <a:t>3.    Знають де знайти</a:t>
            </a:r>
            <a:r>
              <a:rPr lang="uk-UA" sz="1800" b="1" dirty="0">
                <a:latin typeface="+mj-lt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1833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аралелограм 12">
            <a:extLst>
              <a:ext uri="{FF2B5EF4-FFF2-40B4-BE49-F238E27FC236}">
                <a16:creationId xmlns:a16="http://schemas.microsoft.com/office/drawing/2014/main" id="{36A31330-7ED9-5DB7-E693-E05CCCC7FFD2}"/>
              </a:ext>
            </a:extLst>
          </p:cNvPr>
          <p:cNvSpPr/>
          <p:nvPr/>
        </p:nvSpPr>
        <p:spPr>
          <a:xfrm>
            <a:off x="-176212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84A7EA-3A85-59F9-0D22-B4DF5B8AC6D4}"/>
              </a:ext>
            </a:extLst>
          </p:cNvPr>
          <p:cNvSpPr txBox="1"/>
          <p:nvPr/>
        </p:nvSpPr>
        <p:spPr>
          <a:xfrm>
            <a:off x="462457" y="232708"/>
            <a:ext cx="1125964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4. </a:t>
            </a:r>
            <a:r>
              <a:rPr lang="ru-RU" sz="6000" b="1" dirty="0" err="1">
                <a:latin typeface="+mj-lt"/>
              </a:rPr>
              <a:t>Оцінюйте</a:t>
            </a:r>
            <a:r>
              <a:rPr lang="ru-RU" sz="6000" b="1" dirty="0">
                <a:latin typeface="+mj-lt"/>
              </a:rPr>
              <a:t> результат </a:t>
            </a:r>
            <a:r>
              <a:rPr lang="ru-RU" sz="6000" b="1" dirty="0" err="1">
                <a:latin typeface="+mj-lt"/>
              </a:rPr>
              <a:t>роботи</a:t>
            </a:r>
            <a:r>
              <a:rPr lang="ru-RU" sz="6000" b="1" dirty="0">
                <a:latin typeface="+mj-lt"/>
              </a:rPr>
              <a:t> по </a:t>
            </a:r>
            <a:r>
              <a:rPr lang="ru-RU" sz="6000" b="1" dirty="0" err="1">
                <a:latin typeface="+mj-lt"/>
              </a:rPr>
              <a:t>тим</a:t>
            </a:r>
            <a:r>
              <a:rPr lang="ru-RU" sz="6000" b="1" dirty="0">
                <a:latin typeface="+mj-lt"/>
              </a:rPr>
              <a:t> </a:t>
            </a:r>
            <a:r>
              <a:rPr lang="ru-RU" sz="6000" b="1" dirty="0" err="1">
                <a:latin typeface="+mj-lt"/>
              </a:rPr>
              <a:t>показникам</a:t>
            </a:r>
            <a:r>
              <a:rPr lang="ru-RU" sz="6000" b="1" dirty="0">
                <a:latin typeface="+mj-lt"/>
              </a:rPr>
              <a:t> </a:t>
            </a:r>
            <a:r>
              <a:rPr lang="ru-RU" sz="6000" b="1" dirty="0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на</a:t>
            </a:r>
            <a:r>
              <a:rPr lang="en-US" sz="6000" b="1" dirty="0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,</a:t>
            </a:r>
            <a:r>
              <a:rPr lang="ru-RU" sz="6000" b="1" dirty="0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 </a:t>
            </a:r>
            <a:r>
              <a:rPr lang="ru-RU" sz="6000" b="1" dirty="0" err="1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які</a:t>
            </a:r>
            <a:r>
              <a:rPr lang="ru-RU" sz="6000" b="1" dirty="0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 вони </a:t>
            </a:r>
            <a:r>
              <a:rPr lang="ru-RU" sz="6000" b="1" dirty="0" err="1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впливають</a:t>
            </a:r>
            <a:r>
              <a:rPr lang="ru-RU" sz="6000" b="1" dirty="0">
                <a:ln w="12700">
                  <a:solidFill>
                    <a:srgbClr val="404040"/>
                  </a:solidFill>
                </a:ln>
                <a:noFill/>
                <a:latin typeface="+mj-lt"/>
              </a:rPr>
              <a:t> </a:t>
            </a:r>
          </a:p>
          <a:p>
            <a:endParaRPr lang="uk-UA" sz="6000" b="1" dirty="0">
              <a:latin typeface="+mj-lt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E57F7586-2CC3-5651-9EDA-A438E2D0BE89}"/>
              </a:ext>
            </a:extLst>
          </p:cNvPr>
          <p:cNvGrpSpPr/>
          <p:nvPr/>
        </p:nvGrpSpPr>
        <p:grpSpPr>
          <a:xfrm>
            <a:off x="386257" y="2114785"/>
            <a:ext cx="6079525" cy="4417339"/>
            <a:chOff x="1327793" y="1"/>
            <a:chExt cx="9339651" cy="6786123"/>
          </a:xfrm>
        </p:grpSpPr>
        <p:sp>
          <p:nvSpPr>
            <p:cNvPr id="5" name="Прямокутник: округлені кути 4">
              <a:extLst>
                <a:ext uri="{FF2B5EF4-FFF2-40B4-BE49-F238E27FC236}">
                  <a16:creationId xmlns:a16="http://schemas.microsoft.com/office/drawing/2014/main" id="{40462A65-5760-C023-3AEA-FB584B3D3C4F}"/>
                </a:ext>
              </a:extLst>
            </p:cNvPr>
            <p:cNvSpPr/>
            <p:nvPr/>
          </p:nvSpPr>
          <p:spPr>
            <a:xfrm>
              <a:off x="1989366" y="657225"/>
              <a:ext cx="7886154" cy="5473232"/>
            </a:xfrm>
            <a:prstGeom prst="roundRect">
              <a:avLst>
                <a:gd name="adj" fmla="val 117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6" name="Рисунок 88" descr="Зображення, що містить знімок екрана, чорний, дизайн&#10;&#10;Автоматично згенерований опис">
              <a:extLst>
                <a:ext uri="{FF2B5EF4-FFF2-40B4-BE49-F238E27FC236}">
                  <a16:creationId xmlns:a16="http://schemas.microsoft.com/office/drawing/2014/main" id="{C2FAC83A-55AE-7965-7BCA-0429C7D8B7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rot="16200000">
              <a:off x="2507590" y="-1179796"/>
              <a:ext cx="6786123" cy="9145718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9ACF6D5-2A4A-9F79-345E-8A4B3CAE186F}"/>
                </a:ext>
              </a:extLst>
            </p:cNvPr>
            <p:cNvSpPr txBox="1"/>
            <p:nvPr/>
          </p:nvSpPr>
          <p:spPr>
            <a:xfrm>
              <a:off x="1983885" y="2063110"/>
              <a:ext cx="8683559" cy="20734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ru-RU" dirty="0"/>
            </a:p>
            <a:p>
              <a:pPr marL="342900" indent="-342900" algn="l">
                <a:lnSpc>
                  <a:spcPts val="2592"/>
                </a:lnSpc>
                <a:spcBef>
                  <a:spcPct val="0"/>
                </a:spcBef>
                <a:buFont typeface="+mj-lt"/>
                <a:buAutoNum type="arabicPeriod"/>
              </a:pPr>
              <a:endParaRPr lang="en-US" dirty="0"/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A30FAC6-AF4E-318B-DFEF-155AA8918D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21560" y="1101401"/>
              <a:ext cx="7955759" cy="440928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A4D465C-CAEB-E3D0-5B47-429271161DDC}"/>
              </a:ext>
            </a:extLst>
          </p:cNvPr>
          <p:cNvSpPr txBox="1"/>
          <p:nvPr/>
        </p:nvSpPr>
        <p:spPr>
          <a:xfrm>
            <a:off x="6304731" y="2681759"/>
            <a:ext cx="5319713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b="1" dirty="0">
                <a:latin typeface="+mj-lt"/>
              </a:rPr>
              <a:t>Рейтинг має 5 блоків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b="1" dirty="0">
                <a:latin typeface="+mj-lt"/>
              </a:rPr>
              <a:t>Фінанси</a:t>
            </a:r>
            <a:r>
              <a:rPr lang="uk-UA" sz="1800" dirty="0"/>
              <a:t> (% виконання плану ТО, середній чек </a:t>
            </a:r>
            <a:r>
              <a:rPr lang="en-US" sz="1800" dirty="0" err="1"/>
              <a:t>Lfl</a:t>
            </a:r>
            <a:r>
              <a:rPr lang="uk-UA" sz="1800" dirty="0"/>
              <a:t>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Процеси</a:t>
            </a:r>
            <a:r>
              <a:rPr lang="uk-UA" sz="1800" dirty="0"/>
              <a:t> (% СКЮ без продажів, % доступності ТОП-30 артикулів, % невід’ємних залишків, % виконання завдання верифікації, % неправильних цінників, % виконання операцій за допомогою ТЗД, % своєчасного виконання завдань по інвентаризаціям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Ефективність</a:t>
            </a:r>
            <a:r>
              <a:rPr lang="uk-UA" sz="1800" b="1" dirty="0"/>
              <a:t> </a:t>
            </a:r>
            <a:r>
              <a:rPr lang="uk-UA" sz="1800" dirty="0"/>
              <a:t>(продуктивність, швидкість сканування, % відмін на касі, %  ручного вводу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Персонал</a:t>
            </a:r>
            <a:r>
              <a:rPr lang="uk-UA" sz="1800" dirty="0"/>
              <a:t> (% комплектації, % плинності)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b="1" dirty="0">
                <a:latin typeface="+mj-lt"/>
              </a:rPr>
              <a:t>Втрати</a:t>
            </a:r>
            <a:r>
              <a:rPr lang="uk-UA" sz="1800" dirty="0"/>
              <a:t>  (% списань, % втрат від уцінки, % нестач).   </a:t>
            </a:r>
          </a:p>
        </p:txBody>
      </p:sp>
    </p:spTree>
    <p:extLst>
      <p:ext uri="{BB962C8B-B14F-4D97-AF65-F5344CB8AC3E}">
        <p14:creationId xmlns:p14="http://schemas.microsoft.com/office/powerpoint/2010/main" val="35610144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D5D20E2-6E50-292D-3B83-EE2166186C9F}"/>
              </a:ext>
            </a:extLst>
          </p:cNvPr>
          <p:cNvSpPr txBox="1"/>
          <p:nvPr/>
        </p:nvSpPr>
        <p:spPr>
          <a:xfrm>
            <a:off x="462456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5.</a:t>
            </a:r>
            <a:r>
              <a:rPr lang="ru-RU" sz="6000" b="1" dirty="0">
                <a:latin typeface="+mj-lt"/>
              </a:rPr>
              <a:t> </a:t>
            </a:r>
            <a:r>
              <a:rPr lang="en-US" sz="6000" b="1" dirty="0">
                <a:latin typeface="+mj-lt"/>
              </a:rPr>
              <a:t>C</a:t>
            </a:r>
            <a:r>
              <a:rPr lang="ru-RU" sz="6000" b="1" dirty="0" err="1">
                <a:latin typeface="+mj-lt"/>
              </a:rPr>
              <a:t>тандартизац</a:t>
            </a:r>
            <a:r>
              <a:rPr lang="uk-UA" sz="6000" b="1" dirty="0" err="1">
                <a:latin typeface="+mj-lt"/>
              </a:rPr>
              <a:t>ія</a:t>
            </a:r>
            <a:endParaRPr lang="uk-UA" sz="6000" b="1" dirty="0">
              <a:ln>
                <a:solidFill>
                  <a:schemeClr val="tx1"/>
                </a:solidFill>
              </a:ln>
              <a:noFill/>
              <a:latin typeface="+mj-lt"/>
            </a:endParaRPr>
          </a:p>
        </p:txBody>
      </p:sp>
      <p:pic>
        <p:nvPicPr>
          <p:cNvPr id="7" name="Рисунок 6" descr="Зображення, що містить транспортний засіб, Наземний транспортний засіб, покришка, Автозапчастина&#10;&#10;Автоматично згенерований опис">
            <a:extLst>
              <a:ext uri="{FF2B5EF4-FFF2-40B4-BE49-F238E27FC236}">
                <a16:creationId xmlns:a16="http://schemas.microsoft.com/office/drawing/2014/main" id="{0C924C74-8B0C-A8A2-31A9-0B7F584525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6158"/>
            <a:ext cx="12191999" cy="8126436"/>
          </a:xfrm>
          <a:prstGeom prst="rect">
            <a:avLst/>
          </a:prstGeom>
          <a:solidFill>
            <a:srgbClr val="404040"/>
          </a:solidFill>
          <a:ln w="38100">
            <a:solidFill>
              <a:srgbClr val="E9A82A"/>
            </a:solidFill>
          </a:ln>
        </p:spPr>
      </p:pic>
      <p:pic>
        <p:nvPicPr>
          <p:cNvPr id="14" name="Рисунок 13" descr="Зображення, що містить текст, знімок екрана, Шрифт, число&#10;&#10;Автоматично згенерований опис">
            <a:extLst>
              <a:ext uri="{FF2B5EF4-FFF2-40B4-BE49-F238E27FC236}">
                <a16:creationId xmlns:a16="http://schemas.microsoft.com/office/drawing/2014/main" id="{377D9178-94C2-9E52-26BD-AA8EDFCEC02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10"/>
          <a:stretch/>
        </p:blipFill>
        <p:spPr>
          <a:xfrm rot="21448302">
            <a:off x="4765330" y="4849162"/>
            <a:ext cx="2407350" cy="1292289"/>
          </a:xfrm>
          <a:custGeom>
            <a:avLst/>
            <a:gdLst>
              <a:gd name="connsiteX0" fmla="*/ 2435270 w 2441869"/>
              <a:gd name="connsiteY0" fmla="*/ 0 h 1310819"/>
              <a:gd name="connsiteX1" fmla="*/ 2441869 w 2441869"/>
              <a:gd name="connsiteY1" fmla="*/ 277085 h 1310819"/>
              <a:gd name="connsiteX2" fmla="*/ 2441869 w 2441869"/>
              <a:gd name="connsiteY2" fmla="*/ 1310819 h 1310819"/>
              <a:gd name="connsiteX3" fmla="*/ 0 w 2441869"/>
              <a:gd name="connsiteY3" fmla="*/ 1310819 h 1310819"/>
              <a:gd name="connsiteX4" fmla="*/ 0 w 2441869"/>
              <a:gd name="connsiteY4" fmla="*/ 0 h 1310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1869" h="1310819">
                <a:moveTo>
                  <a:pt x="2435270" y="0"/>
                </a:moveTo>
                <a:lnTo>
                  <a:pt x="2441869" y="277085"/>
                </a:lnTo>
                <a:lnTo>
                  <a:pt x="2441869" y="1310819"/>
                </a:lnTo>
                <a:lnTo>
                  <a:pt x="0" y="1310819"/>
                </a:lnTo>
                <a:lnTo>
                  <a:pt x="0" y="0"/>
                </a:ln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3049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6A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Зображення, що містить особа, Засоби індивідуального захисту, одежа, спортивний інвентар&#10;&#10;Автоматично згенерований опис">
            <a:extLst>
              <a:ext uri="{FF2B5EF4-FFF2-40B4-BE49-F238E27FC236}">
                <a16:creationId xmlns:a16="http://schemas.microsoft.com/office/drawing/2014/main" id="{95863A18-C09E-6925-56E6-E72AF77113F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8812" y="1379"/>
            <a:ext cx="12192000" cy="6855242"/>
          </a:xfrm>
          <a:prstGeom prst="rect">
            <a:avLst/>
          </a:prstGeom>
        </p:spPr>
      </p:pic>
      <p:sp>
        <p:nvSpPr>
          <p:cNvPr id="12" name="Прямокутник 50">
            <a:extLst>
              <a:ext uri="{FF2B5EF4-FFF2-40B4-BE49-F238E27FC236}">
                <a16:creationId xmlns:a16="http://schemas.microsoft.com/office/drawing/2014/main" id="{F9F62989-9109-2901-F501-A48F87357A16}"/>
              </a:ext>
            </a:extLst>
          </p:cNvPr>
          <p:cNvSpPr/>
          <p:nvPr/>
        </p:nvSpPr>
        <p:spPr>
          <a:xfrm flipH="1">
            <a:off x="-7932248" y="-274320"/>
            <a:ext cx="12836202" cy="737616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3" name="Паралелограм 22">
            <a:extLst>
              <a:ext uri="{FF2B5EF4-FFF2-40B4-BE49-F238E27FC236}">
                <a16:creationId xmlns:a16="http://schemas.microsoft.com/office/drawing/2014/main" id="{11E67215-8EE6-242F-2E71-DCFAAAAD8085}"/>
              </a:ext>
            </a:extLst>
          </p:cNvPr>
          <p:cNvSpPr/>
          <p:nvPr/>
        </p:nvSpPr>
        <p:spPr>
          <a:xfrm>
            <a:off x="-1996151" y="-341719"/>
            <a:ext cx="6764300" cy="9478228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FA467-5A5E-749D-A262-F7A1FD7B1A9E}"/>
              </a:ext>
            </a:extLst>
          </p:cNvPr>
          <p:cNvSpPr txBox="1"/>
          <p:nvPr/>
        </p:nvSpPr>
        <p:spPr>
          <a:xfrm>
            <a:off x="453015" y="873947"/>
            <a:ext cx="3342692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900" b="1" dirty="0">
                <a:latin typeface="Akrobat Black" panose="00000A00000000000000" pitchFamily="50" charset="-52"/>
              </a:rPr>
              <a:t>0</a:t>
            </a:r>
            <a:r>
              <a:rPr lang="ru-RU" sz="23900" b="1" dirty="0">
                <a:latin typeface="Akrobat Black" panose="00000A00000000000000" pitchFamily="50" charset="-52"/>
              </a:rPr>
              <a:t>2</a:t>
            </a:r>
            <a:endParaRPr lang="uk-UA" sz="11500" dirty="0">
              <a:latin typeface="Akrobat Black" panose="00000A00000000000000" pitchFamily="50" charset="-52"/>
            </a:endParaRPr>
          </a:p>
        </p:txBody>
      </p:sp>
      <p:cxnSp>
        <p:nvCxnSpPr>
          <p:cNvPr id="25" name="Пряма сполучна лінія 24">
            <a:extLst>
              <a:ext uri="{FF2B5EF4-FFF2-40B4-BE49-F238E27FC236}">
                <a16:creationId xmlns:a16="http://schemas.microsoft.com/office/drawing/2014/main" id="{DC1C3B52-0DE6-B5E5-A475-61BBDC8332FD}"/>
              </a:ext>
            </a:extLst>
          </p:cNvPr>
          <p:cNvCxnSpPr>
            <a:cxnSpLocks/>
          </p:cNvCxnSpPr>
          <p:nvPr/>
        </p:nvCxnSpPr>
        <p:spPr>
          <a:xfrm>
            <a:off x="658813" y="4212112"/>
            <a:ext cx="146554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08EC544-B04C-4426-65BD-FD6B1B292B11}"/>
              </a:ext>
            </a:extLst>
          </p:cNvPr>
          <p:cNvSpPr txBox="1"/>
          <p:nvPr/>
        </p:nvSpPr>
        <p:spPr>
          <a:xfrm>
            <a:off x="5448201" y="3628547"/>
            <a:ext cx="6743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dirty="0">
                <a:solidFill>
                  <a:schemeClr val="bg1"/>
                </a:solidFill>
                <a:latin typeface="+mj-lt"/>
              </a:rPr>
              <a:t>ПЛАНУЙ ТА РЕАГУЙ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A3EDD4-BE36-1356-5518-639365DCB548}"/>
              </a:ext>
            </a:extLst>
          </p:cNvPr>
          <p:cNvSpPr txBox="1"/>
          <p:nvPr/>
        </p:nvSpPr>
        <p:spPr>
          <a:xfrm>
            <a:off x="560118" y="4269467"/>
            <a:ext cx="2506931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uk-UA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Як реагувати</a:t>
            </a:r>
            <a:br>
              <a:rPr lang="uk-UA" sz="2400" dirty="0">
                <a:solidFill>
                  <a:schemeClr val="tx1"/>
                </a:solidFill>
                <a:latin typeface="Akrobat SemiBold" panose="00000700000000000000" pitchFamily="50" charset="-52"/>
              </a:rPr>
            </a:br>
            <a:r>
              <a:rPr lang="uk-UA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на непередбачувані зовнішні зміни</a:t>
            </a:r>
          </a:p>
        </p:txBody>
      </p:sp>
    </p:spTree>
    <p:extLst>
      <p:ext uri="{BB962C8B-B14F-4D97-AF65-F5344CB8AC3E}">
        <p14:creationId xmlns:p14="http://schemas.microsoft.com/office/powerpoint/2010/main" val="35393520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8957B57-336D-75A5-773B-550734031458}"/>
              </a:ext>
            </a:extLst>
          </p:cNvPr>
          <p:cNvSpPr txBox="1"/>
          <p:nvPr/>
        </p:nvSpPr>
        <p:spPr>
          <a:xfrm>
            <a:off x="462456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1.</a:t>
            </a:r>
            <a:r>
              <a:rPr lang="ru-RU" sz="6000" b="1" dirty="0">
                <a:latin typeface="+mj-lt"/>
              </a:rPr>
              <a:t> </a:t>
            </a:r>
            <a:r>
              <a:rPr lang="uk-UA" sz="6000" b="1" dirty="0">
                <a:latin typeface="+mj-lt"/>
              </a:rPr>
              <a:t>Бюджетування</a:t>
            </a:r>
            <a:endParaRPr lang="uk-UA" sz="6000" b="1" dirty="0">
              <a:ln>
                <a:solidFill>
                  <a:schemeClr val="tx1"/>
                </a:solidFill>
              </a:ln>
              <a:noFill/>
              <a:latin typeface="+mj-lt"/>
            </a:endParaRPr>
          </a:p>
        </p:txBody>
      </p:sp>
      <p:grpSp>
        <p:nvGrpSpPr>
          <p:cNvPr id="6" name="Google Shape;60;p3">
            <a:extLst>
              <a:ext uri="{FF2B5EF4-FFF2-40B4-BE49-F238E27FC236}">
                <a16:creationId xmlns:a16="http://schemas.microsoft.com/office/drawing/2014/main" id="{621F499C-3ECF-B3FD-81E0-5AA2B1A4E958}"/>
              </a:ext>
            </a:extLst>
          </p:cNvPr>
          <p:cNvGrpSpPr/>
          <p:nvPr/>
        </p:nvGrpSpPr>
        <p:grpSpPr>
          <a:xfrm rot="10800000">
            <a:off x="10800128" y="-151376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7" name="Google Shape;61;p3">
              <a:extLst>
                <a:ext uri="{FF2B5EF4-FFF2-40B4-BE49-F238E27FC236}">
                  <a16:creationId xmlns:a16="http://schemas.microsoft.com/office/drawing/2014/main" id="{2F9602A8-400E-0791-7029-4B5026A933DB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62;p3">
              <a:extLst>
                <a:ext uri="{FF2B5EF4-FFF2-40B4-BE49-F238E27FC236}">
                  <a16:creationId xmlns:a16="http://schemas.microsoft.com/office/drawing/2014/main" id="{01434C5B-44E4-F78D-B93A-4B927EFF3E9C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63;p3">
              <a:extLst>
                <a:ext uri="{FF2B5EF4-FFF2-40B4-BE49-F238E27FC236}">
                  <a16:creationId xmlns:a16="http://schemas.microsoft.com/office/drawing/2014/main" id="{597A3783-3828-4E10-ABB5-A07277CEBDD8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64;p3">
              <a:extLst>
                <a:ext uri="{FF2B5EF4-FFF2-40B4-BE49-F238E27FC236}">
                  <a16:creationId xmlns:a16="http://schemas.microsoft.com/office/drawing/2014/main" id="{69B9C073-318E-3CDB-C892-2BD8411D9CE0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65;p3">
              <a:extLst>
                <a:ext uri="{FF2B5EF4-FFF2-40B4-BE49-F238E27FC236}">
                  <a16:creationId xmlns:a16="http://schemas.microsoft.com/office/drawing/2014/main" id="{8B097314-47FC-38E0-3E5D-1C18BAD0A179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66;p3">
              <a:extLst>
                <a:ext uri="{FF2B5EF4-FFF2-40B4-BE49-F238E27FC236}">
                  <a16:creationId xmlns:a16="http://schemas.microsoft.com/office/drawing/2014/main" id="{D4237B01-3E16-E35E-558F-2E533409F39E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67;p3">
              <a:extLst>
                <a:ext uri="{FF2B5EF4-FFF2-40B4-BE49-F238E27FC236}">
                  <a16:creationId xmlns:a16="http://schemas.microsoft.com/office/drawing/2014/main" id="{95F35804-AA2A-4622-A029-0B4A2D1FDA4A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68;p3">
              <a:extLst>
                <a:ext uri="{FF2B5EF4-FFF2-40B4-BE49-F238E27FC236}">
                  <a16:creationId xmlns:a16="http://schemas.microsoft.com/office/drawing/2014/main" id="{F8E5192C-BACA-9648-F7D5-412DB8B7A77E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69;p3">
              <a:extLst>
                <a:ext uri="{FF2B5EF4-FFF2-40B4-BE49-F238E27FC236}">
                  <a16:creationId xmlns:a16="http://schemas.microsoft.com/office/drawing/2014/main" id="{BA8016A2-DCEB-61D3-D111-721786CC8A9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70;p3">
              <a:extLst>
                <a:ext uri="{FF2B5EF4-FFF2-40B4-BE49-F238E27FC236}">
                  <a16:creationId xmlns:a16="http://schemas.microsoft.com/office/drawing/2014/main" id="{C21405E0-0400-1C37-3ECA-ED3AD71D39A5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71;p3">
              <a:extLst>
                <a:ext uri="{FF2B5EF4-FFF2-40B4-BE49-F238E27FC236}">
                  <a16:creationId xmlns:a16="http://schemas.microsoft.com/office/drawing/2014/main" id="{7B378E7D-093B-DCDE-A67F-E0C453E54B96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72;p3">
              <a:extLst>
                <a:ext uri="{FF2B5EF4-FFF2-40B4-BE49-F238E27FC236}">
                  <a16:creationId xmlns:a16="http://schemas.microsoft.com/office/drawing/2014/main" id="{E03E1644-FA11-A891-5197-366D36D49290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73;p3">
              <a:extLst>
                <a:ext uri="{FF2B5EF4-FFF2-40B4-BE49-F238E27FC236}">
                  <a16:creationId xmlns:a16="http://schemas.microsoft.com/office/drawing/2014/main" id="{9011BBA7-08BB-3A71-3C62-7FDD518EC51D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74;p3">
              <a:extLst>
                <a:ext uri="{FF2B5EF4-FFF2-40B4-BE49-F238E27FC236}">
                  <a16:creationId xmlns:a16="http://schemas.microsoft.com/office/drawing/2014/main" id="{8CBBFF07-0BFC-FEEC-C89E-6CDE7CFAB2D3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75;p3">
              <a:extLst>
                <a:ext uri="{FF2B5EF4-FFF2-40B4-BE49-F238E27FC236}">
                  <a16:creationId xmlns:a16="http://schemas.microsoft.com/office/drawing/2014/main" id="{53ED8C8C-8B10-DD54-2BB8-58FE97A6B956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76;p3">
              <a:extLst>
                <a:ext uri="{FF2B5EF4-FFF2-40B4-BE49-F238E27FC236}">
                  <a16:creationId xmlns:a16="http://schemas.microsoft.com/office/drawing/2014/main" id="{BC5FCC55-12CC-E3F5-EF46-C8F3C17B1D6B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4" name="Рисунок 23" descr="Зображення, що містить текст, особа, у приміщенні, Персональний комп’ютер&#10;&#10;Автоматично згенерований опис">
            <a:extLst>
              <a:ext uri="{FF2B5EF4-FFF2-40B4-BE49-F238E27FC236}">
                <a16:creationId xmlns:a16="http://schemas.microsoft.com/office/drawing/2014/main" id="{43381A88-5267-7DCF-0320-66AFB41716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94" b="21450"/>
          <a:stretch/>
        </p:blipFill>
        <p:spPr>
          <a:xfrm>
            <a:off x="-1" y="1484313"/>
            <a:ext cx="12191999" cy="5373687"/>
          </a:xfrm>
          <a:prstGeom prst="rect">
            <a:avLst/>
          </a:prstGeom>
          <a:solidFill>
            <a:srgbClr val="404040"/>
          </a:solidFill>
          <a:ln w="38100">
            <a:solidFill>
              <a:srgbClr val="E9A82A"/>
            </a:solidFill>
          </a:ln>
        </p:spPr>
      </p:pic>
    </p:spTree>
    <p:extLst>
      <p:ext uri="{BB962C8B-B14F-4D97-AF65-F5344CB8AC3E}">
        <p14:creationId xmlns:p14="http://schemas.microsoft.com/office/powerpoint/2010/main" val="4234762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аралелограм 15">
            <a:extLst>
              <a:ext uri="{FF2B5EF4-FFF2-40B4-BE49-F238E27FC236}">
                <a16:creationId xmlns:a16="http://schemas.microsoft.com/office/drawing/2014/main" id="{2AFA7201-5C48-B103-E451-96A76A245B1F}"/>
              </a:ext>
            </a:extLst>
          </p:cNvPr>
          <p:cNvSpPr/>
          <p:nvPr/>
        </p:nvSpPr>
        <p:spPr>
          <a:xfrm>
            <a:off x="-1" y="4318000"/>
            <a:ext cx="12192001" cy="2540000"/>
          </a:xfrm>
          <a:prstGeom prst="parallelogram">
            <a:avLst>
              <a:gd name="adj" fmla="val 0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7" name="Групувати 16">
            <a:extLst>
              <a:ext uri="{FF2B5EF4-FFF2-40B4-BE49-F238E27FC236}">
                <a16:creationId xmlns:a16="http://schemas.microsoft.com/office/drawing/2014/main" id="{EDF5B98B-0F69-3D0A-7C6D-D78FC69B7488}"/>
              </a:ext>
            </a:extLst>
          </p:cNvPr>
          <p:cNvGrpSpPr/>
          <p:nvPr/>
        </p:nvGrpSpPr>
        <p:grpSpPr>
          <a:xfrm>
            <a:off x="4578127" y="1491913"/>
            <a:ext cx="7385274" cy="5366087"/>
            <a:chOff x="3996779" y="1314685"/>
            <a:chExt cx="8618043" cy="6261808"/>
          </a:xfrm>
        </p:grpSpPr>
        <p:pic>
          <p:nvPicPr>
            <p:cNvPr id="15" name="Рисунок 14" descr="Зображення, що містить текст, знімок екрана, схема, План&#10;&#10;Автоматично згенерований опис">
              <a:extLst>
                <a:ext uri="{FF2B5EF4-FFF2-40B4-BE49-F238E27FC236}">
                  <a16:creationId xmlns:a16="http://schemas.microsoft.com/office/drawing/2014/main" id="{5ECBC53F-84B3-CD1C-7593-7649054802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2724"/>
            <a:stretch/>
          </p:blipFill>
          <p:spPr>
            <a:xfrm>
              <a:off x="4602178" y="1909537"/>
              <a:ext cx="7396340" cy="5061948"/>
            </a:xfrm>
            <a:prstGeom prst="rect">
              <a:avLst/>
            </a:prstGeom>
          </p:spPr>
        </p:pic>
        <p:grpSp>
          <p:nvGrpSpPr>
            <p:cNvPr id="5" name="Групувати 4">
              <a:extLst>
                <a:ext uri="{FF2B5EF4-FFF2-40B4-BE49-F238E27FC236}">
                  <a16:creationId xmlns:a16="http://schemas.microsoft.com/office/drawing/2014/main" id="{57933B44-EFED-D004-B634-8109A2EE152D}"/>
                </a:ext>
              </a:extLst>
            </p:cNvPr>
            <p:cNvGrpSpPr/>
            <p:nvPr/>
          </p:nvGrpSpPr>
          <p:grpSpPr>
            <a:xfrm>
              <a:off x="3996779" y="1314685"/>
              <a:ext cx="8618043" cy="6261808"/>
              <a:chOff x="1327793" y="1"/>
              <a:chExt cx="9339651" cy="6786123"/>
            </a:xfrm>
          </p:grpSpPr>
          <p:pic>
            <p:nvPicPr>
              <p:cNvPr id="8" name="Рисунок 88" descr="Зображення, що містить знімок екрана, чорний, дизайн&#10;&#10;Автоматично згенерований опис">
                <a:extLst>
                  <a:ext uri="{FF2B5EF4-FFF2-40B4-BE49-F238E27FC236}">
                    <a16:creationId xmlns:a16="http://schemas.microsoft.com/office/drawing/2014/main" id="{C8EA1CB3-A3A7-D7D5-1D64-BCDF7E40B3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/>
            </p:blipFill>
            <p:spPr>
              <a:xfrm rot="16200000">
                <a:off x="2507590" y="-1179796"/>
                <a:ext cx="6786123" cy="9145718"/>
              </a:xfrm>
              <a:prstGeom prst="rect">
                <a:avLst/>
              </a:prstGeom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DF1AF79-5D4A-7910-4B8B-2E7B7BE3FFDA}"/>
                  </a:ext>
                </a:extLst>
              </p:cNvPr>
              <p:cNvSpPr txBox="1"/>
              <p:nvPr/>
            </p:nvSpPr>
            <p:spPr>
              <a:xfrm>
                <a:off x="1983885" y="2063110"/>
                <a:ext cx="8683559" cy="20734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ru-RU" dirty="0"/>
              </a:p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ru-RU" dirty="0"/>
              </a:p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ru-RU" dirty="0"/>
              </a:p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ru-RU" dirty="0"/>
              </a:p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ru-RU" dirty="0"/>
              </a:p>
              <a:p>
                <a:pPr marL="342900" indent="-342900" algn="l">
                  <a:lnSpc>
                    <a:spcPts val="2592"/>
                  </a:lnSpc>
                  <a:spcBef>
                    <a:spcPct val="0"/>
                  </a:spcBef>
                  <a:buFont typeface="+mj-lt"/>
                  <a:buAutoNum type="arabicPeriod"/>
                </a:pPr>
                <a:endParaRPr lang="en-US" dirty="0"/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D226D5F-E6A2-3CED-F79D-2AAC61269B79}"/>
              </a:ext>
            </a:extLst>
          </p:cNvPr>
          <p:cNvSpPr txBox="1"/>
          <p:nvPr/>
        </p:nvSpPr>
        <p:spPr>
          <a:xfrm>
            <a:off x="508000" y="469900"/>
            <a:ext cx="14122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6000" b="1" dirty="0">
                <a:latin typeface="+mj-lt"/>
              </a:rPr>
              <a:t>2. Інструмент для бізнес аналітик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A23675-4262-2CFF-B8EE-D079AAE0CCBC}"/>
              </a:ext>
            </a:extLst>
          </p:cNvPr>
          <p:cNvSpPr txBox="1"/>
          <p:nvPr/>
        </p:nvSpPr>
        <p:spPr>
          <a:xfrm>
            <a:off x="508000" y="1748521"/>
            <a:ext cx="112395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b="1" dirty="0">
                <a:latin typeface="+mj-lt"/>
              </a:rPr>
              <a:t>Ми використовуємо:</a:t>
            </a:r>
            <a:endParaRPr lang="uk-UA" sz="2000" dirty="0">
              <a:latin typeface="+mj-lt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прогнозування;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аналіз продажів та залишків;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аналіз акцій</a:t>
            </a:r>
            <a:r>
              <a:rPr lang="uk-UA" dirty="0"/>
              <a:t> та </a:t>
            </a:r>
            <a:r>
              <a:rPr lang="uk-UA" sz="1800" dirty="0" err="1"/>
              <a:t>чеків</a:t>
            </a:r>
            <a:r>
              <a:rPr lang="uk-UA" sz="1800" dirty="0"/>
              <a:t>;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аналіз фінансів;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аналіз </a:t>
            </a:r>
            <a:r>
              <a:rPr lang="uk-UA" sz="1800" dirty="0" err="1"/>
              <a:t>операціної</a:t>
            </a:r>
            <a:r>
              <a:rPr lang="uk-UA" sz="1800" dirty="0"/>
              <a:t> діяльності;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uk-UA" sz="1800" dirty="0"/>
              <a:t>аналіз роботи кас;</a:t>
            </a:r>
          </a:p>
        </p:txBody>
      </p:sp>
      <p:grpSp>
        <p:nvGrpSpPr>
          <p:cNvPr id="18" name="Google Shape;1176;p50">
            <a:extLst>
              <a:ext uri="{FF2B5EF4-FFF2-40B4-BE49-F238E27FC236}">
                <a16:creationId xmlns:a16="http://schemas.microsoft.com/office/drawing/2014/main" id="{9C98D7FD-FD11-4EAA-B8C9-A62FDDC89148}"/>
              </a:ext>
            </a:extLst>
          </p:cNvPr>
          <p:cNvGrpSpPr/>
          <p:nvPr/>
        </p:nvGrpSpPr>
        <p:grpSpPr>
          <a:xfrm>
            <a:off x="1663022" y="6388100"/>
            <a:ext cx="1119327" cy="692597"/>
            <a:chOff x="3132025" y="2362375"/>
            <a:chExt cx="814530" cy="504000"/>
          </a:xfrm>
          <a:noFill/>
        </p:grpSpPr>
        <p:sp>
          <p:nvSpPr>
            <p:cNvPr id="19" name="Google Shape;1177;p50">
              <a:extLst>
                <a:ext uri="{FF2B5EF4-FFF2-40B4-BE49-F238E27FC236}">
                  <a16:creationId xmlns:a16="http://schemas.microsoft.com/office/drawing/2014/main" id="{812259F2-D2FE-CEE7-E84C-AFAF851344B8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178;p50">
              <a:extLst>
                <a:ext uri="{FF2B5EF4-FFF2-40B4-BE49-F238E27FC236}">
                  <a16:creationId xmlns:a16="http://schemas.microsoft.com/office/drawing/2014/main" id="{A82ACE0D-B043-9FB6-1253-695B05B87D17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179;p50">
              <a:extLst>
                <a:ext uri="{FF2B5EF4-FFF2-40B4-BE49-F238E27FC236}">
                  <a16:creationId xmlns:a16="http://schemas.microsoft.com/office/drawing/2014/main" id="{C507C0B5-87B2-43F3-A175-D997D68CAF5B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2" name="!!Google Shape;775;p23">
            <a:extLst>
              <a:ext uri="{FF2B5EF4-FFF2-40B4-BE49-F238E27FC236}">
                <a16:creationId xmlns:a16="http://schemas.microsoft.com/office/drawing/2014/main" id="{96E606C3-B444-8CF6-8876-588A9AD93D16}"/>
              </a:ext>
            </a:extLst>
          </p:cNvPr>
          <p:cNvGrpSpPr/>
          <p:nvPr/>
        </p:nvGrpSpPr>
        <p:grpSpPr>
          <a:xfrm rot="5400000">
            <a:off x="3906764" y="4264350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23" name="Google Shape;776;p23">
              <a:extLst>
                <a:ext uri="{FF2B5EF4-FFF2-40B4-BE49-F238E27FC236}">
                  <a16:creationId xmlns:a16="http://schemas.microsoft.com/office/drawing/2014/main" id="{DFBCF3C9-157A-900A-389B-967B12223550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777;p23">
              <a:extLst>
                <a:ext uri="{FF2B5EF4-FFF2-40B4-BE49-F238E27FC236}">
                  <a16:creationId xmlns:a16="http://schemas.microsoft.com/office/drawing/2014/main" id="{0DF071C7-1D03-7247-76B8-84578C263876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778;p23">
              <a:extLst>
                <a:ext uri="{FF2B5EF4-FFF2-40B4-BE49-F238E27FC236}">
                  <a16:creationId xmlns:a16="http://schemas.microsoft.com/office/drawing/2014/main" id="{5F39A7D4-6C06-F2CC-9E10-D6FB03F2DB62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779;p23">
              <a:extLst>
                <a:ext uri="{FF2B5EF4-FFF2-40B4-BE49-F238E27FC236}">
                  <a16:creationId xmlns:a16="http://schemas.microsoft.com/office/drawing/2014/main" id="{01B36C6B-2174-7DE9-A90E-848F7BB1D1FE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80;p23">
              <a:extLst>
                <a:ext uri="{FF2B5EF4-FFF2-40B4-BE49-F238E27FC236}">
                  <a16:creationId xmlns:a16="http://schemas.microsoft.com/office/drawing/2014/main" id="{4540787F-59DB-939A-B41D-26B08365119B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81;p23">
              <a:extLst>
                <a:ext uri="{FF2B5EF4-FFF2-40B4-BE49-F238E27FC236}">
                  <a16:creationId xmlns:a16="http://schemas.microsoft.com/office/drawing/2014/main" id="{286AE71C-8AE4-46C1-EE14-14D096346B42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82;p23">
              <a:extLst>
                <a:ext uri="{FF2B5EF4-FFF2-40B4-BE49-F238E27FC236}">
                  <a16:creationId xmlns:a16="http://schemas.microsoft.com/office/drawing/2014/main" id="{5DEA10D0-2A53-BB5D-1920-A499362C84FD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83;p23">
              <a:extLst>
                <a:ext uri="{FF2B5EF4-FFF2-40B4-BE49-F238E27FC236}">
                  <a16:creationId xmlns:a16="http://schemas.microsoft.com/office/drawing/2014/main" id="{90436D93-204C-2A31-3AB8-0B4F94254201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84;p23">
              <a:extLst>
                <a:ext uri="{FF2B5EF4-FFF2-40B4-BE49-F238E27FC236}">
                  <a16:creationId xmlns:a16="http://schemas.microsoft.com/office/drawing/2014/main" id="{24DD3BC8-4D6B-D0B2-E8AC-5E86FE8A6EC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85;p23">
              <a:extLst>
                <a:ext uri="{FF2B5EF4-FFF2-40B4-BE49-F238E27FC236}">
                  <a16:creationId xmlns:a16="http://schemas.microsoft.com/office/drawing/2014/main" id="{87E214DE-C705-E062-1AAD-2FCD82150AFD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86;p23">
              <a:extLst>
                <a:ext uri="{FF2B5EF4-FFF2-40B4-BE49-F238E27FC236}">
                  <a16:creationId xmlns:a16="http://schemas.microsoft.com/office/drawing/2014/main" id="{5E7E840F-4B00-C3F9-F00B-4AF438A42B19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87;p23">
              <a:extLst>
                <a:ext uri="{FF2B5EF4-FFF2-40B4-BE49-F238E27FC236}">
                  <a16:creationId xmlns:a16="http://schemas.microsoft.com/office/drawing/2014/main" id="{E2E6BC8F-8B4C-4FEC-6139-EFA13753C748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88;p23">
              <a:extLst>
                <a:ext uri="{FF2B5EF4-FFF2-40B4-BE49-F238E27FC236}">
                  <a16:creationId xmlns:a16="http://schemas.microsoft.com/office/drawing/2014/main" id="{3E490C15-5500-AC4F-D045-D5D635FBC032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89;p23">
              <a:extLst>
                <a:ext uri="{FF2B5EF4-FFF2-40B4-BE49-F238E27FC236}">
                  <a16:creationId xmlns:a16="http://schemas.microsoft.com/office/drawing/2014/main" id="{257F0CE3-8258-21BC-EA3D-B5C5B9D318DA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90;p23">
              <a:extLst>
                <a:ext uri="{FF2B5EF4-FFF2-40B4-BE49-F238E27FC236}">
                  <a16:creationId xmlns:a16="http://schemas.microsoft.com/office/drawing/2014/main" id="{AB81C1B8-C4AE-AB1F-4E5F-6263B2D037EB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91;p23">
              <a:extLst>
                <a:ext uri="{FF2B5EF4-FFF2-40B4-BE49-F238E27FC236}">
                  <a16:creationId xmlns:a16="http://schemas.microsoft.com/office/drawing/2014/main" id="{D287256A-395A-719B-3545-48AE335935DD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1" name="Паралелограм 40">
            <a:extLst>
              <a:ext uri="{FF2B5EF4-FFF2-40B4-BE49-F238E27FC236}">
                <a16:creationId xmlns:a16="http://schemas.microsoft.com/office/drawing/2014/main" id="{8FEBB571-CEED-8AE4-88B4-836573CD7116}"/>
              </a:ext>
            </a:extLst>
          </p:cNvPr>
          <p:cNvSpPr/>
          <p:nvPr/>
        </p:nvSpPr>
        <p:spPr>
          <a:xfrm>
            <a:off x="14803274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2" name="Рисунок 41" descr="Зображення, що містить транспортний засіб, колесо, покришка, Наземний транспортний засіб&#10;&#10;Автоматично згенерований опис">
            <a:extLst>
              <a:ext uri="{FF2B5EF4-FFF2-40B4-BE49-F238E27FC236}">
                <a16:creationId xmlns:a16="http://schemas.microsoft.com/office/drawing/2014/main" id="{F8D8C362-7A08-7543-6A96-6560CBEB164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3324" y="582038"/>
            <a:ext cx="10286016" cy="6858000"/>
          </a:xfrm>
          <a:prstGeom prst="rect">
            <a:avLst/>
          </a:prstGeom>
        </p:spPr>
      </p:pic>
      <p:sp>
        <p:nvSpPr>
          <p:cNvPr id="43" name="Паралелограм 42">
            <a:extLst>
              <a:ext uri="{FF2B5EF4-FFF2-40B4-BE49-F238E27FC236}">
                <a16:creationId xmlns:a16="http://schemas.microsoft.com/office/drawing/2014/main" id="{304A29FF-DFD9-A527-54C1-B53DC781F1C2}"/>
              </a:ext>
            </a:extLst>
          </p:cNvPr>
          <p:cNvSpPr/>
          <p:nvPr/>
        </p:nvSpPr>
        <p:spPr>
          <a:xfrm>
            <a:off x="-8392319" y="1305199"/>
            <a:ext cx="7686462" cy="908084"/>
          </a:xfrm>
          <a:prstGeom prst="parallelogram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6F1C821-358B-C5CC-017D-4A60DB0F338F}"/>
              </a:ext>
            </a:extLst>
          </p:cNvPr>
          <p:cNvSpPr txBox="1"/>
          <p:nvPr/>
        </p:nvSpPr>
        <p:spPr>
          <a:xfrm>
            <a:off x="-7232069" y="1410066"/>
            <a:ext cx="66421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solidFill>
                  <a:schemeClr val="bg1"/>
                </a:solidFill>
              </a:rPr>
              <a:t>Ми пройшли процес еволюції від фінансових результатів в кінці місяця до розуміння ситуації </a:t>
            </a:r>
            <a:r>
              <a:rPr lang="uk-UA" sz="2000" dirty="0">
                <a:solidFill>
                  <a:schemeClr val="bg1"/>
                </a:solidFill>
                <a:latin typeface="+mj-lt"/>
              </a:rPr>
              <a:t>в режимі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on-lin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320C277-FE9D-134E-BA1A-185546FFFFCB}"/>
              </a:ext>
            </a:extLst>
          </p:cNvPr>
          <p:cNvSpPr txBox="1"/>
          <p:nvPr/>
        </p:nvSpPr>
        <p:spPr>
          <a:xfrm>
            <a:off x="-7143169" y="2403943"/>
            <a:ext cx="6642100" cy="251197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>
              <a:lnSpc>
                <a:spcPct val="114000"/>
              </a:lnSpc>
              <a:defRPr sz="2000"/>
            </a:lvl1pPr>
          </a:lstStyle>
          <a:p>
            <a:r>
              <a:rPr lang="ru-RU" dirty="0">
                <a:latin typeface="+mj-lt"/>
              </a:rPr>
              <a:t>Система </a:t>
            </a:r>
            <a:r>
              <a:rPr lang="ru-RU" dirty="0" err="1">
                <a:latin typeface="+mj-lt"/>
              </a:rPr>
              <a:t>генерує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овідомлення</a:t>
            </a:r>
            <a:r>
              <a:rPr lang="ru-RU" dirty="0">
                <a:latin typeface="+mj-lt"/>
              </a:rPr>
              <a:t> в </a:t>
            </a:r>
            <a:r>
              <a:rPr lang="ru-RU" dirty="0" err="1">
                <a:latin typeface="+mj-lt"/>
              </a:rPr>
              <a:t>разі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відхилень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від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завданих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нормативних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оказників</a:t>
            </a:r>
            <a:endParaRPr lang="uk-UA" dirty="0">
              <a:latin typeface="+mj-lt"/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Наявність черг на касах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Своєчасне поповнення полиць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Контроль виконавчої дисципліни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Робота з </a:t>
            </a:r>
            <a:r>
              <a:rPr lang="uk-UA" dirty="0" err="1"/>
              <a:t>високоризиковими</a:t>
            </a:r>
            <a:r>
              <a:rPr lang="uk-UA" dirty="0"/>
              <a:t> товарами </a:t>
            </a:r>
            <a:r>
              <a:rPr lang="en-US" dirty="0"/>
              <a:t>Over-stock</a:t>
            </a:r>
            <a:endParaRPr lang="uk-UA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Відхилення від нормативних показників по втратам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18076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аралелограм 10">
            <a:extLst>
              <a:ext uri="{FF2B5EF4-FFF2-40B4-BE49-F238E27FC236}">
                <a16:creationId xmlns:a16="http://schemas.microsoft.com/office/drawing/2014/main" id="{24954564-DF06-6054-CE2B-840A018FA540}"/>
              </a:ext>
            </a:extLst>
          </p:cNvPr>
          <p:cNvSpPr/>
          <p:nvPr/>
        </p:nvSpPr>
        <p:spPr>
          <a:xfrm>
            <a:off x="6740242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0" name="Рисунок 9" descr="Зображення, що містить транспортний засіб, колесо, покришка, Наземний транспортний засіб&#10;&#10;Автоматично згенерований опис">
            <a:extLst>
              <a:ext uri="{FF2B5EF4-FFF2-40B4-BE49-F238E27FC236}">
                <a16:creationId xmlns:a16="http://schemas.microsoft.com/office/drawing/2014/main" id="{00A3DA15-2684-22C0-6B98-13F19C5E68E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292" y="582038"/>
            <a:ext cx="10286016" cy="6858000"/>
          </a:xfrm>
          <a:prstGeom prst="rect">
            <a:avLst/>
          </a:prstGeom>
        </p:spPr>
      </p:pic>
      <p:sp>
        <p:nvSpPr>
          <p:cNvPr id="8" name="Паралелограм 7">
            <a:extLst>
              <a:ext uri="{FF2B5EF4-FFF2-40B4-BE49-F238E27FC236}">
                <a16:creationId xmlns:a16="http://schemas.microsoft.com/office/drawing/2014/main" id="{CCD9275D-BB0D-861A-F2C8-A47FD0B5E566}"/>
              </a:ext>
            </a:extLst>
          </p:cNvPr>
          <p:cNvSpPr/>
          <p:nvPr/>
        </p:nvSpPr>
        <p:spPr>
          <a:xfrm>
            <a:off x="-625262" y="1305199"/>
            <a:ext cx="7686462" cy="908084"/>
          </a:xfrm>
          <a:prstGeom prst="parallelogram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891FD4-AC56-B482-0E35-D05DCF64CED4}"/>
              </a:ext>
            </a:extLst>
          </p:cNvPr>
          <p:cNvSpPr txBox="1"/>
          <p:nvPr/>
        </p:nvSpPr>
        <p:spPr>
          <a:xfrm>
            <a:off x="462456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3.</a:t>
            </a:r>
            <a:r>
              <a:rPr lang="ru-RU" sz="6000" b="1" dirty="0">
                <a:latin typeface="+mj-lt"/>
              </a:rPr>
              <a:t> </a:t>
            </a:r>
            <a:r>
              <a:rPr lang="uk-UA" sz="6000" b="1" dirty="0">
                <a:latin typeface="+mj-lt"/>
              </a:rPr>
              <a:t>Завчасне реагування</a:t>
            </a:r>
            <a:endParaRPr lang="uk-UA" sz="6000" b="1" dirty="0">
              <a:ln>
                <a:solidFill>
                  <a:schemeClr val="tx1"/>
                </a:solidFill>
              </a:ln>
              <a:noFill/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E8957C-CCB8-E664-95F4-40E6C851E35D}"/>
              </a:ext>
            </a:extLst>
          </p:cNvPr>
          <p:cNvSpPr txBox="1"/>
          <p:nvPr/>
        </p:nvSpPr>
        <p:spPr>
          <a:xfrm>
            <a:off x="534988" y="1405298"/>
            <a:ext cx="66421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solidFill>
                  <a:schemeClr val="bg1"/>
                </a:solidFill>
              </a:rPr>
              <a:t>Ми пройшли процес еволюції, від фінансових результатів в кінці місяця, до розуміння ситуації </a:t>
            </a:r>
            <a:r>
              <a:rPr lang="uk-UA" sz="2000" dirty="0">
                <a:solidFill>
                  <a:schemeClr val="bg1"/>
                </a:solidFill>
                <a:latin typeface="+mj-lt"/>
              </a:rPr>
              <a:t>в режимі </a:t>
            </a:r>
            <a:r>
              <a:rPr lang="en-US" sz="2000" dirty="0">
                <a:solidFill>
                  <a:schemeClr val="bg1"/>
                </a:solidFill>
                <a:latin typeface="+mj-lt"/>
              </a:rPr>
              <a:t>on-l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901E1-CC12-4587-AB02-865AF1D7FFA6}"/>
              </a:ext>
            </a:extLst>
          </p:cNvPr>
          <p:cNvSpPr txBox="1"/>
          <p:nvPr/>
        </p:nvSpPr>
        <p:spPr>
          <a:xfrm>
            <a:off x="534988" y="2403943"/>
            <a:ext cx="6642100" cy="251197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>
              <a:lnSpc>
                <a:spcPct val="114000"/>
              </a:lnSpc>
              <a:defRPr sz="2000"/>
            </a:lvl1pPr>
          </a:lstStyle>
          <a:p>
            <a:r>
              <a:rPr lang="ru-RU" dirty="0">
                <a:latin typeface="+mj-lt"/>
              </a:rPr>
              <a:t>Система </a:t>
            </a:r>
            <a:r>
              <a:rPr lang="ru-RU" dirty="0" err="1">
                <a:latin typeface="+mj-lt"/>
              </a:rPr>
              <a:t>генерує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овідомлення</a:t>
            </a:r>
            <a:r>
              <a:rPr lang="ru-RU" dirty="0">
                <a:latin typeface="+mj-lt"/>
              </a:rPr>
              <a:t> в </a:t>
            </a:r>
            <a:r>
              <a:rPr lang="ru-RU" dirty="0" err="1">
                <a:latin typeface="+mj-lt"/>
              </a:rPr>
              <a:t>разі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відхилень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від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завданих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нормативних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оказників</a:t>
            </a:r>
            <a:endParaRPr lang="uk-UA" dirty="0">
              <a:latin typeface="+mj-lt"/>
            </a:endParaRP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Наявність черг на касах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Своєчасне поповнення полиць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Контроль виконавчої дисципліни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Робота з </a:t>
            </a:r>
            <a:r>
              <a:rPr lang="uk-UA" dirty="0" err="1"/>
              <a:t>високоризиковими</a:t>
            </a:r>
            <a:r>
              <a:rPr lang="uk-UA" dirty="0"/>
              <a:t> товарами </a:t>
            </a:r>
            <a:r>
              <a:rPr lang="en-US" dirty="0"/>
              <a:t>Over-stock</a:t>
            </a:r>
            <a:endParaRPr lang="uk-UA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uk-UA" dirty="0"/>
              <a:t>Відхилення від нормативних показників по втратам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1294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D226D5F-E6A2-3CED-F79D-2AAC61269B79}"/>
              </a:ext>
            </a:extLst>
          </p:cNvPr>
          <p:cNvSpPr txBox="1"/>
          <p:nvPr/>
        </p:nvSpPr>
        <p:spPr>
          <a:xfrm>
            <a:off x="14697075" y="643394"/>
            <a:ext cx="10814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uk-UA" sz="1400" dirty="0"/>
          </a:p>
          <a:p>
            <a:endParaRPr lang="ru-UA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AB4CDA-50D6-63D2-6F85-589016F6F7D7}"/>
              </a:ext>
            </a:extLst>
          </p:cNvPr>
          <p:cNvSpPr txBox="1"/>
          <p:nvPr/>
        </p:nvSpPr>
        <p:spPr>
          <a:xfrm>
            <a:off x="462456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4.</a:t>
            </a:r>
            <a:r>
              <a:rPr lang="ru-RU" sz="6000" b="1" dirty="0">
                <a:latin typeface="+mj-lt"/>
              </a:rPr>
              <a:t> </a:t>
            </a:r>
            <a:r>
              <a:rPr lang="uk-UA" sz="6000" b="1" dirty="0">
                <a:latin typeface="+mj-lt"/>
              </a:rPr>
              <a:t>Постійно змінюйте фокус уваги</a:t>
            </a:r>
          </a:p>
        </p:txBody>
      </p:sp>
      <p:pic>
        <p:nvPicPr>
          <p:cNvPr id="5" name="Рисунок 4" descr="Зображення, що містить покришка, земля, Автозапчастина, просто неба&#10;&#10;Автоматично згенерований опис">
            <a:extLst>
              <a:ext uri="{FF2B5EF4-FFF2-40B4-BE49-F238E27FC236}">
                <a16:creationId xmlns:a16="http://schemas.microsoft.com/office/drawing/2014/main" id="{441C3F48-E199-F054-8153-8C65BDC00C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313"/>
            <a:ext cx="12192000" cy="6858000"/>
          </a:xfrm>
          <a:prstGeom prst="rect">
            <a:avLst/>
          </a:prstGeom>
          <a:solidFill>
            <a:srgbClr val="404040"/>
          </a:solidFill>
          <a:ln w="38100">
            <a:solidFill>
              <a:srgbClr val="E9A82A"/>
            </a:solidFill>
          </a:ln>
        </p:spPr>
      </p:pic>
      <p:sp>
        <p:nvSpPr>
          <p:cNvPr id="6" name="Паралелограм 5">
            <a:extLst>
              <a:ext uri="{FF2B5EF4-FFF2-40B4-BE49-F238E27FC236}">
                <a16:creationId xmlns:a16="http://schemas.microsoft.com/office/drawing/2014/main" id="{44FC8ED7-8F9D-6DA6-7BA4-8C4E9C048D24}"/>
              </a:ext>
            </a:extLst>
          </p:cNvPr>
          <p:cNvSpPr/>
          <p:nvPr/>
        </p:nvSpPr>
        <p:spPr>
          <a:xfrm>
            <a:off x="5595091" y="2577887"/>
            <a:ext cx="5720610" cy="901914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C71AFE-9396-6908-0535-4521CB03AF04}"/>
              </a:ext>
            </a:extLst>
          </p:cNvPr>
          <p:cNvSpPr txBox="1"/>
          <p:nvPr/>
        </p:nvSpPr>
        <p:spPr>
          <a:xfrm>
            <a:off x="5872163" y="2756761"/>
            <a:ext cx="59959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/>
              <a:t>А</a:t>
            </a:r>
            <a:r>
              <a:rPr lang="uk-UA" sz="1800" b="1" dirty="0" err="1"/>
              <a:t>кцентування</a:t>
            </a:r>
            <a:r>
              <a:rPr lang="uk-UA" sz="1800" b="1" dirty="0"/>
              <a:t> уваги на продаж певної товарної групи</a:t>
            </a:r>
            <a:br>
              <a:rPr lang="en-US" sz="1800" b="1" dirty="0"/>
            </a:br>
            <a:r>
              <a:rPr lang="ru-RU" sz="1800" b="1" dirty="0">
                <a:latin typeface="+mj-lt"/>
              </a:rPr>
              <a:t>Результат:</a:t>
            </a:r>
            <a:r>
              <a:rPr lang="uk-UA" b="1" dirty="0">
                <a:latin typeface="+mj-lt"/>
              </a:rPr>
              <a:t> </a:t>
            </a:r>
            <a:r>
              <a:rPr lang="uk-UA" sz="1800" b="1" dirty="0"/>
              <a:t>збільшення продажів в 3 рази</a:t>
            </a:r>
          </a:p>
        </p:txBody>
      </p:sp>
      <p:sp>
        <p:nvSpPr>
          <p:cNvPr id="10" name="Паралелограм 9">
            <a:extLst>
              <a:ext uri="{FF2B5EF4-FFF2-40B4-BE49-F238E27FC236}">
                <a16:creationId xmlns:a16="http://schemas.microsoft.com/office/drawing/2014/main" id="{030CB111-5BC6-D7AA-A2FF-87B0A72F9393}"/>
              </a:ext>
            </a:extLst>
          </p:cNvPr>
          <p:cNvSpPr/>
          <p:nvPr/>
        </p:nvSpPr>
        <p:spPr>
          <a:xfrm>
            <a:off x="5376016" y="2126625"/>
            <a:ext cx="2301134" cy="620712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dirty="0">
                <a:latin typeface="+mj-lt"/>
              </a:rPr>
              <a:t>Кейс #1</a:t>
            </a:r>
          </a:p>
        </p:txBody>
      </p:sp>
      <p:sp>
        <p:nvSpPr>
          <p:cNvPr id="11" name="Паралелограм 10">
            <a:extLst>
              <a:ext uri="{FF2B5EF4-FFF2-40B4-BE49-F238E27FC236}">
                <a16:creationId xmlns:a16="http://schemas.microsoft.com/office/drawing/2014/main" id="{C12C4ED1-D0DF-15E3-4C0A-1F0EB0CF063D}"/>
              </a:ext>
            </a:extLst>
          </p:cNvPr>
          <p:cNvSpPr/>
          <p:nvPr/>
        </p:nvSpPr>
        <p:spPr>
          <a:xfrm>
            <a:off x="5595091" y="4273962"/>
            <a:ext cx="5720610" cy="901914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5AF1EF-76ED-2977-00B1-727ACB938C01}"/>
              </a:ext>
            </a:extLst>
          </p:cNvPr>
          <p:cNvSpPr txBox="1"/>
          <p:nvPr/>
        </p:nvSpPr>
        <p:spPr>
          <a:xfrm>
            <a:off x="5872163" y="4452836"/>
            <a:ext cx="59959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err="1"/>
              <a:t>А</a:t>
            </a:r>
            <a:r>
              <a:rPr lang="ru-RU" sz="1800" b="1" dirty="0" err="1"/>
              <a:t>кцентування</a:t>
            </a:r>
            <a:r>
              <a:rPr lang="ru-RU" sz="1800" b="1" dirty="0"/>
              <a:t> </a:t>
            </a:r>
            <a:r>
              <a:rPr lang="ru-RU" sz="1800" b="1" dirty="0" err="1"/>
              <a:t>уваги</a:t>
            </a:r>
            <a:r>
              <a:rPr lang="ru-RU" sz="1800" b="1" dirty="0"/>
              <a:t> на </a:t>
            </a:r>
            <a:r>
              <a:rPr lang="ru-RU" sz="1800" b="1" dirty="0" err="1"/>
              <a:t>втратах</a:t>
            </a:r>
            <a:r>
              <a:rPr lang="ru-RU" sz="1800" b="1" dirty="0"/>
              <a:t> </a:t>
            </a:r>
            <a:r>
              <a:rPr lang="ru-RU" sz="1800" b="1" dirty="0" err="1"/>
              <a:t>від</a:t>
            </a:r>
            <a:r>
              <a:rPr lang="ru-RU" sz="1800" b="1" dirty="0"/>
              <a:t> </a:t>
            </a:r>
            <a:r>
              <a:rPr lang="ru-RU" sz="1800" b="1" dirty="0" err="1"/>
              <a:t>списань</a:t>
            </a:r>
            <a:r>
              <a:rPr lang="ru-RU" sz="1800" b="1" dirty="0"/>
              <a:t> </a:t>
            </a:r>
            <a:br>
              <a:rPr lang="en-US" sz="1800" b="1" dirty="0"/>
            </a:br>
            <a:r>
              <a:rPr lang="ru-RU" sz="1800" b="1" dirty="0">
                <a:latin typeface="+mj-lt"/>
              </a:rPr>
              <a:t>Результат:</a:t>
            </a:r>
            <a:r>
              <a:rPr lang="uk-UA" b="1" dirty="0">
                <a:latin typeface="+mj-lt"/>
              </a:rPr>
              <a:t> </a:t>
            </a:r>
            <a:r>
              <a:rPr lang="uk-UA" sz="1800" b="1" dirty="0"/>
              <a:t>покращення показник</a:t>
            </a:r>
            <a:r>
              <a:rPr lang="uk-UA" b="1" dirty="0"/>
              <a:t>ів</a:t>
            </a:r>
            <a:r>
              <a:rPr lang="uk-UA" sz="1800" b="1" dirty="0"/>
              <a:t> в </a:t>
            </a:r>
            <a:r>
              <a:rPr lang="uk-UA" b="1" dirty="0"/>
              <a:t>2</a:t>
            </a:r>
            <a:r>
              <a:rPr lang="uk-UA" sz="1800" b="1" dirty="0"/>
              <a:t> рази</a:t>
            </a:r>
          </a:p>
        </p:txBody>
      </p:sp>
      <p:sp>
        <p:nvSpPr>
          <p:cNvPr id="13" name="Паралелограм 12">
            <a:extLst>
              <a:ext uri="{FF2B5EF4-FFF2-40B4-BE49-F238E27FC236}">
                <a16:creationId xmlns:a16="http://schemas.microsoft.com/office/drawing/2014/main" id="{A9AA2C2E-E005-F0A8-6470-D83CF4848CDF}"/>
              </a:ext>
            </a:extLst>
          </p:cNvPr>
          <p:cNvSpPr/>
          <p:nvPr/>
        </p:nvSpPr>
        <p:spPr>
          <a:xfrm>
            <a:off x="5376016" y="3822700"/>
            <a:ext cx="2301134" cy="620712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dirty="0">
                <a:latin typeface="+mj-lt"/>
              </a:rPr>
              <a:t>Кейс #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53955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A8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кутник 50">
            <a:extLst>
              <a:ext uri="{FF2B5EF4-FFF2-40B4-BE49-F238E27FC236}">
                <a16:creationId xmlns:a16="http://schemas.microsoft.com/office/drawing/2014/main" id="{F9F62989-9109-2901-F501-A48F87357A16}"/>
              </a:ext>
            </a:extLst>
          </p:cNvPr>
          <p:cNvSpPr/>
          <p:nvPr/>
        </p:nvSpPr>
        <p:spPr>
          <a:xfrm flipH="1">
            <a:off x="-7932248" y="-274320"/>
            <a:ext cx="12836202" cy="737616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3" name="Паралелограм 22">
            <a:extLst>
              <a:ext uri="{FF2B5EF4-FFF2-40B4-BE49-F238E27FC236}">
                <a16:creationId xmlns:a16="http://schemas.microsoft.com/office/drawing/2014/main" id="{11E67215-8EE6-242F-2E71-DCFAAAAD8085}"/>
              </a:ext>
            </a:extLst>
          </p:cNvPr>
          <p:cNvSpPr/>
          <p:nvPr/>
        </p:nvSpPr>
        <p:spPr>
          <a:xfrm>
            <a:off x="-1996151" y="-341719"/>
            <a:ext cx="6764300" cy="9478228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FA467-5A5E-749D-A262-F7A1FD7B1A9E}"/>
              </a:ext>
            </a:extLst>
          </p:cNvPr>
          <p:cNvSpPr txBox="1"/>
          <p:nvPr/>
        </p:nvSpPr>
        <p:spPr>
          <a:xfrm>
            <a:off x="453015" y="873947"/>
            <a:ext cx="3342692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9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0</a:t>
            </a:r>
            <a:r>
              <a:rPr lang="ru-RU" sz="239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3</a:t>
            </a:r>
            <a:endParaRPr lang="uk-UA" sz="115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cxnSp>
        <p:nvCxnSpPr>
          <p:cNvPr id="25" name="Пряма сполучна лінія 24">
            <a:extLst>
              <a:ext uri="{FF2B5EF4-FFF2-40B4-BE49-F238E27FC236}">
                <a16:creationId xmlns:a16="http://schemas.microsoft.com/office/drawing/2014/main" id="{DC1C3B52-0DE6-B5E5-A475-61BBDC8332FD}"/>
              </a:ext>
            </a:extLst>
          </p:cNvPr>
          <p:cNvCxnSpPr>
            <a:cxnSpLocks/>
          </p:cNvCxnSpPr>
          <p:nvPr/>
        </p:nvCxnSpPr>
        <p:spPr>
          <a:xfrm>
            <a:off x="658813" y="4212112"/>
            <a:ext cx="146554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 descr="Зображення, що містить колесо, транспортний засіб, особа, транспорт&#10;&#10;Автоматично згенерований опис">
            <a:extLst>
              <a:ext uri="{FF2B5EF4-FFF2-40B4-BE49-F238E27FC236}">
                <a16:creationId xmlns:a16="http://schemas.microsoft.com/office/drawing/2014/main" id="{2F539B73-3377-6229-A21D-966FACBF4C2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00000" flipH="1">
            <a:off x="2477840" y="139065"/>
            <a:ext cx="9478950" cy="751522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7E16CBB-B8C0-EE65-16E2-AA871BF04292}"/>
              </a:ext>
            </a:extLst>
          </p:cNvPr>
          <p:cNvSpPr txBox="1"/>
          <p:nvPr/>
        </p:nvSpPr>
        <p:spPr>
          <a:xfrm>
            <a:off x="5136629" y="2881014"/>
            <a:ext cx="6743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6000" dirty="0">
                <a:solidFill>
                  <a:schemeClr val="bg1"/>
                </a:solidFill>
                <a:latin typeface="+mj-lt"/>
              </a:rPr>
              <a:t>ТРИМАЙ БАЛАНС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F012006-7DB4-9FC4-E091-B92B795D61C5}"/>
              </a:ext>
            </a:extLst>
          </p:cNvPr>
          <p:cNvSpPr txBox="1"/>
          <p:nvPr/>
        </p:nvSpPr>
        <p:spPr>
          <a:xfrm>
            <a:off x="516515" y="4423558"/>
            <a:ext cx="2493385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uk-UA" sz="2400" dirty="0">
                <a:latin typeface="Akrobat SemiBold" panose="00000700000000000000" pitchFamily="50" charset="-52"/>
              </a:rPr>
              <a:t>Як знайти баланс між задоволеністю та ефективністю співробітника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0798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аралелограм 7">
            <a:extLst>
              <a:ext uri="{FF2B5EF4-FFF2-40B4-BE49-F238E27FC236}">
                <a16:creationId xmlns:a16="http://schemas.microsoft.com/office/drawing/2014/main" id="{A4979D3E-191E-5B0B-3040-D49BE3A3B6BA}"/>
              </a:ext>
            </a:extLst>
          </p:cNvPr>
          <p:cNvSpPr/>
          <p:nvPr/>
        </p:nvSpPr>
        <p:spPr>
          <a:xfrm>
            <a:off x="1316960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FF9C702-5D2E-B3BE-87D8-9C076021373E}"/>
              </a:ext>
            </a:extLst>
          </p:cNvPr>
          <p:cNvSpPr txBox="1"/>
          <p:nvPr/>
        </p:nvSpPr>
        <p:spPr>
          <a:xfrm>
            <a:off x="462457" y="299073"/>
            <a:ext cx="100674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1. Бізнес з людським обличчя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55E6F4-F00A-4957-1CC6-1597AAFA7771}"/>
              </a:ext>
            </a:extLst>
          </p:cNvPr>
          <p:cNvSpPr txBox="1"/>
          <p:nvPr/>
        </p:nvSpPr>
        <p:spPr>
          <a:xfrm>
            <a:off x="8081260" y="2399462"/>
            <a:ext cx="3530600" cy="14593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>
              <a:lnSpc>
                <a:spcPct val="114000"/>
              </a:lnSpc>
              <a:defRPr sz="2000"/>
            </a:lvl1pPr>
          </a:lstStyle>
          <a:p>
            <a:r>
              <a:rPr lang="uk-UA" dirty="0"/>
              <a:t>1. </a:t>
            </a:r>
            <a:r>
              <a:rPr lang="ru-RU" dirty="0"/>
              <a:t>Ф</a:t>
            </a:r>
            <a:r>
              <a:rPr lang="uk-UA" dirty="0" err="1"/>
              <a:t>ундаментальні</a:t>
            </a:r>
            <a:r>
              <a:rPr lang="uk-UA" dirty="0"/>
              <a:t> речі</a:t>
            </a:r>
            <a:br>
              <a:rPr lang="uk-UA" dirty="0"/>
            </a:br>
            <a:r>
              <a:rPr lang="uk-UA" dirty="0"/>
              <a:t>2. Персонал </a:t>
            </a:r>
            <a:r>
              <a:rPr lang="uk-UA" b="0" i="0" dirty="0">
                <a:solidFill>
                  <a:srgbClr val="202124"/>
                </a:solidFill>
                <a:effectLst/>
                <a:highlight>
                  <a:srgbClr val="FFFFFF"/>
                </a:highlight>
                <a:latin typeface="Akrobat Light" panose="00000500000000000000" pitchFamily="50" charset="-52"/>
              </a:rPr>
              <a:t>— </a:t>
            </a:r>
            <a:r>
              <a:rPr lang="uk-UA" dirty="0"/>
              <a:t>це не ресурс</a:t>
            </a:r>
          </a:p>
          <a:p>
            <a:r>
              <a:rPr lang="uk-UA" dirty="0"/>
              <a:t>3. Доступ до верхньої інстанції</a:t>
            </a:r>
          </a:p>
          <a:p>
            <a:r>
              <a:rPr lang="uk-UA" dirty="0"/>
              <a:t>4. Створюйте «</a:t>
            </a:r>
            <a:r>
              <a:rPr lang="uk-UA" dirty="0" err="1"/>
              <a:t>Вау</a:t>
            </a:r>
            <a:r>
              <a:rPr lang="uk-UA" dirty="0"/>
              <a:t>-ефект»</a:t>
            </a:r>
          </a:p>
        </p:txBody>
      </p:sp>
      <p:pic>
        <p:nvPicPr>
          <p:cNvPr id="11266" name="Picture 2" descr="На зображенні може бути: 2 людини, піца та текст">
            <a:extLst>
              <a:ext uri="{FF2B5EF4-FFF2-40B4-BE49-F238E27FC236}">
                <a16:creationId xmlns:a16="http://schemas.microsoft.com/office/drawing/2014/main" id="{108D45A7-AD12-0285-CE4E-D9CCC71BD8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74"/>
          <a:stretch/>
        </p:blipFill>
        <p:spPr bwMode="auto">
          <a:xfrm>
            <a:off x="-1838017" y="1581436"/>
            <a:ext cx="9496117" cy="6858000"/>
          </a:xfrm>
          <a:prstGeom prst="parallelogram">
            <a:avLst>
              <a:gd name="adj" fmla="val 14206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1FC2364-042B-1AEC-A98A-C67CFADD1BF1}"/>
              </a:ext>
            </a:extLst>
          </p:cNvPr>
          <p:cNvGrpSpPr/>
          <p:nvPr/>
        </p:nvGrpSpPr>
        <p:grpSpPr>
          <a:xfrm>
            <a:off x="6860999" y="4342324"/>
            <a:ext cx="2497374" cy="2355906"/>
            <a:chOff x="6860999" y="4342324"/>
            <a:chExt cx="2497374" cy="2355906"/>
          </a:xfrm>
        </p:grpSpPr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CE211004-4CA8-2CEA-854D-2C2D7BB189EC}"/>
                </a:ext>
              </a:extLst>
            </p:cNvPr>
            <p:cNvSpPr/>
            <p:nvPr/>
          </p:nvSpPr>
          <p:spPr>
            <a:xfrm>
              <a:off x="7004957" y="4415548"/>
              <a:ext cx="2209458" cy="2209458"/>
            </a:xfrm>
            <a:prstGeom prst="ellipse">
              <a:avLst/>
            </a:prstGeom>
            <a:solidFill>
              <a:srgbClr val="2B6A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FB68C9C-F9CA-7BA0-2034-9E127481135D}"/>
                </a:ext>
              </a:extLst>
            </p:cNvPr>
            <p:cNvSpPr txBox="1"/>
            <p:nvPr/>
          </p:nvSpPr>
          <p:spPr>
            <a:xfrm>
              <a:off x="8580791" y="5200555"/>
              <a:ext cx="53073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3200" dirty="0">
                  <a:solidFill>
                    <a:schemeClr val="bg1"/>
                  </a:solidFill>
                  <a:latin typeface="+mj-lt"/>
                </a:rPr>
                <a:t>%</a:t>
              </a:r>
              <a:endParaRPr lang="uk-UA" sz="3200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E80C89A-F76D-9BE8-B435-60A0DAE4D0DE}"/>
                </a:ext>
              </a:extLst>
            </p:cNvPr>
            <p:cNvSpPr txBox="1"/>
            <p:nvPr/>
          </p:nvSpPr>
          <p:spPr>
            <a:xfrm>
              <a:off x="7336642" y="4800832"/>
              <a:ext cx="1502758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8000" dirty="0">
                  <a:solidFill>
                    <a:schemeClr val="bg1"/>
                  </a:solidFill>
                  <a:latin typeface="+mj-lt"/>
                </a:rPr>
                <a:t>8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D83840E-1BAC-5118-4921-30DC5BF13945}"/>
                </a:ext>
              </a:extLst>
            </p:cNvPr>
            <p:cNvSpPr txBox="1"/>
            <p:nvPr/>
          </p:nvSpPr>
          <p:spPr>
            <a:xfrm>
              <a:off x="6860999" y="5977972"/>
              <a:ext cx="249737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ENPS</a:t>
              </a:r>
              <a:endParaRPr lang="uk-UA" dirty="0">
                <a:solidFill>
                  <a:schemeClr val="bg1"/>
                </a:solidFill>
              </a:endParaRPr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1B3F84B3-ED55-1BBB-D9F7-3CD6B912DCE8}"/>
                </a:ext>
              </a:extLst>
            </p:cNvPr>
            <p:cNvSpPr/>
            <p:nvPr/>
          </p:nvSpPr>
          <p:spPr>
            <a:xfrm>
              <a:off x="6932566" y="4342324"/>
              <a:ext cx="2355908" cy="2355906"/>
            </a:xfrm>
            <a:prstGeom prst="ellipse">
              <a:avLst/>
            </a:prstGeom>
            <a:noFill/>
            <a:ln>
              <a:solidFill>
                <a:srgbClr val="2B6AE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/>
                <a:t> </a:t>
              </a:r>
              <a:endParaRPr lang="uk-UA" dirty="0"/>
            </a:p>
          </p:txBody>
        </p:sp>
      </p:grpSp>
      <p:grpSp>
        <p:nvGrpSpPr>
          <p:cNvPr id="36" name="Групувати 35">
            <a:extLst>
              <a:ext uri="{FF2B5EF4-FFF2-40B4-BE49-F238E27FC236}">
                <a16:creationId xmlns:a16="http://schemas.microsoft.com/office/drawing/2014/main" id="{5F77F1AC-5917-98EA-D7ED-77061F622471}"/>
              </a:ext>
            </a:extLst>
          </p:cNvPr>
          <p:cNvGrpSpPr/>
          <p:nvPr/>
        </p:nvGrpSpPr>
        <p:grpSpPr>
          <a:xfrm>
            <a:off x="9671773" y="4501698"/>
            <a:ext cx="2007254" cy="1775842"/>
            <a:chOff x="1766131" y="4403592"/>
            <a:chExt cx="2330615" cy="2061924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46715AC9-9328-452B-105D-D4243D126B33}"/>
                </a:ext>
              </a:extLst>
            </p:cNvPr>
            <p:cNvSpPr/>
            <p:nvPr/>
          </p:nvSpPr>
          <p:spPr>
            <a:xfrm>
              <a:off x="1900477" y="4403592"/>
              <a:ext cx="2061924" cy="2061924"/>
            </a:xfrm>
            <a:prstGeom prst="ellipse">
              <a:avLst/>
            </a:pr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A1C9D15-30EB-8217-8C71-4E2E767FD109}"/>
                </a:ext>
              </a:extLst>
            </p:cNvPr>
            <p:cNvSpPr txBox="1"/>
            <p:nvPr/>
          </p:nvSpPr>
          <p:spPr>
            <a:xfrm>
              <a:off x="3451402" y="5142166"/>
              <a:ext cx="495300" cy="6789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3200" dirty="0">
                  <a:solidFill>
                    <a:schemeClr val="bg1"/>
                  </a:solidFill>
                  <a:latin typeface="+mj-lt"/>
                </a:rPr>
                <a:t>%</a:t>
              </a:r>
              <a:endParaRPr lang="uk-UA" sz="3200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24D69CB-B37B-200D-6B90-153DB65004A0}"/>
                </a:ext>
              </a:extLst>
            </p:cNvPr>
            <p:cNvSpPr txBox="1"/>
            <p:nvPr/>
          </p:nvSpPr>
          <p:spPr>
            <a:xfrm>
              <a:off x="1983040" y="4467470"/>
              <a:ext cx="1676090" cy="15366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8000" dirty="0">
                  <a:solidFill>
                    <a:schemeClr val="bg1"/>
                  </a:solidFill>
                  <a:latin typeface="+mj-lt"/>
                </a:rPr>
                <a:t>3-5</a:t>
              </a:r>
              <a:endParaRPr lang="uk-UA" sz="8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D187371-802F-495D-728D-D275439E7ACF}"/>
                </a:ext>
              </a:extLst>
            </p:cNvPr>
            <p:cNvSpPr txBox="1"/>
            <p:nvPr/>
          </p:nvSpPr>
          <p:spPr>
            <a:xfrm>
              <a:off x="1766131" y="5730152"/>
              <a:ext cx="2330615" cy="428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dirty="0">
                  <a:solidFill>
                    <a:schemeClr val="bg1"/>
                  </a:solidFill>
                </a:rPr>
                <a:t>дефіцит</a:t>
              </a:r>
            </a:p>
          </p:txBody>
        </p:sp>
      </p:grpSp>
      <p:sp>
        <p:nvSpPr>
          <p:cNvPr id="41" name="Овал 40">
            <a:extLst>
              <a:ext uri="{FF2B5EF4-FFF2-40B4-BE49-F238E27FC236}">
                <a16:creationId xmlns:a16="http://schemas.microsoft.com/office/drawing/2014/main" id="{80119604-3B48-F092-6AF6-678D929B1725}"/>
              </a:ext>
            </a:extLst>
          </p:cNvPr>
          <p:cNvSpPr/>
          <p:nvPr/>
        </p:nvSpPr>
        <p:spPr>
          <a:xfrm>
            <a:off x="9728623" y="4436887"/>
            <a:ext cx="1893552" cy="1893550"/>
          </a:xfrm>
          <a:prstGeom prst="ellipse">
            <a:avLst/>
          </a:prstGeom>
          <a:noFill/>
          <a:ln>
            <a:solidFill>
              <a:srgbClr val="40404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95829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6A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кутник 50">
            <a:extLst>
              <a:ext uri="{FF2B5EF4-FFF2-40B4-BE49-F238E27FC236}">
                <a16:creationId xmlns:a16="http://schemas.microsoft.com/office/drawing/2014/main" id="{BB9780EF-139A-CCEC-2CF4-61072EA1F0B0}"/>
              </a:ext>
            </a:extLst>
          </p:cNvPr>
          <p:cNvSpPr/>
          <p:nvPr/>
        </p:nvSpPr>
        <p:spPr>
          <a:xfrm flipH="1">
            <a:off x="597270" y="3628048"/>
            <a:ext cx="6121643" cy="132344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1" name="Групувати 10">
            <a:extLst>
              <a:ext uri="{FF2B5EF4-FFF2-40B4-BE49-F238E27FC236}">
                <a16:creationId xmlns:a16="http://schemas.microsoft.com/office/drawing/2014/main" id="{69E85126-992A-AB3F-7B96-23A221F9C464}"/>
              </a:ext>
            </a:extLst>
          </p:cNvPr>
          <p:cNvGrpSpPr/>
          <p:nvPr/>
        </p:nvGrpSpPr>
        <p:grpSpPr>
          <a:xfrm>
            <a:off x="7558224" y="1712145"/>
            <a:ext cx="10335523" cy="5477815"/>
            <a:chOff x="-6522720" y="-347878"/>
            <a:chExt cx="4786769" cy="2536982"/>
          </a:xfrm>
        </p:grpSpPr>
        <p:sp>
          <p:nvSpPr>
            <p:cNvPr id="12" name="Прямокутник 50">
              <a:extLst>
                <a:ext uri="{FF2B5EF4-FFF2-40B4-BE49-F238E27FC236}">
                  <a16:creationId xmlns:a16="http://schemas.microsoft.com/office/drawing/2014/main" id="{90FE2B86-0BA0-0CBD-4E85-ABA95DFB1FEB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3" name="Прямокутник 50">
              <a:extLst>
                <a:ext uri="{FF2B5EF4-FFF2-40B4-BE49-F238E27FC236}">
                  <a16:creationId xmlns:a16="http://schemas.microsoft.com/office/drawing/2014/main" id="{EA82F627-625A-AACF-F562-13B9E69A75BB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FAD19D5-C5DD-20FC-2474-B6B725771431}"/>
              </a:ext>
            </a:extLst>
          </p:cNvPr>
          <p:cNvSpPr txBox="1"/>
          <p:nvPr/>
        </p:nvSpPr>
        <p:spPr>
          <a:xfrm>
            <a:off x="622913" y="3581427"/>
            <a:ext cx="489396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6000" b="1" dirty="0">
                <a:latin typeface="Akrobat Black" panose="00000A00000000000000" pitchFamily="50" charset="-52"/>
              </a:rPr>
              <a:t>15 </a:t>
            </a:r>
            <a:r>
              <a:rPr lang="ru-RU" sz="6000" b="1" dirty="0" err="1">
                <a:latin typeface="Akrobat Black" panose="00000A00000000000000" pitchFamily="50" charset="-52"/>
              </a:rPr>
              <a:t>років</a:t>
            </a:r>
            <a:r>
              <a:rPr lang="ru-RU" sz="6000" b="1" dirty="0">
                <a:latin typeface="Akrobat Black" panose="00000A00000000000000" pitchFamily="50" charset="-52"/>
              </a:rPr>
              <a:t> </a:t>
            </a:r>
            <a:br>
              <a:rPr lang="ru-RU" b="1" dirty="0">
                <a:latin typeface="Akrobat Black" panose="00000A00000000000000" pitchFamily="50" charset="-52"/>
              </a:rPr>
            </a:br>
            <a:r>
              <a:rPr lang="ru-RU" sz="2000" dirty="0" err="1">
                <a:latin typeface="Akrobat SemiBold" panose="00000700000000000000" pitchFamily="50" charset="-52"/>
              </a:rPr>
              <a:t>працюю</a:t>
            </a:r>
            <a:r>
              <a:rPr lang="ru-RU" sz="2000" dirty="0">
                <a:latin typeface="Akrobat SemiBold" panose="00000700000000000000" pitchFamily="50" charset="-52"/>
              </a:rPr>
              <a:t> в ТОВ «Вересень плюс»</a:t>
            </a:r>
            <a:endParaRPr lang="ru-RU" dirty="0">
              <a:latin typeface="Akrobat SemiBold" panose="00000700000000000000" pitchFamily="50" charset="-5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86808A-1F65-FD2D-3A00-FBF333275F28}"/>
              </a:ext>
            </a:extLst>
          </p:cNvPr>
          <p:cNvSpPr txBox="1"/>
          <p:nvPr/>
        </p:nvSpPr>
        <p:spPr>
          <a:xfrm>
            <a:off x="549761" y="4991510"/>
            <a:ext cx="6444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ю</a:t>
            </a:r>
            <a:r>
              <a:rPr lang="uk-UA" sz="2000" dirty="0" err="1">
                <a:solidFill>
                  <a:schemeClr val="bg1"/>
                </a:solidFill>
                <a:latin typeface="Akrobat Light" panose="00000500000000000000" pitchFamily="50" charset="-52"/>
              </a:rPr>
              <a:t>рист</a:t>
            </a:r>
            <a:endParaRPr lang="uk-UA" sz="2000" dirty="0">
              <a:solidFill>
                <a:schemeClr val="bg1"/>
              </a:solidFill>
              <a:latin typeface="Akrobat Light" panose="00000500000000000000" pitchFamily="50" charset="-5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263B3D-E51D-DFCF-8A7D-43A118874E6C}"/>
              </a:ext>
            </a:extLst>
          </p:cNvPr>
          <p:cNvSpPr txBox="1"/>
          <p:nvPr/>
        </p:nvSpPr>
        <p:spPr>
          <a:xfrm>
            <a:off x="549761" y="5427615"/>
            <a:ext cx="6444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директор департаменту логістики 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4E383E-0BC5-E42B-584C-8AE38954C233}"/>
              </a:ext>
            </a:extLst>
          </p:cNvPr>
          <p:cNvSpPr txBox="1"/>
          <p:nvPr/>
        </p:nvSpPr>
        <p:spPr>
          <a:xfrm>
            <a:off x="549761" y="5863719"/>
            <a:ext cx="6444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операційний директор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79202-E381-0226-9915-0B555839CE03}"/>
              </a:ext>
            </a:extLst>
          </p:cNvPr>
          <p:cNvSpPr txBox="1"/>
          <p:nvPr/>
        </p:nvSpPr>
        <p:spPr>
          <a:xfrm>
            <a:off x="518445" y="1885801"/>
            <a:ext cx="769323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Руслан</a:t>
            </a:r>
            <a:r>
              <a:rPr lang="en-US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ru-RU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Мудра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DE86555-CC89-E680-643A-E36F78F376E0}"/>
              </a:ext>
            </a:extLst>
          </p:cNvPr>
          <p:cNvSpPr txBox="1"/>
          <p:nvPr/>
        </p:nvSpPr>
        <p:spPr>
          <a:xfrm>
            <a:off x="518445" y="3168773"/>
            <a:ext cx="53066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err="1">
                <a:solidFill>
                  <a:schemeClr val="bg1"/>
                </a:solidFill>
              </a:rPr>
              <a:t>Операційний</a:t>
            </a:r>
            <a:r>
              <a:rPr lang="ru-RU" sz="2000" b="1" dirty="0">
                <a:solidFill>
                  <a:schemeClr val="bg1"/>
                </a:solidFill>
              </a:rPr>
              <a:t> директор ТОВ «Вересень плюс» </a:t>
            </a:r>
            <a:endParaRPr lang="uk-UA" sz="2000" dirty="0">
              <a:solidFill>
                <a:schemeClr val="bg1"/>
              </a:solidFill>
            </a:endParaRPr>
          </a:p>
        </p:txBody>
      </p:sp>
      <p:cxnSp>
        <p:nvCxnSpPr>
          <p:cNvPr id="25" name="Пряма зі стрілкою 24">
            <a:extLst>
              <a:ext uri="{FF2B5EF4-FFF2-40B4-BE49-F238E27FC236}">
                <a16:creationId xmlns:a16="http://schemas.microsoft.com/office/drawing/2014/main" id="{51E2EA3F-143A-30AA-745F-C0D9B6171F86}"/>
              </a:ext>
            </a:extLst>
          </p:cNvPr>
          <p:cNvCxnSpPr>
            <a:cxnSpLocks/>
          </p:cNvCxnSpPr>
          <p:nvPr/>
        </p:nvCxnSpPr>
        <p:spPr>
          <a:xfrm>
            <a:off x="939165" y="5357230"/>
            <a:ext cx="0" cy="180975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 зі стрілкою 26">
            <a:extLst>
              <a:ext uri="{FF2B5EF4-FFF2-40B4-BE49-F238E27FC236}">
                <a16:creationId xmlns:a16="http://schemas.microsoft.com/office/drawing/2014/main" id="{EF638C07-2596-0461-C424-47D38EB8485F}"/>
              </a:ext>
            </a:extLst>
          </p:cNvPr>
          <p:cNvCxnSpPr>
            <a:cxnSpLocks/>
          </p:cNvCxnSpPr>
          <p:nvPr/>
        </p:nvCxnSpPr>
        <p:spPr>
          <a:xfrm>
            <a:off x="939165" y="5803495"/>
            <a:ext cx="0" cy="180975"/>
          </a:xfrm>
          <a:prstGeom prst="straightConnector1">
            <a:avLst/>
          </a:prstGeom>
          <a:ln w="9525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!!Google Shape;12;p2">
            <a:extLst>
              <a:ext uri="{FF2B5EF4-FFF2-40B4-BE49-F238E27FC236}">
                <a16:creationId xmlns:a16="http://schemas.microsoft.com/office/drawing/2014/main" id="{BEB88716-74D2-1AEC-F9D3-3E410156F14A}"/>
              </a:ext>
            </a:extLst>
          </p:cNvPr>
          <p:cNvGrpSpPr/>
          <p:nvPr/>
        </p:nvGrpSpPr>
        <p:grpSpPr>
          <a:xfrm>
            <a:off x="11258497" y="79914"/>
            <a:ext cx="1145952" cy="657282"/>
            <a:chOff x="864825" y="2381600"/>
            <a:chExt cx="802825" cy="460475"/>
          </a:xfrm>
        </p:grpSpPr>
        <p:sp>
          <p:nvSpPr>
            <p:cNvPr id="29" name="Google Shape;13;p2">
              <a:extLst>
                <a:ext uri="{FF2B5EF4-FFF2-40B4-BE49-F238E27FC236}">
                  <a16:creationId xmlns:a16="http://schemas.microsoft.com/office/drawing/2014/main" id="{6C5D3075-6117-74C0-B544-21639152915A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14;p2">
              <a:extLst>
                <a:ext uri="{FF2B5EF4-FFF2-40B4-BE49-F238E27FC236}">
                  <a16:creationId xmlns:a16="http://schemas.microsoft.com/office/drawing/2014/main" id="{898D3AAB-6820-4FCB-BE43-150C5DBF888B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5;p2">
              <a:extLst>
                <a:ext uri="{FF2B5EF4-FFF2-40B4-BE49-F238E27FC236}">
                  <a16:creationId xmlns:a16="http://schemas.microsoft.com/office/drawing/2014/main" id="{18D4485C-8EAC-1486-45B4-AFE0EE97B235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6;p2">
              <a:extLst>
                <a:ext uri="{FF2B5EF4-FFF2-40B4-BE49-F238E27FC236}">
                  <a16:creationId xmlns:a16="http://schemas.microsoft.com/office/drawing/2014/main" id="{836B7722-5076-75A8-3576-D0EEC735931B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7;p2">
              <a:extLst>
                <a:ext uri="{FF2B5EF4-FFF2-40B4-BE49-F238E27FC236}">
                  <a16:creationId xmlns:a16="http://schemas.microsoft.com/office/drawing/2014/main" id="{9F872360-1C93-A3CB-94AF-A28178C33847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8;p2">
              <a:extLst>
                <a:ext uri="{FF2B5EF4-FFF2-40B4-BE49-F238E27FC236}">
                  <a16:creationId xmlns:a16="http://schemas.microsoft.com/office/drawing/2014/main" id="{8F485C66-1EFA-8F0F-0230-7C3135F1AD6F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9;p2">
              <a:extLst>
                <a:ext uri="{FF2B5EF4-FFF2-40B4-BE49-F238E27FC236}">
                  <a16:creationId xmlns:a16="http://schemas.microsoft.com/office/drawing/2014/main" id="{A3D6E185-F876-8F62-8D81-8E4EEE4799F9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20;p2">
              <a:extLst>
                <a:ext uri="{FF2B5EF4-FFF2-40B4-BE49-F238E27FC236}">
                  <a16:creationId xmlns:a16="http://schemas.microsoft.com/office/drawing/2014/main" id="{BB3415FE-8058-6A80-C2FA-CA4D10CEDFA2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21;p2">
              <a:extLst>
                <a:ext uri="{FF2B5EF4-FFF2-40B4-BE49-F238E27FC236}">
                  <a16:creationId xmlns:a16="http://schemas.microsoft.com/office/drawing/2014/main" id="{ABD67B39-ADF4-DD51-8443-EA466A9A641E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22;p2">
              <a:extLst>
                <a:ext uri="{FF2B5EF4-FFF2-40B4-BE49-F238E27FC236}">
                  <a16:creationId xmlns:a16="http://schemas.microsoft.com/office/drawing/2014/main" id="{3F7FAB16-E363-8BAB-206D-57C2011EE74B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23;p2">
              <a:extLst>
                <a:ext uri="{FF2B5EF4-FFF2-40B4-BE49-F238E27FC236}">
                  <a16:creationId xmlns:a16="http://schemas.microsoft.com/office/drawing/2014/main" id="{B3524735-D59B-A3E9-6620-0BBE438EEA8A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24;p2">
              <a:extLst>
                <a:ext uri="{FF2B5EF4-FFF2-40B4-BE49-F238E27FC236}">
                  <a16:creationId xmlns:a16="http://schemas.microsoft.com/office/drawing/2014/main" id="{04D4BBB9-EED5-CB4E-7C62-9001E9412607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25;p2">
              <a:extLst>
                <a:ext uri="{FF2B5EF4-FFF2-40B4-BE49-F238E27FC236}">
                  <a16:creationId xmlns:a16="http://schemas.microsoft.com/office/drawing/2014/main" id="{CEDB0FE0-EC76-1512-5A69-8A25F8FAF717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26;p2">
              <a:extLst>
                <a:ext uri="{FF2B5EF4-FFF2-40B4-BE49-F238E27FC236}">
                  <a16:creationId xmlns:a16="http://schemas.microsoft.com/office/drawing/2014/main" id="{91DCD509-B2FB-9220-4C08-87443BA80A6F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27;p2">
              <a:extLst>
                <a:ext uri="{FF2B5EF4-FFF2-40B4-BE49-F238E27FC236}">
                  <a16:creationId xmlns:a16="http://schemas.microsoft.com/office/drawing/2014/main" id="{7D8F7D7C-5BB4-2289-C4DB-00654C4027C7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28;p2">
              <a:extLst>
                <a:ext uri="{FF2B5EF4-FFF2-40B4-BE49-F238E27FC236}">
                  <a16:creationId xmlns:a16="http://schemas.microsoft.com/office/drawing/2014/main" id="{8B3195D5-544E-4436-6884-E185CBF049F6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" name="!!Google Shape;42;p2">
            <a:extLst>
              <a:ext uri="{FF2B5EF4-FFF2-40B4-BE49-F238E27FC236}">
                <a16:creationId xmlns:a16="http://schemas.microsoft.com/office/drawing/2014/main" id="{14AF7A24-CC6E-3040-B438-CBF71067B0FB}"/>
              </a:ext>
            </a:extLst>
          </p:cNvPr>
          <p:cNvSpPr/>
          <p:nvPr/>
        </p:nvSpPr>
        <p:spPr>
          <a:xfrm>
            <a:off x="4801731" y="6315260"/>
            <a:ext cx="1878269" cy="1878269"/>
          </a:xfrm>
          <a:prstGeom prst="ellipse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5340F8C5-0A64-7984-280B-BC58EE8AF728}"/>
              </a:ext>
            </a:extLst>
          </p:cNvPr>
          <p:cNvSpPr/>
          <p:nvPr/>
        </p:nvSpPr>
        <p:spPr>
          <a:xfrm>
            <a:off x="620263" y="425876"/>
            <a:ext cx="2212693" cy="771168"/>
          </a:xfrm>
          <a:custGeom>
            <a:avLst/>
            <a:gdLst/>
            <a:ahLst/>
            <a:cxnLst/>
            <a:rect l="l" t="t" r="r" b="b"/>
            <a:pathLst>
              <a:path w="18322762" h="1281633">
                <a:moveTo>
                  <a:pt x="0" y="0"/>
                </a:moveTo>
                <a:lnTo>
                  <a:pt x="18322762" y="0"/>
                </a:lnTo>
                <a:lnTo>
                  <a:pt x="18322762" y="1281633"/>
                </a:lnTo>
                <a:lnTo>
                  <a:pt x="0" y="1281633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12433" r="-385826"/>
            </a:stretch>
          </a:blipFill>
        </p:spPr>
        <p:txBody>
          <a:bodyPr/>
          <a:lstStyle/>
          <a:p>
            <a:endParaRPr lang="uk-UA"/>
          </a:p>
        </p:txBody>
      </p:sp>
      <p:pic>
        <p:nvPicPr>
          <p:cNvPr id="5" name="Рисунок 4" descr="Зображення, що містить одежа, особа, Обличчя людини, шия&#10;&#10;Автоматично згенерований опис">
            <a:extLst>
              <a:ext uri="{FF2B5EF4-FFF2-40B4-BE49-F238E27FC236}">
                <a16:creationId xmlns:a16="http://schemas.microsoft.com/office/drawing/2014/main" id="{26FCF9A9-27C1-805F-709E-1371DF0746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3491" y="-900929"/>
            <a:ext cx="6228999" cy="7758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3467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аралелограм 38">
            <a:extLst>
              <a:ext uri="{FF2B5EF4-FFF2-40B4-BE49-F238E27FC236}">
                <a16:creationId xmlns:a16="http://schemas.microsoft.com/office/drawing/2014/main" id="{8FA526CD-4384-1D3D-5193-B228C1A7BACB}"/>
              </a:ext>
            </a:extLst>
          </p:cNvPr>
          <p:cNvSpPr/>
          <p:nvPr/>
        </p:nvSpPr>
        <p:spPr>
          <a:xfrm>
            <a:off x="6830349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3074" name="Picture 2" descr="На зображенні може бути: 1 особа та текст">
            <a:extLst>
              <a:ext uri="{FF2B5EF4-FFF2-40B4-BE49-F238E27FC236}">
                <a16:creationId xmlns:a16="http://schemas.microsoft.com/office/drawing/2014/main" id="{5EDCB372-1249-A4F4-C206-49EF0D3977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58"/>
          <a:stretch/>
        </p:blipFill>
        <p:spPr bwMode="auto">
          <a:xfrm>
            <a:off x="7324725" y="0"/>
            <a:ext cx="7422333" cy="6858000"/>
          </a:xfrm>
          <a:prstGeom prst="parallelogram">
            <a:avLst>
              <a:gd name="adj" fmla="val 1388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736764A-4370-67F1-4094-68C021F1367D}"/>
              </a:ext>
            </a:extLst>
          </p:cNvPr>
          <p:cNvSpPr txBox="1"/>
          <p:nvPr/>
        </p:nvSpPr>
        <p:spPr>
          <a:xfrm>
            <a:off x="462457" y="299073"/>
            <a:ext cx="1006746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2. Спрощуйте роботу</a:t>
            </a:r>
          </a:p>
          <a:p>
            <a:r>
              <a:rPr lang="uk-UA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лінійного персоналу</a:t>
            </a:r>
          </a:p>
        </p:txBody>
      </p:sp>
      <p:sp>
        <p:nvSpPr>
          <p:cNvPr id="18" name="Google Shape;59;p3">
            <a:extLst>
              <a:ext uri="{FF2B5EF4-FFF2-40B4-BE49-F238E27FC236}">
                <a16:creationId xmlns:a16="http://schemas.microsoft.com/office/drawing/2014/main" id="{2C3D60D5-C526-CB6C-6FB1-540D9269B39A}"/>
              </a:ext>
            </a:extLst>
          </p:cNvPr>
          <p:cNvSpPr/>
          <p:nvPr/>
        </p:nvSpPr>
        <p:spPr>
          <a:xfrm>
            <a:off x="11094107" y="6347324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60;p3">
            <a:extLst>
              <a:ext uri="{FF2B5EF4-FFF2-40B4-BE49-F238E27FC236}">
                <a16:creationId xmlns:a16="http://schemas.microsoft.com/office/drawing/2014/main" id="{F7F6119D-2637-A8B7-8F59-E704C26E0DC4}"/>
              </a:ext>
            </a:extLst>
          </p:cNvPr>
          <p:cNvGrpSpPr/>
          <p:nvPr/>
        </p:nvGrpSpPr>
        <p:grpSpPr>
          <a:xfrm rot="10800000">
            <a:off x="10800128" y="-151376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20" name="Google Shape;61;p3">
              <a:extLst>
                <a:ext uri="{FF2B5EF4-FFF2-40B4-BE49-F238E27FC236}">
                  <a16:creationId xmlns:a16="http://schemas.microsoft.com/office/drawing/2014/main" id="{04A9AD81-55B9-F8A9-6A21-AD7BA70D6C01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2;p3">
              <a:extLst>
                <a:ext uri="{FF2B5EF4-FFF2-40B4-BE49-F238E27FC236}">
                  <a16:creationId xmlns:a16="http://schemas.microsoft.com/office/drawing/2014/main" id="{7E1E81A6-E46A-31D7-90A7-90D6C06CE543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3;p3">
              <a:extLst>
                <a:ext uri="{FF2B5EF4-FFF2-40B4-BE49-F238E27FC236}">
                  <a16:creationId xmlns:a16="http://schemas.microsoft.com/office/drawing/2014/main" id="{DF471D37-D1E5-6C76-E3E8-132A5DEEAF22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4;p3">
              <a:extLst>
                <a:ext uri="{FF2B5EF4-FFF2-40B4-BE49-F238E27FC236}">
                  <a16:creationId xmlns:a16="http://schemas.microsoft.com/office/drawing/2014/main" id="{106CB79F-6ED7-1EE4-930E-35AD9FED3D87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5;p3">
              <a:extLst>
                <a:ext uri="{FF2B5EF4-FFF2-40B4-BE49-F238E27FC236}">
                  <a16:creationId xmlns:a16="http://schemas.microsoft.com/office/drawing/2014/main" id="{C1222C09-9D94-23AE-8114-7D9CE64BAB37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6;p3">
              <a:extLst>
                <a:ext uri="{FF2B5EF4-FFF2-40B4-BE49-F238E27FC236}">
                  <a16:creationId xmlns:a16="http://schemas.microsoft.com/office/drawing/2014/main" id="{CE6887A3-FB68-FD8C-CBFE-024870349C40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7;p3">
              <a:extLst>
                <a:ext uri="{FF2B5EF4-FFF2-40B4-BE49-F238E27FC236}">
                  <a16:creationId xmlns:a16="http://schemas.microsoft.com/office/drawing/2014/main" id="{072B6006-16DC-FF72-4381-F6F2D0B6776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8;p3">
              <a:extLst>
                <a:ext uri="{FF2B5EF4-FFF2-40B4-BE49-F238E27FC236}">
                  <a16:creationId xmlns:a16="http://schemas.microsoft.com/office/drawing/2014/main" id="{1A6F1E39-316F-598C-88BE-5F51CCDB736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9;p3">
              <a:extLst>
                <a:ext uri="{FF2B5EF4-FFF2-40B4-BE49-F238E27FC236}">
                  <a16:creationId xmlns:a16="http://schemas.microsoft.com/office/drawing/2014/main" id="{DF1004CF-D5E9-3C2D-840E-0DB6EF577BE7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0;p3">
              <a:extLst>
                <a:ext uri="{FF2B5EF4-FFF2-40B4-BE49-F238E27FC236}">
                  <a16:creationId xmlns:a16="http://schemas.microsoft.com/office/drawing/2014/main" id="{4F283AB1-A476-A609-28F3-9CB6C00335D8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1;p3">
              <a:extLst>
                <a:ext uri="{FF2B5EF4-FFF2-40B4-BE49-F238E27FC236}">
                  <a16:creationId xmlns:a16="http://schemas.microsoft.com/office/drawing/2014/main" id="{2DE6918A-7914-2DBC-2C18-D193965B17BD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;p3">
              <a:extLst>
                <a:ext uri="{FF2B5EF4-FFF2-40B4-BE49-F238E27FC236}">
                  <a16:creationId xmlns:a16="http://schemas.microsoft.com/office/drawing/2014/main" id="{4A97A8FD-F88F-A24C-1A7D-BA09A0532DC2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3;p3">
              <a:extLst>
                <a:ext uri="{FF2B5EF4-FFF2-40B4-BE49-F238E27FC236}">
                  <a16:creationId xmlns:a16="http://schemas.microsoft.com/office/drawing/2014/main" id="{32449BA4-E5ED-5C49-A6B8-9D732BA1C000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4;p3">
              <a:extLst>
                <a:ext uri="{FF2B5EF4-FFF2-40B4-BE49-F238E27FC236}">
                  <a16:creationId xmlns:a16="http://schemas.microsoft.com/office/drawing/2014/main" id="{00E4A758-E2E7-2156-B65E-11B4DEA40BE7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5;p3">
              <a:extLst>
                <a:ext uri="{FF2B5EF4-FFF2-40B4-BE49-F238E27FC236}">
                  <a16:creationId xmlns:a16="http://schemas.microsoft.com/office/drawing/2014/main" id="{4FD223F6-723E-0860-612F-E0274F445A5D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6;p3">
              <a:extLst>
                <a:ext uri="{FF2B5EF4-FFF2-40B4-BE49-F238E27FC236}">
                  <a16:creationId xmlns:a16="http://schemas.microsoft.com/office/drawing/2014/main" id="{F416DE8F-A13F-9CF8-5374-2B124ED90593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89B6E6F-B370-9EDC-C8DC-7653C795C728}"/>
              </a:ext>
            </a:extLst>
          </p:cNvPr>
          <p:cNvSpPr txBox="1"/>
          <p:nvPr/>
        </p:nvSpPr>
        <p:spPr>
          <a:xfrm>
            <a:off x="492207" y="3642484"/>
            <a:ext cx="592144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b="1" dirty="0"/>
              <a:t>Кращий спосіб – особи, які приймають рішення, мають особисто </a:t>
            </a:r>
            <a:r>
              <a:rPr lang="uk-UA" sz="2000" b="1" dirty="0">
                <a:latin typeface="+mj-lt"/>
              </a:rPr>
              <a:t>через свої руки пропустити ті процеси</a:t>
            </a:r>
            <a:r>
              <a:rPr lang="uk-UA" sz="2000" b="1" dirty="0"/>
              <a:t>,</a:t>
            </a:r>
            <a:br>
              <a:rPr lang="uk-UA" sz="2000" b="1" dirty="0"/>
            </a:br>
            <a:r>
              <a:rPr lang="uk-UA" sz="2000" b="1" dirty="0"/>
              <a:t>які вони створюють</a:t>
            </a:r>
          </a:p>
        </p:txBody>
      </p:sp>
      <p:grpSp>
        <p:nvGrpSpPr>
          <p:cNvPr id="40" name="Google Shape;49;p3">
            <a:extLst>
              <a:ext uri="{FF2B5EF4-FFF2-40B4-BE49-F238E27FC236}">
                <a16:creationId xmlns:a16="http://schemas.microsoft.com/office/drawing/2014/main" id="{24289486-C9AC-1890-674E-1220563DEE35}"/>
              </a:ext>
            </a:extLst>
          </p:cNvPr>
          <p:cNvGrpSpPr/>
          <p:nvPr/>
        </p:nvGrpSpPr>
        <p:grpSpPr>
          <a:xfrm>
            <a:off x="1955396" y="6399430"/>
            <a:ext cx="2743076" cy="657293"/>
            <a:chOff x="5227825" y="3000800"/>
            <a:chExt cx="1865150" cy="446925"/>
          </a:xfrm>
          <a:solidFill>
            <a:schemeClr val="bg1">
              <a:lumMod val="95000"/>
            </a:schemeClr>
          </a:solidFill>
        </p:grpSpPr>
        <p:sp>
          <p:nvSpPr>
            <p:cNvPr id="41" name="Google Shape;50;p3">
              <a:extLst>
                <a:ext uri="{FF2B5EF4-FFF2-40B4-BE49-F238E27FC236}">
                  <a16:creationId xmlns:a16="http://schemas.microsoft.com/office/drawing/2014/main" id="{A751C73F-22C2-73AE-47CF-161DC13FDC0F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1;p3">
              <a:extLst>
                <a:ext uri="{FF2B5EF4-FFF2-40B4-BE49-F238E27FC236}">
                  <a16:creationId xmlns:a16="http://schemas.microsoft.com/office/drawing/2014/main" id="{D821A4E6-DCAA-A28E-30D5-4BAB41D525D8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2;p3">
              <a:extLst>
                <a:ext uri="{FF2B5EF4-FFF2-40B4-BE49-F238E27FC236}">
                  <a16:creationId xmlns:a16="http://schemas.microsoft.com/office/drawing/2014/main" id="{7985121D-8B00-46CC-E189-2EE8DCD3D309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3;p3">
              <a:extLst>
                <a:ext uri="{FF2B5EF4-FFF2-40B4-BE49-F238E27FC236}">
                  <a16:creationId xmlns:a16="http://schemas.microsoft.com/office/drawing/2014/main" id="{50AAE40A-1153-A083-689A-AF73D948674E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4;p3">
              <a:extLst>
                <a:ext uri="{FF2B5EF4-FFF2-40B4-BE49-F238E27FC236}">
                  <a16:creationId xmlns:a16="http://schemas.microsoft.com/office/drawing/2014/main" id="{DD6D9C58-2CE5-6802-5725-D06A09093109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5;p3">
              <a:extLst>
                <a:ext uri="{FF2B5EF4-FFF2-40B4-BE49-F238E27FC236}">
                  <a16:creationId xmlns:a16="http://schemas.microsoft.com/office/drawing/2014/main" id="{58AC1886-58F4-FB1A-678E-1D5756786F44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6;p3">
              <a:extLst>
                <a:ext uri="{FF2B5EF4-FFF2-40B4-BE49-F238E27FC236}">
                  <a16:creationId xmlns:a16="http://schemas.microsoft.com/office/drawing/2014/main" id="{6D4A2F32-D6E2-8A46-51F8-B6522FEEDF32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7;p3">
              <a:extLst>
                <a:ext uri="{FF2B5EF4-FFF2-40B4-BE49-F238E27FC236}">
                  <a16:creationId xmlns:a16="http://schemas.microsoft.com/office/drawing/2014/main" id="{3B14A02A-2A81-5E3E-2405-1738B138A217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58;p3">
              <a:extLst>
                <a:ext uri="{FF2B5EF4-FFF2-40B4-BE49-F238E27FC236}">
                  <a16:creationId xmlns:a16="http://schemas.microsoft.com/office/drawing/2014/main" id="{FE4CDF40-C326-8721-3057-DC9B8935E5A1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0" name="Google Shape;60;p3">
            <a:extLst>
              <a:ext uri="{FF2B5EF4-FFF2-40B4-BE49-F238E27FC236}">
                <a16:creationId xmlns:a16="http://schemas.microsoft.com/office/drawing/2014/main" id="{B043A2E4-792E-77EA-7344-2FFCC3862743}"/>
              </a:ext>
            </a:extLst>
          </p:cNvPr>
          <p:cNvGrpSpPr/>
          <p:nvPr/>
        </p:nvGrpSpPr>
        <p:grpSpPr>
          <a:xfrm rot="16200000">
            <a:off x="-619845" y="4488253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51" name="Google Shape;61;p3">
              <a:extLst>
                <a:ext uri="{FF2B5EF4-FFF2-40B4-BE49-F238E27FC236}">
                  <a16:creationId xmlns:a16="http://schemas.microsoft.com/office/drawing/2014/main" id="{5E0535F2-08F2-C1E0-38C4-E168498A4C39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62;p3">
              <a:extLst>
                <a:ext uri="{FF2B5EF4-FFF2-40B4-BE49-F238E27FC236}">
                  <a16:creationId xmlns:a16="http://schemas.microsoft.com/office/drawing/2014/main" id="{25CF30F7-CB57-0E39-2410-007655DF3DA5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63;p3">
              <a:extLst>
                <a:ext uri="{FF2B5EF4-FFF2-40B4-BE49-F238E27FC236}">
                  <a16:creationId xmlns:a16="http://schemas.microsoft.com/office/drawing/2014/main" id="{2C37694F-E456-DCD1-96F6-C60BEDF23330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64;p3">
              <a:extLst>
                <a:ext uri="{FF2B5EF4-FFF2-40B4-BE49-F238E27FC236}">
                  <a16:creationId xmlns:a16="http://schemas.microsoft.com/office/drawing/2014/main" id="{E2BF4663-EDBB-371E-B453-6F5FA9A719C2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65;p3">
              <a:extLst>
                <a:ext uri="{FF2B5EF4-FFF2-40B4-BE49-F238E27FC236}">
                  <a16:creationId xmlns:a16="http://schemas.microsoft.com/office/drawing/2014/main" id="{4A30313B-A8B1-909C-73FE-A619B9823C6E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66;p3">
              <a:extLst>
                <a:ext uri="{FF2B5EF4-FFF2-40B4-BE49-F238E27FC236}">
                  <a16:creationId xmlns:a16="http://schemas.microsoft.com/office/drawing/2014/main" id="{364226C9-B0D6-D492-6319-ED918DA7BFD5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67;p3">
              <a:extLst>
                <a:ext uri="{FF2B5EF4-FFF2-40B4-BE49-F238E27FC236}">
                  <a16:creationId xmlns:a16="http://schemas.microsoft.com/office/drawing/2014/main" id="{1D599E3B-C5A8-FEEB-1591-ED264E8609E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68;p3">
              <a:extLst>
                <a:ext uri="{FF2B5EF4-FFF2-40B4-BE49-F238E27FC236}">
                  <a16:creationId xmlns:a16="http://schemas.microsoft.com/office/drawing/2014/main" id="{2211A720-711A-B47F-9EB1-52D0CDFACD7E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69;p3">
              <a:extLst>
                <a:ext uri="{FF2B5EF4-FFF2-40B4-BE49-F238E27FC236}">
                  <a16:creationId xmlns:a16="http://schemas.microsoft.com/office/drawing/2014/main" id="{6221BBDF-B422-AF0D-39EC-80016E9F89D9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70;p3">
              <a:extLst>
                <a:ext uri="{FF2B5EF4-FFF2-40B4-BE49-F238E27FC236}">
                  <a16:creationId xmlns:a16="http://schemas.microsoft.com/office/drawing/2014/main" id="{E13240BB-8CE1-5B0A-F39C-8BA76410F187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71;p3">
              <a:extLst>
                <a:ext uri="{FF2B5EF4-FFF2-40B4-BE49-F238E27FC236}">
                  <a16:creationId xmlns:a16="http://schemas.microsoft.com/office/drawing/2014/main" id="{70471884-1212-5330-440A-8ACF40C18D40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72;p3">
              <a:extLst>
                <a:ext uri="{FF2B5EF4-FFF2-40B4-BE49-F238E27FC236}">
                  <a16:creationId xmlns:a16="http://schemas.microsoft.com/office/drawing/2014/main" id="{30A3B959-D34A-5C54-6E85-4D336482E324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73;p3">
              <a:extLst>
                <a:ext uri="{FF2B5EF4-FFF2-40B4-BE49-F238E27FC236}">
                  <a16:creationId xmlns:a16="http://schemas.microsoft.com/office/drawing/2014/main" id="{A5311909-2248-B25A-4921-19829E2E69E3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2" name="Google Shape;74;p3">
              <a:extLst>
                <a:ext uri="{FF2B5EF4-FFF2-40B4-BE49-F238E27FC236}">
                  <a16:creationId xmlns:a16="http://schemas.microsoft.com/office/drawing/2014/main" id="{8A5CA2E3-F95A-B8A6-56D1-7076872E17C9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3" name="Google Shape;75;p3">
              <a:extLst>
                <a:ext uri="{FF2B5EF4-FFF2-40B4-BE49-F238E27FC236}">
                  <a16:creationId xmlns:a16="http://schemas.microsoft.com/office/drawing/2014/main" id="{9F3F197C-9E8D-A235-924C-080DEBFFBF83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5" name="Google Shape;76;p3">
              <a:extLst>
                <a:ext uri="{FF2B5EF4-FFF2-40B4-BE49-F238E27FC236}">
                  <a16:creationId xmlns:a16="http://schemas.microsoft.com/office/drawing/2014/main" id="{FC9E6793-4A36-A631-D5BB-AE2020F61049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79" name="Паралелограм 3078">
            <a:extLst>
              <a:ext uri="{FF2B5EF4-FFF2-40B4-BE49-F238E27FC236}">
                <a16:creationId xmlns:a16="http://schemas.microsoft.com/office/drawing/2014/main" id="{E6DA7656-7E1A-3838-2A48-5E6ACB0C5E1E}"/>
              </a:ext>
            </a:extLst>
          </p:cNvPr>
          <p:cNvSpPr/>
          <p:nvPr/>
        </p:nvSpPr>
        <p:spPr>
          <a:xfrm>
            <a:off x="-590751" y="2200622"/>
            <a:ext cx="6764300" cy="908084"/>
          </a:xfrm>
          <a:prstGeom prst="parallelogram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080" name="TextBox 3079">
            <a:extLst>
              <a:ext uri="{FF2B5EF4-FFF2-40B4-BE49-F238E27FC236}">
                <a16:creationId xmlns:a16="http://schemas.microsoft.com/office/drawing/2014/main" id="{DCB188B6-ABAD-FA2B-B2F3-3057EDD12D0E}"/>
              </a:ext>
            </a:extLst>
          </p:cNvPr>
          <p:cNvSpPr txBox="1"/>
          <p:nvPr/>
        </p:nvSpPr>
        <p:spPr>
          <a:xfrm>
            <a:off x="516659" y="2211324"/>
            <a:ext cx="52477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+mj-lt"/>
              </a:rPr>
              <a:t>Топ-5</a:t>
            </a:r>
            <a:r>
              <a:rPr lang="en-US" sz="2800" b="1" dirty="0">
                <a:solidFill>
                  <a:schemeClr val="bg1"/>
                </a:solidFill>
                <a:latin typeface="+mj-lt"/>
              </a:rPr>
              <a:t>0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b="1" dirty="0" err="1">
                <a:solidFill>
                  <a:schemeClr val="bg1"/>
                </a:solidFill>
              </a:rPr>
              <a:t>кращих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роботодавців</a:t>
            </a:r>
            <a:r>
              <a:rPr lang="ru-RU" sz="2000" b="1" dirty="0">
                <a:solidFill>
                  <a:schemeClr val="bg1"/>
                </a:solidFill>
              </a:rPr>
              <a:t> у </a:t>
            </a:r>
            <a:r>
              <a:rPr lang="ru-RU" sz="2000" b="1" dirty="0" err="1">
                <a:solidFill>
                  <a:schemeClr val="bg1"/>
                </a:solidFill>
              </a:rPr>
              <a:t>ритейлі</a:t>
            </a:r>
            <a:r>
              <a:rPr lang="ru-RU" sz="2000" b="1" dirty="0">
                <a:solidFill>
                  <a:schemeClr val="bg1"/>
                </a:solidFill>
              </a:rPr>
              <a:t> за </a:t>
            </a:r>
            <a:r>
              <a:rPr lang="ru-RU" sz="2000" b="1" dirty="0" err="1">
                <a:solidFill>
                  <a:schemeClr val="bg1"/>
                </a:solidFill>
              </a:rPr>
              <a:t>версією</a:t>
            </a:r>
            <a:r>
              <a:rPr lang="ru-RU" sz="2000" b="1" dirty="0">
                <a:solidFill>
                  <a:schemeClr val="bg1"/>
                </a:solidFill>
              </a:rPr>
              <a:t> Forbes</a:t>
            </a:r>
            <a:endParaRPr lang="uk-UA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63319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кутник 8">
            <a:extLst>
              <a:ext uri="{FF2B5EF4-FFF2-40B4-BE49-F238E27FC236}">
                <a16:creationId xmlns:a16="http://schemas.microsoft.com/office/drawing/2014/main" id="{2BE67FCC-5756-550D-4550-41C99D85F946}"/>
              </a:ext>
            </a:extLst>
          </p:cNvPr>
          <p:cNvSpPr/>
          <p:nvPr/>
        </p:nvSpPr>
        <p:spPr>
          <a:xfrm>
            <a:off x="0" y="3213100"/>
            <a:ext cx="12192000" cy="3644900"/>
          </a:xfrm>
          <a:prstGeom prst="rect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36764A-4370-67F1-4094-68C021F1367D}"/>
              </a:ext>
            </a:extLst>
          </p:cNvPr>
          <p:cNvSpPr txBox="1"/>
          <p:nvPr/>
        </p:nvSpPr>
        <p:spPr>
          <a:xfrm>
            <a:off x="462456" y="299073"/>
            <a:ext cx="1110565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3.Ставте</a:t>
            </a:r>
            <a:r>
              <a:rPr lang="uk-UA" sz="6000" b="1" dirty="0"/>
              <a:t> </a:t>
            </a:r>
            <a:r>
              <a:rPr lang="uk-UA" sz="6000" b="1" dirty="0">
                <a:latin typeface="+mj-lt"/>
              </a:rPr>
              <a:t>під сумнів навіть </a:t>
            </a:r>
            <a:r>
              <a:rPr lang="uk-UA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«ідеальний» процес </a:t>
            </a:r>
          </a:p>
        </p:txBody>
      </p:sp>
      <p:pic>
        <p:nvPicPr>
          <p:cNvPr id="7" name="Рисунок 6" descr="Зображення, що містить текст, знімок екрана, Шрифт, дизайн&#10;&#10;Автоматично згенерований опис">
            <a:extLst>
              <a:ext uri="{FF2B5EF4-FFF2-40B4-BE49-F238E27FC236}">
                <a16:creationId xmlns:a16="http://schemas.microsoft.com/office/drawing/2014/main" id="{32823BDC-32A0-444C-FEED-F5B44B24904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" t="16852" r="19440"/>
          <a:stretch/>
        </p:blipFill>
        <p:spPr>
          <a:xfrm>
            <a:off x="623888" y="2708275"/>
            <a:ext cx="4951412" cy="3205059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pic>
        <p:nvPicPr>
          <p:cNvPr id="13" name="Рисунок 12" descr="Зображення, що містить текст, знімок екрана, Шрифт, графічний дизайн&#10;&#10;Автоматично згенерований опис">
            <a:extLst>
              <a:ext uri="{FF2B5EF4-FFF2-40B4-BE49-F238E27FC236}">
                <a16:creationId xmlns:a16="http://schemas.microsoft.com/office/drawing/2014/main" id="{D8A228B9-9759-E45D-C903-77DEFCFEA36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4" t="15498" r="36773" b="20741"/>
          <a:stretch/>
        </p:blipFill>
        <p:spPr>
          <a:xfrm>
            <a:off x="6157395" y="3089986"/>
            <a:ext cx="4372525" cy="2798342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pic>
        <p:nvPicPr>
          <p:cNvPr id="16" name="Рисунок 15" descr="Зображення, що містить текст, знімок екрана, Шрифт, Друк&#10;&#10;Автоматично згенерований опис">
            <a:extLst>
              <a:ext uri="{FF2B5EF4-FFF2-40B4-BE49-F238E27FC236}">
                <a16:creationId xmlns:a16="http://schemas.microsoft.com/office/drawing/2014/main" id="{C442658E-A5C1-AD68-A9D8-44AD5DC357D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" t="17037" r="13783"/>
          <a:stretch/>
        </p:blipFill>
        <p:spPr>
          <a:xfrm>
            <a:off x="7611993" y="1719409"/>
            <a:ext cx="4171514" cy="2591395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18" name="Google Shape;59;p3">
            <a:extLst>
              <a:ext uri="{FF2B5EF4-FFF2-40B4-BE49-F238E27FC236}">
                <a16:creationId xmlns:a16="http://schemas.microsoft.com/office/drawing/2014/main" id="{2C3D60D5-C526-CB6C-6FB1-540D9269B39A}"/>
              </a:ext>
            </a:extLst>
          </p:cNvPr>
          <p:cNvSpPr/>
          <p:nvPr/>
        </p:nvSpPr>
        <p:spPr>
          <a:xfrm>
            <a:off x="11094107" y="6347324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60;p3">
            <a:extLst>
              <a:ext uri="{FF2B5EF4-FFF2-40B4-BE49-F238E27FC236}">
                <a16:creationId xmlns:a16="http://schemas.microsoft.com/office/drawing/2014/main" id="{F7F6119D-2637-A8B7-8F59-E704C26E0DC4}"/>
              </a:ext>
            </a:extLst>
          </p:cNvPr>
          <p:cNvGrpSpPr/>
          <p:nvPr/>
        </p:nvGrpSpPr>
        <p:grpSpPr>
          <a:xfrm rot="10800000">
            <a:off x="10800128" y="-151376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20" name="Google Shape;61;p3">
              <a:extLst>
                <a:ext uri="{FF2B5EF4-FFF2-40B4-BE49-F238E27FC236}">
                  <a16:creationId xmlns:a16="http://schemas.microsoft.com/office/drawing/2014/main" id="{04A9AD81-55B9-F8A9-6A21-AD7BA70D6C01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2;p3">
              <a:extLst>
                <a:ext uri="{FF2B5EF4-FFF2-40B4-BE49-F238E27FC236}">
                  <a16:creationId xmlns:a16="http://schemas.microsoft.com/office/drawing/2014/main" id="{7E1E81A6-E46A-31D7-90A7-90D6C06CE543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3;p3">
              <a:extLst>
                <a:ext uri="{FF2B5EF4-FFF2-40B4-BE49-F238E27FC236}">
                  <a16:creationId xmlns:a16="http://schemas.microsoft.com/office/drawing/2014/main" id="{DF471D37-D1E5-6C76-E3E8-132A5DEEAF22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4;p3">
              <a:extLst>
                <a:ext uri="{FF2B5EF4-FFF2-40B4-BE49-F238E27FC236}">
                  <a16:creationId xmlns:a16="http://schemas.microsoft.com/office/drawing/2014/main" id="{106CB79F-6ED7-1EE4-930E-35AD9FED3D87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5;p3">
              <a:extLst>
                <a:ext uri="{FF2B5EF4-FFF2-40B4-BE49-F238E27FC236}">
                  <a16:creationId xmlns:a16="http://schemas.microsoft.com/office/drawing/2014/main" id="{C1222C09-9D94-23AE-8114-7D9CE64BAB37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6;p3">
              <a:extLst>
                <a:ext uri="{FF2B5EF4-FFF2-40B4-BE49-F238E27FC236}">
                  <a16:creationId xmlns:a16="http://schemas.microsoft.com/office/drawing/2014/main" id="{CE6887A3-FB68-FD8C-CBFE-024870349C40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7;p3">
              <a:extLst>
                <a:ext uri="{FF2B5EF4-FFF2-40B4-BE49-F238E27FC236}">
                  <a16:creationId xmlns:a16="http://schemas.microsoft.com/office/drawing/2014/main" id="{072B6006-16DC-FF72-4381-F6F2D0B6776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8;p3">
              <a:extLst>
                <a:ext uri="{FF2B5EF4-FFF2-40B4-BE49-F238E27FC236}">
                  <a16:creationId xmlns:a16="http://schemas.microsoft.com/office/drawing/2014/main" id="{1A6F1E39-316F-598C-88BE-5F51CCDB736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9;p3">
              <a:extLst>
                <a:ext uri="{FF2B5EF4-FFF2-40B4-BE49-F238E27FC236}">
                  <a16:creationId xmlns:a16="http://schemas.microsoft.com/office/drawing/2014/main" id="{DF1004CF-D5E9-3C2D-840E-0DB6EF577BE7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0;p3">
              <a:extLst>
                <a:ext uri="{FF2B5EF4-FFF2-40B4-BE49-F238E27FC236}">
                  <a16:creationId xmlns:a16="http://schemas.microsoft.com/office/drawing/2014/main" id="{4F283AB1-A476-A609-28F3-9CB6C00335D8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1;p3">
              <a:extLst>
                <a:ext uri="{FF2B5EF4-FFF2-40B4-BE49-F238E27FC236}">
                  <a16:creationId xmlns:a16="http://schemas.microsoft.com/office/drawing/2014/main" id="{2DE6918A-7914-2DBC-2C18-D193965B17BD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;p3">
              <a:extLst>
                <a:ext uri="{FF2B5EF4-FFF2-40B4-BE49-F238E27FC236}">
                  <a16:creationId xmlns:a16="http://schemas.microsoft.com/office/drawing/2014/main" id="{4A97A8FD-F88F-A24C-1A7D-BA09A0532DC2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3;p3">
              <a:extLst>
                <a:ext uri="{FF2B5EF4-FFF2-40B4-BE49-F238E27FC236}">
                  <a16:creationId xmlns:a16="http://schemas.microsoft.com/office/drawing/2014/main" id="{32449BA4-E5ED-5C49-A6B8-9D732BA1C000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4;p3">
              <a:extLst>
                <a:ext uri="{FF2B5EF4-FFF2-40B4-BE49-F238E27FC236}">
                  <a16:creationId xmlns:a16="http://schemas.microsoft.com/office/drawing/2014/main" id="{00E4A758-E2E7-2156-B65E-11B4DEA40BE7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5;p3">
              <a:extLst>
                <a:ext uri="{FF2B5EF4-FFF2-40B4-BE49-F238E27FC236}">
                  <a16:creationId xmlns:a16="http://schemas.microsoft.com/office/drawing/2014/main" id="{4FD223F6-723E-0860-612F-E0274F445A5D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6;p3">
              <a:extLst>
                <a:ext uri="{FF2B5EF4-FFF2-40B4-BE49-F238E27FC236}">
                  <a16:creationId xmlns:a16="http://schemas.microsoft.com/office/drawing/2014/main" id="{F416DE8F-A13F-9CF8-5374-2B124ED90593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677074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аралелограм 40">
            <a:extLst>
              <a:ext uri="{FF2B5EF4-FFF2-40B4-BE49-F238E27FC236}">
                <a16:creationId xmlns:a16="http://schemas.microsoft.com/office/drawing/2014/main" id="{A216D1FE-5425-849F-B323-5B0E06276E1B}"/>
              </a:ext>
            </a:extLst>
          </p:cNvPr>
          <p:cNvSpPr/>
          <p:nvPr/>
        </p:nvSpPr>
        <p:spPr>
          <a:xfrm>
            <a:off x="-1733550" y="3223436"/>
            <a:ext cx="16173449" cy="3634564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36764A-4370-67F1-4094-68C021F1367D}"/>
              </a:ext>
            </a:extLst>
          </p:cNvPr>
          <p:cNvSpPr txBox="1"/>
          <p:nvPr/>
        </p:nvSpPr>
        <p:spPr>
          <a:xfrm>
            <a:off x="462456" y="299073"/>
            <a:ext cx="1110565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4. Піднімайтесь </a:t>
            </a:r>
            <a:r>
              <a:rPr lang="uk-UA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над процесом</a:t>
            </a:r>
          </a:p>
        </p:txBody>
      </p:sp>
      <p:sp>
        <p:nvSpPr>
          <p:cNvPr id="18" name="Google Shape;59;p3">
            <a:extLst>
              <a:ext uri="{FF2B5EF4-FFF2-40B4-BE49-F238E27FC236}">
                <a16:creationId xmlns:a16="http://schemas.microsoft.com/office/drawing/2014/main" id="{2C3D60D5-C526-CB6C-6FB1-540D9269B39A}"/>
              </a:ext>
            </a:extLst>
          </p:cNvPr>
          <p:cNvSpPr/>
          <p:nvPr/>
        </p:nvSpPr>
        <p:spPr>
          <a:xfrm>
            <a:off x="11094107" y="6347324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9" name="Google Shape;60;p3">
            <a:extLst>
              <a:ext uri="{FF2B5EF4-FFF2-40B4-BE49-F238E27FC236}">
                <a16:creationId xmlns:a16="http://schemas.microsoft.com/office/drawing/2014/main" id="{F7F6119D-2637-A8B7-8F59-E704C26E0DC4}"/>
              </a:ext>
            </a:extLst>
          </p:cNvPr>
          <p:cNvGrpSpPr/>
          <p:nvPr/>
        </p:nvGrpSpPr>
        <p:grpSpPr>
          <a:xfrm rot="10800000">
            <a:off x="10800128" y="-151376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20" name="Google Shape;61;p3">
              <a:extLst>
                <a:ext uri="{FF2B5EF4-FFF2-40B4-BE49-F238E27FC236}">
                  <a16:creationId xmlns:a16="http://schemas.microsoft.com/office/drawing/2014/main" id="{04A9AD81-55B9-F8A9-6A21-AD7BA70D6C01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2;p3">
              <a:extLst>
                <a:ext uri="{FF2B5EF4-FFF2-40B4-BE49-F238E27FC236}">
                  <a16:creationId xmlns:a16="http://schemas.microsoft.com/office/drawing/2014/main" id="{7E1E81A6-E46A-31D7-90A7-90D6C06CE543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3;p3">
              <a:extLst>
                <a:ext uri="{FF2B5EF4-FFF2-40B4-BE49-F238E27FC236}">
                  <a16:creationId xmlns:a16="http://schemas.microsoft.com/office/drawing/2014/main" id="{DF471D37-D1E5-6C76-E3E8-132A5DEEAF22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4;p3">
              <a:extLst>
                <a:ext uri="{FF2B5EF4-FFF2-40B4-BE49-F238E27FC236}">
                  <a16:creationId xmlns:a16="http://schemas.microsoft.com/office/drawing/2014/main" id="{106CB79F-6ED7-1EE4-930E-35AD9FED3D87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5;p3">
              <a:extLst>
                <a:ext uri="{FF2B5EF4-FFF2-40B4-BE49-F238E27FC236}">
                  <a16:creationId xmlns:a16="http://schemas.microsoft.com/office/drawing/2014/main" id="{C1222C09-9D94-23AE-8114-7D9CE64BAB37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6;p3">
              <a:extLst>
                <a:ext uri="{FF2B5EF4-FFF2-40B4-BE49-F238E27FC236}">
                  <a16:creationId xmlns:a16="http://schemas.microsoft.com/office/drawing/2014/main" id="{CE6887A3-FB68-FD8C-CBFE-024870349C40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7;p3">
              <a:extLst>
                <a:ext uri="{FF2B5EF4-FFF2-40B4-BE49-F238E27FC236}">
                  <a16:creationId xmlns:a16="http://schemas.microsoft.com/office/drawing/2014/main" id="{072B6006-16DC-FF72-4381-F6F2D0B6776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8;p3">
              <a:extLst>
                <a:ext uri="{FF2B5EF4-FFF2-40B4-BE49-F238E27FC236}">
                  <a16:creationId xmlns:a16="http://schemas.microsoft.com/office/drawing/2014/main" id="{1A6F1E39-316F-598C-88BE-5F51CCDB736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9;p3">
              <a:extLst>
                <a:ext uri="{FF2B5EF4-FFF2-40B4-BE49-F238E27FC236}">
                  <a16:creationId xmlns:a16="http://schemas.microsoft.com/office/drawing/2014/main" id="{DF1004CF-D5E9-3C2D-840E-0DB6EF577BE7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0;p3">
              <a:extLst>
                <a:ext uri="{FF2B5EF4-FFF2-40B4-BE49-F238E27FC236}">
                  <a16:creationId xmlns:a16="http://schemas.microsoft.com/office/drawing/2014/main" id="{4F283AB1-A476-A609-28F3-9CB6C00335D8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1;p3">
              <a:extLst>
                <a:ext uri="{FF2B5EF4-FFF2-40B4-BE49-F238E27FC236}">
                  <a16:creationId xmlns:a16="http://schemas.microsoft.com/office/drawing/2014/main" id="{2DE6918A-7914-2DBC-2C18-D193965B17BD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;p3">
              <a:extLst>
                <a:ext uri="{FF2B5EF4-FFF2-40B4-BE49-F238E27FC236}">
                  <a16:creationId xmlns:a16="http://schemas.microsoft.com/office/drawing/2014/main" id="{4A97A8FD-F88F-A24C-1A7D-BA09A0532DC2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3;p3">
              <a:extLst>
                <a:ext uri="{FF2B5EF4-FFF2-40B4-BE49-F238E27FC236}">
                  <a16:creationId xmlns:a16="http://schemas.microsoft.com/office/drawing/2014/main" id="{32449BA4-E5ED-5C49-A6B8-9D732BA1C000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4;p3">
              <a:extLst>
                <a:ext uri="{FF2B5EF4-FFF2-40B4-BE49-F238E27FC236}">
                  <a16:creationId xmlns:a16="http://schemas.microsoft.com/office/drawing/2014/main" id="{00E4A758-E2E7-2156-B65E-11B4DEA40BE7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5;p3">
              <a:extLst>
                <a:ext uri="{FF2B5EF4-FFF2-40B4-BE49-F238E27FC236}">
                  <a16:creationId xmlns:a16="http://schemas.microsoft.com/office/drawing/2014/main" id="{4FD223F6-723E-0860-612F-E0274F445A5D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6;p3">
              <a:extLst>
                <a:ext uri="{FF2B5EF4-FFF2-40B4-BE49-F238E27FC236}">
                  <a16:creationId xmlns:a16="http://schemas.microsoft.com/office/drawing/2014/main" id="{F416DE8F-A13F-9CF8-5374-2B124ED90593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" name="Picture 6" descr="ULP 4-135 | Що таке суржик? - Ukrainian Lessons">
            <a:extLst>
              <a:ext uri="{FF2B5EF4-FFF2-40B4-BE49-F238E27FC236}">
                <a16:creationId xmlns:a16="http://schemas.microsoft.com/office/drawing/2014/main" id="{555D66F9-1C5D-8CD2-F96C-32A70A8B06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33" r="23271" b="9051"/>
          <a:stretch/>
        </p:blipFill>
        <p:spPr bwMode="auto">
          <a:xfrm>
            <a:off x="6607960" y="2076361"/>
            <a:ext cx="4486147" cy="2413615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90C1120-EB8B-C0E2-A01B-1543EC8B1637}"/>
              </a:ext>
            </a:extLst>
          </p:cNvPr>
          <p:cNvSpPr txBox="1"/>
          <p:nvPr/>
        </p:nvSpPr>
        <p:spPr>
          <a:xfrm>
            <a:off x="1021355" y="4762523"/>
            <a:ext cx="482790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latin typeface="+mj-lt"/>
              </a:rPr>
              <a:t>Задача: </a:t>
            </a:r>
            <a:r>
              <a:rPr lang="uk-UA" sz="2000" dirty="0"/>
              <a:t>зменшити втрати від нестач – </a:t>
            </a:r>
            <a:br>
              <a:rPr lang="uk-UA" sz="2000" dirty="0"/>
            </a:br>
            <a:r>
              <a:rPr lang="uk-UA" sz="2000" b="1" dirty="0"/>
              <a:t>0,35 % від Т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B03D7E-3632-2663-9A2F-C6560A7FA636}"/>
              </a:ext>
            </a:extLst>
          </p:cNvPr>
          <p:cNvSpPr txBox="1"/>
          <p:nvPr/>
        </p:nvSpPr>
        <p:spPr>
          <a:xfrm>
            <a:off x="6498536" y="4762523"/>
            <a:ext cx="482790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/>
              <a:t>Ми залишились майже в тих межах по втратам,</a:t>
            </a:r>
            <a:br>
              <a:rPr lang="uk-UA" sz="2000" dirty="0"/>
            </a:br>
            <a:r>
              <a:rPr lang="uk-UA" sz="2000" dirty="0"/>
              <a:t>при цьому </a:t>
            </a:r>
            <a:r>
              <a:rPr lang="uk-UA" sz="2000" b="1" dirty="0">
                <a:latin typeface="+mj-lt"/>
              </a:rPr>
              <a:t>зекономили 1 % від витрат ТО </a:t>
            </a:r>
            <a:r>
              <a:rPr lang="uk-UA" sz="2000" dirty="0"/>
              <a:t>тільки на фонді оплати праці </a:t>
            </a:r>
          </a:p>
        </p:txBody>
      </p:sp>
      <p:sp>
        <p:nvSpPr>
          <p:cNvPr id="17" name="Паралелограм 16">
            <a:extLst>
              <a:ext uri="{FF2B5EF4-FFF2-40B4-BE49-F238E27FC236}">
                <a16:creationId xmlns:a16="http://schemas.microsoft.com/office/drawing/2014/main" id="{6459A90D-7482-5D89-9969-B21E5A1CEFCC}"/>
              </a:ext>
            </a:extLst>
          </p:cNvPr>
          <p:cNvSpPr/>
          <p:nvPr/>
        </p:nvSpPr>
        <p:spPr>
          <a:xfrm>
            <a:off x="7700466" y="1732925"/>
            <a:ext cx="2301134" cy="620712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dirty="0">
                <a:latin typeface="+mj-lt"/>
              </a:rPr>
              <a:t>Стало</a:t>
            </a:r>
          </a:p>
        </p:txBody>
      </p:sp>
      <p:pic>
        <p:nvPicPr>
          <p:cNvPr id="9218" name="Picture 2" descr="Может ли охранник в магазине обыскивать покупателя и что делать такой  ситуации - МЕТА">
            <a:extLst>
              <a:ext uri="{FF2B5EF4-FFF2-40B4-BE49-F238E27FC236}">
                <a16:creationId xmlns:a16="http://schemas.microsoft.com/office/drawing/2014/main" id="{B1EBFE2E-50EC-4FA0-8C12-50A68F7365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8"/>
          <a:stretch/>
        </p:blipFill>
        <p:spPr bwMode="auto">
          <a:xfrm>
            <a:off x="1107324" y="2076361"/>
            <a:ext cx="4476716" cy="2413616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8" name="Паралелограм 7">
            <a:extLst>
              <a:ext uri="{FF2B5EF4-FFF2-40B4-BE49-F238E27FC236}">
                <a16:creationId xmlns:a16="http://schemas.microsoft.com/office/drawing/2014/main" id="{5B19D239-FF82-3222-C34F-255A89A5938D}"/>
              </a:ext>
            </a:extLst>
          </p:cNvPr>
          <p:cNvSpPr/>
          <p:nvPr/>
        </p:nvSpPr>
        <p:spPr>
          <a:xfrm>
            <a:off x="2190399" y="1733312"/>
            <a:ext cx="2301134" cy="620712"/>
          </a:xfrm>
          <a:prstGeom prst="parallelogram">
            <a:avLst>
              <a:gd name="adj" fmla="val 22117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dirty="0">
                <a:latin typeface="+mj-lt"/>
              </a:rPr>
              <a:t>Було</a:t>
            </a:r>
          </a:p>
        </p:txBody>
      </p:sp>
    </p:spTree>
    <p:extLst>
      <p:ext uri="{BB962C8B-B14F-4D97-AF65-F5344CB8AC3E}">
        <p14:creationId xmlns:p14="http://schemas.microsoft.com/office/powerpoint/2010/main" val="14090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кутник 33">
            <a:extLst>
              <a:ext uri="{FF2B5EF4-FFF2-40B4-BE49-F238E27FC236}">
                <a16:creationId xmlns:a16="http://schemas.microsoft.com/office/drawing/2014/main" id="{36F2A040-D2B0-4F1D-B158-E93D3C42C69C}"/>
              </a:ext>
            </a:extLst>
          </p:cNvPr>
          <p:cNvSpPr/>
          <p:nvPr/>
        </p:nvSpPr>
        <p:spPr>
          <a:xfrm>
            <a:off x="623887" y="5350716"/>
            <a:ext cx="5260073" cy="1175610"/>
          </a:xfrm>
          <a:prstGeom prst="rect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D71749-79EE-9C70-6A98-B1AA0008F4EE}"/>
              </a:ext>
            </a:extLst>
          </p:cNvPr>
          <p:cNvSpPr txBox="1"/>
          <p:nvPr/>
        </p:nvSpPr>
        <p:spPr>
          <a:xfrm>
            <a:off x="462456" y="343527"/>
            <a:ext cx="1110565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uk-UA" sz="6000" b="1" dirty="0">
                <a:latin typeface="+mj-lt"/>
              </a:rPr>
              <a:t>5. </a:t>
            </a:r>
            <a:r>
              <a:rPr lang="ru-RU" sz="6000" b="1" dirty="0" err="1">
                <a:latin typeface="+mj-lt"/>
              </a:rPr>
              <a:t>Відмовляйся</a:t>
            </a:r>
            <a:r>
              <a:rPr lang="ru-RU" sz="6000" b="1" dirty="0">
                <a:latin typeface="+mj-lt"/>
              </a:rPr>
              <a:t> </a:t>
            </a:r>
            <a:r>
              <a:rPr lang="ru-RU" sz="6000" b="1" dirty="0" err="1">
                <a:latin typeface="+mj-lt"/>
              </a:rPr>
              <a:t>від</a:t>
            </a:r>
            <a:r>
              <a:rPr lang="ru-RU" sz="6000" b="1" dirty="0">
                <a:latin typeface="+mj-lt"/>
              </a:rPr>
              <a:t> </a:t>
            </a:r>
            <a:r>
              <a:rPr lang="ru-RU" sz="6000" b="1" dirty="0" err="1">
                <a:latin typeface="+mj-lt"/>
              </a:rPr>
              <a:t>процесів</a:t>
            </a:r>
            <a:r>
              <a:rPr lang="ru-RU" sz="6000" b="1" dirty="0">
                <a:latin typeface="+mj-lt"/>
              </a:rPr>
              <a:t>, </a:t>
            </a:r>
            <a:r>
              <a:rPr lang="ru-RU" sz="6000" b="1" dirty="0" err="1">
                <a:latin typeface="+mj-lt"/>
              </a:rPr>
              <a:t>які</a:t>
            </a:r>
            <a:br>
              <a:rPr lang="ru-RU" sz="6000" b="1" dirty="0">
                <a:latin typeface="+mj-lt"/>
              </a:rPr>
            </a:br>
            <a:r>
              <a:rPr lang="ru-RU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не </a:t>
            </a:r>
            <a:r>
              <a:rPr lang="ru-RU" sz="6000" b="1" dirty="0" err="1">
                <a:ln>
                  <a:solidFill>
                    <a:schemeClr val="tx1"/>
                  </a:solidFill>
                </a:ln>
                <a:noFill/>
                <a:latin typeface="+mj-lt"/>
              </a:rPr>
              <a:t>створюють</a:t>
            </a:r>
            <a:r>
              <a:rPr lang="ru-RU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 </a:t>
            </a:r>
            <a:r>
              <a:rPr lang="ru-RU" sz="6000" b="1" dirty="0" err="1">
                <a:ln>
                  <a:solidFill>
                    <a:schemeClr val="tx1"/>
                  </a:solidFill>
                </a:ln>
                <a:noFill/>
                <a:latin typeface="+mj-lt"/>
              </a:rPr>
              <a:t>додану</a:t>
            </a:r>
            <a:r>
              <a:rPr lang="ru-RU" sz="6000" b="1" dirty="0">
                <a:ln>
                  <a:solidFill>
                    <a:schemeClr val="tx1"/>
                  </a:solidFill>
                </a:ln>
                <a:noFill/>
                <a:latin typeface="+mj-lt"/>
              </a:rPr>
              <a:t> </a:t>
            </a:r>
            <a:r>
              <a:rPr lang="ru-RU" sz="6000" b="1" dirty="0" err="1">
                <a:ln>
                  <a:solidFill>
                    <a:schemeClr val="tx1"/>
                  </a:solidFill>
                </a:ln>
                <a:noFill/>
                <a:latin typeface="+mj-lt"/>
              </a:rPr>
              <a:t>вартість</a:t>
            </a:r>
            <a:endParaRPr lang="uk-UA" sz="6000" b="1" dirty="0">
              <a:ln>
                <a:solidFill>
                  <a:schemeClr val="tx1"/>
                </a:solidFill>
              </a:ln>
              <a:noFill/>
              <a:latin typeface="+mj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02CF08F-DA97-D01D-2AF9-6ED47B85A7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" r="6"/>
          <a:stretch/>
        </p:blipFill>
        <p:spPr>
          <a:xfrm>
            <a:off x="660429" y="2437428"/>
            <a:ext cx="1304666" cy="869884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10" name="Паралелограм 9">
            <a:extLst>
              <a:ext uri="{FF2B5EF4-FFF2-40B4-BE49-F238E27FC236}">
                <a16:creationId xmlns:a16="http://schemas.microsoft.com/office/drawing/2014/main" id="{A7844974-81BA-1190-EC2D-EA548001C8DB}"/>
              </a:ext>
            </a:extLst>
          </p:cNvPr>
          <p:cNvSpPr/>
          <p:nvPr/>
        </p:nvSpPr>
        <p:spPr>
          <a:xfrm>
            <a:off x="1162023" y="2237887"/>
            <a:ext cx="1187861" cy="381756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>
                <a:latin typeface="+mj-lt"/>
              </a:rPr>
              <a:t>Кейс </a:t>
            </a:r>
            <a:r>
              <a:rPr lang="en-US" sz="1600" dirty="0">
                <a:latin typeface="+mj-lt"/>
              </a:rPr>
              <a:t>#</a:t>
            </a:r>
            <a:r>
              <a:rPr lang="uk-UA" sz="1600" dirty="0">
                <a:latin typeface="+mj-lt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059E14-179F-846A-E81A-601E42404A72}"/>
              </a:ext>
            </a:extLst>
          </p:cNvPr>
          <p:cNvSpPr txBox="1"/>
          <p:nvPr/>
        </p:nvSpPr>
        <p:spPr>
          <a:xfrm>
            <a:off x="527292" y="3280301"/>
            <a:ext cx="420663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000" dirty="0">
                <a:latin typeface="+mj-lt"/>
              </a:rPr>
              <a:t>І</a:t>
            </a:r>
            <a:r>
              <a:rPr lang="ru-RU" sz="2000" dirty="0" err="1">
                <a:latin typeface="+mj-lt"/>
              </a:rPr>
              <a:t>нвентаризація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сіх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товарів</a:t>
            </a:r>
            <a:r>
              <a:rPr lang="ru-RU" sz="2000" dirty="0">
                <a:latin typeface="+mj-lt"/>
              </a:rPr>
              <a:t> в </a:t>
            </a:r>
            <a:r>
              <a:rPr lang="ru-RU" sz="2000" dirty="0" err="1">
                <a:latin typeface="+mj-lt"/>
              </a:rPr>
              <a:t>магазин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ротягом</a:t>
            </a:r>
            <a:r>
              <a:rPr lang="ru-RU" sz="2000" dirty="0">
                <a:latin typeface="+mj-lt"/>
              </a:rPr>
              <a:t> календарного </a:t>
            </a:r>
            <a:r>
              <a:rPr lang="ru-RU" sz="2000" dirty="0" err="1">
                <a:latin typeface="+mj-lt"/>
              </a:rPr>
              <a:t>місяця</a:t>
            </a:r>
            <a:endParaRPr lang="ru-RU" sz="2000" dirty="0">
              <a:latin typeface="+mj-lt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8231EB82-7B9A-76D8-B904-9CE912676D48}"/>
              </a:ext>
            </a:extLst>
          </p:cNvPr>
          <p:cNvSpPr/>
          <p:nvPr/>
        </p:nvSpPr>
        <p:spPr>
          <a:xfrm>
            <a:off x="910267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8" name="Графіка 17" descr="Gender outline">
            <a:extLst>
              <a:ext uri="{FF2B5EF4-FFF2-40B4-BE49-F238E27FC236}">
                <a16:creationId xmlns:a16="http://schemas.microsoft.com/office/drawing/2014/main" id="{D231C440-CF7E-9942-1577-1AC07F7824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04" r="104"/>
          <a:stretch/>
        </p:blipFill>
        <p:spPr>
          <a:xfrm>
            <a:off x="1011284" y="4170311"/>
            <a:ext cx="301478" cy="30210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77E8D45-204E-D5A2-296F-C7B955D55B93}"/>
              </a:ext>
            </a:extLst>
          </p:cNvPr>
          <p:cNvSpPr txBox="1"/>
          <p:nvPr/>
        </p:nvSpPr>
        <p:spPr>
          <a:xfrm>
            <a:off x="827084" y="4525496"/>
            <a:ext cx="6698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800" dirty="0">
                <a:latin typeface="+mj-lt"/>
              </a:rPr>
              <a:t>2 500 </a:t>
            </a:r>
            <a:endParaRPr lang="uk-UA" dirty="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B6AC3FB-8815-6E1E-5B94-AC765752D3D7}"/>
              </a:ext>
            </a:extLst>
          </p:cNvPr>
          <p:cNvSpPr txBox="1"/>
          <p:nvPr/>
        </p:nvSpPr>
        <p:spPr>
          <a:xfrm>
            <a:off x="412746" y="4760148"/>
            <a:ext cx="14985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Сп</a:t>
            </a:r>
            <a:r>
              <a:rPr lang="uk-UA" sz="1400" dirty="0" err="1"/>
              <a:t>івробітників</a:t>
            </a:r>
            <a:r>
              <a:rPr lang="uk-UA" sz="1400" dirty="0"/>
              <a:t> </a:t>
            </a:r>
            <a:br>
              <a:rPr lang="uk-UA" sz="1400" dirty="0"/>
            </a:br>
            <a:r>
              <a:rPr lang="uk-UA" sz="1400" dirty="0"/>
              <a:t>в магазині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8D813419-E9FD-7347-284A-95FFBFC69718}"/>
              </a:ext>
            </a:extLst>
          </p:cNvPr>
          <p:cNvSpPr/>
          <p:nvPr/>
        </p:nvSpPr>
        <p:spPr>
          <a:xfrm>
            <a:off x="2964594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3" name="Графіка 22" descr="Clock outline">
            <a:extLst>
              <a:ext uri="{FF2B5EF4-FFF2-40B4-BE49-F238E27FC236}">
                <a16:creationId xmlns:a16="http://schemas.microsoft.com/office/drawing/2014/main" id="{E22AE066-19BB-4643-6475-886E402EC7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22" r="122"/>
          <a:stretch/>
        </p:blipFill>
        <p:spPr>
          <a:xfrm>
            <a:off x="3065611" y="4170311"/>
            <a:ext cx="301373" cy="3021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392F0E2-B46B-FC04-0BF2-02E6B04D288D}"/>
              </a:ext>
            </a:extLst>
          </p:cNvPr>
          <p:cNvSpPr txBox="1"/>
          <p:nvPr/>
        </p:nvSpPr>
        <p:spPr>
          <a:xfrm>
            <a:off x="2752295" y="4525496"/>
            <a:ext cx="9178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latin typeface="+mj-lt"/>
              </a:rPr>
              <a:t>8 годин</a:t>
            </a:r>
            <a:endParaRPr lang="uk-UA" dirty="0"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5808475-B034-A44E-191F-0FC76AE436FE}"/>
              </a:ext>
            </a:extLst>
          </p:cNvPr>
          <p:cNvSpPr txBox="1"/>
          <p:nvPr/>
        </p:nvSpPr>
        <p:spPr>
          <a:xfrm>
            <a:off x="2369783" y="4760148"/>
            <a:ext cx="16931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Середня</a:t>
            </a:r>
            <a:r>
              <a:rPr lang="ru-RU" sz="1400" dirty="0"/>
              <a:t> </a:t>
            </a:r>
            <a:r>
              <a:rPr lang="ru-RU" sz="1400" dirty="0" err="1"/>
              <a:t>кількість</a:t>
            </a:r>
            <a:r>
              <a:rPr lang="ru-RU" sz="1400" dirty="0"/>
              <a:t> </a:t>
            </a:r>
            <a:r>
              <a:rPr lang="ru-RU" sz="1400" dirty="0" err="1"/>
              <a:t>затраченого</a:t>
            </a:r>
            <a:r>
              <a:rPr lang="ru-RU" sz="1400" dirty="0"/>
              <a:t> часу </a:t>
            </a:r>
            <a:endParaRPr lang="uk-UA" sz="1400" dirty="0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C5E6253A-34CA-76B7-6585-353CB0E1E6CA}"/>
              </a:ext>
            </a:extLst>
          </p:cNvPr>
          <p:cNvSpPr/>
          <p:nvPr/>
        </p:nvSpPr>
        <p:spPr>
          <a:xfrm>
            <a:off x="4931323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7" name="Графіка 26" descr="Money outline">
            <a:extLst>
              <a:ext uri="{FF2B5EF4-FFF2-40B4-BE49-F238E27FC236}">
                <a16:creationId xmlns:a16="http://schemas.microsoft.com/office/drawing/2014/main" id="{5E02AEB3-9B2C-8E31-1EBE-22E8984E31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22" r="122"/>
          <a:stretch/>
        </p:blipFill>
        <p:spPr>
          <a:xfrm>
            <a:off x="5032340" y="4170311"/>
            <a:ext cx="301373" cy="30210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D2994B4-8062-E640-D174-79A078D879E8}"/>
              </a:ext>
            </a:extLst>
          </p:cNvPr>
          <p:cNvSpPr txBox="1"/>
          <p:nvPr/>
        </p:nvSpPr>
        <p:spPr>
          <a:xfrm>
            <a:off x="4848140" y="4525496"/>
            <a:ext cx="830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800" dirty="0">
                <a:latin typeface="+mj-lt"/>
              </a:rPr>
              <a:t>100 грн</a:t>
            </a:r>
            <a:endParaRPr lang="uk-UA" dirty="0">
              <a:latin typeface="+mj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7AAF78-E8CB-BAF2-4959-C32F44A38EF7}"/>
              </a:ext>
            </a:extLst>
          </p:cNvPr>
          <p:cNvSpPr txBox="1"/>
          <p:nvPr/>
        </p:nvSpPr>
        <p:spPr>
          <a:xfrm>
            <a:off x="4433802" y="4760148"/>
            <a:ext cx="14985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Вартість</a:t>
            </a:r>
            <a:r>
              <a:rPr lang="ru-RU" sz="1400" dirty="0"/>
              <a:t> </a:t>
            </a:r>
            <a:r>
              <a:rPr lang="ru-RU" sz="1400" dirty="0" err="1"/>
              <a:t>роботи</a:t>
            </a:r>
            <a:r>
              <a:rPr lang="ru-RU" sz="1400" dirty="0"/>
              <a:t> </a:t>
            </a:r>
            <a:r>
              <a:rPr lang="ru-RU" sz="1400" dirty="0" err="1"/>
              <a:t>однієї</a:t>
            </a:r>
            <a:r>
              <a:rPr lang="ru-RU" sz="1400" dirty="0"/>
              <a:t> </a:t>
            </a:r>
            <a:r>
              <a:rPr lang="ru-RU" sz="1400" dirty="0" err="1"/>
              <a:t>години</a:t>
            </a:r>
            <a:r>
              <a:rPr lang="ru-RU" sz="1400" dirty="0"/>
              <a:t> </a:t>
            </a:r>
            <a:endParaRPr lang="uk-UA" sz="14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58B7327-1E7B-D6B5-186D-A828A5BECA44}"/>
              </a:ext>
            </a:extLst>
          </p:cNvPr>
          <p:cNvSpPr txBox="1"/>
          <p:nvPr/>
        </p:nvSpPr>
        <p:spPr>
          <a:xfrm>
            <a:off x="623887" y="5350196"/>
            <a:ext cx="52460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Додаткові витрати</a:t>
            </a:r>
          </a:p>
        </p:txBody>
      </p:sp>
      <p:cxnSp>
        <p:nvCxnSpPr>
          <p:cNvPr id="36" name="Пряма сполучна лінія 35">
            <a:extLst>
              <a:ext uri="{FF2B5EF4-FFF2-40B4-BE49-F238E27FC236}">
                <a16:creationId xmlns:a16="http://schemas.microsoft.com/office/drawing/2014/main" id="{EF026F01-A717-D4A5-166C-65171191534B}"/>
              </a:ext>
            </a:extLst>
          </p:cNvPr>
          <p:cNvCxnSpPr>
            <a:cxnSpLocks/>
          </p:cNvCxnSpPr>
          <p:nvPr/>
        </p:nvCxnSpPr>
        <p:spPr>
          <a:xfrm>
            <a:off x="6096000" y="2401463"/>
            <a:ext cx="0" cy="4337475"/>
          </a:xfrm>
          <a:prstGeom prst="line">
            <a:avLst/>
          </a:prstGeom>
          <a:ln w="12700">
            <a:solidFill>
              <a:srgbClr val="40404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2DE2EE2-FD2D-F60F-9087-5C3D618F59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r="16"/>
          <a:stretch/>
        </p:blipFill>
        <p:spPr>
          <a:xfrm>
            <a:off x="6335043" y="2437428"/>
            <a:ext cx="1304584" cy="869884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sp>
        <p:nvSpPr>
          <p:cNvPr id="39" name="Паралелограм 38">
            <a:extLst>
              <a:ext uri="{FF2B5EF4-FFF2-40B4-BE49-F238E27FC236}">
                <a16:creationId xmlns:a16="http://schemas.microsoft.com/office/drawing/2014/main" id="{CC2067AC-806E-2ADA-4E62-3150F376B30C}"/>
              </a:ext>
            </a:extLst>
          </p:cNvPr>
          <p:cNvSpPr/>
          <p:nvPr/>
        </p:nvSpPr>
        <p:spPr>
          <a:xfrm>
            <a:off x="6836637" y="2237887"/>
            <a:ext cx="1187861" cy="381756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dirty="0">
                <a:latin typeface="+mj-lt"/>
              </a:rPr>
              <a:t>Кейс </a:t>
            </a:r>
            <a:r>
              <a:rPr lang="en-US" sz="1600" dirty="0">
                <a:latin typeface="+mj-lt"/>
              </a:rPr>
              <a:t>#2</a:t>
            </a:r>
            <a:endParaRPr lang="uk-UA" sz="1600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AB10A44-0E8F-B7D4-3E99-702E57FDBF1E}"/>
              </a:ext>
            </a:extLst>
          </p:cNvPr>
          <p:cNvSpPr txBox="1"/>
          <p:nvPr/>
        </p:nvSpPr>
        <p:spPr>
          <a:xfrm>
            <a:off x="6201905" y="3280301"/>
            <a:ext cx="35364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err="1">
                <a:latin typeface="+mj-lt"/>
              </a:rPr>
              <a:t>Відмов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ід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ерерахунк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товарів</a:t>
            </a:r>
            <a:r>
              <a:rPr lang="ru-RU" sz="2000" dirty="0">
                <a:latin typeface="+mj-lt"/>
              </a:rPr>
              <a:t> при </a:t>
            </a:r>
            <a:r>
              <a:rPr lang="ru-RU" sz="2000" dirty="0" err="1">
                <a:latin typeface="+mj-lt"/>
              </a:rPr>
              <a:t>прийомі</a:t>
            </a:r>
            <a:r>
              <a:rPr lang="ru-RU" sz="2000" dirty="0">
                <a:latin typeface="+mj-lt"/>
              </a:rPr>
              <a:t> 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839B6225-1B3B-C8AE-9A50-4E54FD586827}"/>
              </a:ext>
            </a:extLst>
          </p:cNvPr>
          <p:cNvSpPr/>
          <p:nvPr/>
        </p:nvSpPr>
        <p:spPr>
          <a:xfrm>
            <a:off x="6584881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2" name="Графіка 41" descr="Box trolley outline">
            <a:extLst>
              <a:ext uri="{FF2B5EF4-FFF2-40B4-BE49-F238E27FC236}">
                <a16:creationId xmlns:a16="http://schemas.microsoft.com/office/drawing/2014/main" id="{3B0BFEBA-0B63-87D4-239C-7659F40AABE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122" r="122"/>
          <a:stretch/>
        </p:blipFill>
        <p:spPr>
          <a:xfrm>
            <a:off x="6685898" y="4170311"/>
            <a:ext cx="301373" cy="30210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634F664-CCC8-33AE-8A7F-7851CFD5533D}"/>
              </a:ext>
            </a:extLst>
          </p:cNvPr>
          <p:cNvSpPr txBox="1"/>
          <p:nvPr/>
        </p:nvSpPr>
        <p:spPr>
          <a:xfrm>
            <a:off x="6501697" y="4525496"/>
            <a:ext cx="8360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8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4</a:t>
            </a:r>
            <a:r>
              <a:rPr lang="uk-UA" sz="1800" dirty="0">
                <a:latin typeface="+mj-lt"/>
              </a:rPr>
              <a:t> </a:t>
            </a:r>
            <a:r>
              <a:rPr lang="en-US" dirty="0">
                <a:latin typeface="+mj-lt"/>
              </a:rPr>
              <a:t>0</a:t>
            </a:r>
            <a:r>
              <a:rPr lang="uk-UA" sz="1800" dirty="0">
                <a:latin typeface="+mj-lt"/>
              </a:rPr>
              <a:t>00 </a:t>
            </a:r>
            <a:endParaRPr lang="uk-UA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F106562-2B47-4C79-1A07-12A57280EE2F}"/>
              </a:ext>
            </a:extLst>
          </p:cNvPr>
          <p:cNvSpPr txBox="1"/>
          <p:nvPr/>
        </p:nvSpPr>
        <p:spPr>
          <a:xfrm>
            <a:off x="6087360" y="4760148"/>
            <a:ext cx="14985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відвантажених</a:t>
            </a:r>
            <a:r>
              <a:rPr lang="ru-RU" sz="1400" dirty="0"/>
              <a:t> палет в </a:t>
            </a:r>
            <a:r>
              <a:rPr lang="ru-RU" sz="1400" dirty="0" err="1"/>
              <a:t>місяць</a:t>
            </a:r>
            <a:r>
              <a:rPr lang="ru-RU" sz="1400" dirty="0"/>
              <a:t> </a:t>
            </a:r>
            <a:endParaRPr lang="uk-UA" sz="1400" dirty="0"/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E2210304-DF2A-0C14-1DE3-2391A42D348D}"/>
              </a:ext>
            </a:extLst>
          </p:cNvPr>
          <p:cNvSpPr/>
          <p:nvPr/>
        </p:nvSpPr>
        <p:spPr>
          <a:xfrm>
            <a:off x="8008582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46" name="Графіка 45" descr="Clock outline">
            <a:extLst>
              <a:ext uri="{FF2B5EF4-FFF2-40B4-BE49-F238E27FC236}">
                <a16:creationId xmlns:a16="http://schemas.microsoft.com/office/drawing/2014/main" id="{9251DF2D-0491-BE4F-3F86-61A07CF100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22" r="122"/>
          <a:stretch/>
        </p:blipFill>
        <p:spPr>
          <a:xfrm>
            <a:off x="8101269" y="4170311"/>
            <a:ext cx="301373" cy="30210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140AB92-DE36-828A-06C6-1927212D078E}"/>
              </a:ext>
            </a:extLst>
          </p:cNvPr>
          <p:cNvSpPr txBox="1"/>
          <p:nvPr/>
        </p:nvSpPr>
        <p:spPr>
          <a:xfrm>
            <a:off x="7699385" y="4525496"/>
            <a:ext cx="11509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dirty="0">
                <a:latin typeface="+mj-lt"/>
              </a:rPr>
              <a:t>2</a:t>
            </a:r>
            <a:r>
              <a:rPr lang="uk-UA" sz="1800" dirty="0">
                <a:latin typeface="+mj-lt"/>
              </a:rPr>
              <a:t> люд/год</a:t>
            </a:r>
            <a:endParaRPr lang="uk-UA" dirty="0"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C2A05D7-F9D2-983D-7E6F-85CDBB79F6B2}"/>
              </a:ext>
            </a:extLst>
          </p:cNvPr>
          <p:cNvSpPr txBox="1"/>
          <p:nvPr/>
        </p:nvSpPr>
        <p:spPr>
          <a:xfrm>
            <a:off x="7405441" y="4760148"/>
            <a:ext cx="169313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середня</a:t>
            </a:r>
            <a:r>
              <a:rPr lang="ru-RU" sz="1400" dirty="0"/>
              <a:t> </a:t>
            </a:r>
            <a:r>
              <a:rPr lang="ru-RU" sz="1400" dirty="0" err="1"/>
              <a:t>кількість</a:t>
            </a:r>
            <a:r>
              <a:rPr lang="ru-RU" sz="1400" dirty="0"/>
              <a:t> </a:t>
            </a:r>
            <a:r>
              <a:rPr lang="ru-RU" sz="1400" dirty="0" err="1"/>
              <a:t>затраченого</a:t>
            </a:r>
            <a:r>
              <a:rPr lang="ru-RU" sz="1400" dirty="0"/>
              <a:t> часу </a:t>
            </a:r>
            <a:endParaRPr lang="uk-UA" sz="1400" dirty="0"/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A5AEEFB6-C61A-F70D-535F-880C05A7079C}"/>
              </a:ext>
            </a:extLst>
          </p:cNvPr>
          <p:cNvSpPr/>
          <p:nvPr/>
        </p:nvSpPr>
        <p:spPr>
          <a:xfrm>
            <a:off x="9432283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0" name="Графіка 49" descr="Money outline">
            <a:extLst>
              <a:ext uri="{FF2B5EF4-FFF2-40B4-BE49-F238E27FC236}">
                <a16:creationId xmlns:a16="http://schemas.microsoft.com/office/drawing/2014/main" id="{00C22233-5EEA-C131-48CB-B1D5CBAC90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22" r="122"/>
          <a:stretch/>
        </p:blipFill>
        <p:spPr>
          <a:xfrm>
            <a:off x="9520305" y="4170311"/>
            <a:ext cx="301373" cy="302108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E1E9D9E-8874-6263-C1B7-5F2CE7277A5C}"/>
              </a:ext>
            </a:extLst>
          </p:cNvPr>
          <p:cNvSpPr txBox="1"/>
          <p:nvPr/>
        </p:nvSpPr>
        <p:spPr>
          <a:xfrm>
            <a:off x="9305302" y="4525496"/>
            <a:ext cx="830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800" dirty="0">
                <a:latin typeface="+mj-lt"/>
              </a:rPr>
              <a:t>100 грн</a:t>
            </a:r>
            <a:endParaRPr lang="uk-UA" dirty="0">
              <a:latin typeface="+mj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F47ED1A-2CD5-B10B-5245-8643BA7389FF}"/>
              </a:ext>
            </a:extLst>
          </p:cNvPr>
          <p:cNvSpPr txBox="1"/>
          <p:nvPr/>
        </p:nvSpPr>
        <p:spPr>
          <a:xfrm>
            <a:off x="8890964" y="4760148"/>
            <a:ext cx="14985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Вартість</a:t>
            </a:r>
            <a:r>
              <a:rPr lang="ru-RU" sz="1400" dirty="0"/>
              <a:t> </a:t>
            </a:r>
            <a:r>
              <a:rPr lang="ru-RU" sz="1400" dirty="0" err="1"/>
              <a:t>роботи</a:t>
            </a:r>
            <a:r>
              <a:rPr lang="ru-RU" sz="1400" dirty="0"/>
              <a:t> </a:t>
            </a:r>
            <a:r>
              <a:rPr lang="ru-RU" sz="1400" dirty="0" err="1"/>
              <a:t>однієї</a:t>
            </a:r>
            <a:r>
              <a:rPr lang="ru-RU" sz="1400" dirty="0"/>
              <a:t> </a:t>
            </a:r>
            <a:r>
              <a:rPr lang="ru-RU" sz="1400" dirty="0" err="1"/>
              <a:t>години</a:t>
            </a:r>
            <a:r>
              <a:rPr lang="ru-RU" sz="1400" dirty="0"/>
              <a:t> </a:t>
            </a:r>
            <a:endParaRPr lang="uk-UA" sz="1400" dirty="0"/>
          </a:p>
        </p:txBody>
      </p:sp>
      <p:grpSp>
        <p:nvGrpSpPr>
          <p:cNvPr id="55" name="Google Shape;60;p3">
            <a:extLst>
              <a:ext uri="{FF2B5EF4-FFF2-40B4-BE49-F238E27FC236}">
                <a16:creationId xmlns:a16="http://schemas.microsoft.com/office/drawing/2014/main" id="{C0C76F69-2274-991E-3A2C-67CF867456F7}"/>
              </a:ext>
            </a:extLst>
          </p:cNvPr>
          <p:cNvGrpSpPr/>
          <p:nvPr/>
        </p:nvGrpSpPr>
        <p:grpSpPr>
          <a:xfrm rot="10800000">
            <a:off x="10800128" y="-151376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56" name="Google Shape;61;p3">
              <a:extLst>
                <a:ext uri="{FF2B5EF4-FFF2-40B4-BE49-F238E27FC236}">
                  <a16:creationId xmlns:a16="http://schemas.microsoft.com/office/drawing/2014/main" id="{C3BB5D20-D9C6-174A-E8B4-4E01A626F8F5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62;p3">
              <a:extLst>
                <a:ext uri="{FF2B5EF4-FFF2-40B4-BE49-F238E27FC236}">
                  <a16:creationId xmlns:a16="http://schemas.microsoft.com/office/drawing/2014/main" id="{093D2821-B7C5-B7D1-49B8-A4232CAED147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63;p3">
              <a:extLst>
                <a:ext uri="{FF2B5EF4-FFF2-40B4-BE49-F238E27FC236}">
                  <a16:creationId xmlns:a16="http://schemas.microsoft.com/office/drawing/2014/main" id="{5B87E016-D3CA-DCC8-0002-5A09C5B07C4C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64;p3">
              <a:extLst>
                <a:ext uri="{FF2B5EF4-FFF2-40B4-BE49-F238E27FC236}">
                  <a16:creationId xmlns:a16="http://schemas.microsoft.com/office/drawing/2014/main" id="{0E0BFB4E-C5D3-3667-53DF-6130D41E765E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5;p3">
              <a:extLst>
                <a:ext uri="{FF2B5EF4-FFF2-40B4-BE49-F238E27FC236}">
                  <a16:creationId xmlns:a16="http://schemas.microsoft.com/office/drawing/2014/main" id="{38CE7ED3-3388-9F60-A948-BF0A69991D76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66;p3">
              <a:extLst>
                <a:ext uri="{FF2B5EF4-FFF2-40B4-BE49-F238E27FC236}">
                  <a16:creationId xmlns:a16="http://schemas.microsoft.com/office/drawing/2014/main" id="{08A5B998-FA5B-88BE-3467-49A907B534A7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67;p3">
              <a:extLst>
                <a:ext uri="{FF2B5EF4-FFF2-40B4-BE49-F238E27FC236}">
                  <a16:creationId xmlns:a16="http://schemas.microsoft.com/office/drawing/2014/main" id="{A4921974-FB45-DA92-4E78-B7FE612C482E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8;p3">
              <a:extLst>
                <a:ext uri="{FF2B5EF4-FFF2-40B4-BE49-F238E27FC236}">
                  <a16:creationId xmlns:a16="http://schemas.microsoft.com/office/drawing/2014/main" id="{07887924-F4DE-A555-0559-2945C40041F6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69;p3">
              <a:extLst>
                <a:ext uri="{FF2B5EF4-FFF2-40B4-BE49-F238E27FC236}">
                  <a16:creationId xmlns:a16="http://schemas.microsoft.com/office/drawing/2014/main" id="{FDE2F83B-6092-3FC6-D43F-774D7308A4A9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70;p3">
              <a:extLst>
                <a:ext uri="{FF2B5EF4-FFF2-40B4-BE49-F238E27FC236}">
                  <a16:creationId xmlns:a16="http://schemas.microsoft.com/office/drawing/2014/main" id="{138CEF22-00BF-C5D0-18AD-0E782E6EE4CD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71;p3">
              <a:extLst>
                <a:ext uri="{FF2B5EF4-FFF2-40B4-BE49-F238E27FC236}">
                  <a16:creationId xmlns:a16="http://schemas.microsoft.com/office/drawing/2014/main" id="{C5697895-194B-B7E7-F58E-A5065A6FA25C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72;p3">
              <a:extLst>
                <a:ext uri="{FF2B5EF4-FFF2-40B4-BE49-F238E27FC236}">
                  <a16:creationId xmlns:a16="http://schemas.microsoft.com/office/drawing/2014/main" id="{E1FA13D6-B946-65C9-2CD1-510519785174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73;p3">
              <a:extLst>
                <a:ext uri="{FF2B5EF4-FFF2-40B4-BE49-F238E27FC236}">
                  <a16:creationId xmlns:a16="http://schemas.microsoft.com/office/drawing/2014/main" id="{F7281687-1FFE-E166-5424-B0C45860807F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74;p3">
              <a:extLst>
                <a:ext uri="{FF2B5EF4-FFF2-40B4-BE49-F238E27FC236}">
                  <a16:creationId xmlns:a16="http://schemas.microsoft.com/office/drawing/2014/main" id="{D7266895-A976-C704-F8A7-F7195375B94C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75;p3">
              <a:extLst>
                <a:ext uri="{FF2B5EF4-FFF2-40B4-BE49-F238E27FC236}">
                  <a16:creationId xmlns:a16="http://schemas.microsoft.com/office/drawing/2014/main" id="{6B0E1E82-44D2-07F1-0E25-B2B455AC0D00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6;p3">
              <a:extLst>
                <a:ext uri="{FF2B5EF4-FFF2-40B4-BE49-F238E27FC236}">
                  <a16:creationId xmlns:a16="http://schemas.microsoft.com/office/drawing/2014/main" id="{0986187D-8FB8-3D83-49CC-12A4A5CEB0FC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72" name="Овал 71">
            <a:extLst>
              <a:ext uri="{FF2B5EF4-FFF2-40B4-BE49-F238E27FC236}">
                <a16:creationId xmlns:a16="http://schemas.microsoft.com/office/drawing/2014/main" id="{10781D77-CB3E-BE70-7979-B2BFFC1546E3}"/>
              </a:ext>
            </a:extLst>
          </p:cNvPr>
          <p:cNvSpPr/>
          <p:nvPr/>
        </p:nvSpPr>
        <p:spPr>
          <a:xfrm>
            <a:off x="10855985" y="4069609"/>
            <a:ext cx="503512" cy="503512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73" name="Графіка 72" descr="Filing Box Archive outline">
            <a:extLst>
              <a:ext uri="{FF2B5EF4-FFF2-40B4-BE49-F238E27FC236}">
                <a16:creationId xmlns:a16="http://schemas.microsoft.com/office/drawing/2014/main" id="{20C9B266-01CA-B3C7-708D-F4C03BB995C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130" r="130"/>
          <a:stretch/>
        </p:blipFill>
        <p:spPr>
          <a:xfrm>
            <a:off x="10957002" y="4170311"/>
            <a:ext cx="301323" cy="302108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6AA40DA-43DA-7BD2-6F39-B097C4BD5501}"/>
              </a:ext>
            </a:extLst>
          </p:cNvPr>
          <p:cNvSpPr txBox="1"/>
          <p:nvPr/>
        </p:nvSpPr>
        <p:spPr>
          <a:xfrm>
            <a:off x="10673685" y="4525496"/>
            <a:ext cx="8304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+mj-lt"/>
              </a:rPr>
              <a:t>20</a:t>
            </a:r>
            <a:r>
              <a:rPr lang="uk-UA" sz="1800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хв</a:t>
            </a:r>
            <a:endParaRPr lang="uk-UA" dirty="0">
              <a:latin typeface="+mj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5015F4D-E094-6BCB-4057-5706E548FABD}"/>
              </a:ext>
            </a:extLst>
          </p:cNvPr>
          <p:cNvSpPr txBox="1"/>
          <p:nvPr/>
        </p:nvSpPr>
        <p:spPr>
          <a:xfrm>
            <a:off x="10307298" y="4760148"/>
            <a:ext cx="16410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 err="1"/>
              <a:t>Безакцептуальний</a:t>
            </a:r>
            <a:r>
              <a:rPr lang="ru-RU" sz="1400" dirty="0"/>
              <a:t> </a:t>
            </a:r>
            <a:r>
              <a:rPr lang="ru-RU" sz="1400" dirty="0" err="1"/>
              <a:t>прийом</a:t>
            </a:r>
            <a:r>
              <a:rPr lang="ru-RU" sz="1400" dirty="0"/>
              <a:t> </a:t>
            </a:r>
            <a:endParaRPr lang="uk-UA" sz="1400" dirty="0"/>
          </a:p>
        </p:txBody>
      </p:sp>
      <p:grpSp>
        <p:nvGrpSpPr>
          <p:cNvPr id="76" name="Google Shape;49;p3">
            <a:extLst>
              <a:ext uri="{FF2B5EF4-FFF2-40B4-BE49-F238E27FC236}">
                <a16:creationId xmlns:a16="http://schemas.microsoft.com/office/drawing/2014/main" id="{25C4C236-C1A4-3BBF-EBA2-41075462FF55}"/>
              </a:ext>
            </a:extLst>
          </p:cNvPr>
          <p:cNvGrpSpPr/>
          <p:nvPr/>
        </p:nvGrpSpPr>
        <p:grpSpPr>
          <a:xfrm rot="16200000">
            <a:off x="10908900" y="2224781"/>
            <a:ext cx="2743076" cy="657293"/>
            <a:chOff x="5227825" y="3000800"/>
            <a:chExt cx="1865150" cy="446925"/>
          </a:xfrm>
          <a:solidFill>
            <a:srgbClr val="E9A82A"/>
          </a:solidFill>
        </p:grpSpPr>
        <p:sp>
          <p:nvSpPr>
            <p:cNvPr id="77" name="Google Shape;50;p3">
              <a:extLst>
                <a:ext uri="{FF2B5EF4-FFF2-40B4-BE49-F238E27FC236}">
                  <a16:creationId xmlns:a16="http://schemas.microsoft.com/office/drawing/2014/main" id="{0536D87A-0A11-F30D-DC42-34F5E5002E70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51;p3">
              <a:extLst>
                <a:ext uri="{FF2B5EF4-FFF2-40B4-BE49-F238E27FC236}">
                  <a16:creationId xmlns:a16="http://schemas.microsoft.com/office/drawing/2014/main" id="{53DF5B11-D3E4-5EE7-D439-D587A8614DB7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52;p3">
              <a:extLst>
                <a:ext uri="{FF2B5EF4-FFF2-40B4-BE49-F238E27FC236}">
                  <a16:creationId xmlns:a16="http://schemas.microsoft.com/office/drawing/2014/main" id="{4BB8D825-EAF0-5C14-19EF-91CF38BB703B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53;p3">
              <a:extLst>
                <a:ext uri="{FF2B5EF4-FFF2-40B4-BE49-F238E27FC236}">
                  <a16:creationId xmlns:a16="http://schemas.microsoft.com/office/drawing/2014/main" id="{54E24A41-1568-65CD-BAE4-E9EBDDB0D7E2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54;p3">
              <a:extLst>
                <a:ext uri="{FF2B5EF4-FFF2-40B4-BE49-F238E27FC236}">
                  <a16:creationId xmlns:a16="http://schemas.microsoft.com/office/drawing/2014/main" id="{6A312861-5605-16A0-C3BE-0BC68A6FE9C3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55;p3">
              <a:extLst>
                <a:ext uri="{FF2B5EF4-FFF2-40B4-BE49-F238E27FC236}">
                  <a16:creationId xmlns:a16="http://schemas.microsoft.com/office/drawing/2014/main" id="{4C8F7165-DE23-3F0C-8411-233DEDD6FA0B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56;p3">
              <a:extLst>
                <a:ext uri="{FF2B5EF4-FFF2-40B4-BE49-F238E27FC236}">
                  <a16:creationId xmlns:a16="http://schemas.microsoft.com/office/drawing/2014/main" id="{C28B2949-C0AC-232B-072D-FEBA83699607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57;p3">
              <a:extLst>
                <a:ext uri="{FF2B5EF4-FFF2-40B4-BE49-F238E27FC236}">
                  <a16:creationId xmlns:a16="http://schemas.microsoft.com/office/drawing/2014/main" id="{343CF094-0B77-8375-96EC-D3994D2F952A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58;p3">
              <a:extLst>
                <a:ext uri="{FF2B5EF4-FFF2-40B4-BE49-F238E27FC236}">
                  <a16:creationId xmlns:a16="http://schemas.microsoft.com/office/drawing/2014/main" id="{0073FC23-126A-5BD6-FBC4-A3AC09F013B3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7" name="Google Shape;60;p3">
            <a:extLst>
              <a:ext uri="{FF2B5EF4-FFF2-40B4-BE49-F238E27FC236}">
                <a16:creationId xmlns:a16="http://schemas.microsoft.com/office/drawing/2014/main" id="{C80C8DD2-FDCC-2EFA-0B67-952384603ABE}"/>
              </a:ext>
            </a:extLst>
          </p:cNvPr>
          <p:cNvGrpSpPr/>
          <p:nvPr/>
        </p:nvGrpSpPr>
        <p:grpSpPr>
          <a:xfrm rot="16200000">
            <a:off x="-761813" y="4716754"/>
            <a:ext cx="1145952" cy="657282"/>
            <a:chOff x="864825" y="2381600"/>
            <a:chExt cx="802825" cy="460475"/>
          </a:xfrm>
          <a:solidFill>
            <a:schemeClr val="bg1">
              <a:lumMod val="75000"/>
            </a:schemeClr>
          </a:solidFill>
        </p:grpSpPr>
        <p:sp>
          <p:nvSpPr>
            <p:cNvPr id="88" name="Google Shape;61;p3">
              <a:extLst>
                <a:ext uri="{FF2B5EF4-FFF2-40B4-BE49-F238E27FC236}">
                  <a16:creationId xmlns:a16="http://schemas.microsoft.com/office/drawing/2014/main" id="{3EF647B9-C885-E469-D5D9-B2C527B20F92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62;p3">
              <a:extLst>
                <a:ext uri="{FF2B5EF4-FFF2-40B4-BE49-F238E27FC236}">
                  <a16:creationId xmlns:a16="http://schemas.microsoft.com/office/drawing/2014/main" id="{6559788C-AB44-FA5B-379D-0D3635796EED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63;p3">
              <a:extLst>
                <a:ext uri="{FF2B5EF4-FFF2-40B4-BE49-F238E27FC236}">
                  <a16:creationId xmlns:a16="http://schemas.microsoft.com/office/drawing/2014/main" id="{EB587541-118A-97C8-C815-603E23507725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64;p3">
              <a:extLst>
                <a:ext uri="{FF2B5EF4-FFF2-40B4-BE49-F238E27FC236}">
                  <a16:creationId xmlns:a16="http://schemas.microsoft.com/office/drawing/2014/main" id="{418A992F-6C9E-B2CA-B91E-D949621EB11C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65;p3">
              <a:extLst>
                <a:ext uri="{FF2B5EF4-FFF2-40B4-BE49-F238E27FC236}">
                  <a16:creationId xmlns:a16="http://schemas.microsoft.com/office/drawing/2014/main" id="{8E7B6227-75AD-0DB6-D8F3-5506F47306B8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66;p3">
              <a:extLst>
                <a:ext uri="{FF2B5EF4-FFF2-40B4-BE49-F238E27FC236}">
                  <a16:creationId xmlns:a16="http://schemas.microsoft.com/office/drawing/2014/main" id="{BD1F6E97-8160-9247-8B78-68B214D09183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67;p3">
              <a:extLst>
                <a:ext uri="{FF2B5EF4-FFF2-40B4-BE49-F238E27FC236}">
                  <a16:creationId xmlns:a16="http://schemas.microsoft.com/office/drawing/2014/main" id="{90C1618C-248F-F5AB-138B-6EA908A84BE1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68;p3">
              <a:extLst>
                <a:ext uri="{FF2B5EF4-FFF2-40B4-BE49-F238E27FC236}">
                  <a16:creationId xmlns:a16="http://schemas.microsoft.com/office/drawing/2014/main" id="{AE3EB133-C69C-EC85-51E0-174D87CE11A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69;p3">
              <a:extLst>
                <a:ext uri="{FF2B5EF4-FFF2-40B4-BE49-F238E27FC236}">
                  <a16:creationId xmlns:a16="http://schemas.microsoft.com/office/drawing/2014/main" id="{BFA64420-9C2B-2DB4-8EA5-599175FBAC87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70;p3">
              <a:extLst>
                <a:ext uri="{FF2B5EF4-FFF2-40B4-BE49-F238E27FC236}">
                  <a16:creationId xmlns:a16="http://schemas.microsoft.com/office/drawing/2014/main" id="{1F983823-0737-2C0F-5128-7049EDFA5B4A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71;p3">
              <a:extLst>
                <a:ext uri="{FF2B5EF4-FFF2-40B4-BE49-F238E27FC236}">
                  <a16:creationId xmlns:a16="http://schemas.microsoft.com/office/drawing/2014/main" id="{9D75ECF1-0A79-68CD-D1EF-4B04B05AEA57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72;p3">
              <a:extLst>
                <a:ext uri="{FF2B5EF4-FFF2-40B4-BE49-F238E27FC236}">
                  <a16:creationId xmlns:a16="http://schemas.microsoft.com/office/drawing/2014/main" id="{3CF628BE-ADA9-0079-664E-9990DF02D0E7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73;p3">
              <a:extLst>
                <a:ext uri="{FF2B5EF4-FFF2-40B4-BE49-F238E27FC236}">
                  <a16:creationId xmlns:a16="http://schemas.microsoft.com/office/drawing/2014/main" id="{6A112DC0-FA57-A1A7-E8C4-E1C7B83E7115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74;p3">
              <a:extLst>
                <a:ext uri="{FF2B5EF4-FFF2-40B4-BE49-F238E27FC236}">
                  <a16:creationId xmlns:a16="http://schemas.microsoft.com/office/drawing/2014/main" id="{0B8E991A-F4AD-025E-9F0B-A72738C12FD6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75;p3">
              <a:extLst>
                <a:ext uri="{FF2B5EF4-FFF2-40B4-BE49-F238E27FC236}">
                  <a16:creationId xmlns:a16="http://schemas.microsoft.com/office/drawing/2014/main" id="{13003B71-87EB-0E32-8833-2FBEC1558F16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76;p3">
              <a:extLst>
                <a:ext uri="{FF2B5EF4-FFF2-40B4-BE49-F238E27FC236}">
                  <a16:creationId xmlns:a16="http://schemas.microsoft.com/office/drawing/2014/main" id="{7C2CFD3E-4A24-1E71-437E-58FB72B74F56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63E97F1-52D5-CFD9-749A-1C6CA75FB414}"/>
              </a:ext>
            </a:extLst>
          </p:cNvPr>
          <p:cNvSpPr txBox="1"/>
          <p:nvPr/>
        </p:nvSpPr>
        <p:spPr>
          <a:xfrm>
            <a:off x="703530" y="5601705"/>
            <a:ext cx="51664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3600" dirty="0">
                <a:solidFill>
                  <a:schemeClr val="bg1"/>
                </a:solidFill>
                <a:latin typeface="+mj-lt"/>
              </a:rPr>
              <a:t>2 000 000 </a:t>
            </a:r>
            <a:r>
              <a:rPr lang="uk-UA" sz="2400" dirty="0">
                <a:solidFill>
                  <a:schemeClr val="bg1"/>
                </a:solidFill>
                <a:latin typeface="+mj-lt"/>
              </a:rPr>
              <a:t>грн. </a:t>
            </a:r>
            <a:endParaRPr lang="uk-U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2086AA-8F50-E551-8955-D1C3F0E449A1}"/>
              </a:ext>
            </a:extLst>
          </p:cNvPr>
          <p:cNvSpPr txBox="1"/>
          <p:nvPr/>
        </p:nvSpPr>
        <p:spPr>
          <a:xfrm>
            <a:off x="623888" y="6134187"/>
            <a:ext cx="5268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або більше 100 </a:t>
            </a:r>
            <a:r>
              <a:rPr lang="uk-UA" sz="1800" dirty="0" err="1">
                <a:solidFill>
                  <a:schemeClr val="bg1"/>
                </a:solidFill>
              </a:rPr>
              <a:t>шт.од</a:t>
            </a:r>
            <a:r>
              <a:rPr lang="uk-UA" sz="1800" dirty="0">
                <a:solidFill>
                  <a:schemeClr val="bg1"/>
                </a:solidFill>
              </a:rPr>
              <a:t>. </a:t>
            </a:r>
            <a:endParaRPr lang="uk-UA" dirty="0"/>
          </a:p>
        </p:txBody>
      </p:sp>
      <p:pic>
        <p:nvPicPr>
          <p:cNvPr id="9" name="Графіка 8" descr="Flying Money outline">
            <a:extLst>
              <a:ext uri="{FF2B5EF4-FFF2-40B4-BE49-F238E27FC236}">
                <a16:creationId xmlns:a16="http://schemas.microsoft.com/office/drawing/2014/main" id="{5943E4E8-8F60-CA30-F88C-5EDDEA2B505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769080" y="5652187"/>
            <a:ext cx="620756" cy="620756"/>
          </a:xfrm>
          <a:prstGeom prst="rect">
            <a:avLst/>
          </a:prstGeom>
        </p:spPr>
      </p:pic>
      <p:pic>
        <p:nvPicPr>
          <p:cNvPr id="11" name="Графіка 10" descr="Flying Money outline">
            <a:extLst>
              <a:ext uri="{FF2B5EF4-FFF2-40B4-BE49-F238E27FC236}">
                <a16:creationId xmlns:a16="http://schemas.microsoft.com/office/drawing/2014/main" id="{05A144DD-FBF4-D025-AFE8-25185F200AF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03401" y="5652187"/>
            <a:ext cx="620756" cy="620756"/>
          </a:xfrm>
          <a:prstGeom prst="rect">
            <a:avLst/>
          </a:prstGeom>
        </p:spPr>
      </p:pic>
      <p:sp>
        <p:nvSpPr>
          <p:cNvPr id="13" name="Прямокутник 12">
            <a:extLst>
              <a:ext uri="{FF2B5EF4-FFF2-40B4-BE49-F238E27FC236}">
                <a16:creationId xmlns:a16="http://schemas.microsoft.com/office/drawing/2014/main" id="{3D5C3328-9345-72FB-D15D-ACE05E242EAD}"/>
              </a:ext>
            </a:extLst>
          </p:cNvPr>
          <p:cNvSpPr/>
          <p:nvPr/>
        </p:nvSpPr>
        <p:spPr>
          <a:xfrm>
            <a:off x="6335043" y="5350716"/>
            <a:ext cx="5260073" cy="1175610"/>
          </a:xfrm>
          <a:prstGeom prst="rect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989109-0A5F-8DA9-C6DA-CF6FC8CF9808}"/>
              </a:ext>
            </a:extLst>
          </p:cNvPr>
          <p:cNvSpPr txBox="1"/>
          <p:nvPr/>
        </p:nvSpPr>
        <p:spPr>
          <a:xfrm>
            <a:off x="6335043" y="5350196"/>
            <a:ext cx="52460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Додаткові витрати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C08F5EA-B0AA-BEAA-733A-C0C93D49AD57}"/>
              </a:ext>
            </a:extLst>
          </p:cNvPr>
          <p:cNvSpPr txBox="1"/>
          <p:nvPr/>
        </p:nvSpPr>
        <p:spPr>
          <a:xfrm>
            <a:off x="6414686" y="5601705"/>
            <a:ext cx="51664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3600" dirty="0">
                <a:solidFill>
                  <a:schemeClr val="bg1"/>
                </a:solidFill>
                <a:latin typeface="+mj-lt"/>
              </a:rPr>
              <a:t>4 000 000 </a:t>
            </a:r>
            <a:r>
              <a:rPr lang="uk-UA" sz="2400" dirty="0">
                <a:solidFill>
                  <a:schemeClr val="bg1"/>
                </a:solidFill>
                <a:latin typeface="+mj-lt"/>
              </a:rPr>
              <a:t>грн. </a:t>
            </a:r>
            <a:endParaRPr lang="uk-UA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74B120-CBCF-3227-D5C5-49EACA47C5CA}"/>
              </a:ext>
            </a:extLst>
          </p:cNvPr>
          <p:cNvSpPr txBox="1"/>
          <p:nvPr/>
        </p:nvSpPr>
        <p:spPr>
          <a:xfrm>
            <a:off x="6335044" y="6134187"/>
            <a:ext cx="5268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або більше </a:t>
            </a:r>
            <a:r>
              <a:rPr lang="uk-UA" dirty="0">
                <a:solidFill>
                  <a:schemeClr val="bg1"/>
                </a:solidFill>
              </a:rPr>
              <a:t>2</a:t>
            </a:r>
            <a:r>
              <a:rPr lang="uk-UA" sz="1800" dirty="0">
                <a:solidFill>
                  <a:schemeClr val="bg1"/>
                </a:solidFill>
              </a:rPr>
              <a:t>00 </a:t>
            </a:r>
            <a:r>
              <a:rPr lang="uk-UA" sz="1800" dirty="0" err="1">
                <a:solidFill>
                  <a:schemeClr val="bg1"/>
                </a:solidFill>
              </a:rPr>
              <a:t>шт.од</a:t>
            </a:r>
            <a:r>
              <a:rPr lang="uk-UA" sz="1800" dirty="0">
                <a:solidFill>
                  <a:schemeClr val="bg1"/>
                </a:solidFill>
              </a:rPr>
              <a:t>. </a:t>
            </a:r>
            <a:endParaRPr lang="uk-UA" dirty="0"/>
          </a:p>
        </p:txBody>
      </p:sp>
      <p:pic>
        <p:nvPicPr>
          <p:cNvPr id="19" name="Графіка 18" descr="Flying Money outline">
            <a:extLst>
              <a:ext uri="{FF2B5EF4-FFF2-40B4-BE49-F238E27FC236}">
                <a16:creationId xmlns:a16="http://schemas.microsoft.com/office/drawing/2014/main" id="{B1CC5FC1-F03E-E977-E57D-A6964C827AF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480236" y="5652187"/>
            <a:ext cx="620756" cy="620756"/>
          </a:xfrm>
          <a:prstGeom prst="rect">
            <a:avLst/>
          </a:prstGeom>
        </p:spPr>
      </p:pic>
      <p:pic>
        <p:nvPicPr>
          <p:cNvPr id="30" name="Графіка 29" descr="Flying Money outline">
            <a:extLst>
              <a:ext uri="{FF2B5EF4-FFF2-40B4-BE49-F238E27FC236}">
                <a16:creationId xmlns:a16="http://schemas.microsoft.com/office/drawing/2014/main" id="{3350C181-9279-1144-32F7-A584B935D01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14557" y="5652187"/>
            <a:ext cx="620756" cy="6207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37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/>
      <p:bldP spid="41" grpId="0" animBg="1"/>
      <p:bldP spid="43" grpId="0"/>
      <p:bldP spid="44" grpId="0"/>
      <p:bldP spid="45" grpId="0" animBg="1"/>
      <p:bldP spid="47" grpId="0"/>
      <p:bldP spid="48" grpId="0"/>
      <p:bldP spid="49" grpId="0" animBg="1"/>
      <p:bldP spid="51" grpId="0"/>
      <p:bldP spid="52" grpId="0"/>
      <p:bldP spid="72" grpId="0" animBg="1"/>
      <p:bldP spid="74" grpId="0"/>
      <p:bldP spid="75" grpId="0"/>
      <p:bldP spid="13" grpId="0" animBg="1"/>
      <p:bldP spid="14" grpId="0"/>
      <p:bldP spid="15" grpId="0"/>
      <p:bldP spid="1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6A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!!Паралелограм 6">
            <a:extLst>
              <a:ext uri="{FF2B5EF4-FFF2-40B4-BE49-F238E27FC236}">
                <a16:creationId xmlns:a16="http://schemas.microsoft.com/office/drawing/2014/main" id="{408B6729-503B-74F5-18F4-014AFC9F5598}"/>
              </a:ext>
            </a:extLst>
          </p:cNvPr>
          <p:cNvSpPr/>
          <p:nvPr/>
        </p:nvSpPr>
        <p:spPr>
          <a:xfrm>
            <a:off x="-1811911" y="-1"/>
            <a:ext cx="6764300" cy="6858001"/>
          </a:xfrm>
          <a:prstGeom prst="parallelogram">
            <a:avLst>
              <a:gd name="adj" fmla="val 142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" name="Паралелограм 7">
            <a:extLst>
              <a:ext uri="{FF2B5EF4-FFF2-40B4-BE49-F238E27FC236}">
                <a16:creationId xmlns:a16="http://schemas.microsoft.com/office/drawing/2014/main" id="{95AC2CAF-7846-C328-F907-052BE4D8F964}"/>
              </a:ext>
            </a:extLst>
          </p:cNvPr>
          <p:cNvSpPr/>
          <p:nvPr/>
        </p:nvSpPr>
        <p:spPr>
          <a:xfrm>
            <a:off x="-1485899" y="-1"/>
            <a:ext cx="6273100" cy="6858001"/>
          </a:xfrm>
          <a:prstGeom prst="parallelogram">
            <a:avLst>
              <a:gd name="adj" fmla="val 15132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FA467-5A5E-749D-A262-F7A1FD7B1A9E}"/>
              </a:ext>
            </a:extLst>
          </p:cNvPr>
          <p:cNvSpPr txBox="1"/>
          <p:nvPr/>
        </p:nvSpPr>
        <p:spPr>
          <a:xfrm>
            <a:off x="453015" y="873947"/>
            <a:ext cx="3342692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900" b="1" dirty="0">
                <a:latin typeface="Akrobat Black" panose="00000A00000000000000" pitchFamily="50" charset="-52"/>
              </a:rPr>
              <a:t>0</a:t>
            </a:r>
            <a:r>
              <a:rPr lang="ru-RU" sz="23900" b="1" dirty="0">
                <a:latin typeface="Akrobat Black" panose="00000A00000000000000" pitchFamily="50" charset="-52"/>
              </a:rPr>
              <a:t>4</a:t>
            </a:r>
            <a:endParaRPr lang="uk-UA" sz="11500" dirty="0">
              <a:latin typeface="Akrobat Black" panose="00000A00000000000000" pitchFamily="50" charset="-52"/>
            </a:endParaRPr>
          </a:p>
        </p:txBody>
      </p:sp>
      <p:cxnSp>
        <p:nvCxnSpPr>
          <p:cNvPr id="25" name="Пряма сполучна лінія 24">
            <a:extLst>
              <a:ext uri="{FF2B5EF4-FFF2-40B4-BE49-F238E27FC236}">
                <a16:creationId xmlns:a16="http://schemas.microsoft.com/office/drawing/2014/main" id="{DC1C3B52-0DE6-B5E5-A475-61BBDC8332FD}"/>
              </a:ext>
            </a:extLst>
          </p:cNvPr>
          <p:cNvCxnSpPr>
            <a:cxnSpLocks/>
          </p:cNvCxnSpPr>
          <p:nvPr/>
        </p:nvCxnSpPr>
        <p:spPr>
          <a:xfrm>
            <a:off x="658813" y="4212112"/>
            <a:ext cx="1465548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9367D33-6FDA-EC4C-A80B-EBA95F9A3A21}"/>
              </a:ext>
            </a:extLst>
          </p:cNvPr>
          <p:cNvSpPr txBox="1"/>
          <p:nvPr/>
        </p:nvSpPr>
        <p:spPr>
          <a:xfrm>
            <a:off x="559118" y="4327320"/>
            <a:ext cx="3342692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Як </a:t>
            </a:r>
            <a:r>
              <a:rPr lang="ru-RU" sz="2400" dirty="0" err="1">
                <a:solidFill>
                  <a:schemeClr val="tx1"/>
                </a:solidFill>
                <a:latin typeface="Akrobat SemiBold" panose="00000700000000000000" pitchFamily="50" charset="-52"/>
              </a:rPr>
              <a:t>працювати</a:t>
            </a:r>
            <a:r>
              <a:rPr lang="ru-RU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 з </a:t>
            </a:r>
            <a:r>
              <a:rPr lang="ru-RU" sz="2400" dirty="0" err="1">
                <a:solidFill>
                  <a:schemeClr val="tx1"/>
                </a:solidFill>
                <a:latin typeface="Akrobat SemiBold" panose="00000700000000000000" pitchFamily="50" charset="-52"/>
              </a:rPr>
              <a:t>постійним</a:t>
            </a:r>
            <a:r>
              <a:rPr lang="ru-RU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 ростом </a:t>
            </a:r>
            <a:r>
              <a:rPr lang="ru-RU" sz="2400" dirty="0" err="1">
                <a:solidFill>
                  <a:schemeClr val="tx1"/>
                </a:solidFill>
                <a:latin typeface="Akrobat SemiBold" panose="00000700000000000000" pitchFamily="50" charset="-52"/>
              </a:rPr>
              <a:t>фіксованих</a:t>
            </a:r>
            <a:r>
              <a:rPr lang="ru-RU" sz="2400" dirty="0">
                <a:solidFill>
                  <a:schemeClr val="tx1"/>
                </a:solidFill>
                <a:latin typeface="Akrobat SemiBold" panose="00000700000000000000" pitchFamily="50" charset="-52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Akrobat SemiBold" panose="00000700000000000000" pitchFamily="50" charset="-52"/>
              </a:rPr>
              <a:t>витрат</a:t>
            </a:r>
            <a:endParaRPr lang="ru-RU" sz="2400" dirty="0">
              <a:solidFill>
                <a:schemeClr val="tx1"/>
              </a:solidFill>
              <a:latin typeface="Akrobat SemiBold" panose="00000700000000000000" pitchFamily="50" charset="-52"/>
            </a:endParaRPr>
          </a:p>
        </p:txBody>
      </p:sp>
      <p:pic>
        <p:nvPicPr>
          <p:cNvPr id="2" name="Рисунок 1" descr="Зображення, що містить колесо, шолом, спортивний інвентар, особа&#10;&#10;Автоматично згенерований опис">
            <a:extLst>
              <a:ext uri="{FF2B5EF4-FFF2-40B4-BE49-F238E27FC236}">
                <a16:creationId xmlns:a16="http://schemas.microsoft.com/office/drawing/2014/main" id="{F79FB021-E427-6B63-5173-5BF7CF34F6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3815" y="-1"/>
            <a:ext cx="10287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7775B01-B29C-F462-65F7-0091CD2FD271}"/>
              </a:ext>
            </a:extLst>
          </p:cNvPr>
          <p:cNvSpPr txBox="1"/>
          <p:nvPr/>
        </p:nvSpPr>
        <p:spPr>
          <a:xfrm>
            <a:off x="5136629" y="2705218"/>
            <a:ext cx="674379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6000" dirty="0">
                <a:solidFill>
                  <a:schemeClr val="bg1"/>
                </a:solidFill>
                <a:latin typeface="+mj-lt"/>
              </a:rPr>
              <a:t>НЕ ВИТРАТИВ — ЗАРОБИ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1772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317507B-9B88-7B83-2BEE-1B1C735B8B95}"/>
              </a:ext>
            </a:extLst>
          </p:cNvPr>
          <p:cNvSpPr txBox="1"/>
          <p:nvPr/>
        </p:nvSpPr>
        <p:spPr>
          <a:xfrm>
            <a:off x="443011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Тендерна платформа</a:t>
            </a:r>
          </a:p>
        </p:txBody>
      </p:sp>
      <p:pic>
        <p:nvPicPr>
          <p:cNvPr id="1026" name="Picture 2" descr="На зображенні може бути: 3 людини та турнікет">
            <a:extLst>
              <a:ext uri="{FF2B5EF4-FFF2-40B4-BE49-F238E27FC236}">
                <a16:creationId xmlns:a16="http://schemas.microsoft.com/office/drawing/2014/main" id="{41657BBA-A80F-8E53-7096-091E5BF5C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5" t="11824" b="25082"/>
          <a:stretch/>
        </p:blipFill>
        <p:spPr bwMode="auto">
          <a:xfrm>
            <a:off x="-139700" y="1484163"/>
            <a:ext cx="12331700" cy="5373837"/>
          </a:xfrm>
          <a:prstGeom prst="rect">
            <a:avLst/>
          </a:prstGeom>
          <a:solidFill>
            <a:srgbClr val="404040"/>
          </a:solidFill>
          <a:ln w="38100">
            <a:solidFill>
              <a:srgbClr val="E9A82A"/>
            </a:solidFill>
          </a:ln>
        </p:spPr>
      </p:pic>
      <p:grpSp>
        <p:nvGrpSpPr>
          <p:cNvPr id="19" name="Групувати 18">
            <a:extLst>
              <a:ext uri="{FF2B5EF4-FFF2-40B4-BE49-F238E27FC236}">
                <a16:creationId xmlns:a16="http://schemas.microsoft.com/office/drawing/2014/main" id="{D0EEC06A-7136-9628-F28F-D22D7EFB7E03}"/>
              </a:ext>
            </a:extLst>
          </p:cNvPr>
          <p:cNvGrpSpPr/>
          <p:nvPr/>
        </p:nvGrpSpPr>
        <p:grpSpPr>
          <a:xfrm>
            <a:off x="2982863" y="4107029"/>
            <a:ext cx="2330615" cy="2061924"/>
            <a:chOff x="1766131" y="4403592"/>
            <a:chExt cx="2330615" cy="2061924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2DC99FEC-AA71-6C41-FC49-302FD83A1101}"/>
                </a:ext>
              </a:extLst>
            </p:cNvPr>
            <p:cNvSpPr/>
            <p:nvPr/>
          </p:nvSpPr>
          <p:spPr>
            <a:xfrm>
              <a:off x="1900477" y="4403592"/>
              <a:ext cx="2061924" cy="2061924"/>
            </a:xfrm>
            <a:prstGeom prst="ellipse">
              <a:avLst/>
            </a:prstGeom>
            <a:solidFill>
              <a:srgbClr val="2B6A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9DB3F6-C708-CE2B-EB10-3CE2D903BE9F}"/>
                </a:ext>
              </a:extLst>
            </p:cNvPr>
            <p:cNvSpPr txBox="1"/>
            <p:nvPr/>
          </p:nvSpPr>
          <p:spPr>
            <a:xfrm>
              <a:off x="3333522" y="5016011"/>
              <a:ext cx="49530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3200" dirty="0">
                  <a:solidFill>
                    <a:schemeClr val="bg1"/>
                  </a:solidFill>
                  <a:latin typeface="+mj-lt"/>
                </a:rPr>
                <a:t>%</a:t>
              </a:r>
              <a:endParaRPr lang="uk-UA" sz="3200" dirty="0">
                <a:solidFill>
                  <a:schemeClr val="bg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AF27EE1-0390-3F74-F4BF-4DA0B3C9604C}"/>
                </a:ext>
              </a:extLst>
            </p:cNvPr>
            <p:cNvSpPr txBox="1"/>
            <p:nvPr/>
          </p:nvSpPr>
          <p:spPr>
            <a:xfrm>
              <a:off x="2065797" y="4433935"/>
              <a:ext cx="1482239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8000" dirty="0">
                  <a:solidFill>
                    <a:schemeClr val="bg1"/>
                  </a:solidFill>
                  <a:latin typeface="+mj-lt"/>
                </a:rPr>
                <a:t>-25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F7AD92F-DE82-BBB4-9FED-E6E5EA4ABEAD}"/>
                </a:ext>
              </a:extLst>
            </p:cNvPr>
            <p:cNvSpPr txBox="1"/>
            <p:nvPr/>
          </p:nvSpPr>
          <p:spPr>
            <a:xfrm>
              <a:off x="1766131" y="5532446"/>
              <a:ext cx="233061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1800" dirty="0">
                  <a:solidFill>
                    <a:schemeClr val="bg1"/>
                  </a:solidFill>
                </a:rPr>
                <a:t>закупівля </a:t>
              </a:r>
              <a:br>
                <a:rPr lang="uk-UA" sz="1800" dirty="0">
                  <a:solidFill>
                    <a:schemeClr val="bg1"/>
                  </a:solidFill>
                </a:rPr>
              </a:br>
              <a:r>
                <a:rPr lang="uk-UA" sz="1800" dirty="0">
                  <a:solidFill>
                    <a:schemeClr val="bg1"/>
                  </a:solidFill>
                </a:rPr>
                <a:t>спецодягу </a:t>
              </a:r>
              <a:endParaRPr lang="uk-UA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Групувати 19">
            <a:extLst>
              <a:ext uri="{FF2B5EF4-FFF2-40B4-BE49-F238E27FC236}">
                <a16:creationId xmlns:a16="http://schemas.microsoft.com/office/drawing/2014/main" id="{B31948C9-661B-F61B-86AF-C7AC82321B2D}"/>
              </a:ext>
            </a:extLst>
          </p:cNvPr>
          <p:cNvGrpSpPr/>
          <p:nvPr/>
        </p:nvGrpSpPr>
        <p:grpSpPr>
          <a:xfrm>
            <a:off x="6730571" y="2962637"/>
            <a:ext cx="2330615" cy="2061924"/>
            <a:chOff x="1766131" y="4403592"/>
            <a:chExt cx="2330615" cy="2061924"/>
          </a:xfrm>
        </p:grpSpPr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F2CD0FE0-0E68-C873-DD94-E57A9BC0E56C}"/>
                </a:ext>
              </a:extLst>
            </p:cNvPr>
            <p:cNvSpPr/>
            <p:nvPr/>
          </p:nvSpPr>
          <p:spPr>
            <a:xfrm>
              <a:off x="1900477" y="4403592"/>
              <a:ext cx="2061924" cy="2061924"/>
            </a:xfrm>
            <a:prstGeom prst="ellipse">
              <a:avLst/>
            </a:prstGeom>
            <a:solidFill>
              <a:srgbClr val="E9A82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7FA4594-5FD9-4DA0-BEA2-D356D21B26D3}"/>
                </a:ext>
              </a:extLst>
            </p:cNvPr>
            <p:cNvSpPr txBox="1"/>
            <p:nvPr/>
          </p:nvSpPr>
          <p:spPr>
            <a:xfrm>
              <a:off x="3333522" y="5016011"/>
              <a:ext cx="49530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3200" dirty="0">
                  <a:latin typeface="+mj-lt"/>
                </a:rPr>
                <a:t>%</a:t>
              </a:r>
              <a:endParaRPr lang="uk-UA" sz="32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3EE4868-052E-FCC5-80CA-67CE9D0CC3BF}"/>
                </a:ext>
              </a:extLst>
            </p:cNvPr>
            <p:cNvSpPr txBox="1"/>
            <p:nvPr/>
          </p:nvSpPr>
          <p:spPr>
            <a:xfrm>
              <a:off x="2065797" y="4433935"/>
              <a:ext cx="1482239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8000" dirty="0">
                  <a:latin typeface="+mj-lt"/>
                </a:rPr>
                <a:t>-20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F6D6BE6-E306-1BA0-D49B-AE7904269A8E}"/>
                </a:ext>
              </a:extLst>
            </p:cNvPr>
            <p:cNvSpPr txBox="1"/>
            <p:nvPr/>
          </p:nvSpPr>
          <p:spPr>
            <a:xfrm>
              <a:off x="1766131" y="5532446"/>
              <a:ext cx="233061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1800" dirty="0"/>
                <a:t>закупівля витратних матеріалів </a:t>
              </a:r>
              <a:endParaRPr lang="uk-UA" dirty="0"/>
            </a:p>
          </p:txBody>
        </p:sp>
      </p:grpSp>
      <p:grpSp>
        <p:nvGrpSpPr>
          <p:cNvPr id="25" name="Google Shape;60;p3">
            <a:extLst>
              <a:ext uri="{FF2B5EF4-FFF2-40B4-BE49-F238E27FC236}">
                <a16:creationId xmlns:a16="http://schemas.microsoft.com/office/drawing/2014/main" id="{41CBD9C7-2E29-B5CB-F932-A2BE5A8D89C7}"/>
              </a:ext>
            </a:extLst>
          </p:cNvPr>
          <p:cNvGrpSpPr/>
          <p:nvPr/>
        </p:nvGrpSpPr>
        <p:grpSpPr>
          <a:xfrm rot="10800000">
            <a:off x="10316424" y="-225992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26" name="Google Shape;61;p3">
              <a:extLst>
                <a:ext uri="{FF2B5EF4-FFF2-40B4-BE49-F238E27FC236}">
                  <a16:creationId xmlns:a16="http://schemas.microsoft.com/office/drawing/2014/main" id="{C4E1F2A9-46EB-0788-3E84-DFE36840EC6B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2;p3">
              <a:extLst>
                <a:ext uri="{FF2B5EF4-FFF2-40B4-BE49-F238E27FC236}">
                  <a16:creationId xmlns:a16="http://schemas.microsoft.com/office/drawing/2014/main" id="{A14685A8-72E2-888D-D917-006D808CCF3C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63;p3">
              <a:extLst>
                <a:ext uri="{FF2B5EF4-FFF2-40B4-BE49-F238E27FC236}">
                  <a16:creationId xmlns:a16="http://schemas.microsoft.com/office/drawing/2014/main" id="{358241A2-3436-CE96-35D0-70016378D26D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64;p3">
              <a:extLst>
                <a:ext uri="{FF2B5EF4-FFF2-40B4-BE49-F238E27FC236}">
                  <a16:creationId xmlns:a16="http://schemas.microsoft.com/office/drawing/2014/main" id="{CEF367C1-7B0C-C0AC-390F-9811A7D4B47C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65;p3">
              <a:extLst>
                <a:ext uri="{FF2B5EF4-FFF2-40B4-BE49-F238E27FC236}">
                  <a16:creationId xmlns:a16="http://schemas.microsoft.com/office/drawing/2014/main" id="{385DB3CA-0CC1-0AEE-510C-93BFBBF069DD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66;p3">
              <a:extLst>
                <a:ext uri="{FF2B5EF4-FFF2-40B4-BE49-F238E27FC236}">
                  <a16:creationId xmlns:a16="http://schemas.microsoft.com/office/drawing/2014/main" id="{CB47CDC8-7212-4B3F-0F0D-4A35F2E61280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67;p3">
              <a:extLst>
                <a:ext uri="{FF2B5EF4-FFF2-40B4-BE49-F238E27FC236}">
                  <a16:creationId xmlns:a16="http://schemas.microsoft.com/office/drawing/2014/main" id="{6D1155EA-FD9F-1FC0-C913-52149DC3E3FD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68;p3">
              <a:extLst>
                <a:ext uri="{FF2B5EF4-FFF2-40B4-BE49-F238E27FC236}">
                  <a16:creationId xmlns:a16="http://schemas.microsoft.com/office/drawing/2014/main" id="{A05206E8-46CA-1412-B854-9B33CE55184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69;p3">
              <a:extLst>
                <a:ext uri="{FF2B5EF4-FFF2-40B4-BE49-F238E27FC236}">
                  <a16:creationId xmlns:a16="http://schemas.microsoft.com/office/drawing/2014/main" id="{D21372E0-3671-BBA1-407C-FDE35C6978D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0;p3">
              <a:extLst>
                <a:ext uri="{FF2B5EF4-FFF2-40B4-BE49-F238E27FC236}">
                  <a16:creationId xmlns:a16="http://schemas.microsoft.com/office/drawing/2014/main" id="{2AFFE6C7-2E05-E614-5108-F92AF095A4B7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1;p3">
              <a:extLst>
                <a:ext uri="{FF2B5EF4-FFF2-40B4-BE49-F238E27FC236}">
                  <a16:creationId xmlns:a16="http://schemas.microsoft.com/office/drawing/2014/main" id="{98FE98D8-D902-907C-0A0A-FA0B1EBE83D9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;p3">
              <a:extLst>
                <a:ext uri="{FF2B5EF4-FFF2-40B4-BE49-F238E27FC236}">
                  <a16:creationId xmlns:a16="http://schemas.microsoft.com/office/drawing/2014/main" id="{CCE43B34-61B2-B4FE-1831-7C0468F877CD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3;p3">
              <a:extLst>
                <a:ext uri="{FF2B5EF4-FFF2-40B4-BE49-F238E27FC236}">
                  <a16:creationId xmlns:a16="http://schemas.microsoft.com/office/drawing/2014/main" id="{36B5C3B5-CFD4-FDB4-0499-B855C5DA0B9E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4;p3">
              <a:extLst>
                <a:ext uri="{FF2B5EF4-FFF2-40B4-BE49-F238E27FC236}">
                  <a16:creationId xmlns:a16="http://schemas.microsoft.com/office/drawing/2014/main" id="{6724DCD5-9728-1BA7-C4D9-F3A51FC35BE1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5;p3">
              <a:extLst>
                <a:ext uri="{FF2B5EF4-FFF2-40B4-BE49-F238E27FC236}">
                  <a16:creationId xmlns:a16="http://schemas.microsoft.com/office/drawing/2014/main" id="{AA391875-E99F-FF6C-F5E5-21B12A15B2EA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6;p3">
              <a:extLst>
                <a:ext uri="{FF2B5EF4-FFF2-40B4-BE49-F238E27FC236}">
                  <a16:creationId xmlns:a16="http://schemas.microsoft.com/office/drawing/2014/main" id="{686803F9-9F61-F579-3236-C1068024654C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2" name="Google Shape;59;p3">
            <a:extLst>
              <a:ext uri="{FF2B5EF4-FFF2-40B4-BE49-F238E27FC236}">
                <a16:creationId xmlns:a16="http://schemas.microsoft.com/office/drawing/2014/main" id="{1848398D-3497-FB86-818F-E685BE74938C}"/>
              </a:ext>
            </a:extLst>
          </p:cNvPr>
          <p:cNvSpPr/>
          <p:nvPr/>
        </p:nvSpPr>
        <p:spPr>
          <a:xfrm>
            <a:off x="1152522" y="-1094898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C1B8D57E-EB6F-D253-F9B8-1647B80C94A7}"/>
              </a:ext>
            </a:extLst>
          </p:cNvPr>
          <p:cNvSpPr/>
          <p:nvPr/>
        </p:nvSpPr>
        <p:spPr>
          <a:xfrm>
            <a:off x="3048872" y="4038694"/>
            <a:ext cx="2198596" cy="2198594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23F7DE40-67FB-DC1D-C344-368152698DA5}"/>
              </a:ext>
            </a:extLst>
          </p:cNvPr>
          <p:cNvSpPr/>
          <p:nvPr/>
        </p:nvSpPr>
        <p:spPr>
          <a:xfrm>
            <a:off x="6796580" y="2894302"/>
            <a:ext cx="2198596" cy="2198594"/>
          </a:xfrm>
          <a:prstGeom prst="ellipse">
            <a:avLst/>
          </a:prstGeom>
          <a:noFill/>
          <a:ln>
            <a:solidFill>
              <a:srgbClr val="E9A8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  <p:grpSp>
        <p:nvGrpSpPr>
          <p:cNvPr id="45" name="Групувати 44">
            <a:extLst>
              <a:ext uri="{FF2B5EF4-FFF2-40B4-BE49-F238E27FC236}">
                <a16:creationId xmlns:a16="http://schemas.microsoft.com/office/drawing/2014/main" id="{DF4052B0-C064-8708-1A3D-9C2257E09FC2}"/>
              </a:ext>
            </a:extLst>
          </p:cNvPr>
          <p:cNvGrpSpPr/>
          <p:nvPr/>
        </p:nvGrpSpPr>
        <p:grpSpPr>
          <a:xfrm>
            <a:off x="13418377" y="2332183"/>
            <a:ext cx="2464961" cy="2330614"/>
            <a:chOff x="1766131" y="4269247"/>
            <a:chExt cx="2464961" cy="2330614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F5E251B6-3F47-18CF-2B6F-7856F800A2D2}"/>
                </a:ext>
              </a:extLst>
            </p:cNvPr>
            <p:cNvSpPr/>
            <p:nvPr/>
          </p:nvSpPr>
          <p:spPr>
            <a:xfrm>
              <a:off x="1766132" y="4269247"/>
              <a:ext cx="2330614" cy="2330614"/>
            </a:xfrm>
            <a:prstGeom prst="ellipse">
              <a:avLst/>
            </a:prstGeom>
            <a:solidFill>
              <a:srgbClr val="2B6A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80CB4F0-1CA2-A3FC-0A13-4EEF82D246D5}"/>
                </a:ext>
              </a:extLst>
            </p:cNvPr>
            <p:cNvSpPr txBox="1"/>
            <p:nvPr/>
          </p:nvSpPr>
          <p:spPr>
            <a:xfrm>
              <a:off x="2065797" y="4433935"/>
              <a:ext cx="216529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8000" dirty="0">
                  <a:solidFill>
                    <a:schemeClr val="bg1"/>
                  </a:solidFill>
                  <a:latin typeface="+mj-lt"/>
                </a:rPr>
                <a:t>6-12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34CA1AE-AAAF-DA48-65FA-A637C2346282}"/>
                </a:ext>
              </a:extLst>
            </p:cNvPr>
            <p:cNvSpPr txBox="1"/>
            <p:nvPr/>
          </p:nvSpPr>
          <p:spPr>
            <a:xfrm>
              <a:off x="1766131" y="5532446"/>
              <a:ext cx="233061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</a:rPr>
                <a:t>м</a:t>
              </a:r>
              <a:r>
                <a:rPr lang="uk-UA" sz="1800" dirty="0" err="1">
                  <a:solidFill>
                    <a:schemeClr val="bg1"/>
                  </a:solidFill>
                </a:rPr>
                <a:t>ісяців</a:t>
              </a:r>
              <a:r>
                <a:rPr lang="uk-UA" sz="1800" dirty="0">
                  <a:solidFill>
                    <a:schemeClr val="bg1"/>
                  </a:solidFill>
                </a:rPr>
                <a:t> </a:t>
              </a:r>
              <a:r>
                <a:rPr lang="uk-UA" dirty="0">
                  <a:solidFill>
                    <a:schemeClr val="bg1"/>
                  </a:solidFill>
                </a:rPr>
                <a:t>п</a:t>
              </a:r>
              <a:r>
                <a:rPr lang="uk-UA" sz="1800" dirty="0">
                  <a:solidFill>
                    <a:schemeClr val="bg1"/>
                  </a:solidFill>
                </a:rPr>
                <a:t>овернення</a:t>
              </a:r>
              <a:br>
                <a:rPr lang="uk-UA" sz="1800" dirty="0">
                  <a:solidFill>
                    <a:schemeClr val="bg1"/>
                  </a:solidFill>
                </a:rPr>
              </a:br>
              <a:r>
                <a:rPr lang="uk-UA" sz="1800" dirty="0">
                  <a:solidFill>
                    <a:schemeClr val="bg1"/>
                  </a:solidFill>
                </a:rPr>
                <a:t> інвестицій </a:t>
              </a:r>
              <a:endParaRPr lang="uk-UA" dirty="0">
                <a:solidFill>
                  <a:schemeClr val="bg1"/>
                </a:solidFill>
              </a:endParaRPr>
            </a:p>
          </p:txBody>
        </p:sp>
      </p:grpSp>
      <p:sp>
        <p:nvSpPr>
          <p:cNvPr id="49" name="Овал 48">
            <a:extLst>
              <a:ext uri="{FF2B5EF4-FFF2-40B4-BE49-F238E27FC236}">
                <a16:creationId xmlns:a16="http://schemas.microsoft.com/office/drawing/2014/main" id="{15482DFE-96EE-4F71-EAD1-C8E6590E549F}"/>
              </a:ext>
            </a:extLst>
          </p:cNvPr>
          <p:cNvSpPr/>
          <p:nvPr/>
        </p:nvSpPr>
        <p:spPr>
          <a:xfrm>
            <a:off x="13294904" y="2238065"/>
            <a:ext cx="2546190" cy="2546188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E3C7040A-6660-6278-7711-CC4D3D58EC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5166" y="437041"/>
            <a:ext cx="6858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93319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аралелограм 10">
            <a:extLst>
              <a:ext uri="{FF2B5EF4-FFF2-40B4-BE49-F238E27FC236}">
                <a16:creationId xmlns:a16="http://schemas.microsoft.com/office/drawing/2014/main" id="{1B6ADCEB-4746-9B9D-BF46-A363D05927D4}"/>
              </a:ext>
            </a:extLst>
          </p:cNvPr>
          <p:cNvSpPr/>
          <p:nvPr/>
        </p:nvSpPr>
        <p:spPr>
          <a:xfrm>
            <a:off x="-290286" y="5780256"/>
            <a:ext cx="13480473" cy="1077744"/>
          </a:xfrm>
          <a:prstGeom prst="parallelogram">
            <a:avLst>
              <a:gd name="adj" fmla="val 15132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72F5CF-DD44-7D9E-A159-58C0943100E9}"/>
              </a:ext>
            </a:extLst>
          </p:cNvPr>
          <p:cNvSpPr txBox="1"/>
          <p:nvPr/>
        </p:nvSpPr>
        <p:spPr>
          <a:xfrm>
            <a:off x="443011" y="299073"/>
            <a:ext cx="851230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b="1" dirty="0" err="1">
                <a:latin typeface="+mj-lt"/>
              </a:rPr>
              <a:t>Інвестиції</a:t>
            </a:r>
            <a:r>
              <a:rPr lang="ru-RU" sz="6000" b="1" dirty="0">
                <a:latin typeface="+mj-lt"/>
              </a:rPr>
              <a:t> в </a:t>
            </a:r>
            <a:r>
              <a:rPr lang="ru-RU" sz="6000" b="1" dirty="0" err="1">
                <a:latin typeface="+mj-lt"/>
              </a:rPr>
              <a:t>автоматизації</a:t>
            </a:r>
            <a:r>
              <a:rPr lang="ru-RU" sz="6000" b="1" dirty="0">
                <a:latin typeface="+mj-lt"/>
              </a:rPr>
              <a:t> та </a:t>
            </a:r>
            <a:r>
              <a:rPr lang="ru-RU" sz="6000" b="1" dirty="0" err="1">
                <a:latin typeface="+mj-lt"/>
              </a:rPr>
              <a:t>технології</a:t>
            </a:r>
            <a:endParaRPr lang="uk-UA" sz="6000" b="1" dirty="0">
              <a:latin typeface="+mj-lt"/>
            </a:endParaRPr>
          </a:p>
        </p:txBody>
      </p:sp>
      <p:grpSp>
        <p:nvGrpSpPr>
          <p:cNvPr id="12" name="Групувати 11">
            <a:extLst>
              <a:ext uri="{FF2B5EF4-FFF2-40B4-BE49-F238E27FC236}">
                <a16:creationId xmlns:a16="http://schemas.microsoft.com/office/drawing/2014/main" id="{91C10AF0-770E-1C9E-3C16-47331E3451B5}"/>
              </a:ext>
            </a:extLst>
          </p:cNvPr>
          <p:cNvGrpSpPr/>
          <p:nvPr/>
        </p:nvGrpSpPr>
        <p:grpSpPr>
          <a:xfrm>
            <a:off x="1056650" y="2458681"/>
            <a:ext cx="2898741" cy="2838605"/>
            <a:chOff x="1870511" y="4403592"/>
            <a:chExt cx="2105606" cy="2061924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425E669A-00E4-571D-93D0-983C0455ED8B}"/>
                </a:ext>
              </a:extLst>
            </p:cNvPr>
            <p:cNvSpPr/>
            <p:nvPr/>
          </p:nvSpPr>
          <p:spPr>
            <a:xfrm>
              <a:off x="1900477" y="4403592"/>
              <a:ext cx="2061924" cy="2061924"/>
            </a:xfrm>
            <a:prstGeom prst="ellipse">
              <a:avLst/>
            </a:prstGeom>
            <a:solidFill>
              <a:srgbClr val="E9A82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F2AF881-51B1-0D9B-5104-9FC395B13415}"/>
                </a:ext>
              </a:extLst>
            </p:cNvPr>
            <p:cNvSpPr txBox="1"/>
            <p:nvPr/>
          </p:nvSpPr>
          <p:spPr>
            <a:xfrm>
              <a:off x="3480817" y="5117893"/>
              <a:ext cx="495300" cy="4247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3200" dirty="0">
                  <a:latin typeface="+mj-lt"/>
                </a:rPr>
                <a:t>%</a:t>
              </a:r>
              <a:endParaRPr lang="uk-UA" sz="3200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64254A-FB61-44E1-8C60-E9DE7CCB649F}"/>
                </a:ext>
              </a:extLst>
            </p:cNvPr>
            <p:cNvSpPr txBox="1"/>
            <p:nvPr/>
          </p:nvSpPr>
          <p:spPr>
            <a:xfrm>
              <a:off x="2065797" y="4701463"/>
              <a:ext cx="1550310" cy="961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8000" dirty="0">
                  <a:latin typeface="+mj-lt"/>
                </a:rPr>
                <a:t>10-15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0740115-7A3D-CF26-BF91-AE4D29BDE6C2}"/>
                </a:ext>
              </a:extLst>
            </p:cNvPr>
            <p:cNvSpPr txBox="1"/>
            <p:nvPr/>
          </p:nvSpPr>
          <p:spPr>
            <a:xfrm>
              <a:off x="1870511" y="5532446"/>
              <a:ext cx="2061924" cy="4694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1800" dirty="0"/>
                <a:t>Зекономили на енергозберігаючі рішеннях </a:t>
              </a:r>
              <a:endParaRPr lang="uk-UA" dirty="0"/>
            </a:p>
          </p:txBody>
        </p:sp>
      </p:grpSp>
      <p:grpSp>
        <p:nvGrpSpPr>
          <p:cNvPr id="24" name="Групувати 23">
            <a:extLst>
              <a:ext uri="{FF2B5EF4-FFF2-40B4-BE49-F238E27FC236}">
                <a16:creationId xmlns:a16="http://schemas.microsoft.com/office/drawing/2014/main" id="{97A7446E-F7D8-7A02-539A-8BDA520B6D49}"/>
              </a:ext>
            </a:extLst>
          </p:cNvPr>
          <p:cNvGrpSpPr/>
          <p:nvPr/>
        </p:nvGrpSpPr>
        <p:grpSpPr>
          <a:xfrm>
            <a:off x="4523926" y="2332183"/>
            <a:ext cx="2464961" cy="2330614"/>
            <a:chOff x="1766131" y="4269247"/>
            <a:chExt cx="2464961" cy="2330614"/>
          </a:xfrm>
        </p:grpSpPr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2F166163-3163-69A1-E0AA-4BB4053B31DF}"/>
                </a:ext>
              </a:extLst>
            </p:cNvPr>
            <p:cNvSpPr/>
            <p:nvPr/>
          </p:nvSpPr>
          <p:spPr>
            <a:xfrm>
              <a:off x="1766132" y="4269247"/>
              <a:ext cx="2330614" cy="2330614"/>
            </a:xfrm>
            <a:prstGeom prst="ellipse">
              <a:avLst/>
            </a:prstGeom>
            <a:solidFill>
              <a:srgbClr val="2B6AE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6FDD643-25F9-C4D6-34BD-BCFC8BD28FA1}"/>
                </a:ext>
              </a:extLst>
            </p:cNvPr>
            <p:cNvSpPr txBox="1"/>
            <p:nvPr/>
          </p:nvSpPr>
          <p:spPr>
            <a:xfrm>
              <a:off x="2065797" y="4433935"/>
              <a:ext cx="216529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8000" dirty="0">
                  <a:solidFill>
                    <a:schemeClr val="bg1"/>
                  </a:solidFill>
                  <a:latin typeface="+mj-lt"/>
                </a:rPr>
                <a:t>6-1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25CDB7B-F79A-F974-A6D4-F4C78CE1BC3F}"/>
                </a:ext>
              </a:extLst>
            </p:cNvPr>
            <p:cNvSpPr txBox="1"/>
            <p:nvPr/>
          </p:nvSpPr>
          <p:spPr>
            <a:xfrm>
              <a:off x="1766131" y="5532446"/>
              <a:ext cx="233061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</a:rPr>
                <a:t>м</a:t>
              </a:r>
              <a:r>
                <a:rPr lang="uk-UA" sz="1800" dirty="0" err="1">
                  <a:solidFill>
                    <a:schemeClr val="bg1"/>
                  </a:solidFill>
                </a:rPr>
                <a:t>ісяців</a:t>
              </a:r>
              <a:r>
                <a:rPr lang="uk-UA" sz="1800" dirty="0">
                  <a:solidFill>
                    <a:schemeClr val="bg1"/>
                  </a:solidFill>
                </a:rPr>
                <a:t> </a:t>
              </a:r>
              <a:r>
                <a:rPr lang="uk-UA" dirty="0">
                  <a:solidFill>
                    <a:schemeClr val="bg1"/>
                  </a:solidFill>
                </a:rPr>
                <a:t>п</a:t>
              </a:r>
              <a:r>
                <a:rPr lang="uk-UA" sz="1800" dirty="0">
                  <a:solidFill>
                    <a:schemeClr val="bg1"/>
                  </a:solidFill>
                </a:rPr>
                <a:t>овернення</a:t>
              </a:r>
              <a:br>
                <a:rPr lang="uk-UA" sz="1800" dirty="0">
                  <a:solidFill>
                    <a:schemeClr val="bg1"/>
                  </a:solidFill>
                </a:rPr>
              </a:br>
              <a:r>
                <a:rPr lang="uk-UA" sz="1800" dirty="0">
                  <a:solidFill>
                    <a:schemeClr val="bg1"/>
                  </a:solidFill>
                </a:rPr>
                <a:t> інвестицій </a:t>
              </a:r>
              <a:endParaRPr lang="uk-UA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oogle Shape;49;p3">
            <a:extLst>
              <a:ext uri="{FF2B5EF4-FFF2-40B4-BE49-F238E27FC236}">
                <a16:creationId xmlns:a16="http://schemas.microsoft.com/office/drawing/2014/main" id="{AE41C0D7-A2B0-0990-6DDC-A3B864EA673D}"/>
              </a:ext>
            </a:extLst>
          </p:cNvPr>
          <p:cNvGrpSpPr/>
          <p:nvPr/>
        </p:nvGrpSpPr>
        <p:grpSpPr>
          <a:xfrm>
            <a:off x="9005913" y="-296666"/>
            <a:ext cx="2743076" cy="657293"/>
            <a:chOff x="5227825" y="3000800"/>
            <a:chExt cx="1865150" cy="446925"/>
          </a:xfrm>
          <a:solidFill>
            <a:schemeClr val="bg1">
              <a:lumMod val="85000"/>
            </a:schemeClr>
          </a:solidFill>
        </p:grpSpPr>
        <p:sp>
          <p:nvSpPr>
            <p:cNvPr id="33" name="Google Shape;50;p3">
              <a:extLst>
                <a:ext uri="{FF2B5EF4-FFF2-40B4-BE49-F238E27FC236}">
                  <a16:creationId xmlns:a16="http://schemas.microsoft.com/office/drawing/2014/main" id="{8FEBE2A6-C8CA-55D4-9A3D-753CBFFBFC4F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1;p3">
              <a:extLst>
                <a:ext uri="{FF2B5EF4-FFF2-40B4-BE49-F238E27FC236}">
                  <a16:creationId xmlns:a16="http://schemas.microsoft.com/office/drawing/2014/main" id="{C6B016A0-5D79-B69A-EAD2-F76F52734DB2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2;p3">
              <a:extLst>
                <a:ext uri="{FF2B5EF4-FFF2-40B4-BE49-F238E27FC236}">
                  <a16:creationId xmlns:a16="http://schemas.microsoft.com/office/drawing/2014/main" id="{9D59DA9A-7B15-D9FF-86EF-713B86635031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53;p3">
              <a:extLst>
                <a:ext uri="{FF2B5EF4-FFF2-40B4-BE49-F238E27FC236}">
                  <a16:creationId xmlns:a16="http://schemas.microsoft.com/office/drawing/2014/main" id="{2853BD5F-C06E-E43E-64C3-1C5BF3B4F380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54;p3">
              <a:extLst>
                <a:ext uri="{FF2B5EF4-FFF2-40B4-BE49-F238E27FC236}">
                  <a16:creationId xmlns:a16="http://schemas.microsoft.com/office/drawing/2014/main" id="{68921DC8-5B0F-4789-E7CD-865A73EE132D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55;p3">
              <a:extLst>
                <a:ext uri="{FF2B5EF4-FFF2-40B4-BE49-F238E27FC236}">
                  <a16:creationId xmlns:a16="http://schemas.microsoft.com/office/drawing/2014/main" id="{4F8AA97F-1D2D-A08A-DB28-236E401606A9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56;p3">
              <a:extLst>
                <a:ext uri="{FF2B5EF4-FFF2-40B4-BE49-F238E27FC236}">
                  <a16:creationId xmlns:a16="http://schemas.microsoft.com/office/drawing/2014/main" id="{A3C9F2EC-7707-C4F1-830C-CBBE0EA9C37A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57;p3">
              <a:extLst>
                <a:ext uri="{FF2B5EF4-FFF2-40B4-BE49-F238E27FC236}">
                  <a16:creationId xmlns:a16="http://schemas.microsoft.com/office/drawing/2014/main" id="{4CFDB7E9-F5F0-BAF6-2E36-2E27DCFE75FC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8;p3">
              <a:extLst>
                <a:ext uri="{FF2B5EF4-FFF2-40B4-BE49-F238E27FC236}">
                  <a16:creationId xmlns:a16="http://schemas.microsoft.com/office/drawing/2014/main" id="{E4AD5154-B71B-D116-F0EF-C2DCED62A642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2" name="Овал 41">
            <a:extLst>
              <a:ext uri="{FF2B5EF4-FFF2-40B4-BE49-F238E27FC236}">
                <a16:creationId xmlns:a16="http://schemas.microsoft.com/office/drawing/2014/main" id="{760BCD66-26D6-4701-1A22-DAFC0C1DE19F}"/>
              </a:ext>
            </a:extLst>
          </p:cNvPr>
          <p:cNvSpPr/>
          <p:nvPr/>
        </p:nvSpPr>
        <p:spPr>
          <a:xfrm>
            <a:off x="942609" y="2314574"/>
            <a:ext cx="3126823" cy="3126819"/>
          </a:xfrm>
          <a:prstGeom prst="ellipse">
            <a:avLst/>
          </a:prstGeom>
          <a:noFill/>
          <a:ln>
            <a:solidFill>
              <a:srgbClr val="E9A8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309D3B47-DCD0-088F-F7B9-87E59813B2DD}"/>
              </a:ext>
            </a:extLst>
          </p:cNvPr>
          <p:cNvSpPr/>
          <p:nvPr/>
        </p:nvSpPr>
        <p:spPr>
          <a:xfrm>
            <a:off x="4400453" y="2238065"/>
            <a:ext cx="2546190" cy="2546188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A767DCE-E974-895D-5ED1-4154E2AA9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715" y="437041"/>
            <a:ext cx="6858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135786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Зображення, що містить Автозапчастина, мотоцикл, чорно-білий, Паливна система автомобіля&#10;&#10;Автоматично згенерований опис">
            <a:extLst>
              <a:ext uri="{FF2B5EF4-FFF2-40B4-BE49-F238E27FC236}">
                <a16:creationId xmlns:a16="http://schemas.microsoft.com/office/drawing/2014/main" id="{BF5A4E1C-C27A-2B9D-B2BF-43679848CD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Прямокутник 14">
            <a:extLst>
              <a:ext uri="{FF2B5EF4-FFF2-40B4-BE49-F238E27FC236}">
                <a16:creationId xmlns:a16="http://schemas.microsoft.com/office/drawing/2014/main" id="{999024CD-429D-BD7A-85F8-5A79E8FB9952}"/>
              </a:ext>
            </a:extLst>
          </p:cNvPr>
          <p:cNvSpPr/>
          <p:nvPr/>
        </p:nvSpPr>
        <p:spPr>
          <a:xfrm>
            <a:off x="-7" y="-2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12">
            <a:extLst>
              <a:ext uri="{FF2B5EF4-FFF2-40B4-BE49-F238E27FC236}">
                <a16:creationId xmlns:a16="http://schemas.microsoft.com/office/drawing/2014/main" id="{3AE915C3-F86C-1FA3-BEBB-40118AAB84AE}"/>
              </a:ext>
            </a:extLst>
          </p:cNvPr>
          <p:cNvSpPr txBox="1"/>
          <p:nvPr/>
        </p:nvSpPr>
        <p:spPr>
          <a:xfrm>
            <a:off x="9152683" y="5747720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>
                <a:solidFill>
                  <a:schemeClr val="bg1"/>
                </a:solidFill>
              </a:rPr>
              <a:t>HR</a:t>
            </a:r>
          </a:p>
        </p:txBody>
      </p:sp>
      <p:sp>
        <p:nvSpPr>
          <p:cNvPr id="3" name="TextBox 13">
            <a:extLst>
              <a:ext uri="{FF2B5EF4-FFF2-40B4-BE49-F238E27FC236}">
                <a16:creationId xmlns:a16="http://schemas.microsoft.com/office/drawing/2014/main" id="{54B42733-F550-63C9-58FF-FB344D21E185}"/>
              </a:ext>
            </a:extLst>
          </p:cNvPr>
          <p:cNvSpPr txBox="1"/>
          <p:nvPr/>
        </p:nvSpPr>
        <p:spPr>
          <a:xfrm>
            <a:off x="6548482" y="5742269"/>
            <a:ext cx="2366748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</a:pPr>
            <a:r>
              <a:rPr lang="uk-UA" sz="2000" dirty="0">
                <a:solidFill>
                  <a:schemeClr val="bg1"/>
                </a:solidFill>
              </a:rPr>
              <a:t>м</a:t>
            </a:r>
            <a:r>
              <a:rPr lang="en-US" sz="2000" dirty="0" err="1">
                <a:solidFill>
                  <a:schemeClr val="bg1"/>
                </a:solidFill>
              </a:rPr>
              <a:t>аркетингу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4" name="TextBox 14">
            <a:extLst>
              <a:ext uri="{FF2B5EF4-FFF2-40B4-BE49-F238E27FC236}">
                <a16:creationId xmlns:a16="http://schemas.microsoft.com/office/drawing/2014/main" id="{DFAF5695-4BAB-82BC-EE6B-871530632957}"/>
              </a:ext>
            </a:extLst>
          </p:cNvPr>
          <p:cNvSpPr txBox="1"/>
          <p:nvPr/>
        </p:nvSpPr>
        <p:spPr>
          <a:xfrm>
            <a:off x="3797725" y="3707744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л</a:t>
            </a:r>
            <a:r>
              <a:rPr lang="en-US" sz="2000" dirty="0" err="1">
                <a:solidFill>
                  <a:schemeClr val="bg1"/>
                </a:solidFill>
              </a:rPr>
              <a:t>огістики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TextBox 15">
            <a:extLst>
              <a:ext uri="{FF2B5EF4-FFF2-40B4-BE49-F238E27FC236}">
                <a16:creationId xmlns:a16="http://schemas.microsoft.com/office/drawing/2014/main" id="{C74CB608-8531-1FFD-783B-93A5FBB3D17C}"/>
              </a:ext>
            </a:extLst>
          </p:cNvPr>
          <p:cNvSpPr txBox="1"/>
          <p:nvPr/>
        </p:nvSpPr>
        <p:spPr>
          <a:xfrm>
            <a:off x="6541738" y="3707744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>
                <a:solidFill>
                  <a:schemeClr val="bg1"/>
                </a:solidFill>
              </a:rPr>
              <a:t>IT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6EE09DEB-E042-80EC-FE31-C3707A92EB52}"/>
              </a:ext>
            </a:extLst>
          </p:cNvPr>
          <p:cNvSpPr txBox="1"/>
          <p:nvPr/>
        </p:nvSpPr>
        <p:spPr>
          <a:xfrm>
            <a:off x="1097255" y="5747720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Комерційний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E19BC2EA-E3E3-DD72-E7FF-F70D0F551906}"/>
              </a:ext>
            </a:extLst>
          </p:cNvPr>
          <p:cNvSpPr txBox="1"/>
          <p:nvPr/>
        </p:nvSpPr>
        <p:spPr>
          <a:xfrm>
            <a:off x="1053712" y="3707744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Фінансовий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д</a:t>
            </a:r>
            <a:r>
              <a:rPr lang="en-US" sz="2000" dirty="0" err="1">
                <a:solidFill>
                  <a:schemeClr val="bg1"/>
                </a:solidFill>
              </a:rPr>
              <a:t>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" name="TextBox 21">
            <a:extLst>
              <a:ext uri="{FF2B5EF4-FFF2-40B4-BE49-F238E27FC236}">
                <a16:creationId xmlns:a16="http://schemas.microsoft.com/office/drawing/2014/main" id="{8FDBE45A-1F1C-7D42-3742-809CB6210700}"/>
              </a:ext>
            </a:extLst>
          </p:cNvPr>
          <p:cNvSpPr txBox="1"/>
          <p:nvPr/>
        </p:nvSpPr>
        <p:spPr>
          <a:xfrm>
            <a:off x="3782398" y="5747720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Операційний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д</a:t>
            </a:r>
            <a:r>
              <a:rPr lang="en-US" sz="2000" dirty="0" err="1">
                <a:solidFill>
                  <a:schemeClr val="bg1"/>
                </a:solidFill>
              </a:rPr>
              <a:t>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extBox 22">
            <a:extLst>
              <a:ext uri="{FF2B5EF4-FFF2-40B4-BE49-F238E27FC236}">
                <a16:creationId xmlns:a16="http://schemas.microsoft.com/office/drawing/2014/main" id="{D952DECD-C776-1D23-8269-78E94D156C70}"/>
              </a:ext>
            </a:extLst>
          </p:cNvPr>
          <p:cNvSpPr txBox="1"/>
          <p:nvPr/>
        </p:nvSpPr>
        <p:spPr>
          <a:xfrm>
            <a:off x="9285750" y="3804885"/>
            <a:ext cx="1998096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14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1914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р</a:t>
            </a:r>
            <a:r>
              <a:rPr lang="en-US" sz="2000" dirty="0" err="1">
                <a:solidFill>
                  <a:schemeClr val="bg1"/>
                </a:solidFill>
              </a:rPr>
              <a:t>озвитку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5292674D-2CFF-152F-4388-043470F4C13B}"/>
              </a:ext>
            </a:extLst>
          </p:cNvPr>
          <p:cNvSpPr txBox="1"/>
          <p:nvPr/>
        </p:nvSpPr>
        <p:spPr>
          <a:xfrm>
            <a:off x="623888" y="337947"/>
            <a:ext cx="10944225" cy="1769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6911"/>
              </a:lnSpc>
            </a:pPr>
            <a:r>
              <a:rPr lang="uk-UA" sz="6000" b="1" dirty="0">
                <a:solidFill>
                  <a:schemeClr val="bg1"/>
                </a:solidFill>
                <a:latin typeface="+mj-lt"/>
              </a:rPr>
              <a:t>Кожен департамент може впливати </a:t>
            </a:r>
            <a:r>
              <a:rPr lang="uk-UA" sz="6000" b="1" dirty="0">
                <a:ln w="12700">
                  <a:solidFill>
                    <a:srgbClr val="E9A82A"/>
                  </a:solidFill>
                </a:ln>
                <a:solidFill>
                  <a:srgbClr val="E9A82A"/>
                </a:solidFill>
                <a:latin typeface="+mj-lt"/>
              </a:rPr>
              <a:t>на операційну ефективність</a:t>
            </a:r>
            <a:endParaRPr lang="en-US" sz="6000" b="1" dirty="0">
              <a:ln w="12700">
                <a:solidFill>
                  <a:srgbClr val="E9A82A"/>
                </a:solidFill>
              </a:ln>
              <a:solidFill>
                <a:srgbClr val="E9A82A"/>
              </a:solidFill>
              <a:latin typeface="+mj-lt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FE463FEA-0546-40F7-4595-43F4249610A5}"/>
              </a:ext>
            </a:extLst>
          </p:cNvPr>
          <p:cNvSpPr/>
          <p:nvPr/>
        </p:nvSpPr>
        <p:spPr>
          <a:xfrm>
            <a:off x="1787086" y="2705423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0F6FAF19-CF39-A3D6-6E7D-9852990443F8}"/>
              </a:ext>
            </a:extLst>
          </p:cNvPr>
          <p:cNvSpPr/>
          <p:nvPr/>
        </p:nvSpPr>
        <p:spPr>
          <a:xfrm>
            <a:off x="4515772" y="270421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D1D59952-DF22-FFCD-3BF4-4C839E6BD5E0}"/>
              </a:ext>
            </a:extLst>
          </p:cNvPr>
          <p:cNvSpPr/>
          <p:nvPr/>
        </p:nvSpPr>
        <p:spPr>
          <a:xfrm>
            <a:off x="7275112" y="270421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9D4800F7-9601-1FCB-AA2C-272C84214D92}"/>
              </a:ext>
            </a:extLst>
          </p:cNvPr>
          <p:cNvSpPr/>
          <p:nvPr/>
        </p:nvSpPr>
        <p:spPr>
          <a:xfrm>
            <a:off x="9834798" y="270421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C3DD8CDC-0CD3-C88F-A7E1-96F9C48CD1EC}"/>
              </a:ext>
            </a:extLst>
          </p:cNvPr>
          <p:cNvSpPr/>
          <p:nvPr/>
        </p:nvSpPr>
        <p:spPr>
          <a:xfrm>
            <a:off x="1787086" y="4742246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672962AD-28E6-E368-A31F-AA86076A5BBF}"/>
              </a:ext>
            </a:extLst>
          </p:cNvPr>
          <p:cNvSpPr/>
          <p:nvPr/>
        </p:nvSpPr>
        <p:spPr>
          <a:xfrm>
            <a:off x="4515772" y="4742246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DAFE56F2-5164-F854-6156-402A35747F74}"/>
              </a:ext>
            </a:extLst>
          </p:cNvPr>
          <p:cNvSpPr/>
          <p:nvPr/>
        </p:nvSpPr>
        <p:spPr>
          <a:xfrm>
            <a:off x="7275112" y="4742246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2B0F5046-4799-F8BC-B9C0-DE99DBF7C4E2}"/>
              </a:ext>
            </a:extLst>
          </p:cNvPr>
          <p:cNvSpPr/>
          <p:nvPr/>
        </p:nvSpPr>
        <p:spPr>
          <a:xfrm>
            <a:off x="9834798" y="4742246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090C69F-B86E-D753-D77D-F7374447478B}"/>
              </a:ext>
            </a:extLst>
          </p:cNvPr>
          <p:cNvSpPr/>
          <p:nvPr/>
        </p:nvSpPr>
        <p:spPr>
          <a:xfrm>
            <a:off x="1681611" y="2599949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A5793192-35E1-C28F-C2D5-BE6F51CE7EDB}"/>
              </a:ext>
            </a:extLst>
          </p:cNvPr>
          <p:cNvSpPr/>
          <p:nvPr/>
        </p:nvSpPr>
        <p:spPr>
          <a:xfrm>
            <a:off x="1681611" y="4636772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F1A89303-FF94-7190-1A0C-E4DCA67DE632}"/>
              </a:ext>
            </a:extLst>
          </p:cNvPr>
          <p:cNvSpPr/>
          <p:nvPr/>
        </p:nvSpPr>
        <p:spPr>
          <a:xfrm>
            <a:off x="4410297" y="4636772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E5D20A72-62C3-50B8-418D-13D2F18513DB}"/>
              </a:ext>
            </a:extLst>
          </p:cNvPr>
          <p:cNvSpPr/>
          <p:nvPr/>
        </p:nvSpPr>
        <p:spPr>
          <a:xfrm>
            <a:off x="7169637" y="4636772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D3F8A609-5EC6-88EC-CF34-9916426C07D6}"/>
              </a:ext>
            </a:extLst>
          </p:cNvPr>
          <p:cNvSpPr/>
          <p:nvPr/>
        </p:nvSpPr>
        <p:spPr>
          <a:xfrm>
            <a:off x="9729323" y="4636772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275F868F-D1A5-212E-CBDB-1C6DD969F483}"/>
              </a:ext>
            </a:extLst>
          </p:cNvPr>
          <p:cNvSpPr/>
          <p:nvPr/>
        </p:nvSpPr>
        <p:spPr>
          <a:xfrm>
            <a:off x="4410297" y="2598745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B92126D6-45E1-753A-6757-7A65F18E968F}"/>
              </a:ext>
            </a:extLst>
          </p:cNvPr>
          <p:cNvSpPr/>
          <p:nvPr/>
        </p:nvSpPr>
        <p:spPr>
          <a:xfrm>
            <a:off x="7169637" y="2598745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77DBEDDF-5A0F-FB3A-9B53-6304A5D19C1C}"/>
              </a:ext>
            </a:extLst>
          </p:cNvPr>
          <p:cNvSpPr/>
          <p:nvPr/>
        </p:nvSpPr>
        <p:spPr>
          <a:xfrm>
            <a:off x="9729323" y="2598745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33" name="Графіка 32" descr="Calculator outline">
            <a:extLst>
              <a:ext uri="{FF2B5EF4-FFF2-40B4-BE49-F238E27FC236}">
                <a16:creationId xmlns:a16="http://schemas.microsoft.com/office/drawing/2014/main" id="{0553E075-F961-61AE-477C-37D76F4B10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9" r="69"/>
          <a:stretch/>
        </p:blipFill>
        <p:spPr>
          <a:xfrm>
            <a:off x="1967086" y="2850562"/>
            <a:ext cx="539250" cy="540000"/>
          </a:xfrm>
          <a:prstGeom prst="rect">
            <a:avLst/>
          </a:prstGeom>
        </p:spPr>
      </p:pic>
      <p:pic>
        <p:nvPicPr>
          <p:cNvPr id="36" name="Графіка 35">
            <a:extLst>
              <a:ext uri="{FF2B5EF4-FFF2-40B4-BE49-F238E27FC236}">
                <a16:creationId xmlns:a16="http://schemas.microsoft.com/office/drawing/2014/main" id="{16C44766-EA28-AF49-1B32-5952B0B076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9" r="69"/>
          <a:stretch/>
        </p:blipFill>
        <p:spPr>
          <a:xfrm>
            <a:off x="4711251" y="2888998"/>
            <a:ext cx="539250" cy="540000"/>
          </a:xfrm>
          <a:prstGeom prst="rect">
            <a:avLst/>
          </a:prstGeom>
        </p:spPr>
      </p:pic>
      <p:pic>
        <p:nvPicPr>
          <p:cNvPr id="37" name="Графіка 36" descr="Processor outline">
            <a:extLst>
              <a:ext uri="{FF2B5EF4-FFF2-40B4-BE49-F238E27FC236}">
                <a16:creationId xmlns:a16="http://schemas.microsoft.com/office/drawing/2014/main" id="{B32095C3-AA09-ACAE-0993-3EA64F3E56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04" r="104"/>
          <a:stretch/>
        </p:blipFill>
        <p:spPr>
          <a:xfrm>
            <a:off x="7462231" y="2888998"/>
            <a:ext cx="538873" cy="540000"/>
          </a:xfrm>
          <a:prstGeom prst="rect">
            <a:avLst/>
          </a:prstGeom>
        </p:spPr>
      </p:pic>
      <p:pic>
        <p:nvPicPr>
          <p:cNvPr id="38" name="Графіка 37" descr="Statistics outline">
            <a:extLst>
              <a:ext uri="{FF2B5EF4-FFF2-40B4-BE49-F238E27FC236}">
                <a16:creationId xmlns:a16="http://schemas.microsoft.com/office/drawing/2014/main" id="{17D7627D-AFD7-EFE2-C308-EFC2AFB5E63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04" r="104"/>
          <a:stretch/>
        </p:blipFill>
        <p:spPr>
          <a:xfrm>
            <a:off x="10015173" y="2888998"/>
            <a:ext cx="538873" cy="540000"/>
          </a:xfrm>
          <a:prstGeom prst="rect">
            <a:avLst/>
          </a:prstGeom>
        </p:spPr>
      </p:pic>
      <p:pic>
        <p:nvPicPr>
          <p:cNvPr id="39" name="Графіка 38" descr="Money outline">
            <a:extLst>
              <a:ext uri="{FF2B5EF4-FFF2-40B4-BE49-F238E27FC236}">
                <a16:creationId xmlns:a16="http://schemas.microsoft.com/office/drawing/2014/main" id="{F9ED96C9-A46C-48A5-3788-1C487189E7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67086" y="4922246"/>
            <a:ext cx="540000" cy="540000"/>
          </a:xfrm>
          <a:prstGeom prst="rect">
            <a:avLst/>
          </a:prstGeom>
        </p:spPr>
      </p:pic>
      <p:pic>
        <p:nvPicPr>
          <p:cNvPr id="40" name="Графіка 39" descr="Circles with lines outline">
            <a:extLst>
              <a:ext uri="{FF2B5EF4-FFF2-40B4-BE49-F238E27FC236}">
                <a16:creationId xmlns:a16="http://schemas.microsoft.com/office/drawing/2014/main" id="{4DDAC3F8-108A-C972-20F3-BACA54BC642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69" r="69"/>
          <a:stretch/>
        </p:blipFill>
        <p:spPr>
          <a:xfrm>
            <a:off x="4695772" y="4922246"/>
            <a:ext cx="539250" cy="540000"/>
          </a:xfrm>
          <a:prstGeom prst="rect">
            <a:avLst/>
          </a:prstGeom>
        </p:spPr>
      </p:pic>
      <p:pic>
        <p:nvPicPr>
          <p:cNvPr id="41" name="Графіка 40" descr="Marketing outline">
            <a:extLst>
              <a:ext uri="{FF2B5EF4-FFF2-40B4-BE49-F238E27FC236}">
                <a16:creationId xmlns:a16="http://schemas.microsoft.com/office/drawing/2014/main" id="{FE820463-735C-533D-A2A3-74E388A6E85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69" r="69"/>
          <a:stretch/>
        </p:blipFill>
        <p:spPr>
          <a:xfrm>
            <a:off x="7452353" y="4922246"/>
            <a:ext cx="539250" cy="540000"/>
          </a:xfrm>
          <a:prstGeom prst="rect">
            <a:avLst/>
          </a:prstGeom>
        </p:spPr>
      </p:pic>
      <p:pic>
        <p:nvPicPr>
          <p:cNvPr id="42" name="Графіка 41" descr="Gender outline">
            <a:extLst>
              <a:ext uri="{FF2B5EF4-FFF2-40B4-BE49-F238E27FC236}">
                <a16:creationId xmlns:a16="http://schemas.microsoft.com/office/drawing/2014/main" id="{8367940B-0352-02D7-7C03-8828C6AC30C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104" r="104"/>
          <a:stretch/>
        </p:blipFill>
        <p:spPr>
          <a:xfrm>
            <a:off x="10030277" y="4922246"/>
            <a:ext cx="538873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8169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Зображення, що містить особа, Автозапчастина, мотоцикл, двигун&#10;&#10;Автоматично згенерований опис">
            <a:extLst>
              <a:ext uri="{FF2B5EF4-FFF2-40B4-BE49-F238E27FC236}">
                <a16:creationId xmlns:a16="http://schemas.microsoft.com/office/drawing/2014/main" id="{3DBFADEB-6428-08D4-C981-1A7DA95FCED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Прямокутник 10">
            <a:extLst>
              <a:ext uri="{FF2B5EF4-FFF2-40B4-BE49-F238E27FC236}">
                <a16:creationId xmlns:a16="http://schemas.microsoft.com/office/drawing/2014/main" id="{A5F7F021-BCE8-389A-4BFC-78FB34B5BAEE}"/>
              </a:ext>
            </a:extLst>
          </p:cNvPr>
          <p:cNvSpPr/>
          <p:nvPr/>
        </p:nvSpPr>
        <p:spPr>
          <a:xfrm>
            <a:off x="-7" y="-2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" name="TextBox 12">
            <a:extLst>
              <a:ext uri="{FF2B5EF4-FFF2-40B4-BE49-F238E27FC236}">
                <a16:creationId xmlns:a16="http://schemas.microsoft.com/office/drawing/2014/main" id="{EACC5967-AAAC-35FD-D891-F51E09F0E4DC}"/>
              </a:ext>
            </a:extLst>
          </p:cNvPr>
          <p:cNvSpPr txBox="1"/>
          <p:nvPr/>
        </p:nvSpPr>
        <p:spPr>
          <a:xfrm>
            <a:off x="4905946" y="7803974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>
                <a:solidFill>
                  <a:schemeClr val="bg1"/>
                </a:solidFill>
              </a:rPr>
              <a:t>HR</a:t>
            </a:r>
          </a:p>
        </p:txBody>
      </p:sp>
      <p:sp>
        <p:nvSpPr>
          <p:cNvPr id="54" name="TextBox 13">
            <a:extLst>
              <a:ext uri="{FF2B5EF4-FFF2-40B4-BE49-F238E27FC236}">
                <a16:creationId xmlns:a16="http://schemas.microsoft.com/office/drawing/2014/main" id="{850FA56E-E1F7-E580-E1B7-7B2B1D150441}"/>
              </a:ext>
            </a:extLst>
          </p:cNvPr>
          <p:cNvSpPr txBox="1"/>
          <p:nvPr/>
        </p:nvSpPr>
        <p:spPr>
          <a:xfrm>
            <a:off x="4813089" y="7470442"/>
            <a:ext cx="2366748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</a:pPr>
            <a:r>
              <a:rPr lang="uk-UA" sz="2000" dirty="0">
                <a:solidFill>
                  <a:schemeClr val="bg1"/>
                </a:solidFill>
              </a:rPr>
              <a:t>м</a:t>
            </a:r>
            <a:r>
              <a:rPr lang="en-US" sz="2000" dirty="0" err="1">
                <a:solidFill>
                  <a:schemeClr val="bg1"/>
                </a:solidFill>
              </a:rPr>
              <a:t>аркетингу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5" name="TextBox 14">
            <a:extLst>
              <a:ext uri="{FF2B5EF4-FFF2-40B4-BE49-F238E27FC236}">
                <a16:creationId xmlns:a16="http://schemas.microsoft.com/office/drawing/2014/main" id="{0C0B70BE-81BE-35A9-4BFE-9139AA3D3EC8}"/>
              </a:ext>
            </a:extLst>
          </p:cNvPr>
          <p:cNvSpPr txBox="1"/>
          <p:nvPr/>
        </p:nvSpPr>
        <p:spPr>
          <a:xfrm>
            <a:off x="4719667" y="7632002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л</a:t>
            </a:r>
            <a:r>
              <a:rPr lang="en-US" sz="2000" dirty="0" err="1">
                <a:solidFill>
                  <a:schemeClr val="bg1"/>
                </a:solidFill>
              </a:rPr>
              <a:t>огістики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6" name="TextBox 15">
            <a:extLst>
              <a:ext uri="{FF2B5EF4-FFF2-40B4-BE49-F238E27FC236}">
                <a16:creationId xmlns:a16="http://schemas.microsoft.com/office/drawing/2014/main" id="{CE5BB1E7-920B-202F-E835-CE2DFE0A7C58}"/>
              </a:ext>
            </a:extLst>
          </p:cNvPr>
          <p:cNvSpPr txBox="1"/>
          <p:nvPr/>
        </p:nvSpPr>
        <p:spPr>
          <a:xfrm>
            <a:off x="4950053" y="7606865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>
                <a:solidFill>
                  <a:schemeClr val="bg1"/>
                </a:solidFill>
              </a:rPr>
              <a:t>IT</a:t>
            </a:r>
          </a:p>
        </p:txBody>
      </p:sp>
      <p:sp>
        <p:nvSpPr>
          <p:cNvPr id="57" name="TextBox 17">
            <a:extLst>
              <a:ext uri="{FF2B5EF4-FFF2-40B4-BE49-F238E27FC236}">
                <a16:creationId xmlns:a16="http://schemas.microsoft.com/office/drawing/2014/main" id="{525A8388-70B7-46CE-B546-D0486A554E72}"/>
              </a:ext>
            </a:extLst>
          </p:cNvPr>
          <p:cNvSpPr txBox="1"/>
          <p:nvPr/>
        </p:nvSpPr>
        <p:spPr>
          <a:xfrm>
            <a:off x="4834860" y="7677627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Комерційний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8" name="TextBox 18">
            <a:extLst>
              <a:ext uri="{FF2B5EF4-FFF2-40B4-BE49-F238E27FC236}">
                <a16:creationId xmlns:a16="http://schemas.microsoft.com/office/drawing/2014/main" id="{3B83DC02-2B3C-4D33-2C67-1A33190BC3AC}"/>
              </a:ext>
            </a:extLst>
          </p:cNvPr>
          <p:cNvSpPr txBox="1"/>
          <p:nvPr/>
        </p:nvSpPr>
        <p:spPr>
          <a:xfrm>
            <a:off x="4906510" y="7492044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Фінансовий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д</a:t>
            </a:r>
            <a:r>
              <a:rPr lang="en-US" sz="2000" dirty="0" err="1">
                <a:solidFill>
                  <a:schemeClr val="bg1"/>
                </a:solidFill>
              </a:rPr>
              <a:t>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9" name="TextBox 21">
            <a:extLst>
              <a:ext uri="{FF2B5EF4-FFF2-40B4-BE49-F238E27FC236}">
                <a16:creationId xmlns:a16="http://schemas.microsoft.com/office/drawing/2014/main" id="{112F1576-CD92-48F5-62C7-119E0BC9B81C}"/>
              </a:ext>
            </a:extLst>
          </p:cNvPr>
          <p:cNvSpPr txBox="1"/>
          <p:nvPr/>
        </p:nvSpPr>
        <p:spPr>
          <a:xfrm>
            <a:off x="5021703" y="7653338"/>
            <a:ext cx="2366748" cy="58445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2000" dirty="0" err="1">
                <a:solidFill>
                  <a:schemeClr val="bg1"/>
                </a:solidFill>
              </a:rPr>
              <a:t>Операційний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2268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д</a:t>
            </a:r>
            <a:r>
              <a:rPr lang="en-US" sz="2000" dirty="0" err="1">
                <a:solidFill>
                  <a:schemeClr val="bg1"/>
                </a:solidFill>
              </a:rPr>
              <a:t>епартамент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0" name="TextBox 22">
            <a:extLst>
              <a:ext uri="{FF2B5EF4-FFF2-40B4-BE49-F238E27FC236}">
                <a16:creationId xmlns:a16="http://schemas.microsoft.com/office/drawing/2014/main" id="{1DB728B3-0437-4337-FDF4-68367FD4C51E}"/>
              </a:ext>
            </a:extLst>
          </p:cNvPr>
          <p:cNvSpPr txBox="1"/>
          <p:nvPr/>
        </p:nvSpPr>
        <p:spPr>
          <a:xfrm>
            <a:off x="5049506" y="7704580"/>
            <a:ext cx="1998096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14"/>
              </a:lnSpc>
            </a:pPr>
            <a:r>
              <a:rPr lang="en-US" sz="2000" dirty="0" err="1">
                <a:solidFill>
                  <a:schemeClr val="bg1"/>
                </a:solidFill>
              </a:rPr>
              <a:t>Департамент</a:t>
            </a:r>
            <a:endParaRPr lang="en-US" sz="2000" dirty="0">
              <a:solidFill>
                <a:schemeClr val="bg1"/>
              </a:solidFill>
            </a:endParaRPr>
          </a:p>
          <a:p>
            <a:pPr algn="ctr">
              <a:lnSpc>
                <a:spcPts val="1914"/>
              </a:lnSpc>
              <a:spcBef>
                <a:spcPct val="0"/>
              </a:spcBef>
            </a:pPr>
            <a:r>
              <a:rPr lang="uk-UA" sz="2000" dirty="0">
                <a:solidFill>
                  <a:schemeClr val="bg1"/>
                </a:solidFill>
              </a:rPr>
              <a:t>р</a:t>
            </a:r>
            <a:r>
              <a:rPr lang="en-US" sz="2000" dirty="0" err="1">
                <a:solidFill>
                  <a:schemeClr val="bg1"/>
                </a:solidFill>
              </a:rPr>
              <a:t>озвитку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id="{DE6E6288-E9D4-6217-93BC-6119EC6CD2A7}"/>
              </a:ext>
            </a:extLst>
          </p:cNvPr>
          <p:cNvSpPr/>
          <p:nvPr/>
        </p:nvSpPr>
        <p:spPr>
          <a:xfrm>
            <a:off x="5639884" y="7150576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DC648E2A-B22A-0398-36A8-9126EBA179AD}"/>
              </a:ext>
            </a:extLst>
          </p:cNvPr>
          <p:cNvSpPr/>
          <p:nvPr/>
        </p:nvSpPr>
        <p:spPr>
          <a:xfrm>
            <a:off x="5686357" y="7147423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F64452B1-8DF5-9BBD-FB55-1BD65028B6BA}"/>
              </a:ext>
            </a:extLst>
          </p:cNvPr>
          <p:cNvSpPr/>
          <p:nvPr/>
        </p:nvSpPr>
        <p:spPr>
          <a:xfrm>
            <a:off x="5639697" y="7137720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C632BE2F-2EC7-081B-3D41-CA7D6004457C}"/>
              </a:ext>
            </a:extLst>
          </p:cNvPr>
          <p:cNvSpPr/>
          <p:nvPr/>
        </p:nvSpPr>
        <p:spPr>
          <a:xfrm>
            <a:off x="5639509" y="715064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5AE52B43-A638-E1A3-F27A-8A64CDF7313B}"/>
              </a:ext>
            </a:extLst>
          </p:cNvPr>
          <p:cNvSpPr/>
          <p:nvPr/>
        </p:nvSpPr>
        <p:spPr>
          <a:xfrm>
            <a:off x="5627730" y="714249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4C3980F2-0357-396D-E469-203F994A516D}"/>
              </a:ext>
            </a:extLst>
          </p:cNvPr>
          <p:cNvSpPr/>
          <p:nvPr/>
        </p:nvSpPr>
        <p:spPr>
          <a:xfrm>
            <a:off x="5605725" y="7166869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65FACD40-EF21-7470-B080-8FAA9BDA6C91}"/>
              </a:ext>
            </a:extLst>
          </p:cNvPr>
          <p:cNvSpPr/>
          <p:nvPr/>
        </p:nvSpPr>
        <p:spPr>
          <a:xfrm>
            <a:off x="5643098" y="7127892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9A65FA74-353B-52B3-7008-1466C13007F4}"/>
              </a:ext>
            </a:extLst>
          </p:cNvPr>
          <p:cNvSpPr/>
          <p:nvPr/>
        </p:nvSpPr>
        <p:spPr>
          <a:xfrm>
            <a:off x="5707562" y="7129575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6FC4E5E7-1019-4E63-045D-3B3CA6119BF1}"/>
              </a:ext>
            </a:extLst>
          </p:cNvPr>
          <p:cNvSpPr/>
          <p:nvPr/>
        </p:nvSpPr>
        <p:spPr>
          <a:xfrm>
            <a:off x="5534409" y="7045102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0" name="Овал 69">
            <a:extLst>
              <a:ext uri="{FF2B5EF4-FFF2-40B4-BE49-F238E27FC236}">
                <a16:creationId xmlns:a16="http://schemas.microsoft.com/office/drawing/2014/main" id="{2922C657-2ED0-9E0D-AEFE-C46A26AE9700}"/>
              </a:ext>
            </a:extLst>
          </p:cNvPr>
          <p:cNvSpPr/>
          <p:nvPr/>
        </p:nvSpPr>
        <p:spPr>
          <a:xfrm>
            <a:off x="5564714" y="7075364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id="{1AA0A93C-C714-2F9C-F2A8-7D0380DDA692}"/>
              </a:ext>
            </a:extLst>
          </p:cNvPr>
          <p:cNvSpPr/>
          <p:nvPr/>
        </p:nvSpPr>
        <p:spPr>
          <a:xfrm>
            <a:off x="5500250" y="7061395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AF800546-0E20-D65A-551A-FCF782F30890}"/>
              </a:ext>
            </a:extLst>
          </p:cNvPr>
          <p:cNvSpPr/>
          <p:nvPr/>
        </p:nvSpPr>
        <p:spPr>
          <a:xfrm>
            <a:off x="5537623" y="7022418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id="{26E2A47A-8AEB-C853-DEEA-35504077A6F6}"/>
              </a:ext>
            </a:extLst>
          </p:cNvPr>
          <p:cNvSpPr/>
          <p:nvPr/>
        </p:nvSpPr>
        <p:spPr>
          <a:xfrm>
            <a:off x="5602087" y="7024101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F312A1C0-0335-509F-CB1B-25A1454BCF8B}"/>
              </a:ext>
            </a:extLst>
          </p:cNvPr>
          <p:cNvSpPr/>
          <p:nvPr/>
        </p:nvSpPr>
        <p:spPr>
          <a:xfrm>
            <a:off x="5534034" y="7054804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0A1AD0C2-B95E-5B2B-06D5-1A953F42C803}"/>
              </a:ext>
            </a:extLst>
          </p:cNvPr>
          <p:cNvSpPr/>
          <p:nvPr/>
        </p:nvSpPr>
        <p:spPr>
          <a:xfrm>
            <a:off x="5534222" y="7032246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0B4F3114-0C5B-580D-2DEF-6528D868B587}"/>
              </a:ext>
            </a:extLst>
          </p:cNvPr>
          <p:cNvSpPr/>
          <p:nvPr/>
        </p:nvSpPr>
        <p:spPr>
          <a:xfrm>
            <a:off x="5534034" y="7045175"/>
            <a:ext cx="1110950" cy="111094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77" name="Графіка 76" descr="Calculator outline">
            <a:extLst>
              <a:ext uri="{FF2B5EF4-FFF2-40B4-BE49-F238E27FC236}">
                <a16:creationId xmlns:a16="http://schemas.microsoft.com/office/drawing/2014/main" id="{985441EB-F6A1-B3F1-806E-226E7DE461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9" r="69"/>
          <a:stretch/>
        </p:blipFill>
        <p:spPr>
          <a:xfrm>
            <a:off x="5819884" y="7295715"/>
            <a:ext cx="539250" cy="540000"/>
          </a:xfrm>
          <a:prstGeom prst="rect">
            <a:avLst/>
          </a:prstGeom>
        </p:spPr>
      </p:pic>
      <p:pic>
        <p:nvPicPr>
          <p:cNvPr id="78" name="Графіка 77">
            <a:extLst>
              <a:ext uri="{FF2B5EF4-FFF2-40B4-BE49-F238E27FC236}">
                <a16:creationId xmlns:a16="http://schemas.microsoft.com/office/drawing/2014/main" id="{580A0691-9E48-AB0B-4D4C-D64E6A6623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9" r="69"/>
          <a:stretch/>
        </p:blipFill>
        <p:spPr>
          <a:xfrm>
            <a:off x="5881836" y="7332202"/>
            <a:ext cx="539250" cy="540000"/>
          </a:xfrm>
          <a:prstGeom prst="rect">
            <a:avLst/>
          </a:prstGeom>
        </p:spPr>
      </p:pic>
      <p:pic>
        <p:nvPicPr>
          <p:cNvPr id="79" name="Графіка 78" descr="Processor outline">
            <a:extLst>
              <a:ext uri="{FF2B5EF4-FFF2-40B4-BE49-F238E27FC236}">
                <a16:creationId xmlns:a16="http://schemas.microsoft.com/office/drawing/2014/main" id="{262948B8-9CBB-EAE4-AF1A-42511B03EA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04" r="104"/>
          <a:stretch/>
        </p:blipFill>
        <p:spPr>
          <a:xfrm>
            <a:off x="5826816" y="7322499"/>
            <a:ext cx="538873" cy="540000"/>
          </a:xfrm>
          <a:prstGeom prst="rect">
            <a:avLst/>
          </a:prstGeom>
        </p:spPr>
      </p:pic>
      <p:pic>
        <p:nvPicPr>
          <p:cNvPr id="80" name="Графіка 79" descr="Statistics outline">
            <a:extLst>
              <a:ext uri="{FF2B5EF4-FFF2-40B4-BE49-F238E27FC236}">
                <a16:creationId xmlns:a16="http://schemas.microsoft.com/office/drawing/2014/main" id="{87D7375D-40CA-422C-595A-9E15A096EA0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104" r="104"/>
          <a:stretch/>
        </p:blipFill>
        <p:spPr>
          <a:xfrm>
            <a:off x="5819884" y="7335428"/>
            <a:ext cx="538873" cy="540000"/>
          </a:xfrm>
          <a:prstGeom prst="rect">
            <a:avLst/>
          </a:prstGeom>
        </p:spPr>
      </p:pic>
      <p:pic>
        <p:nvPicPr>
          <p:cNvPr id="81" name="Графіка 80" descr="Money outline">
            <a:extLst>
              <a:ext uri="{FF2B5EF4-FFF2-40B4-BE49-F238E27FC236}">
                <a16:creationId xmlns:a16="http://schemas.microsoft.com/office/drawing/2014/main" id="{CC66F2C0-918A-F93D-F7E8-B14FC8475A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07730" y="7322499"/>
            <a:ext cx="540000" cy="540000"/>
          </a:xfrm>
          <a:prstGeom prst="rect">
            <a:avLst/>
          </a:prstGeom>
        </p:spPr>
      </p:pic>
      <p:pic>
        <p:nvPicPr>
          <p:cNvPr id="82" name="Графіка 81" descr="Circles with lines outline">
            <a:extLst>
              <a:ext uri="{FF2B5EF4-FFF2-40B4-BE49-F238E27FC236}">
                <a16:creationId xmlns:a16="http://schemas.microsoft.com/office/drawing/2014/main" id="{99491E14-187E-6C72-B963-98D7156165E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69" r="69"/>
          <a:stretch/>
        </p:blipFill>
        <p:spPr>
          <a:xfrm>
            <a:off x="5785725" y="7346869"/>
            <a:ext cx="539250" cy="540000"/>
          </a:xfrm>
          <a:prstGeom prst="rect">
            <a:avLst/>
          </a:prstGeom>
        </p:spPr>
      </p:pic>
      <p:pic>
        <p:nvPicPr>
          <p:cNvPr id="83" name="Графіка 82" descr="Marketing outline">
            <a:extLst>
              <a:ext uri="{FF2B5EF4-FFF2-40B4-BE49-F238E27FC236}">
                <a16:creationId xmlns:a16="http://schemas.microsoft.com/office/drawing/2014/main" id="{347D2C55-1F0E-635A-6E8F-2402343CA5C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69" r="69"/>
          <a:stretch/>
        </p:blipFill>
        <p:spPr>
          <a:xfrm>
            <a:off x="5820339" y="7307892"/>
            <a:ext cx="539250" cy="540000"/>
          </a:xfrm>
          <a:prstGeom prst="rect">
            <a:avLst/>
          </a:prstGeom>
        </p:spPr>
      </p:pic>
      <p:pic>
        <p:nvPicPr>
          <p:cNvPr id="84" name="Графіка 83" descr="Two women outline">
            <a:extLst>
              <a:ext uri="{FF2B5EF4-FFF2-40B4-BE49-F238E27FC236}">
                <a16:creationId xmlns:a16="http://schemas.microsoft.com/office/drawing/2014/main" id="{16BB3CCD-1EA0-3AEE-47AB-0A9467D8911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69" r="69"/>
          <a:stretch/>
        </p:blipFill>
        <p:spPr>
          <a:xfrm>
            <a:off x="5903041" y="7309575"/>
            <a:ext cx="539250" cy="540000"/>
          </a:xfrm>
          <a:prstGeom prst="rect">
            <a:avLst/>
          </a:prstGeom>
        </p:spPr>
      </p:pic>
      <p:sp>
        <p:nvSpPr>
          <p:cNvPr id="52" name="Овал 51">
            <a:extLst>
              <a:ext uri="{FF2B5EF4-FFF2-40B4-BE49-F238E27FC236}">
                <a16:creationId xmlns:a16="http://schemas.microsoft.com/office/drawing/2014/main" id="{F591C284-7B21-D5F5-9226-8F2345362940}"/>
              </a:ext>
            </a:extLst>
          </p:cNvPr>
          <p:cNvSpPr/>
          <p:nvPr/>
        </p:nvSpPr>
        <p:spPr>
          <a:xfrm>
            <a:off x="5722658" y="7321347"/>
            <a:ext cx="900000" cy="90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62DC2A57-ADC6-06BD-9F07-BC186F45C36A}"/>
              </a:ext>
            </a:extLst>
          </p:cNvPr>
          <p:cNvSpPr txBox="1"/>
          <p:nvPr/>
        </p:nvSpPr>
        <p:spPr>
          <a:xfrm>
            <a:off x="1824037" y="2544142"/>
            <a:ext cx="8543926" cy="1769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6911"/>
              </a:lnSpc>
            </a:pPr>
            <a:r>
              <a:rPr lang="ru-RU" sz="6000" b="1" dirty="0" err="1">
                <a:solidFill>
                  <a:schemeClr val="bg1"/>
                </a:solidFill>
                <a:latin typeface="+mj-lt"/>
              </a:rPr>
              <a:t>Постійно</a:t>
            </a:r>
            <a:r>
              <a:rPr lang="ru-RU" sz="6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6000" b="1" dirty="0" err="1">
                <a:solidFill>
                  <a:schemeClr val="bg1"/>
                </a:solidFill>
                <a:latin typeface="+mj-lt"/>
              </a:rPr>
              <a:t>підтягуйте</a:t>
            </a:r>
            <a:br>
              <a:rPr lang="ru-RU" sz="6000" b="1" dirty="0">
                <a:solidFill>
                  <a:schemeClr val="bg1"/>
                </a:solidFill>
                <a:latin typeface="+mj-lt"/>
              </a:rPr>
            </a:br>
            <a:r>
              <a:rPr lang="ru-RU" sz="6000" b="1" dirty="0">
                <a:solidFill>
                  <a:schemeClr val="bg1"/>
                </a:solidFill>
                <a:latin typeface="+mj-lt"/>
              </a:rPr>
              <a:t>    </a:t>
            </a:r>
            <a:r>
              <a:rPr lang="uk-UA" sz="6000" b="1" dirty="0">
                <a:solidFill>
                  <a:schemeClr val="bg1"/>
                </a:solidFill>
                <a:latin typeface="+mj-lt"/>
              </a:rPr>
              <a:t> ваші процеси</a:t>
            </a:r>
            <a:endParaRPr lang="en-US" sz="6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Google Shape;59;p3">
            <a:extLst>
              <a:ext uri="{FF2B5EF4-FFF2-40B4-BE49-F238E27FC236}">
                <a16:creationId xmlns:a16="http://schemas.microsoft.com/office/drawing/2014/main" id="{30C0DFAB-16F2-798B-80AA-2AB4EEC9AECB}"/>
              </a:ext>
            </a:extLst>
          </p:cNvPr>
          <p:cNvSpPr/>
          <p:nvPr/>
        </p:nvSpPr>
        <p:spPr>
          <a:xfrm>
            <a:off x="2652927" y="6200775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" name="Google Shape;78;p3">
            <a:extLst>
              <a:ext uri="{FF2B5EF4-FFF2-40B4-BE49-F238E27FC236}">
                <a16:creationId xmlns:a16="http://schemas.microsoft.com/office/drawing/2014/main" id="{F308645A-0BC5-7F84-AC7A-86989AF8D159}"/>
              </a:ext>
            </a:extLst>
          </p:cNvPr>
          <p:cNvSpPr/>
          <p:nvPr/>
        </p:nvSpPr>
        <p:spPr>
          <a:xfrm>
            <a:off x="11780359" y="-912221"/>
            <a:ext cx="1047325" cy="1424275"/>
          </a:xfrm>
          <a:custGeom>
            <a:avLst/>
            <a:gdLst/>
            <a:ahLst/>
            <a:cxnLst/>
            <a:rect l="l" t="t" r="r" b="b"/>
            <a:pathLst>
              <a:path w="41893" h="56971" extrusionOk="0">
                <a:moveTo>
                  <a:pt x="1" y="1"/>
                </a:moveTo>
                <a:lnTo>
                  <a:pt x="3853" y="1"/>
                </a:lnTo>
                <a:lnTo>
                  <a:pt x="3853" y="36054"/>
                </a:lnTo>
                <a:cubicBezTo>
                  <a:pt x="3853" y="45474"/>
                  <a:pt x="11527" y="53118"/>
                  <a:pt x="20947" y="53118"/>
                </a:cubicBezTo>
                <a:cubicBezTo>
                  <a:pt x="30366" y="53118"/>
                  <a:pt x="38041" y="45474"/>
                  <a:pt x="38041" y="36054"/>
                </a:cubicBezTo>
                <a:lnTo>
                  <a:pt x="38041" y="1"/>
                </a:lnTo>
                <a:lnTo>
                  <a:pt x="41893" y="1"/>
                </a:lnTo>
                <a:lnTo>
                  <a:pt x="41893" y="36054"/>
                </a:lnTo>
                <a:cubicBezTo>
                  <a:pt x="41893" y="47581"/>
                  <a:pt x="32503" y="56970"/>
                  <a:pt x="20947" y="56970"/>
                </a:cubicBezTo>
                <a:cubicBezTo>
                  <a:pt x="9390" y="56970"/>
                  <a:pt x="1" y="47581"/>
                  <a:pt x="1" y="36054"/>
                </a:cubicBezTo>
                <a:lnTo>
                  <a:pt x="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4" name="Google Shape;60;p3">
            <a:extLst>
              <a:ext uri="{FF2B5EF4-FFF2-40B4-BE49-F238E27FC236}">
                <a16:creationId xmlns:a16="http://schemas.microsoft.com/office/drawing/2014/main" id="{F8D53B67-8EA5-58DF-9C5B-EFC540366D8E}"/>
              </a:ext>
            </a:extLst>
          </p:cNvPr>
          <p:cNvGrpSpPr/>
          <p:nvPr/>
        </p:nvGrpSpPr>
        <p:grpSpPr>
          <a:xfrm rot="10800000">
            <a:off x="10800128" y="6316514"/>
            <a:ext cx="1145952" cy="657282"/>
            <a:chOff x="864825" y="2381600"/>
            <a:chExt cx="802825" cy="460475"/>
          </a:xfrm>
          <a:solidFill>
            <a:schemeClr val="bg1"/>
          </a:solidFill>
        </p:grpSpPr>
        <p:sp>
          <p:nvSpPr>
            <p:cNvPr id="15" name="Google Shape;61;p3">
              <a:extLst>
                <a:ext uri="{FF2B5EF4-FFF2-40B4-BE49-F238E27FC236}">
                  <a16:creationId xmlns:a16="http://schemas.microsoft.com/office/drawing/2014/main" id="{307C4802-D987-10B1-E702-C43A65C29736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62;p3">
              <a:extLst>
                <a:ext uri="{FF2B5EF4-FFF2-40B4-BE49-F238E27FC236}">
                  <a16:creationId xmlns:a16="http://schemas.microsoft.com/office/drawing/2014/main" id="{80DE9D7C-8E70-329F-69D5-A2AF34DE37DC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63;p3">
              <a:extLst>
                <a:ext uri="{FF2B5EF4-FFF2-40B4-BE49-F238E27FC236}">
                  <a16:creationId xmlns:a16="http://schemas.microsoft.com/office/drawing/2014/main" id="{A451CEA3-1A6B-2261-7496-48F099F508D2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64;p3">
              <a:extLst>
                <a:ext uri="{FF2B5EF4-FFF2-40B4-BE49-F238E27FC236}">
                  <a16:creationId xmlns:a16="http://schemas.microsoft.com/office/drawing/2014/main" id="{2D17CE2C-51DB-9D80-0DFB-DCB980A5AD34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65;p3">
              <a:extLst>
                <a:ext uri="{FF2B5EF4-FFF2-40B4-BE49-F238E27FC236}">
                  <a16:creationId xmlns:a16="http://schemas.microsoft.com/office/drawing/2014/main" id="{9329A721-C9DF-1CD8-67DA-7160F079B70A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66;p3">
              <a:extLst>
                <a:ext uri="{FF2B5EF4-FFF2-40B4-BE49-F238E27FC236}">
                  <a16:creationId xmlns:a16="http://schemas.microsoft.com/office/drawing/2014/main" id="{9CC9FA44-BCA0-79C2-C9E5-892A1F0D5016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7;p3">
              <a:extLst>
                <a:ext uri="{FF2B5EF4-FFF2-40B4-BE49-F238E27FC236}">
                  <a16:creationId xmlns:a16="http://schemas.microsoft.com/office/drawing/2014/main" id="{DA3D9E0F-FE8C-5ED7-2697-27FD33D9C855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8;p3">
              <a:extLst>
                <a:ext uri="{FF2B5EF4-FFF2-40B4-BE49-F238E27FC236}">
                  <a16:creationId xmlns:a16="http://schemas.microsoft.com/office/drawing/2014/main" id="{A2E5ACF4-6A12-14B5-A5B2-D1D02C85093C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9;p3">
              <a:extLst>
                <a:ext uri="{FF2B5EF4-FFF2-40B4-BE49-F238E27FC236}">
                  <a16:creationId xmlns:a16="http://schemas.microsoft.com/office/drawing/2014/main" id="{D72B2561-0BB0-2E4A-4D5F-ADC0C7A7C3DD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70;p3">
              <a:extLst>
                <a:ext uri="{FF2B5EF4-FFF2-40B4-BE49-F238E27FC236}">
                  <a16:creationId xmlns:a16="http://schemas.microsoft.com/office/drawing/2014/main" id="{8234BC77-289A-F459-D04D-79DD675E86D5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71;p3">
              <a:extLst>
                <a:ext uri="{FF2B5EF4-FFF2-40B4-BE49-F238E27FC236}">
                  <a16:creationId xmlns:a16="http://schemas.microsoft.com/office/drawing/2014/main" id="{1DAE5110-CE48-60AD-3E30-0968871072A3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72;p3">
              <a:extLst>
                <a:ext uri="{FF2B5EF4-FFF2-40B4-BE49-F238E27FC236}">
                  <a16:creationId xmlns:a16="http://schemas.microsoft.com/office/drawing/2014/main" id="{B3A3376E-263E-DAB0-6DDC-9053C407D5F5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3;p3">
              <a:extLst>
                <a:ext uri="{FF2B5EF4-FFF2-40B4-BE49-F238E27FC236}">
                  <a16:creationId xmlns:a16="http://schemas.microsoft.com/office/drawing/2014/main" id="{472795BF-BB25-66F2-9FD4-66FBC38F7BEF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4;p3">
              <a:extLst>
                <a:ext uri="{FF2B5EF4-FFF2-40B4-BE49-F238E27FC236}">
                  <a16:creationId xmlns:a16="http://schemas.microsoft.com/office/drawing/2014/main" id="{46DB855F-1FDD-5716-88CC-D2D3DB69CCC2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5;p3">
              <a:extLst>
                <a:ext uri="{FF2B5EF4-FFF2-40B4-BE49-F238E27FC236}">
                  <a16:creationId xmlns:a16="http://schemas.microsoft.com/office/drawing/2014/main" id="{D3F58AA9-624F-D0E9-B121-27EAC93ABE94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6;p3">
              <a:extLst>
                <a:ext uri="{FF2B5EF4-FFF2-40B4-BE49-F238E27FC236}">
                  <a16:creationId xmlns:a16="http://schemas.microsoft.com/office/drawing/2014/main" id="{994A2E31-9ACD-EDF4-A152-03C5866B0287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1" name="Google Shape;1176;p50">
            <a:extLst>
              <a:ext uri="{FF2B5EF4-FFF2-40B4-BE49-F238E27FC236}">
                <a16:creationId xmlns:a16="http://schemas.microsoft.com/office/drawing/2014/main" id="{551B67DA-86D6-59EC-7A7A-CCE63B56AFDD}"/>
              </a:ext>
            </a:extLst>
          </p:cNvPr>
          <p:cNvGrpSpPr/>
          <p:nvPr/>
        </p:nvGrpSpPr>
        <p:grpSpPr>
          <a:xfrm rot="16200000">
            <a:off x="5536329" y="34701"/>
            <a:ext cx="1119327" cy="692597"/>
            <a:chOff x="3132025" y="2362375"/>
            <a:chExt cx="814530" cy="504000"/>
          </a:xfrm>
          <a:noFill/>
        </p:grpSpPr>
        <p:sp>
          <p:nvSpPr>
            <p:cNvPr id="32" name="Google Shape;1177;p50">
              <a:extLst>
                <a:ext uri="{FF2B5EF4-FFF2-40B4-BE49-F238E27FC236}">
                  <a16:creationId xmlns:a16="http://schemas.microsoft.com/office/drawing/2014/main" id="{B7CDE2AE-F737-8665-D218-0E5F30AD2923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178;p50">
              <a:extLst>
                <a:ext uri="{FF2B5EF4-FFF2-40B4-BE49-F238E27FC236}">
                  <a16:creationId xmlns:a16="http://schemas.microsoft.com/office/drawing/2014/main" id="{43FD3E0B-408A-A2E2-A5E7-2B0A7931BB97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179;p50">
              <a:extLst>
                <a:ext uri="{FF2B5EF4-FFF2-40B4-BE49-F238E27FC236}">
                  <a16:creationId xmlns:a16="http://schemas.microsoft.com/office/drawing/2014/main" id="{76B056BC-5748-CEF9-341D-F303CD12EA1E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5" name="Google Shape;60;p3">
            <a:extLst>
              <a:ext uri="{FF2B5EF4-FFF2-40B4-BE49-F238E27FC236}">
                <a16:creationId xmlns:a16="http://schemas.microsoft.com/office/drawing/2014/main" id="{AAD2CFBF-8774-B717-A7CD-834F237EAB23}"/>
              </a:ext>
            </a:extLst>
          </p:cNvPr>
          <p:cNvGrpSpPr/>
          <p:nvPr/>
        </p:nvGrpSpPr>
        <p:grpSpPr>
          <a:xfrm rot="10800000">
            <a:off x="-692305" y="-200082"/>
            <a:ext cx="1145952" cy="657282"/>
            <a:chOff x="864825" y="2381600"/>
            <a:chExt cx="802825" cy="460475"/>
          </a:xfrm>
          <a:solidFill>
            <a:schemeClr val="bg1"/>
          </a:solidFill>
        </p:grpSpPr>
        <p:sp>
          <p:nvSpPr>
            <p:cNvPr id="36" name="Google Shape;61;p3">
              <a:extLst>
                <a:ext uri="{FF2B5EF4-FFF2-40B4-BE49-F238E27FC236}">
                  <a16:creationId xmlns:a16="http://schemas.microsoft.com/office/drawing/2014/main" id="{078D3B88-D62C-208C-C13C-E91F19E246A5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62;p3">
              <a:extLst>
                <a:ext uri="{FF2B5EF4-FFF2-40B4-BE49-F238E27FC236}">
                  <a16:creationId xmlns:a16="http://schemas.microsoft.com/office/drawing/2014/main" id="{8A6A6A8E-E536-A956-4CDC-0E1554A6B2AC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63;p3">
              <a:extLst>
                <a:ext uri="{FF2B5EF4-FFF2-40B4-BE49-F238E27FC236}">
                  <a16:creationId xmlns:a16="http://schemas.microsoft.com/office/drawing/2014/main" id="{0F78BE97-6573-05CA-9B02-82F911381251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64;p3">
              <a:extLst>
                <a:ext uri="{FF2B5EF4-FFF2-40B4-BE49-F238E27FC236}">
                  <a16:creationId xmlns:a16="http://schemas.microsoft.com/office/drawing/2014/main" id="{EEA0C1E7-B3C1-3F22-6050-7D315814D08F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65;p3">
              <a:extLst>
                <a:ext uri="{FF2B5EF4-FFF2-40B4-BE49-F238E27FC236}">
                  <a16:creationId xmlns:a16="http://schemas.microsoft.com/office/drawing/2014/main" id="{9B69C780-97BC-D4B2-96F0-DEE93ACEDEB1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66;p3">
              <a:extLst>
                <a:ext uri="{FF2B5EF4-FFF2-40B4-BE49-F238E27FC236}">
                  <a16:creationId xmlns:a16="http://schemas.microsoft.com/office/drawing/2014/main" id="{6B999683-82AB-D11F-F8C8-3C530920A0D1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67;p3">
              <a:extLst>
                <a:ext uri="{FF2B5EF4-FFF2-40B4-BE49-F238E27FC236}">
                  <a16:creationId xmlns:a16="http://schemas.microsoft.com/office/drawing/2014/main" id="{AA6E4EDE-440C-4655-75A2-20C9AE18B1D3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68;p3">
              <a:extLst>
                <a:ext uri="{FF2B5EF4-FFF2-40B4-BE49-F238E27FC236}">
                  <a16:creationId xmlns:a16="http://schemas.microsoft.com/office/drawing/2014/main" id="{5D04BE67-F68C-49B3-C7E0-FD687099CEDA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69;p3">
              <a:extLst>
                <a:ext uri="{FF2B5EF4-FFF2-40B4-BE49-F238E27FC236}">
                  <a16:creationId xmlns:a16="http://schemas.microsoft.com/office/drawing/2014/main" id="{C4102AE4-2E51-C730-C151-30B991D5D510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0;p3">
              <a:extLst>
                <a:ext uri="{FF2B5EF4-FFF2-40B4-BE49-F238E27FC236}">
                  <a16:creationId xmlns:a16="http://schemas.microsoft.com/office/drawing/2014/main" id="{9CD6525B-C4A9-9C13-DAAB-7827426BABA4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71;p3">
              <a:extLst>
                <a:ext uri="{FF2B5EF4-FFF2-40B4-BE49-F238E27FC236}">
                  <a16:creationId xmlns:a16="http://schemas.microsoft.com/office/drawing/2014/main" id="{5832BF64-146C-EA67-65D5-022F92D253D7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72;p3">
              <a:extLst>
                <a:ext uri="{FF2B5EF4-FFF2-40B4-BE49-F238E27FC236}">
                  <a16:creationId xmlns:a16="http://schemas.microsoft.com/office/drawing/2014/main" id="{7EA31BCA-AC8A-6348-AAD0-092F29993A11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73;p3">
              <a:extLst>
                <a:ext uri="{FF2B5EF4-FFF2-40B4-BE49-F238E27FC236}">
                  <a16:creationId xmlns:a16="http://schemas.microsoft.com/office/drawing/2014/main" id="{9DEA1E39-BE00-9A6B-68F9-A245577D7F68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74;p3">
              <a:extLst>
                <a:ext uri="{FF2B5EF4-FFF2-40B4-BE49-F238E27FC236}">
                  <a16:creationId xmlns:a16="http://schemas.microsoft.com/office/drawing/2014/main" id="{3EF826B5-7482-AC50-5904-CFAEF229B808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75;p3">
              <a:extLst>
                <a:ext uri="{FF2B5EF4-FFF2-40B4-BE49-F238E27FC236}">
                  <a16:creationId xmlns:a16="http://schemas.microsoft.com/office/drawing/2014/main" id="{3641E1D0-EFB2-5005-CB9C-B130310B21B0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76;p3">
              <a:extLst>
                <a:ext uri="{FF2B5EF4-FFF2-40B4-BE49-F238E27FC236}">
                  <a16:creationId xmlns:a16="http://schemas.microsoft.com/office/drawing/2014/main" id="{5BACF152-190A-1864-2491-5A960D0C74EC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85" name="Рисунок 84" descr="Зображення, що містить транспорт, колесо, транспортний засіб, особа&#10;&#10;Автоматично згенерований опис">
            <a:extLst>
              <a:ext uri="{FF2B5EF4-FFF2-40B4-BE49-F238E27FC236}">
                <a16:creationId xmlns:a16="http://schemas.microsoft.com/office/drawing/2014/main" id="{6B8103D3-81C9-3C21-E49A-F829F2CE69C9}"/>
              </a:ext>
            </a:extLst>
          </p:cNvPr>
          <p:cNvPicPr>
            <a:picLocks noChangeAspect="1"/>
          </p:cNvPicPr>
          <p:nvPr/>
        </p:nvPicPr>
        <p:blipFill>
          <a:blip r:embed="rId19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350" y="152400"/>
            <a:ext cx="12192000" cy="6858000"/>
          </a:xfrm>
          <a:prstGeom prst="rect">
            <a:avLst/>
          </a:prstGeom>
        </p:spPr>
      </p:pic>
      <p:sp>
        <p:nvSpPr>
          <p:cNvPr id="86" name="Паралелограм 85">
            <a:extLst>
              <a:ext uri="{FF2B5EF4-FFF2-40B4-BE49-F238E27FC236}">
                <a16:creationId xmlns:a16="http://schemas.microsoft.com/office/drawing/2014/main" id="{A79BC3FF-CAEE-82AD-36CD-685B82F03D6C}"/>
              </a:ext>
            </a:extLst>
          </p:cNvPr>
          <p:cNvSpPr/>
          <p:nvPr/>
        </p:nvSpPr>
        <p:spPr>
          <a:xfrm>
            <a:off x="-9332530" y="3633785"/>
            <a:ext cx="7809546" cy="904347"/>
          </a:xfrm>
          <a:prstGeom prst="parallelogram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7" name="Паралелограм 86">
            <a:extLst>
              <a:ext uri="{FF2B5EF4-FFF2-40B4-BE49-F238E27FC236}">
                <a16:creationId xmlns:a16="http://schemas.microsoft.com/office/drawing/2014/main" id="{9FA0A318-F41F-8FC4-81CB-5D3B93DF992E}"/>
              </a:ext>
            </a:extLst>
          </p:cNvPr>
          <p:cNvSpPr/>
          <p:nvPr/>
        </p:nvSpPr>
        <p:spPr>
          <a:xfrm>
            <a:off x="-9404354" y="3555767"/>
            <a:ext cx="7809546" cy="904347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49CD5B7-8BA9-BB1B-2A2B-7C01434CC034}"/>
              </a:ext>
            </a:extLst>
          </p:cNvPr>
          <p:cNvSpPr txBox="1"/>
          <p:nvPr/>
        </p:nvSpPr>
        <p:spPr>
          <a:xfrm>
            <a:off x="-8060351" y="2475431"/>
            <a:ext cx="868423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Не </a:t>
            </a:r>
            <a:r>
              <a:rPr lang="ru-RU" sz="6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чекайте</a:t>
            </a:r>
            <a:r>
              <a:rPr lang="ru-RU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ru-RU" sz="6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викликів</a:t>
            </a:r>
            <a:endParaRPr lang="ru-RU" sz="6000" b="1" dirty="0">
              <a:solidFill>
                <a:schemeClr val="bg1"/>
              </a:solidFill>
              <a:latin typeface="Akrobat Black" panose="00000A00000000000000" pitchFamily="50" charset="-52"/>
            </a:endParaRPr>
          </a:p>
          <a:p>
            <a:r>
              <a:rPr lang="ru-RU" sz="6000" b="1" dirty="0" err="1">
                <a:latin typeface="Akrobat Black" panose="00000A00000000000000" pitchFamily="50" charset="-52"/>
              </a:rPr>
              <a:t>створюйте</a:t>
            </a:r>
            <a:r>
              <a:rPr lang="ru-RU" sz="6000" b="1" dirty="0">
                <a:latin typeface="Akrobat Black" panose="00000A00000000000000" pitchFamily="50" charset="-52"/>
              </a:rPr>
              <a:t> </a:t>
            </a:r>
            <a:r>
              <a:rPr lang="ru-RU" sz="6000" b="1" dirty="0" err="1">
                <a:latin typeface="Akrobat Black" panose="00000A00000000000000" pitchFamily="50" charset="-52"/>
              </a:rPr>
              <a:t>їх</a:t>
            </a:r>
            <a:r>
              <a:rPr lang="ru-RU" sz="6000" b="1" dirty="0">
                <a:latin typeface="Akrobat Black" panose="00000A00000000000000" pitchFamily="50" charset="-52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125094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A8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Рисунок 39" descr="Зображення, що містить транспорт, колесо, транспортний засіб, особа&#10;&#10;Автоматично згенерований опис">
            <a:extLst>
              <a:ext uri="{FF2B5EF4-FFF2-40B4-BE49-F238E27FC236}">
                <a16:creationId xmlns:a16="http://schemas.microsoft.com/office/drawing/2014/main" id="{290F3276-4981-1483-0E29-A7B74123ECB2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Паралелограм 5">
            <a:extLst>
              <a:ext uri="{FF2B5EF4-FFF2-40B4-BE49-F238E27FC236}">
                <a16:creationId xmlns:a16="http://schemas.microsoft.com/office/drawing/2014/main" id="{2CCB4AEB-1099-44DC-F237-E8BD2B7108EE}"/>
              </a:ext>
            </a:extLst>
          </p:cNvPr>
          <p:cNvSpPr/>
          <p:nvPr/>
        </p:nvSpPr>
        <p:spPr>
          <a:xfrm>
            <a:off x="-742562" y="3633785"/>
            <a:ext cx="5835262" cy="904347"/>
          </a:xfrm>
          <a:prstGeom prst="parallelogram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" name="Паралелограм 37">
            <a:extLst>
              <a:ext uri="{FF2B5EF4-FFF2-40B4-BE49-F238E27FC236}">
                <a16:creationId xmlns:a16="http://schemas.microsoft.com/office/drawing/2014/main" id="{A287EC58-1379-DC90-2922-E3F6D9A58C51}"/>
              </a:ext>
            </a:extLst>
          </p:cNvPr>
          <p:cNvSpPr/>
          <p:nvPr/>
        </p:nvSpPr>
        <p:spPr>
          <a:xfrm>
            <a:off x="-814386" y="3555767"/>
            <a:ext cx="5835262" cy="904347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6550FD-4B55-414A-BD2C-DB5A0FA20B77}"/>
              </a:ext>
            </a:extLst>
          </p:cNvPr>
          <p:cNvSpPr txBox="1"/>
          <p:nvPr/>
        </p:nvSpPr>
        <p:spPr>
          <a:xfrm>
            <a:off x="517540" y="2475431"/>
            <a:ext cx="868423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Не </a:t>
            </a:r>
            <a:r>
              <a:rPr lang="ru-RU" sz="6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чекайте</a:t>
            </a:r>
            <a:r>
              <a:rPr lang="ru-RU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ru-RU" sz="6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викликів</a:t>
            </a:r>
            <a:endParaRPr lang="ru-RU" sz="6000" b="1" dirty="0">
              <a:solidFill>
                <a:schemeClr val="bg1"/>
              </a:solidFill>
              <a:latin typeface="Akrobat Black" panose="00000A00000000000000" pitchFamily="50" charset="-52"/>
            </a:endParaRPr>
          </a:p>
          <a:p>
            <a:r>
              <a:rPr lang="ru-RU" sz="6000" b="1" dirty="0" err="1">
                <a:latin typeface="Akrobat Black" panose="00000A00000000000000" pitchFamily="50" charset="-52"/>
              </a:rPr>
              <a:t>створюйте</a:t>
            </a:r>
            <a:r>
              <a:rPr lang="ru-RU" sz="6000" b="1" dirty="0">
                <a:latin typeface="Akrobat Black" panose="00000A00000000000000" pitchFamily="50" charset="-52"/>
              </a:rPr>
              <a:t> </a:t>
            </a:r>
            <a:r>
              <a:rPr lang="ru-RU" sz="6000" b="1" dirty="0" err="1">
                <a:latin typeface="Akrobat Black" panose="00000A00000000000000" pitchFamily="50" charset="-52"/>
              </a:rPr>
              <a:t>їх</a:t>
            </a:r>
            <a:r>
              <a:rPr lang="ru-RU" sz="6000" b="1" dirty="0">
                <a:latin typeface="Akrobat Black" panose="00000A00000000000000" pitchFamily="50" charset="-52"/>
              </a:rPr>
              <a:t>!</a:t>
            </a:r>
          </a:p>
        </p:txBody>
      </p:sp>
      <p:grpSp>
        <p:nvGrpSpPr>
          <p:cNvPr id="7" name="Google Shape;49;p3">
            <a:extLst>
              <a:ext uri="{FF2B5EF4-FFF2-40B4-BE49-F238E27FC236}">
                <a16:creationId xmlns:a16="http://schemas.microsoft.com/office/drawing/2014/main" id="{6BB83883-1A71-EB6D-5893-C687A1F158DE}"/>
              </a:ext>
            </a:extLst>
          </p:cNvPr>
          <p:cNvGrpSpPr/>
          <p:nvPr/>
        </p:nvGrpSpPr>
        <p:grpSpPr>
          <a:xfrm>
            <a:off x="931225" y="-296666"/>
            <a:ext cx="2743076" cy="657293"/>
            <a:chOff x="5227825" y="3000800"/>
            <a:chExt cx="1865150" cy="446925"/>
          </a:xfrm>
          <a:solidFill>
            <a:schemeClr val="bg1"/>
          </a:solidFill>
        </p:grpSpPr>
        <p:sp>
          <p:nvSpPr>
            <p:cNvPr id="8" name="Google Shape;50;p3">
              <a:extLst>
                <a:ext uri="{FF2B5EF4-FFF2-40B4-BE49-F238E27FC236}">
                  <a16:creationId xmlns:a16="http://schemas.microsoft.com/office/drawing/2014/main" id="{C0F11D45-266E-FD4D-DCD2-85DF2603BE1B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51;p3">
              <a:extLst>
                <a:ext uri="{FF2B5EF4-FFF2-40B4-BE49-F238E27FC236}">
                  <a16:creationId xmlns:a16="http://schemas.microsoft.com/office/drawing/2014/main" id="{891530CE-80C8-FD6D-9C17-083EC34D6C6D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52;p3">
              <a:extLst>
                <a:ext uri="{FF2B5EF4-FFF2-40B4-BE49-F238E27FC236}">
                  <a16:creationId xmlns:a16="http://schemas.microsoft.com/office/drawing/2014/main" id="{E9AE1A94-5C29-1E8D-8663-4AE83DDC5C17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53;p3">
              <a:extLst>
                <a:ext uri="{FF2B5EF4-FFF2-40B4-BE49-F238E27FC236}">
                  <a16:creationId xmlns:a16="http://schemas.microsoft.com/office/drawing/2014/main" id="{D8BEC3B6-EF10-EF71-4D68-52CFCED7321D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54;p3">
              <a:extLst>
                <a:ext uri="{FF2B5EF4-FFF2-40B4-BE49-F238E27FC236}">
                  <a16:creationId xmlns:a16="http://schemas.microsoft.com/office/drawing/2014/main" id="{8AA03FB0-D3BD-A534-EB6F-46591D0C8BD0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5;p3">
              <a:extLst>
                <a:ext uri="{FF2B5EF4-FFF2-40B4-BE49-F238E27FC236}">
                  <a16:creationId xmlns:a16="http://schemas.microsoft.com/office/drawing/2014/main" id="{B09414BA-5C36-BAAD-FDC2-1F5564C745EC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6;p3">
              <a:extLst>
                <a:ext uri="{FF2B5EF4-FFF2-40B4-BE49-F238E27FC236}">
                  <a16:creationId xmlns:a16="http://schemas.microsoft.com/office/drawing/2014/main" id="{BE4F39C6-4802-BAC7-E300-6948412DD799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7;p3">
              <a:extLst>
                <a:ext uri="{FF2B5EF4-FFF2-40B4-BE49-F238E27FC236}">
                  <a16:creationId xmlns:a16="http://schemas.microsoft.com/office/drawing/2014/main" id="{18EB4710-F887-673F-9406-0EDDE2767871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8;p3">
              <a:extLst>
                <a:ext uri="{FF2B5EF4-FFF2-40B4-BE49-F238E27FC236}">
                  <a16:creationId xmlns:a16="http://schemas.microsoft.com/office/drawing/2014/main" id="{953B2164-A560-F116-FBF5-72DCC5EFDDB8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" name="Google Shape;59;p3">
            <a:extLst>
              <a:ext uri="{FF2B5EF4-FFF2-40B4-BE49-F238E27FC236}">
                <a16:creationId xmlns:a16="http://schemas.microsoft.com/office/drawing/2014/main" id="{922B553E-349C-D5FC-A7FD-A4F1EAB2A153}"/>
              </a:ext>
            </a:extLst>
          </p:cNvPr>
          <p:cNvSpPr/>
          <p:nvPr/>
        </p:nvSpPr>
        <p:spPr>
          <a:xfrm>
            <a:off x="2652927" y="6200775"/>
            <a:ext cx="1378800" cy="1378800"/>
          </a:xfrm>
          <a:prstGeom prst="ellipse">
            <a:avLst/>
          </a:prstGeom>
          <a:noFill/>
          <a:ln w="19050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oogle Shape;60;p3">
            <a:extLst>
              <a:ext uri="{FF2B5EF4-FFF2-40B4-BE49-F238E27FC236}">
                <a16:creationId xmlns:a16="http://schemas.microsoft.com/office/drawing/2014/main" id="{F155845E-0EAE-804B-C626-1B634851E7CA}"/>
              </a:ext>
            </a:extLst>
          </p:cNvPr>
          <p:cNvGrpSpPr/>
          <p:nvPr/>
        </p:nvGrpSpPr>
        <p:grpSpPr>
          <a:xfrm rot="10800000">
            <a:off x="10721113" y="6365103"/>
            <a:ext cx="1145952" cy="657282"/>
            <a:chOff x="864825" y="2381600"/>
            <a:chExt cx="802825" cy="460475"/>
          </a:xfrm>
        </p:grpSpPr>
        <p:sp>
          <p:nvSpPr>
            <p:cNvPr id="19" name="Google Shape;61;p3">
              <a:extLst>
                <a:ext uri="{FF2B5EF4-FFF2-40B4-BE49-F238E27FC236}">
                  <a16:creationId xmlns:a16="http://schemas.microsoft.com/office/drawing/2014/main" id="{95DF05CA-53DF-2A25-EB71-4640A56946B9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62;p3">
              <a:extLst>
                <a:ext uri="{FF2B5EF4-FFF2-40B4-BE49-F238E27FC236}">
                  <a16:creationId xmlns:a16="http://schemas.microsoft.com/office/drawing/2014/main" id="{AED8F9EE-DF39-FC20-71FD-383E53347FED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3;p3">
              <a:extLst>
                <a:ext uri="{FF2B5EF4-FFF2-40B4-BE49-F238E27FC236}">
                  <a16:creationId xmlns:a16="http://schemas.microsoft.com/office/drawing/2014/main" id="{F8F43E33-B9C1-A4C9-67C8-5AF9CF420436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4;p3">
              <a:extLst>
                <a:ext uri="{FF2B5EF4-FFF2-40B4-BE49-F238E27FC236}">
                  <a16:creationId xmlns:a16="http://schemas.microsoft.com/office/drawing/2014/main" id="{12D819F8-9AB4-FF35-893C-0E184DB824C6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5;p3">
              <a:extLst>
                <a:ext uri="{FF2B5EF4-FFF2-40B4-BE49-F238E27FC236}">
                  <a16:creationId xmlns:a16="http://schemas.microsoft.com/office/drawing/2014/main" id="{9188CB9D-2880-2C9C-6097-8739B0C847AC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6;p3">
              <a:extLst>
                <a:ext uri="{FF2B5EF4-FFF2-40B4-BE49-F238E27FC236}">
                  <a16:creationId xmlns:a16="http://schemas.microsoft.com/office/drawing/2014/main" id="{D45779EC-5506-0879-2A90-72CF5B92C038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7;p3">
              <a:extLst>
                <a:ext uri="{FF2B5EF4-FFF2-40B4-BE49-F238E27FC236}">
                  <a16:creationId xmlns:a16="http://schemas.microsoft.com/office/drawing/2014/main" id="{23EA18BD-ED8E-EA8C-A1C6-87B9784D2A7F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8;p3">
              <a:extLst>
                <a:ext uri="{FF2B5EF4-FFF2-40B4-BE49-F238E27FC236}">
                  <a16:creationId xmlns:a16="http://schemas.microsoft.com/office/drawing/2014/main" id="{132AB40B-2DE8-5F32-2DB9-D8CDF36626A3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9;p3">
              <a:extLst>
                <a:ext uri="{FF2B5EF4-FFF2-40B4-BE49-F238E27FC236}">
                  <a16:creationId xmlns:a16="http://schemas.microsoft.com/office/drawing/2014/main" id="{61E125B8-9002-0B47-D7AD-2CDC247033C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0;p3">
              <a:extLst>
                <a:ext uri="{FF2B5EF4-FFF2-40B4-BE49-F238E27FC236}">
                  <a16:creationId xmlns:a16="http://schemas.microsoft.com/office/drawing/2014/main" id="{90DCCE3C-C7F7-F5BD-8A3F-86ADF8276DBA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1;p3">
              <a:extLst>
                <a:ext uri="{FF2B5EF4-FFF2-40B4-BE49-F238E27FC236}">
                  <a16:creationId xmlns:a16="http://schemas.microsoft.com/office/drawing/2014/main" id="{BE6B2828-FA2C-7699-72FB-6048CA230433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;p3">
              <a:extLst>
                <a:ext uri="{FF2B5EF4-FFF2-40B4-BE49-F238E27FC236}">
                  <a16:creationId xmlns:a16="http://schemas.microsoft.com/office/drawing/2014/main" id="{60E2676E-807F-795F-0107-9D470711DF7D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3;p3">
              <a:extLst>
                <a:ext uri="{FF2B5EF4-FFF2-40B4-BE49-F238E27FC236}">
                  <a16:creationId xmlns:a16="http://schemas.microsoft.com/office/drawing/2014/main" id="{AA916F5C-7906-975F-5BEB-E8807F5EB8BF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4;p3">
              <a:extLst>
                <a:ext uri="{FF2B5EF4-FFF2-40B4-BE49-F238E27FC236}">
                  <a16:creationId xmlns:a16="http://schemas.microsoft.com/office/drawing/2014/main" id="{DC28BD86-7EFA-144F-3E82-14ADD4A4FBF1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5;p3">
              <a:extLst>
                <a:ext uri="{FF2B5EF4-FFF2-40B4-BE49-F238E27FC236}">
                  <a16:creationId xmlns:a16="http://schemas.microsoft.com/office/drawing/2014/main" id="{83E63AB4-6DC1-F758-5EE2-0A225A2AC92F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6;p3">
              <a:extLst>
                <a:ext uri="{FF2B5EF4-FFF2-40B4-BE49-F238E27FC236}">
                  <a16:creationId xmlns:a16="http://schemas.microsoft.com/office/drawing/2014/main" id="{06686B23-9A33-85DD-2AA3-9B3CC6F32C3B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77;p3">
            <a:extLst>
              <a:ext uri="{FF2B5EF4-FFF2-40B4-BE49-F238E27FC236}">
                <a16:creationId xmlns:a16="http://schemas.microsoft.com/office/drawing/2014/main" id="{786EBD83-31A7-0BA1-08CC-1A5C25860E88}"/>
              </a:ext>
            </a:extLst>
          </p:cNvPr>
          <p:cNvSpPr/>
          <p:nvPr/>
        </p:nvSpPr>
        <p:spPr>
          <a:xfrm>
            <a:off x="310540" y="5961600"/>
            <a:ext cx="207000" cy="207000"/>
          </a:xfrm>
          <a:prstGeom prst="mathMultiply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78;p3">
            <a:extLst>
              <a:ext uri="{FF2B5EF4-FFF2-40B4-BE49-F238E27FC236}">
                <a16:creationId xmlns:a16="http://schemas.microsoft.com/office/drawing/2014/main" id="{AE93ED05-0D92-BBA6-27EB-32A348ABCD82}"/>
              </a:ext>
            </a:extLst>
          </p:cNvPr>
          <p:cNvSpPr/>
          <p:nvPr/>
        </p:nvSpPr>
        <p:spPr>
          <a:xfrm>
            <a:off x="11479883" y="-680158"/>
            <a:ext cx="1047325" cy="1424275"/>
          </a:xfrm>
          <a:custGeom>
            <a:avLst/>
            <a:gdLst/>
            <a:ahLst/>
            <a:cxnLst/>
            <a:rect l="l" t="t" r="r" b="b"/>
            <a:pathLst>
              <a:path w="41893" h="56971" extrusionOk="0">
                <a:moveTo>
                  <a:pt x="1" y="1"/>
                </a:moveTo>
                <a:lnTo>
                  <a:pt x="3853" y="1"/>
                </a:lnTo>
                <a:lnTo>
                  <a:pt x="3853" y="36054"/>
                </a:lnTo>
                <a:cubicBezTo>
                  <a:pt x="3853" y="45474"/>
                  <a:pt x="11527" y="53118"/>
                  <a:pt x="20947" y="53118"/>
                </a:cubicBezTo>
                <a:cubicBezTo>
                  <a:pt x="30366" y="53118"/>
                  <a:pt x="38041" y="45474"/>
                  <a:pt x="38041" y="36054"/>
                </a:cubicBezTo>
                <a:lnTo>
                  <a:pt x="38041" y="1"/>
                </a:lnTo>
                <a:lnTo>
                  <a:pt x="41893" y="1"/>
                </a:lnTo>
                <a:lnTo>
                  <a:pt x="41893" y="36054"/>
                </a:lnTo>
                <a:cubicBezTo>
                  <a:pt x="41893" y="47581"/>
                  <a:pt x="32503" y="56970"/>
                  <a:pt x="20947" y="56970"/>
                </a:cubicBezTo>
                <a:cubicBezTo>
                  <a:pt x="9390" y="56970"/>
                  <a:pt x="1" y="47581"/>
                  <a:pt x="1" y="36054"/>
                </a:cubicBezTo>
                <a:lnTo>
                  <a:pt x="1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79;p3">
            <a:extLst>
              <a:ext uri="{FF2B5EF4-FFF2-40B4-BE49-F238E27FC236}">
                <a16:creationId xmlns:a16="http://schemas.microsoft.com/office/drawing/2014/main" id="{FBFD6C27-1166-B442-8E9B-CFEF10F419DD}"/>
              </a:ext>
            </a:extLst>
          </p:cNvPr>
          <p:cNvSpPr/>
          <p:nvPr/>
        </p:nvSpPr>
        <p:spPr>
          <a:xfrm>
            <a:off x="5306812" y="396600"/>
            <a:ext cx="292800" cy="292800"/>
          </a:xfrm>
          <a:prstGeom prst="mathMultiply">
            <a:avLst>
              <a:gd name="adj1" fmla="val 23520"/>
            </a:avLst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82738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6A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Прямокутник 50">
            <a:extLst>
              <a:ext uri="{FF2B5EF4-FFF2-40B4-BE49-F238E27FC236}">
                <a16:creationId xmlns:a16="http://schemas.microsoft.com/office/drawing/2014/main" id="{2E5DC5E4-716D-EDF3-F76B-E33C2782D8D0}"/>
              </a:ext>
            </a:extLst>
          </p:cNvPr>
          <p:cNvSpPr>
            <a:spLocks/>
          </p:cNvSpPr>
          <p:nvPr/>
        </p:nvSpPr>
        <p:spPr>
          <a:xfrm>
            <a:off x="8409201" y="-594359"/>
            <a:ext cx="10069233" cy="768096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4" name="Прямокутник 50">
            <a:extLst>
              <a:ext uri="{FF2B5EF4-FFF2-40B4-BE49-F238E27FC236}">
                <a16:creationId xmlns:a16="http://schemas.microsoft.com/office/drawing/2014/main" id="{926D48CF-44F1-817B-3CDA-513CA07FF749}"/>
              </a:ext>
            </a:extLst>
          </p:cNvPr>
          <p:cNvSpPr/>
          <p:nvPr/>
        </p:nvSpPr>
        <p:spPr>
          <a:xfrm>
            <a:off x="8527365" y="-594359"/>
            <a:ext cx="10069233" cy="768096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2" name="Рисунок 2">
            <a:extLst>
              <a:ext uri="{FF2B5EF4-FFF2-40B4-BE49-F238E27FC236}">
                <a16:creationId xmlns:a16="http://schemas.microsoft.com/office/drawing/2014/main" id="{9C64452A-DAEE-525A-292C-CFF80C1E2E88}"/>
              </a:ext>
            </a:extLst>
          </p:cNvPr>
          <p:cNvGrpSpPr/>
          <p:nvPr/>
        </p:nvGrpSpPr>
        <p:grpSpPr>
          <a:xfrm>
            <a:off x="9212348" y="2038620"/>
            <a:ext cx="2252065" cy="1506040"/>
            <a:chOff x="1343025" y="247650"/>
            <a:chExt cx="9505950" cy="6356985"/>
          </a:xfrm>
          <a:solidFill>
            <a:schemeClr val="bg2">
              <a:lumMod val="25000"/>
            </a:schemeClr>
          </a:solidFill>
        </p:grpSpPr>
        <p:sp>
          <p:nvSpPr>
            <p:cNvPr id="3" name="Полилиния: фигура 3">
              <a:extLst>
                <a:ext uri="{FF2B5EF4-FFF2-40B4-BE49-F238E27FC236}">
                  <a16:creationId xmlns:a16="http://schemas.microsoft.com/office/drawing/2014/main" id="{A4CB4409-B4C9-189D-EBF9-78C8210F1B5E}"/>
                </a:ext>
              </a:extLst>
            </p:cNvPr>
            <p:cNvSpPr/>
            <p:nvPr/>
          </p:nvSpPr>
          <p:spPr>
            <a:xfrm>
              <a:off x="6799898" y="5233035"/>
              <a:ext cx="2190750" cy="1371600"/>
            </a:xfrm>
            <a:custGeom>
              <a:avLst/>
              <a:gdLst>
                <a:gd name="connsiteX0" fmla="*/ 1316355 w 2190750"/>
                <a:gd name="connsiteY0" fmla="*/ 379095 h 1371600"/>
                <a:gd name="connsiteX1" fmla="*/ 1329690 w 2190750"/>
                <a:gd name="connsiteY1" fmla="*/ 370522 h 1371600"/>
                <a:gd name="connsiteX2" fmla="*/ 1351597 w 2190750"/>
                <a:gd name="connsiteY2" fmla="*/ 415290 h 1371600"/>
                <a:gd name="connsiteX3" fmla="*/ 1503045 w 2190750"/>
                <a:gd name="connsiteY3" fmla="*/ 640080 h 1371600"/>
                <a:gd name="connsiteX4" fmla="*/ 1582102 w 2190750"/>
                <a:gd name="connsiteY4" fmla="*/ 695325 h 1371600"/>
                <a:gd name="connsiteX5" fmla="*/ 1601152 w 2190750"/>
                <a:gd name="connsiteY5" fmla="*/ 697230 h 1371600"/>
                <a:gd name="connsiteX6" fmla="*/ 1694497 w 2190750"/>
                <a:gd name="connsiteY6" fmla="*/ 670560 h 1371600"/>
                <a:gd name="connsiteX7" fmla="*/ 1705927 w 2190750"/>
                <a:gd name="connsiteY7" fmla="*/ 662940 h 1371600"/>
                <a:gd name="connsiteX8" fmla="*/ 1720215 w 2190750"/>
                <a:gd name="connsiteY8" fmla="*/ 647700 h 1371600"/>
                <a:gd name="connsiteX9" fmla="*/ 1722120 w 2190750"/>
                <a:gd name="connsiteY9" fmla="*/ 640080 h 1371600"/>
                <a:gd name="connsiteX10" fmla="*/ 1723072 w 2190750"/>
                <a:gd name="connsiteY10" fmla="*/ 633413 h 1371600"/>
                <a:gd name="connsiteX11" fmla="*/ 1724977 w 2190750"/>
                <a:gd name="connsiteY11" fmla="*/ 628650 h 1371600"/>
                <a:gd name="connsiteX12" fmla="*/ 1732597 w 2190750"/>
                <a:gd name="connsiteY12" fmla="*/ 626745 h 1371600"/>
                <a:gd name="connsiteX13" fmla="*/ 1735455 w 2190750"/>
                <a:gd name="connsiteY13" fmla="*/ 623888 h 1371600"/>
                <a:gd name="connsiteX14" fmla="*/ 1744027 w 2190750"/>
                <a:gd name="connsiteY14" fmla="*/ 612457 h 1371600"/>
                <a:gd name="connsiteX15" fmla="*/ 1745932 w 2190750"/>
                <a:gd name="connsiteY15" fmla="*/ 609600 h 1371600"/>
                <a:gd name="connsiteX16" fmla="*/ 1747838 w 2190750"/>
                <a:gd name="connsiteY16" fmla="*/ 595313 h 1371600"/>
                <a:gd name="connsiteX17" fmla="*/ 1752600 w 2190750"/>
                <a:gd name="connsiteY17" fmla="*/ 581977 h 1371600"/>
                <a:gd name="connsiteX18" fmla="*/ 1759267 w 2190750"/>
                <a:gd name="connsiteY18" fmla="*/ 570547 h 1371600"/>
                <a:gd name="connsiteX19" fmla="*/ 1767840 w 2190750"/>
                <a:gd name="connsiteY19" fmla="*/ 564832 h 1371600"/>
                <a:gd name="connsiteX20" fmla="*/ 1780222 w 2190750"/>
                <a:gd name="connsiteY20" fmla="*/ 566738 h 1371600"/>
                <a:gd name="connsiteX21" fmla="*/ 1782127 w 2190750"/>
                <a:gd name="connsiteY21" fmla="*/ 573405 h 1371600"/>
                <a:gd name="connsiteX22" fmla="*/ 1777365 w 2190750"/>
                <a:gd name="connsiteY22" fmla="*/ 584835 h 1371600"/>
                <a:gd name="connsiteX23" fmla="*/ 1774507 w 2190750"/>
                <a:gd name="connsiteY23" fmla="*/ 599122 h 1371600"/>
                <a:gd name="connsiteX24" fmla="*/ 1778317 w 2190750"/>
                <a:gd name="connsiteY24" fmla="*/ 607695 h 1371600"/>
                <a:gd name="connsiteX25" fmla="*/ 1787842 w 2190750"/>
                <a:gd name="connsiteY25" fmla="*/ 615315 h 1371600"/>
                <a:gd name="connsiteX26" fmla="*/ 1827847 w 2190750"/>
                <a:gd name="connsiteY26" fmla="*/ 639127 h 1371600"/>
                <a:gd name="connsiteX27" fmla="*/ 1847850 w 2190750"/>
                <a:gd name="connsiteY27" fmla="*/ 646747 h 1371600"/>
                <a:gd name="connsiteX28" fmla="*/ 1867852 w 2190750"/>
                <a:gd name="connsiteY28" fmla="*/ 641985 h 1371600"/>
                <a:gd name="connsiteX29" fmla="*/ 1883092 w 2190750"/>
                <a:gd name="connsiteY29" fmla="*/ 621982 h 1371600"/>
                <a:gd name="connsiteX30" fmla="*/ 1889760 w 2190750"/>
                <a:gd name="connsiteY30" fmla="*/ 599122 h 1371600"/>
                <a:gd name="connsiteX31" fmla="*/ 1891665 w 2190750"/>
                <a:gd name="connsiteY31" fmla="*/ 596265 h 1371600"/>
                <a:gd name="connsiteX32" fmla="*/ 1906905 w 2190750"/>
                <a:gd name="connsiteY32" fmla="*/ 586740 h 1371600"/>
                <a:gd name="connsiteX33" fmla="*/ 1917382 w 2190750"/>
                <a:gd name="connsiteY33" fmla="*/ 575310 h 1371600"/>
                <a:gd name="connsiteX34" fmla="*/ 1927860 w 2190750"/>
                <a:gd name="connsiteY34" fmla="*/ 571500 h 1371600"/>
                <a:gd name="connsiteX35" fmla="*/ 1988820 w 2190750"/>
                <a:gd name="connsiteY35" fmla="*/ 572452 h 1371600"/>
                <a:gd name="connsiteX36" fmla="*/ 1996440 w 2190750"/>
                <a:gd name="connsiteY36" fmla="*/ 567690 h 1371600"/>
                <a:gd name="connsiteX37" fmla="*/ 2005013 w 2190750"/>
                <a:gd name="connsiteY37" fmla="*/ 561022 h 1371600"/>
                <a:gd name="connsiteX38" fmla="*/ 2013585 w 2190750"/>
                <a:gd name="connsiteY38" fmla="*/ 562927 h 1371600"/>
                <a:gd name="connsiteX39" fmla="*/ 2017395 w 2190750"/>
                <a:gd name="connsiteY39" fmla="*/ 572452 h 1371600"/>
                <a:gd name="connsiteX40" fmla="*/ 2013585 w 2190750"/>
                <a:gd name="connsiteY40" fmla="*/ 585788 h 1371600"/>
                <a:gd name="connsiteX41" fmla="*/ 2020252 w 2190750"/>
                <a:gd name="connsiteY41" fmla="*/ 585788 h 1371600"/>
                <a:gd name="connsiteX42" fmla="*/ 2025015 w 2190750"/>
                <a:gd name="connsiteY42" fmla="*/ 581977 h 1371600"/>
                <a:gd name="connsiteX43" fmla="*/ 2029777 w 2190750"/>
                <a:gd name="connsiteY43" fmla="*/ 577215 h 1371600"/>
                <a:gd name="connsiteX44" fmla="*/ 2035492 w 2190750"/>
                <a:gd name="connsiteY44" fmla="*/ 575310 h 1371600"/>
                <a:gd name="connsiteX45" fmla="*/ 2045017 w 2190750"/>
                <a:gd name="connsiteY45" fmla="*/ 577215 h 1371600"/>
                <a:gd name="connsiteX46" fmla="*/ 2062163 w 2190750"/>
                <a:gd name="connsiteY46" fmla="*/ 588645 h 1371600"/>
                <a:gd name="connsiteX47" fmla="*/ 2072640 w 2190750"/>
                <a:gd name="connsiteY47" fmla="*/ 591502 h 1371600"/>
                <a:gd name="connsiteX48" fmla="*/ 2104072 w 2190750"/>
                <a:gd name="connsiteY48" fmla="*/ 583882 h 1371600"/>
                <a:gd name="connsiteX49" fmla="*/ 2114550 w 2190750"/>
                <a:gd name="connsiteY49" fmla="*/ 585788 h 1371600"/>
                <a:gd name="connsiteX50" fmla="*/ 2127885 w 2190750"/>
                <a:gd name="connsiteY50" fmla="*/ 603885 h 1371600"/>
                <a:gd name="connsiteX51" fmla="*/ 2136458 w 2190750"/>
                <a:gd name="connsiteY51" fmla="*/ 611505 h 1371600"/>
                <a:gd name="connsiteX52" fmla="*/ 2145030 w 2190750"/>
                <a:gd name="connsiteY52" fmla="*/ 609600 h 1371600"/>
                <a:gd name="connsiteX53" fmla="*/ 2154555 w 2190750"/>
                <a:gd name="connsiteY53" fmla="*/ 599122 h 1371600"/>
                <a:gd name="connsiteX54" fmla="*/ 2163127 w 2190750"/>
                <a:gd name="connsiteY54" fmla="*/ 598170 h 1371600"/>
                <a:gd name="connsiteX55" fmla="*/ 2171700 w 2190750"/>
                <a:gd name="connsiteY55" fmla="*/ 602932 h 1371600"/>
                <a:gd name="connsiteX56" fmla="*/ 2179320 w 2190750"/>
                <a:gd name="connsiteY56" fmla="*/ 611505 h 1371600"/>
                <a:gd name="connsiteX57" fmla="*/ 2188845 w 2190750"/>
                <a:gd name="connsiteY57" fmla="*/ 637222 h 1371600"/>
                <a:gd name="connsiteX58" fmla="*/ 2192655 w 2190750"/>
                <a:gd name="connsiteY58" fmla="*/ 655320 h 1371600"/>
                <a:gd name="connsiteX59" fmla="*/ 2187892 w 2190750"/>
                <a:gd name="connsiteY59" fmla="*/ 662940 h 1371600"/>
                <a:gd name="connsiteX60" fmla="*/ 2170747 w 2190750"/>
                <a:gd name="connsiteY60" fmla="*/ 667702 h 1371600"/>
                <a:gd name="connsiteX61" fmla="*/ 2165033 w 2190750"/>
                <a:gd name="connsiteY61" fmla="*/ 667702 h 1371600"/>
                <a:gd name="connsiteX62" fmla="*/ 2158365 w 2190750"/>
                <a:gd name="connsiteY62" fmla="*/ 666750 h 1371600"/>
                <a:gd name="connsiteX63" fmla="*/ 2143125 w 2190750"/>
                <a:gd name="connsiteY63" fmla="*/ 658177 h 1371600"/>
                <a:gd name="connsiteX64" fmla="*/ 2130742 w 2190750"/>
                <a:gd name="connsiteY64" fmla="*/ 656272 h 1371600"/>
                <a:gd name="connsiteX65" fmla="*/ 2120265 w 2190750"/>
                <a:gd name="connsiteY65" fmla="*/ 658177 h 1371600"/>
                <a:gd name="connsiteX66" fmla="*/ 2113597 w 2190750"/>
                <a:gd name="connsiteY66" fmla="*/ 666750 h 1371600"/>
                <a:gd name="connsiteX67" fmla="*/ 2110740 w 2190750"/>
                <a:gd name="connsiteY67" fmla="*/ 681038 h 1371600"/>
                <a:gd name="connsiteX68" fmla="*/ 2112645 w 2190750"/>
                <a:gd name="connsiteY68" fmla="*/ 686752 h 1371600"/>
                <a:gd name="connsiteX69" fmla="*/ 2116455 w 2190750"/>
                <a:gd name="connsiteY69" fmla="*/ 689610 h 1371600"/>
                <a:gd name="connsiteX70" fmla="*/ 2117408 w 2190750"/>
                <a:gd name="connsiteY70" fmla="*/ 693420 h 1371600"/>
                <a:gd name="connsiteX71" fmla="*/ 2114550 w 2190750"/>
                <a:gd name="connsiteY71" fmla="*/ 699135 h 1371600"/>
                <a:gd name="connsiteX72" fmla="*/ 2109788 w 2190750"/>
                <a:gd name="connsiteY72" fmla="*/ 701992 h 1371600"/>
                <a:gd name="connsiteX73" fmla="*/ 2097405 w 2190750"/>
                <a:gd name="connsiteY73" fmla="*/ 702945 h 1371600"/>
                <a:gd name="connsiteX74" fmla="*/ 2093595 w 2190750"/>
                <a:gd name="connsiteY74" fmla="*/ 704850 h 1371600"/>
                <a:gd name="connsiteX75" fmla="*/ 2085975 w 2190750"/>
                <a:gd name="connsiteY75" fmla="*/ 714375 h 1371600"/>
                <a:gd name="connsiteX76" fmla="*/ 2080260 w 2190750"/>
                <a:gd name="connsiteY76" fmla="*/ 729615 h 1371600"/>
                <a:gd name="connsiteX77" fmla="*/ 2076450 w 2190750"/>
                <a:gd name="connsiteY77" fmla="*/ 745807 h 1371600"/>
                <a:gd name="connsiteX78" fmla="*/ 2071688 w 2190750"/>
                <a:gd name="connsiteY78" fmla="*/ 789622 h 1371600"/>
                <a:gd name="connsiteX79" fmla="*/ 2071688 w 2190750"/>
                <a:gd name="connsiteY79" fmla="*/ 805815 h 1371600"/>
                <a:gd name="connsiteX80" fmla="*/ 2074545 w 2190750"/>
                <a:gd name="connsiteY80" fmla="*/ 822007 h 1371600"/>
                <a:gd name="connsiteX81" fmla="*/ 2088832 w 2190750"/>
                <a:gd name="connsiteY81" fmla="*/ 838200 h 1371600"/>
                <a:gd name="connsiteX82" fmla="*/ 2095500 w 2190750"/>
                <a:gd name="connsiteY82" fmla="*/ 849630 h 1371600"/>
                <a:gd name="connsiteX83" fmla="*/ 2094547 w 2190750"/>
                <a:gd name="connsiteY83" fmla="*/ 861060 h 1371600"/>
                <a:gd name="connsiteX84" fmla="*/ 2087880 w 2190750"/>
                <a:gd name="connsiteY84" fmla="*/ 867727 h 1371600"/>
                <a:gd name="connsiteX85" fmla="*/ 2049780 w 2190750"/>
                <a:gd name="connsiteY85" fmla="*/ 882015 h 1371600"/>
                <a:gd name="connsiteX86" fmla="*/ 2002155 w 2190750"/>
                <a:gd name="connsiteY86" fmla="*/ 883920 h 1371600"/>
                <a:gd name="connsiteX87" fmla="*/ 1996440 w 2190750"/>
                <a:gd name="connsiteY87" fmla="*/ 885825 h 1371600"/>
                <a:gd name="connsiteX88" fmla="*/ 1991677 w 2190750"/>
                <a:gd name="connsiteY88" fmla="*/ 888682 h 1371600"/>
                <a:gd name="connsiteX89" fmla="*/ 1989772 w 2190750"/>
                <a:gd name="connsiteY89" fmla="*/ 893445 h 1371600"/>
                <a:gd name="connsiteX90" fmla="*/ 1986915 w 2190750"/>
                <a:gd name="connsiteY90" fmla="*/ 905827 h 1371600"/>
                <a:gd name="connsiteX91" fmla="*/ 1984057 w 2190750"/>
                <a:gd name="connsiteY91" fmla="*/ 909638 h 1371600"/>
                <a:gd name="connsiteX92" fmla="*/ 1974532 w 2190750"/>
                <a:gd name="connsiteY92" fmla="*/ 912495 h 1371600"/>
                <a:gd name="connsiteX93" fmla="*/ 1926907 w 2190750"/>
                <a:gd name="connsiteY93" fmla="*/ 902017 h 1371600"/>
                <a:gd name="connsiteX94" fmla="*/ 1897380 w 2190750"/>
                <a:gd name="connsiteY94" fmla="*/ 882967 h 1371600"/>
                <a:gd name="connsiteX95" fmla="*/ 1897380 w 2190750"/>
                <a:gd name="connsiteY95" fmla="*/ 888682 h 1371600"/>
                <a:gd name="connsiteX96" fmla="*/ 1881188 w 2190750"/>
                <a:gd name="connsiteY96" fmla="*/ 882015 h 1371600"/>
                <a:gd name="connsiteX97" fmla="*/ 1868805 w 2190750"/>
                <a:gd name="connsiteY97" fmla="*/ 893445 h 1371600"/>
                <a:gd name="connsiteX98" fmla="*/ 1860232 w 2190750"/>
                <a:gd name="connsiteY98" fmla="*/ 910590 h 1371600"/>
                <a:gd name="connsiteX99" fmla="*/ 1852613 w 2190750"/>
                <a:gd name="connsiteY99" fmla="*/ 919163 h 1371600"/>
                <a:gd name="connsiteX100" fmla="*/ 1811655 w 2190750"/>
                <a:gd name="connsiteY100" fmla="*/ 917257 h 1371600"/>
                <a:gd name="connsiteX101" fmla="*/ 1775460 w 2190750"/>
                <a:gd name="connsiteY101" fmla="*/ 923925 h 1371600"/>
                <a:gd name="connsiteX102" fmla="*/ 1764982 w 2190750"/>
                <a:gd name="connsiteY102" fmla="*/ 918210 h 1371600"/>
                <a:gd name="connsiteX103" fmla="*/ 1760220 w 2190750"/>
                <a:gd name="connsiteY103" fmla="*/ 902017 h 1371600"/>
                <a:gd name="connsiteX104" fmla="*/ 1757363 w 2190750"/>
                <a:gd name="connsiteY104" fmla="*/ 894397 h 1371600"/>
                <a:gd name="connsiteX105" fmla="*/ 1741170 w 2190750"/>
                <a:gd name="connsiteY105" fmla="*/ 875347 h 1371600"/>
                <a:gd name="connsiteX106" fmla="*/ 1734502 w 2190750"/>
                <a:gd name="connsiteY106" fmla="*/ 868680 h 1371600"/>
                <a:gd name="connsiteX107" fmla="*/ 1701165 w 2190750"/>
                <a:gd name="connsiteY107" fmla="*/ 847725 h 1371600"/>
                <a:gd name="connsiteX108" fmla="*/ 1663065 w 2190750"/>
                <a:gd name="connsiteY108" fmla="*/ 832485 h 1371600"/>
                <a:gd name="connsiteX109" fmla="*/ 1640205 w 2190750"/>
                <a:gd name="connsiteY109" fmla="*/ 828675 h 1371600"/>
                <a:gd name="connsiteX110" fmla="*/ 1617345 w 2190750"/>
                <a:gd name="connsiteY110" fmla="*/ 828675 h 1371600"/>
                <a:gd name="connsiteX111" fmla="*/ 1595438 w 2190750"/>
                <a:gd name="connsiteY111" fmla="*/ 833438 h 1371600"/>
                <a:gd name="connsiteX112" fmla="*/ 1576388 w 2190750"/>
                <a:gd name="connsiteY112" fmla="*/ 842963 h 1371600"/>
                <a:gd name="connsiteX113" fmla="*/ 1547813 w 2190750"/>
                <a:gd name="connsiteY113" fmla="*/ 864870 h 1371600"/>
                <a:gd name="connsiteX114" fmla="*/ 1543050 w 2190750"/>
                <a:gd name="connsiteY114" fmla="*/ 871538 h 1371600"/>
                <a:gd name="connsiteX115" fmla="*/ 1542097 w 2190750"/>
                <a:gd name="connsiteY115" fmla="*/ 880110 h 1371600"/>
                <a:gd name="connsiteX116" fmla="*/ 1539240 w 2190750"/>
                <a:gd name="connsiteY116" fmla="*/ 885825 h 1371600"/>
                <a:gd name="connsiteX117" fmla="*/ 1538288 w 2190750"/>
                <a:gd name="connsiteY117" fmla="*/ 891540 h 1371600"/>
                <a:gd name="connsiteX118" fmla="*/ 1539240 w 2190750"/>
                <a:gd name="connsiteY118" fmla="*/ 899160 h 1371600"/>
                <a:gd name="connsiteX119" fmla="*/ 1543050 w 2190750"/>
                <a:gd name="connsiteY119" fmla="*/ 902970 h 1371600"/>
                <a:gd name="connsiteX120" fmla="*/ 1558290 w 2190750"/>
                <a:gd name="connsiteY120" fmla="*/ 909638 h 1371600"/>
                <a:gd name="connsiteX121" fmla="*/ 1558290 w 2190750"/>
                <a:gd name="connsiteY121" fmla="*/ 914400 h 1371600"/>
                <a:gd name="connsiteX122" fmla="*/ 1550670 w 2190750"/>
                <a:gd name="connsiteY122" fmla="*/ 917257 h 1371600"/>
                <a:gd name="connsiteX123" fmla="*/ 1533525 w 2190750"/>
                <a:gd name="connsiteY123" fmla="*/ 916305 h 1371600"/>
                <a:gd name="connsiteX124" fmla="*/ 1525905 w 2190750"/>
                <a:gd name="connsiteY124" fmla="*/ 919163 h 1371600"/>
                <a:gd name="connsiteX125" fmla="*/ 1519238 w 2190750"/>
                <a:gd name="connsiteY125" fmla="*/ 927735 h 1371600"/>
                <a:gd name="connsiteX126" fmla="*/ 1518285 w 2190750"/>
                <a:gd name="connsiteY126" fmla="*/ 937260 h 1371600"/>
                <a:gd name="connsiteX127" fmla="*/ 1522095 w 2190750"/>
                <a:gd name="connsiteY127" fmla="*/ 960120 h 1371600"/>
                <a:gd name="connsiteX128" fmla="*/ 1496377 w 2190750"/>
                <a:gd name="connsiteY128" fmla="*/ 940117 h 1371600"/>
                <a:gd name="connsiteX129" fmla="*/ 1494472 w 2190750"/>
                <a:gd name="connsiteY129" fmla="*/ 942975 h 1371600"/>
                <a:gd name="connsiteX130" fmla="*/ 1488757 w 2190750"/>
                <a:gd name="connsiteY130" fmla="*/ 946785 h 1371600"/>
                <a:gd name="connsiteX131" fmla="*/ 1485900 w 2190750"/>
                <a:gd name="connsiteY131" fmla="*/ 950595 h 1371600"/>
                <a:gd name="connsiteX132" fmla="*/ 1472565 w 2190750"/>
                <a:gd name="connsiteY132" fmla="*/ 942975 h 1371600"/>
                <a:gd name="connsiteX133" fmla="*/ 1463040 w 2190750"/>
                <a:gd name="connsiteY133" fmla="*/ 948690 h 1371600"/>
                <a:gd name="connsiteX134" fmla="*/ 1451610 w 2190750"/>
                <a:gd name="connsiteY134" fmla="*/ 973455 h 1371600"/>
                <a:gd name="connsiteX135" fmla="*/ 1442085 w 2190750"/>
                <a:gd name="connsiteY135" fmla="*/ 982027 h 1371600"/>
                <a:gd name="connsiteX136" fmla="*/ 1419225 w 2190750"/>
                <a:gd name="connsiteY136" fmla="*/ 986790 h 1371600"/>
                <a:gd name="connsiteX137" fmla="*/ 1409700 w 2190750"/>
                <a:gd name="connsiteY137" fmla="*/ 991552 h 1371600"/>
                <a:gd name="connsiteX138" fmla="*/ 1396365 w 2190750"/>
                <a:gd name="connsiteY138" fmla="*/ 1016317 h 1371600"/>
                <a:gd name="connsiteX139" fmla="*/ 1385888 w 2190750"/>
                <a:gd name="connsiteY139" fmla="*/ 1048702 h 1371600"/>
                <a:gd name="connsiteX140" fmla="*/ 1370647 w 2190750"/>
                <a:gd name="connsiteY140" fmla="*/ 1071563 h 1371600"/>
                <a:gd name="connsiteX141" fmla="*/ 1347788 w 2190750"/>
                <a:gd name="connsiteY141" fmla="*/ 1067752 h 1371600"/>
                <a:gd name="connsiteX142" fmla="*/ 1343025 w 2190750"/>
                <a:gd name="connsiteY142" fmla="*/ 1060132 h 1371600"/>
                <a:gd name="connsiteX143" fmla="*/ 1337310 w 2190750"/>
                <a:gd name="connsiteY143" fmla="*/ 1049655 h 1371600"/>
                <a:gd name="connsiteX144" fmla="*/ 1331595 w 2190750"/>
                <a:gd name="connsiteY144" fmla="*/ 1041082 h 1371600"/>
                <a:gd name="connsiteX145" fmla="*/ 1321117 w 2190750"/>
                <a:gd name="connsiteY145" fmla="*/ 1037272 h 1371600"/>
                <a:gd name="connsiteX146" fmla="*/ 1303020 w 2190750"/>
                <a:gd name="connsiteY146" fmla="*/ 1036320 h 1371600"/>
                <a:gd name="connsiteX147" fmla="*/ 1297305 w 2190750"/>
                <a:gd name="connsiteY147" fmla="*/ 1037272 h 1371600"/>
                <a:gd name="connsiteX148" fmla="*/ 1291590 w 2190750"/>
                <a:gd name="connsiteY148" fmla="*/ 1040130 h 1371600"/>
                <a:gd name="connsiteX149" fmla="*/ 1287780 w 2190750"/>
                <a:gd name="connsiteY149" fmla="*/ 1043940 h 1371600"/>
                <a:gd name="connsiteX150" fmla="*/ 1283970 w 2190750"/>
                <a:gd name="connsiteY150" fmla="*/ 1047750 h 1371600"/>
                <a:gd name="connsiteX151" fmla="*/ 1280160 w 2190750"/>
                <a:gd name="connsiteY151" fmla="*/ 1051560 h 1371600"/>
                <a:gd name="connsiteX152" fmla="*/ 1270635 w 2190750"/>
                <a:gd name="connsiteY152" fmla="*/ 1053465 h 1371600"/>
                <a:gd name="connsiteX153" fmla="*/ 1252538 w 2190750"/>
                <a:gd name="connsiteY153" fmla="*/ 1049655 h 1371600"/>
                <a:gd name="connsiteX154" fmla="*/ 1244917 w 2190750"/>
                <a:gd name="connsiteY154" fmla="*/ 1054417 h 1371600"/>
                <a:gd name="connsiteX155" fmla="*/ 1237297 w 2190750"/>
                <a:gd name="connsiteY155" fmla="*/ 1058227 h 1371600"/>
                <a:gd name="connsiteX156" fmla="*/ 1200150 w 2190750"/>
                <a:gd name="connsiteY156" fmla="*/ 1051560 h 1371600"/>
                <a:gd name="connsiteX157" fmla="*/ 1181100 w 2190750"/>
                <a:gd name="connsiteY157" fmla="*/ 1059180 h 1371600"/>
                <a:gd name="connsiteX158" fmla="*/ 1143952 w 2190750"/>
                <a:gd name="connsiteY158" fmla="*/ 1083945 h 1371600"/>
                <a:gd name="connsiteX159" fmla="*/ 1123950 w 2190750"/>
                <a:gd name="connsiteY159" fmla="*/ 1092517 h 1371600"/>
                <a:gd name="connsiteX160" fmla="*/ 1082040 w 2190750"/>
                <a:gd name="connsiteY160" fmla="*/ 1102042 h 1371600"/>
                <a:gd name="connsiteX161" fmla="*/ 1064895 w 2190750"/>
                <a:gd name="connsiteY161" fmla="*/ 1109663 h 1371600"/>
                <a:gd name="connsiteX162" fmla="*/ 1051560 w 2190750"/>
                <a:gd name="connsiteY162" fmla="*/ 1123950 h 1371600"/>
                <a:gd name="connsiteX163" fmla="*/ 1050607 w 2190750"/>
                <a:gd name="connsiteY163" fmla="*/ 1119188 h 1371600"/>
                <a:gd name="connsiteX164" fmla="*/ 1048702 w 2190750"/>
                <a:gd name="connsiteY164" fmla="*/ 1119188 h 1371600"/>
                <a:gd name="connsiteX165" fmla="*/ 1027747 w 2190750"/>
                <a:gd name="connsiteY165" fmla="*/ 1148715 h 1371600"/>
                <a:gd name="connsiteX166" fmla="*/ 1024890 w 2190750"/>
                <a:gd name="connsiteY166" fmla="*/ 1154430 h 1371600"/>
                <a:gd name="connsiteX167" fmla="*/ 1019175 w 2190750"/>
                <a:gd name="connsiteY167" fmla="*/ 1161097 h 1371600"/>
                <a:gd name="connsiteX168" fmla="*/ 1001077 w 2190750"/>
                <a:gd name="connsiteY168" fmla="*/ 1192530 h 1371600"/>
                <a:gd name="connsiteX169" fmla="*/ 981075 w 2190750"/>
                <a:gd name="connsiteY169" fmla="*/ 1245870 h 1371600"/>
                <a:gd name="connsiteX170" fmla="*/ 975360 w 2190750"/>
                <a:gd name="connsiteY170" fmla="*/ 1255395 h 1371600"/>
                <a:gd name="connsiteX171" fmla="*/ 971550 w 2190750"/>
                <a:gd name="connsiteY171" fmla="*/ 1257300 h 1371600"/>
                <a:gd name="connsiteX172" fmla="*/ 959167 w 2190750"/>
                <a:gd name="connsiteY172" fmla="*/ 1255395 h 1371600"/>
                <a:gd name="connsiteX173" fmla="*/ 951547 w 2190750"/>
                <a:gd name="connsiteY173" fmla="*/ 1255395 h 1371600"/>
                <a:gd name="connsiteX174" fmla="*/ 945832 w 2190750"/>
                <a:gd name="connsiteY174" fmla="*/ 1255395 h 1371600"/>
                <a:gd name="connsiteX175" fmla="*/ 943927 w 2190750"/>
                <a:gd name="connsiteY175" fmla="*/ 1255395 h 1371600"/>
                <a:gd name="connsiteX176" fmla="*/ 941070 w 2190750"/>
                <a:gd name="connsiteY176" fmla="*/ 1258252 h 1371600"/>
                <a:gd name="connsiteX177" fmla="*/ 941070 w 2190750"/>
                <a:gd name="connsiteY177" fmla="*/ 1263015 h 1371600"/>
                <a:gd name="connsiteX178" fmla="*/ 940117 w 2190750"/>
                <a:gd name="connsiteY178" fmla="*/ 1265872 h 1371600"/>
                <a:gd name="connsiteX179" fmla="*/ 928688 w 2190750"/>
                <a:gd name="connsiteY179" fmla="*/ 1283970 h 1371600"/>
                <a:gd name="connsiteX180" fmla="*/ 922020 w 2190750"/>
                <a:gd name="connsiteY180" fmla="*/ 1289685 h 1371600"/>
                <a:gd name="connsiteX181" fmla="*/ 897255 w 2190750"/>
                <a:gd name="connsiteY181" fmla="*/ 1294447 h 1371600"/>
                <a:gd name="connsiteX182" fmla="*/ 890588 w 2190750"/>
                <a:gd name="connsiteY182" fmla="*/ 1303020 h 1371600"/>
                <a:gd name="connsiteX183" fmla="*/ 885825 w 2190750"/>
                <a:gd name="connsiteY183" fmla="*/ 1314450 h 1371600"/>
                <a:gd name="connsiteX184" fmla="*/ 879157 w 2190750"/>
                <a:gd name="connsiteY184" fmla="*/ 1326832 h 1371600"/>
                <a:gd name="connsiteX185" fmla="*/ 872490 w 2190750"/>
                <a:gd name="connsiteY185" fmla="*/ 1332547 h 1371600"/>
                <a:gd name="connsiteX186" fmla="*/ 855345 w 2190750"/>
                <a:gd name="connsiteY186" fmla="*/ 1344930 h 1371600"/>
                <a:gd name="connsiteX187" fmla="*/ 847725 w 2190750"/>
                <a:gd name="connsiteY187" fmla="*/ 1346835 h 1371600"/>
                <a:gd name="connsiteX188" fmla="*/ 835342 w 2190750"/>
                <a:gd name="connsiteY188" fmla="*/ 1348740 h 1371600"/>
                <a:gd name="connsiteX189" fmla="*/ 779145 w 2190750"/>
                <a:gd name="connsiteY189" fmla="*/ 1375410 h 1371600"/>
                <a:gd name="connsiteX190" fmla="*/ 767715 w 2190750"/>
                <a:gd name="connsiteY190" fmla="*/ 1377315 h 1371600"/>
                <a:gd name="connsiteX191" fmla="*/ 756285 w 2190750"/>
                <a:gd name="connsiteY191" fmla="*/ 1375410 h 1371600"/>
                <a:gd name="connsiteX192" fmla="*/ 722947 w 2190750"/>
                <a:gd name="connsiteY192" fmla="*/ 1362075 h 1371600"/>
                <a:gd name="connsiteX193" fmla="*/ 716280 w 2190750"/>
                <a:gd name="connsiteY193" fmla="*/ 1362075 h 1371600"/>
                <a:gd name="connsiteX194" fmla="*/ 705802 w 2190750"/>
                <a:gd name="connsiteY194" fmla="*/ 1365885 h 1371600"/>
                <a:gd name="connsiteX195" fmla="*/ 699135 w 2190750"/>
                <a:gd name="connsiteY195" fmla="*/ 1366838 h 1371600"/>
                <a:gd name="connsiteX196" fmla="*/ 664845 w 2190750"/>
                <a:gd name="connsiteY196" fmla="*/ 1365885 h 1371600"/>
                <a:gd name="connsiteX197" fmla="*/ 658177 w 2190750"/>
                <a:gd name="connsiteY197" fmla="*/ 1364932 h 1371600"/>
                <a:gd name="connsiteX198" fmla="*/ 677227 w 2190750"/>
                <a:gd name="connsiteY198" fmla="*/ 1359217 h 1371600"/>
                <a:gd name="connsiteX199" fmla="*/ 678180 w 2190750"/>
                <a:gd name="connsiteY199" fmla="*/ 1349692 h 1371600"/>
                <a:gd name="connsiteX200" fmla="*/ 687705 w 2190750"/>
                <a:gd name="connsiteY200" fmla="*/ 1344930 h 1371600"/>
                <a:gd name="connsiteX201" fmla="*/ 722947 w 2190750"/>
                <a:gd name="connsiteY201" fmla="*/ 1340167 h 1371600"/>
                <a:gd name="connsiteX202" fmla="*/ 718185 w 2190750"/>
                <a:gd name="connsiteY202" fmla="*/ 1322070 h 1371600"/>
                <a:gd name="connsiteX203" fmla="*/ 698182 w 2190750"/>
                <a:gd name="connsiteY203" fmla="*/ 1269682 h 1371600"/>
                <a:gd name="connsiteX204" fmla="*/ 683895 w 2190750"/>
                <a:gd name="connsiteY204" fmla="*/ 1265872 h 1371600"/>
                <a:gd name="connsiteX205" fmla="*/ 679132 w 2190750"/>
                <a:gd name="connsiteY205" fmla="*/ 1247775 h 1371600"/>
                <a:gd name="connsiteX206" fmla="*/ 658177 w 2190750"/>
                <a:gd name="connsiteY206" fmla="*/ 1249680 h 1371600"/>
                <a:gd name="connsiteX207" fmla="*/ 649605 w 2190750"/>
                <a:gd name="connsiteY207" fmla="*/ 1228725 h 1371600"/>
                <a:gd name="connsiteX208" fmla="*/ 669607 w 2190750"/>
                <a:gd name="connsiteY208" fmla="*/ 1197292 h 1371600"/>
                <a:gd name="connsiteX209" fmla="*/ 647700 w 2190750"/>
                <a:gd name="connsiteY209" fmla="*/ 1165860 h 1371600"/>
                <a:gd name="connsiteX210" fmla="*/ 602932 w 2190750"/>
                <a:gd name="connsiteY210" fmla="*/ 1169670 h 1371600"/>
                <a:gd name="connsiteX211" fmla="*/ 596265 w 2190750"/>
                <a:gd name="connsiteY211" fmla="*/ 1125855 h 1371600"/>
                <a:gd name="connsiteX212" fmla="*/ 637222 w 2190750"/>
                <a:gd name="connsiteY212" fmla="*/ 1101090 h 1371600"/>
                <a:gd name="connsiteX213" fmla="*/ 629602 w 2190750"/>
                <a:gd name="connsiteY213" fmla="*/ 1073467 h 1371600"/>
                <a:gd name="connsiteX214" fmla="*/ 599122 w 2190750"/>
                <a:gd name="connsiteY214" fmla="*/ 1054417 h 1371600"/>
                <a:gd name="connsiteX215" fmla="*/ 580072 w 2190750"/>
                <a:gd name="connsiteY215" fmla="*/ 1052513 h 1371600"/>
                <a:gd name="connsiteX216" fmla="*/ 574357 w 2190750"/>
                <a:gd name="connsiteY216" fmla="*/ 1027747 h 1371600"/>
                <a:gd name="connsiteX217" fmla="*/ 589597 w 2190750"/>
                <a:gd name="connsiteY217" fmla="*/ 1022985 h 1371600"/>
                <a:gd name="connsiteX218" fmla="*/ 595313 w 2190750"/>
                <a:gd name="connsiteY218" fmla="*/ 1013460 h 1371600"/>
                <a:gd name="connsiteX219" fmla="*/ 598170 w 2190750"/>
                <a:gd name="connsiteY219" fmla="*/ 1001077 h 1371600"/>
                <a:gd name="connsiteX220" fmla="*/ 600075 w 2190750"/>
                <a:gd name="connsiteY220" fmla="*/ 985838 h 1371600"/>
                <a:gd name="connsiteX221" fmla="*/ 600075 w 2190750"/>
                <a:gd name="connsiteY221" fmla="*/ 968692 h 1371600"/>
                <a:gd name="connsiteX222" fmla="*/ 594360 w 2190750"/>
                <a:gd name="connsiteY222" fmla="*/ 940117 h 1371600"/>
                <a:gd name="connsiteX223" fmla="*/ 593407 w 2190750"/>
                <a:gd name="connsiteY223" fmla="*/ 927735 h 1371600"/>
                <a:gd name="connsiteX224" fmla="*/ 591502 w 2190750"/>
                <a:gd name="connsiteY224" fmla="*/ 922972 h 1371600"/>
                <a:gd name="connsiteX225" fmla="*/ 581977 w 2190750"/>
                <a:gd name="connsiteY225" fmla="*/ 903922 h 1371600"/>
                <a:gd name="connsiteX226" fmla="*/ 580072 w 2190750"/>
                <a:gd name="connsiteY226" fmla="*/ 897255 h 1371600"/>
                <a:gd name="connsiteX227" fmla="*/ 579120 w 2190750"/>
                <a:gd name="connsiteY227" fmla="*/ 878205 h 1371600"/>
                <a:gd name="connsiteX228" fmla="*/ 570547 w 2190750"/>
                <a:gd name="connsiteY228" fmla="*/ 847725 h 1371600"/>
                <a:gd name="connsiteX229" fmla="*/ 557213 w 2190750"/>
                <a:gd name="connsiteY229" fmla="*/ 830580 h 1371600"/>
                <a:gd name="connsiteX230" fmla="*/ 521017 w 2190750"/>
                <a:gd name="connsiteY230" fmla="*/ 806767 h 1371600"/>
                <a:gd name="connsiteX231" fmla="*/ 491490 w 2190750"/>
                <a:gd name="connsiteY231" fmla="*/ 780097 h 1371600"/>
                <a:gd name="connsiteX232" fmla="*/ 482917 w 2190750"/>
                <a:gd name="connsiteY232" fmla="*/ 776288 h 1371600"/>
                <a:gd name="connsiteX233" fmla="*/ 461010 w 2190750"/>
                <a:gd name="connsiteY233" fmla="*/ 779145 h 1371600"/>
                <a:gd name="connsiteX234" fmla="*/ 441007 w 2190750"/>
                <a:gd name="connsiteY234" fmla="*/ 786765 h 1371600"/>
                <a:gd name="connsiteX235" fmla="*/ 422910 w 2190750"/>
                <a:gd name="connsiteY235" fmla="*/ 798195 h 1371600"/>
                <a:gd name="connsiteX236" fmla="*/ 410527 w 2190750"/>
                <a:gd name="connsiteY236" fmla="*/ 801052 h 1371600"/>
                <a:gd name="connsiteX237" fmla="*/ 404813 w 2190750"/>
                <a:gd name="connsiteY237" fmla="*/ 794385 h 1371600"/>
                <a:gd name="connsiteX238" fmla="*/ 400050 w 2190750"/>
                <a:gd name="connsiteY238" fmla="*/ 783907 h 1371600"/>
                <a:gd name="connsiteX239" fmla="*/ 388620 w 2190750"/>
                <a:gd name="connsiteY239" fmla="*/ 778192 h 1371600"/>
                <a:gd name="connsiteX240" fmla="*/ 364807 w 2190750"/>
                <a:gd name="connsiteY240" fmla="*/ 770572 h 1371600"/>
                <a:gd name="connsiteX241" fmla="*/ 357188 w 2190750"/>
                <a:gd name="connsiteY241" fmla="*/ 762952 h 1371600"/>
                <a:gd name="connsiteX242" fmla="*/ 339090 w 2190750"/>
                <a:gd name="connsiteY242" fmla="*/ 740092 h 1371600"/>
                <a:gd name="connsiteX243" fmla="*/ 325755 w 2190750"/>
                <a:gd name="connsiteY243" fmla="*/ 732472 h 1371600"/>
                <a:gd name="connsiteX244" fmla="*/ 320992 w 2190750"/>
                <a:gd name="connsiteY244" fmla="*/ 725805 h 1371600"/>
                <a:gd name="connsiteX245" fmla="*/ 315277 w 2190750"/>
                <a:gd name="connsiteY245" fmla="*/ 714375 h 1371600"/>
                <a:gd name="connsiteX246" fmla="*/ 310515 w 2190750"/>
                <a:gd name="connsiteY246" fmla="*/ 711517 h 1371600"/>
                <a:gd name="connsiteX247" fmla="*/ 300990 w 2190750"/>
                <a:gd name="connsiteY247" fmla="*/ 707707 h 1371600"/>
                <a:gd name="connsiteX248" fmla="*/ 296227 w 2190750"/>
                <a:gd name="connsiteY248" fmla="*/ 704850 h 1371600"/>
                <a:gd name="connsiteX249" fmla="*/ 260985 w 2190750"/>
                <a:gd name="connsiteY249" fmla="*/ 674370 h 1371600"/>
                <a:gd name="connsiteX250" fmla="*/ 241935 w 2190750"/>
                <a:gd name="connsiteY250" fmla="*/ 661988 h 1371600"/>
                <a:gd name="connsiteX251" fmla="*/ 220980 w 2190750"/>
                <a:gd name="connsiteY251" fmla="*/ 652463 h 1371600"/>
                <a:gd name="connsiteX252" fmla="*/ 141922 w 2190750"/>
                <a:gd name="connsiteY252" fmla="*/ 645795 h 1371600"/>
                <a:gd name="connsiteX253" fmla="*/ 130492 w 2190750"/>
                <a:gd name="connsiteY253" fmla="*/ 647700 h 1371600"/>
                <a:gd name="connsiteX254" fmla="*/ 121920 w 2190750"/>
                <a:gd name="connsiteY254" fmla="*/ 653415 h 1371600"/>
                <a:gd name="connsiteX255" fmla="*/ 103822 w 2190750"/>
                <a:gd name="connsiteY255" fmla="*/ 674370 h 1371600"/>
                <a:gd name="connsiteX256" fmla="*/ 96202 w 2190750"/>
                <a:gd name="connsiteY256" fmla="*/ 678180 h 1371600"/>
                <a:gd name="connsiteX257" fmla="*/ 58102 w 2190750"/>
                <a:gd name="connsiteY257" fmla="*/ 678180 h 1371600"/>
                <a:gd name="connsiteX258" fmla="*/ 46672 w 2190750"/>
                <a:gd name="connsiteY258" fmla="*/ 674370 h 1371600"/>
                <a:gd name="connsiteX259" fmla="*/ 28575 w 2190750"/>
                <a:gd name="connsiteY259" fmla="*/ 664845 h 1371600"/>
                <a:gd name="connsiteX260" fmla="*/ 17145 w 2190750"/>
                <a:gd name="connsiteY260" fmla="*/ 662940 h 1371600"/>
                <a:gd name="connsiteX261" fmla="*/ 2857 w 2190750"/>
                <a:gd name="connsiteY261" fmla="*/ 621982 h 1371600"/>
                <a:gd name="connsiteX262" fmla="*/ 0 w 2190750"/>
                <a:gd name="connsiteY262" fmla="*/ 611505 h 1371600"/>
                <a:gd name="connsiteX263" fmla="*/ 7620 w 2190750"/>
                <a:gd name="connsiteY263" fmla="*/ 591502 h 1371600"/>
                <a:gd name="connsiteX264" fmla="*/ 22860 w 2190750"/>
                <a:gd name="connsiteY264" fmla="*/ 574357 h 1371600"/>
                <a:gd name="connsiteX265" fmla="*/ 85725 w 2190750"/>
                <a:gd name="connsiteY265" fmla="*/ 526732 h 1371600"/>
                <a:gd name="connsiteX266" fmla="*/ 96202 w 2190750"/>
                <a:gd name="connsiteY266" fmla="*/ 523875 h 1371600"/>
                <a:gd name="connsiteX267" fmla="*/ 108585 w 2190750"/>
                <a:gd name="connsiteY267" fmla="*/ 522922 h 1371600"/>
                <a:gd name="connsiteX268" fmla="*/ 118110 w 2190750"/>
                <a:gd name="connsiteY268" fmla="*/ 520065 h 1371600"/>
                <a:gd name="connsiteX269" fmla="*/ 126682 w 2190750"/>
                <a:gd name="connsiteY269" fmla="*/ 515302 h 1371600"/>
                <a:gd name="connsiteX270" fmla="*/ 133350 w 2190750"/>
                <a:gd name="connsiteY270" fmla="*/ 508635 h 1371600"/>
                <a:gd name="connsiteX271" fmla="*/ 138113 w 2190750"/>
                <a:gd name="connsiteY271" fmla="*/ 503872 h 1371600"/>
                <a:gd name="connsiteX272" fmla="*/ 141922 w 2190750"/>
                <a:gd name="connsiteY272" fmla="*/ 498157 h 1371600"/>
                <a:gd name="connsiteX273" fmla="*/ 145732 w 2190750"/>
                <a:gd name="connsiteY273" fmla="*/ 494347 h 1371600"/>
                <a:gd name="connsiteX274" fmla="*/ 154305 w 2190750"/>
                <a:gd name="connsiteY274" fmla="*/ 493395 h 1371600"/>
                <a:gd name="connsiteX275" fmla="*/ 159067 w 2190750"/>
                <a:gd name="connsiteY275" fmla="*/ 494347 h 1371600"/>
                <a:gd name="connsiteX276" fmla="*/ 169545 w 2190750"/>
                <a:gd name="connsiteY276" fmla="*/ 498157 h 1371600"/>
                <a:gd name="connsiteX277" fmla="*/ 175260 w 2190750"/>
                <a:gd name="connsiteY277" fmla="*/ 499110 h 1371600"/>
                <a:gd name="connsiteX278" fmla="*/ 182880 w 2190750"/>
                <a:gd name="connsiteY278" fmla="*/ 496252 h 1371600"/>
                <a:gd name="connsiteX279" fmla="*/ 183832 w 2190750"/>
                <a:gd name="connsiteY279" fmla="*/ 490538 h 1371600"/>
                <a:gd name="connsiteX280" fmla="*/ 181927 w 2190750"/>
                <a:gd name="connsiteY280" fmla="*/ 483870 h 1371600"/>
                <a:gd name="connsiteX281" fmla="*/ 180975 w 2190750"/>
                <a:gd name="connsiteY281" fmla="*/ 478155 h 1371600"/>
                <a:gd name="connsiteX282" fmla="*/ 182880 w 2190750"/>
                <a:gd name="connsiteY282" fmla="*/ 471488 h 1371600"/>
                <a:gd name="connsiteX283" fmla="*/ 184785 w 2190750"/>
                <a:gd name="connsiteY283" fmla="*/ 466725 h 1371600"/>
                <a:gd name="connsiteX284" fmla="*/ 187642 w 2190750"/>
                <a:gd name="connsiteY284" fmla="*/ 461963 h 1371600"/>
                <a:gd name="connsiteX285" fmla="*/ 203835 w 2190750"/>
                <a:gd name="connsiteY285" fmla="*/ 444817 h 1371600"/>
                <a:gd name="connsiteX286" fmla="*/ 240030 w 2190750"/>
                <a:gd name="connsiteY286" fmla="*/ 421005 h 1371600"/>
                <a:gd name="connsiteX287" fmla="*/ 360045 w 2190750"/>
                <a:gd name="connsiteY287" fmla="*/ 364807 h 1371600"/>
                <a:gd name="connsiteX288" fmla="*/ 366713 w 2190750"/>
                <a:gd name="connsiteY288" fmla="*/ 360045 h 1371600"/>
                <a:gd name="connsiteX289" fmla="*/ 369570 w 2190750"/>
                <a:gd name="connsiteY289" fmla="*/ 350520 h 1371600"/>
                <a:gd name="connsiteX290" fmla="*/ 366713 w 2190750"/>
                <a:gd name="connsiteY290" fmla="*/ 347663 h 1371600"/>
                <a:gd name="connsiteX291" fmla="*/ 361950 w 2190750"/>
                <a:gd name="connsiteY291" fmla="*/ 344805 h 1371600"/>
                <a:gd name="connsiteX292" fmla="*/ 357188 w 2190750"/>
                <a:gd name="connsiteY292" fmla="*/ 340995 h 1371600"/>
                <a:gd name="connsiteX293" fmla="*/ 358140 w 2190750"/>
                <a:gd name="connsiteY293" fmla="*/ 332422 h 1371600"/>
                <a:gd name="connsiteX294" fmla="*/ 362902 w 2190750"/>
                <a:gd name="connsiteY294" fmla="*/ 328613 h 1371600"/>
                <a:gd name="connsiteX295" fmla="*/ 367665 w 2190750"/>
                <a:gd name="connsiteY295" fmla="*/ 331470 h 1371600"/>
                <a:gd name="connsiteX296" fmla="*/ 376238 w 2190750"/>
                <a:gd name="connsiteY296" fmla="*/ 342900 h 1371600"/>
                <a:gd name="connsiteX297" fmla="*/ 395288 w 2190750"/>
                <a:gd name="connsiteY297" fmla="*/ 354330 h 1371600"/>
                <a:gd name="connsiteX298" fmla="*/ 413385 w 2190750"/>
                <a:gd name="connsiteY298" fmla="*/ 351472 h 1371600"/>
                <a:gd name="connsiteX299" fmla="*/ 452438 w 2190750"/>
                <a:gd name="connsiteY299" fmla="*/ 327660 h 1371600"/>
                <a:gd name="connsiteX300" fmla="*/ 471488 w 2190750"/>
                <a:gd name="connsiteY300" fmla="*/ 319088 h 1371600"/>
                <a:gd name="connsiteX301" fmla="*/ 473392 w 2190750"/>
                <a:gd name="connsiteY301" fmla="*/ 314325 h 1371600"/>
                <a:gd name="connsiteX302" fmla="*/ 489585 w 2190750"/>
                <a:gd name="connsiteY302" fmla="*/ 297180 h 1371600"/>
                <a:gd name="connsiteX303" fmla="*/ 498157 w 2190750"/>
                <a:gd name="connsiteY303" fmla="*/ 293370 h 1371600"/>
                <a:gd name="connsiteX304" fmla="*/ 520065 w 2190750"/>
                <a:gd name="connsiteY304" fmla="*/ 279082 h 1371600"/>
                <a:gd name="connsiteX305" fmla="*/ 527685 w 2190750"/>
                <a:gd name="connsiteY305" fmla="*/ 275272 h 1371600"/>
                <a:gd name="connsiteX306" fmla="*/ 531495 w 2190750"/>
                <a:gd name="connsiteY306" fmla="*/ 277177 h 1371600"/>
                <a:gd name="connsiteX307" fmla="*/ 541020 w 2190750"/>
                <a:gd name="connsiteY307" fmla="*/ 283845 h 1371600"/>
                <a:gd name="connsiteX308" fmla="*/ 547688 w 2190750"/>
                <a:gd name="connsiteY308" fmla="*/ 285750 h 1371600"/>
                <a:gd name="connsiteX309" fmla="*/ 553402 w 2190750"/>
                <a:gd name="connsiteY309" fmla="*/ 284797 h 1371600"/>
                <a:gd name="connsiteX310" fmla="*/ 565785 w 2190750"/>
                <a:gd name="connsiteY310" fmla="*/ 280988 h 1371600"/>
                <a:gd name="connsiteX311" fmla="*/ 579120 w 2190750"/>
                <a:gd name="connsiteY311" fmla="*/ 264795 h 1371600"/>
                <a:gd name="connsiteX312" fmla="*/ 589597 w 2190750"/>
                <a:gd name="connsiteY312" fmla="*/ 258127 h 1371600"/>
                <a:gd name="connsiteX313" fmla="*/ 595313 w 2190750"/>
                <a:gd name="connsiteY313" fmla="*/ 255270 h 1371600"/>
                <a:gd name="connsiteX314" fmla="*/ 600075 w 2190750"/>
                <a:gd name="connsiteY314" fmla="*/ 255270 h 1371600"/>
                <a:gd name="connsiteX315" fmla="*/ 605790 w 2190750"/>
                <a:gd name="connsiteY315" fmla="*/ 256222 h 1371600"/>
                <a:gd name="connsiteX316" fmla="*/ 612457 w 2190750"/>
                <a:gd name="connsiteY316" fmla="*/ 259080 h 1371600"/>
                <a:gd name="connsiteX317" fmla="*/ 616267 w 2190750"/>
                <a:gd name="connsiteY317" fmla="*/ 262890 h 1371600"/>
                <a:gd name="connsiteX318" fmla="*/ 618172 w 2190750"/>
                <a:gd name="connsiteY318" fmla="*/ 267652 h 1371600"/>
                <a:gd name="connsiteX319" fmla="*/ 621030 w 2190750"/>
                <a:gd name="connsiteY319" fmla="*/ 271463 h 1371600"/>
                <a:gd name="connsiteX320" fmla="*/ 626745 w 2190750"/>
                <a:gd name="connsiteY320" fmla="*/ 272415 h 1371600"/>
                <a:gd name="connsiteX321" fmla="*/ 638175 w 2190750"/>
                <a:gd name="connsiteY321" fmla="*/ 270510 h 1371600"/>
                <a:gd name="connsiteX322" fmla="*/ 639127 w 2190750"/>
                <a:gd name="connsiteY322" fmla="*/ 261938 h 1371600"/>
                <a:gd name="connsiteX323" fmla="*/ 638175 w 2190750"/>
                <a:gd name="connsiteY323" fmla="*/ 243840 h 1371600"/>
                <a:gd name="connsiteX324" fmla="*/ 639127 w 2190750"/>
                <a:gd name="connsiteY324" fmla="*/ 230505 h 1371600"/>
                <a:gd name="connsiteX325" fmla="*/ 647700 w 2190750"/>
                <a:gd name="connsiteY325" fmla="*/ 233363 h 1371600"/>
                <a:gd name="connsiteX326" fmla="*/ 656272 w 2190750"/>
                <a:gd name="connsiteY326" fmla="*/ 228600 h 1371600"/>
                <a:gd name="connsiteX327" fmla="*/ 674370 w 2190750"/>
                <a:gd name="connsiteY327" fmla="*/ 223838 h 1371600"/>
                <a:gd name="connsiteX328" fmla="*/ 682942 w 2190750"/>
                <a:gd name="connsiteY328" fmla="*/ 219075 h 1371600"/>
                <a:gd name="connsiteX329" fmla="*/ 673417 w 2190750"/>
                <a:gd name="connsiteY329" fmla="*/ 210502 h 1371600"/>
                <a:gd name="connsiteX330" fmla="*/ 663892 w 2190750"/>
                <a:gd name="connsiteY330" fmla="*/ 204788 h 1371600"/>
                <a:gd name="connsiteX331" fmla="*/ 633413 w 2190750"/>
                <a:gd name="connsiteY331" fmla="*/ 197167 h 1371600"/>
                <a:gd name="connsiteX332" fmla="*/ 620077 w 2190750"/>
                <a:gd name="connsiteY332" fmla="*/ 198120 h 1371600"/>
                <a:gd name="connsiteX333" fmla="*/ 614363 w 2190750"/>
                <a:gd name="connsiteY333" fmla="*/ 200025 h 1371600"/>
                <a:gd name="connsiteX334" fmla="*/ 610552 w 2190750"/>
                <a:gd name="connsiteY334" fmla="*/ 204788 h 1371600"/>
                <a:gd name="connsiteX335" fmla="*/ 606742 w 2190750"/>
                <a:gd name="connsiteY335" fmla="*/ 207645 h 1371600"/>
                <a:gd name="connsiteX336" fmla="*/ 600075 w 2190750"/>
                <a:gd name="connsiteY336" fmla="*/ 202882 h 1371600"/>
                <a:gd name="connsiteX337" fmla="*/ 610552 w 2190750"/>
                <a:gd name="connsiteY337" fmla="*/ 189547 h 1371600"/>
                <a:gd name="connsiteX338" fmla="*/ 614363 w 2190750"/>
                <a:gd name="connsiteY338" fmla="*/ 180975 h 1371600"/>
                <a:gd name="connsiteX339" fmla="*/ 613410 w 2190750"/>
                <a:gd name="connsiteY339" fmla="*/ 176213 h 1371600"/>
                <a:gd name="connsiteX340" fmla="*/ 606742 w 2190750"/>
                <a:gd name="connsiteY340" fmla="*/ 174307 h 1371600"/>
                <a:gd name="connsiteX341" fmla="*/ 606742 w 2190750"/>
                <a:gd name="connsiteY341" fmla="*/ 167640 h 1371600"/>
                <a:gd name="connsiteX342" fmla="*/ 609600 w 2190750"/>
                <a:gd name="connsiteY342" fmla="*/ 160020 h 1371600"/>
                <a:gd name="connsiteX343" fmla="*/ 613410 w 2190750"/>
                <a:gd name="connsiteY343" fmla="*/ 154305 h 1371600"/>
                <a:gd name="connsiteX344" fmla="*/ 612457 w 2190750"/>
                <a:gd name="connsiteY344" fmla="*/ 148590 h 1371600"/>
                <a:gd name="connsiteX345" fmla="*/ 605790 w 2190750"/>
                <a:gd name="connsiteY345" fmla="*/ 121920 h 1371600"/>
                <a:gd name="connsiteX346" fmla="*/ 604838 w 2190750"/>
                <a:gd name="connsiteY346" fmla="*/ 113347 h 1371600"/>
                <a:gd name="connsiteX347" fmla="*/ 610552 w 2190750"/>
                <a:gd name="connsiteY347" fmla="*/ 105727 h 1371600"/>
                <a:gd name="connsiteX348" fmla="*/ 615315 w 2190750"/>
                <a:gd name="connsiteY348" fmla="*/ 97155 h 1371600"/>
                <a:gd name="connsiteX349" fmla="*/ 613410 w 2190750"/>
                <a:gd name="connsiteY349" fmla="*/ 85725 h 1371600"/>
                <a:gd name="connsiteX350" fmla="*/ 604838 w 2190750"/>
                <a:gd name="connsiteY350" fmla="*/ 70485 h 1371600"/>
                <a:gd name="connsiteX351" fmla="*/ 621982 w 2190750"/>
                <a:gd name="connsiteY351" fmla="*/ 52388 h 1371600"/>
                <a:gd name="connsiteX352" fmla="*/ 627697 w 2190750"/>
                <a:gd name="connsiteY352" fmla="*/ 33338 h 1371600"/>
                <a:gd name="connsiteX353" fmla="*/ 622935 w 2190750"/>
                <a:gd name="connsiteY353" fmla="*/ 5715 h 1371600"/>
                <a:gd name="connsiteX354" fmla="*/ 626745 w 2190750"/>
                <a:gd name="connsiteY354" fmla="*/ 0 h 1371600"/>
                <a:gd name="connsiteX355" fmla="*/ 632460 w 2190750"/>
                <a:gd name="connsiteY355" fmla="*/ 4763 h 1371600"/>
                <a:gd name="connsiteX356" fmla="*/ 636270 w 2190750"/>
                <a:gd name="connsiteY356" fmla="*/ 10477 h 1371600"/>
                <a:gd name="connsiteX357" fmla="*/ 660082 w 2190750"/>
                <a:gd name="connsiteY357" fmla="*/ 54292 h 1371600"/>
                <a:gd name="connsiteX358" fmla="*/ 664845 w 2190750"/>
                <a:gd name="connsiteY358" fmla="*/ 59055 h 1371600"/>
                <a:gd name="connsiteX359" fmla="*/ 688657 w 2190750"/>
                <a:gd name="connsiteY359" fmla="*/ 73342 h 1371600"/>
                <a:gd name="connsiteX360" fmla="*/ 695325 w 2190750"/>
                <a:gd name="connsiteY360" fmla="*/ 67627 h 1371600"/>
                <a:gd name="connsiteX361" fmla="*/ 698182 w 2190750"/>
                <a:gd name="connsiteY361" fmla="*/ 56197 h 1371600"/>
                <a:gd name="connsiteX362" fmla="*/ 698182 w 2190750"/>
                <a:gd name="connsiteY362" fmla="*/ 30480 h 1371600"/>
                <a:gd name="connsiteX363" fmla="*/ 720090 w 2190750"/>
                <a:gd name="connsiteY363" fmla="*/ 40005 h 1371600"/>
                <a:gd name="connsiteX364" fmla="*/ 722947 w 2190750"/>
                <a:gd name="connsiteY364" fmla="*/ 43815 h 1371600"/>
                <a:gd name="connsiteX365" fmla="*/ 722947 w 2190750"/>
                <a:gd name="connsiteY365" fmla="*/ 64770 h 1371600"/>
                <a:gd name="connsiteX366" fmla="*/ 721042 w 2190750"/>
                <a:gd name="connsiteY366" fmla="*/ 72390 h 1371600"/>
                <a:gd name="connsiteX367" fmla="*/ 716280 w 2190750"/>
                <a:gd name="connsiteY367" fmla="*/ 78105 h 1371600"/>
                <a:gd name="connsiteX368" fmla="*/ 736282 w 2190750"/>
                <a:gd name="connsiteY368" fmla="*/ 102870 h 1371600"/>
                <a:gd name="connsiteX369" fmla="*/ 741045 w 2190750"/>
                <a:gd name="connsiteY369" fmla="*/ 115252 h 1371600"/>
                <a:gd name="connsiteX370" fmla="*/ 730567 w 2190750"/>
                <a:gd name="connsiteY370" fmla="*/ 120015 h 1371600"/>
                <a:gd name="connsiteX371" fmla="*/ 730567 w 2190750"/>
                <a:gd name="connsiteY371" fmla="*/ 122872 h 1371600"/>
                <a:gd name="connsiteX372" fmla="*/ 731520 w 2190750"/>
                <a:gd name="connsiteY372" fmla="*/ 125730 h 1371600"/>
                <a:gd name="connsiteX373" fmla="*/ 734377 w 2190750"/>
                <a:gd name="connsiteY373" fmla="*/ 130492 h 1371600"/>
                <a:gd name="connsiteX374" fmla="*/ 730567 w 2190750"/>
                <a:gd name="connsiteY374" fmla="*/ 136207 h 1371600"/>
                <a:gd name="connsiteX375" fmla="*/ 739140 w 2190750"/>
                <a:gd name="connsiteY375" fmla="*/ 135255 h 1371600"/>
                <a:gd name="connsiteX376" fmla="*/ 745807 w 2190750"/>
                <a:gd name="connsiteY376" fmla="*/ 129540 h 1371600"/>
                <a:gd name="connsiteX377" fmla="*/ 750570 w 2190750"/>
                <a:gd name="connsiteY377" fmla="*/ 122872 h 1371600"/>
                <a:gd name="connsiteX378" fmla="*/ 755332 w 2190750"/>
                <a:gd name="connsiteY378" fmla="*/ 120015 h 1371600"/>
                <a:gd name="connsiteX379" fmla="*/ 762000 w 2190750"/>
                <a:gd name="connsiteY379" fmla="*/ 122872 h 1371600"/>
                <a:gd name="connsiteX380" fmla="*/ 765810 w 2190750"/>
                <a:gd name="connsiteY380" fmla="*/ 130492 h 1371600"/>
                <a:gd name="connsiteX381" fmla="*/ 767715 w 2190750"/>
                <a:gd name="connsiteY381" fmla="*/ 137160 h 1371600"/>
                <a:gd name="connsiteX382" fmla="*/ 771525 w 2190750"/>
                <a:gd name="connsiteY382" fmla="*/ 140017 h 1371600"/>
                <a:gd name="connsiteX383" fmla="*/ 774382 w 2190750"/>
                <a:gd name="connsiteY383" fmla="*/ 143827 h 1371600"/>
                <a:gd name="connsiteX384" fmla="*/ 782955 w 2190750"/>
                <a:gd name="connsiteY384" fmla="*/ 149542 h 1371600"/>
                <a:gd name="connsiteX385" fmla="*/ 791527 w 2190750"/>
                <a:gd name="connsiteY385" fmla="*/ 152400 h 1371600"/>
                <a:gd name="connsiteX386" fmla="*/ 795338 w 2190750"/>
                <a:gd name="connsiteY386" fmla="*/ 142875 h 1371600"/>
                <a:gd name="connsiteX387" fmla="*/ 792480 w 2190750"/>
                <a:gd name="connsiteY387" fmla="*/ 134302 h 1371600"/>
                <a:gd name="connsiteX388" fmla="*/ 788670 w 2190750"/>
                <a:gd name="connsiteY388" fmla="*/ 125730 h 1371600"/>
                <a:gd name="connsiteX389" fmla="*/ 788670 w 2190750"/>
                <a:gd name="connsiteY389" fmla="*/ 119063 h 1371600"/>
                <a:gd name="connsiteX390" fmla="*/ 799147 w 2190750"/>
                <a:gd name="connsiteY390" fmla="*/ 114300 h 1371600"/>
                <a:gd name="connsiteX391" fmla="*/ 796290 w 2190750"/>
                <a:gd name="connsiteY391" fmla="*/ 106680 h 1371600"/>
                <a:gd name="connsiteX392" fmla="*/ 792480 w 2190750"/>
                <a:gd name="connsiteY392" fmla="*/ 105727 h 1371600"/>
                <a:gd name="connsiteX393" fmla="*/ 786765 w 2190750"/>
                <a:gd name="connsiteY393" fmla="*/ 106680 h 1371600"/>
                <a:gd name="connsiteX394" fmla="*/ 781050 w 2190750"/>
                <a:gd name="connsiteY394" fmla="*/ 103822 h 1371600"/>
                <a:gd name="connsiteX395" fmla="*/ 771525 w 2190750"/>
                <a:gd name="connsiteY395" fmla="*/ 95250 h 1371600"/>
                <a:gd name="connsiteX396" fmla="*/ 769620 w 2190750"/>
                <a:gd name="connsiteY396" fmla="*/ 90488 h 1371600"/>
                <a:gd name="connsiteX397" fmla="*/ 775335 w 2190750"/>
                <a:gd name="connsiteY397" fmla="*/ 87630 h 1371600"/>
                <a:gd name="connsiteX398" fmla="*/ 800100 w 2190750"/>
                <a:gd name="connsiteY398" fmla="*/ 88582 h 1371600"/>
                <a:gd name="connsiteX399" fmla="*/ 810577 w 2190750"/>
                <a:gd name="connsiteY399" fmla="*/ 92392 h 1371600"/>
                <a:gd name="connsiteX400" fmla="*/ 821055 w 2190750"/>
                <a:gd name="connsiteY400" fmla="*/ 99060 h 1371600"/>
                <a:gd name="connsiteX401" fmla="*/ 842963 w 2190750"/>
                <a:gd name="connsiteY401" fmla="*/ 130492 h 1371600"/>
                <a:gd name="connsiteX402" fmla="*/ 860107 w 2190750"/>
                <a:gd name="connsiteY402" fmla="*/ 140017 h 1371600"/>
                <a:gd name="connsiteX403" fmla="*/ 889635 w 2190750"/>
                <a:gd name="connsiteY403" fmla="*/ 166688 h 1371600"/>
                <a:gd name="connsiteX404" fmla="*/ 889635 w 2190750"/>
                <a:gd name="connsiteY404" fmla="*/ 171450 h 1371600"/>
                <a:gd name="connsiteX405" fmla="*/ 883920 w 2190750"/>
                <a:gd name="connsiteY405" fmla="*/ 178117 h 1371600"/>
                <a:gd name="connsiteX406" fmla="*/ 877252 w 2190750"/>
                <a:gd name="connsiteY406" fmla="*/ 180975 h 1371600"/>
                <a:gd name="connsiteX407" fmla="*/ 869632 w 2190750"/>
                <a:gd name="connsiteY407" fmla="*/ 180975 h 1371600"/>
                <a:gd name="connsiteX408" fmla="*/ 860107 w 2190750"/>
                <a:gd name="connsiteY408" fmla="*/ 177165 h 1371600"/>
                <a:gd name="connsiteX409" fmla="*/ 862965 w 2190750"/>
                <a:gd name="connsiteY409" fmla="*/ 189547 h 1371600"/>
                <a:gd name="connsiteX410" fmla="*/ 868680 w 2190750"/>
                <a:gd name="connsiteY410" fmla="*/ 200025 h 1371600"/>
                <a:gd name="connsiteX411" fmla="*/ 882015 w 2190750"/>
                <a:gd name="connsiteY411" fmla="*/ 213360 h 1371600"/>
                <a:gd name="connsiteX412" fmla="*/ 888682 w 2190750"/>
                <a:gd name="connsiteY412" fmla="*/ 207645 h 1371600"/>
                <a:gd name="connsiteX413" fmla="*/ 897255 w 2190750"/>
                <a:gd name="connsiteY413" fmla="*/ 206692 h 1371600"/>
                <a:gd name="connsiteX414" fmla="*/ 904875 w 2190750"/>
                <a:gd name="connsiteY414" fmla="*/ 202882 h 1371600"/>
                <a:gd name="connsiteX415" fmla="*/ 907732 w 2190750"/>
                <a:gd name="connsiteY415" fmla="*/ 189547 h 1371600"/>
                <a:gd name="connsiteX416" fmla="*/ 906780 w 2190750"/>
                <a:gd name="connsiteY416" fmla="*/ 174307 h 1371600"/>
                <a:gd name="connsiteX417" fmla="*/ 903922 w 2190750"/>
                <a:gd name="connsiteY417" fmla="*/ 164782 h 1371600"/>
                <a:gd name="connsiteX418" fmla="*/ 898207 w 2190750"/>
                <a:gd name="connsiteY418" fmla="*/ 159067 h 1371600"/>
                <a:gd name="connsiteX419" fmla="*/ 867727 w 2190750"/>
                <a:gd name="connsiteY419" fmla="*/ 132397 h 1371600"/>
                <a:gd name="connsiteX420" fmla="*/ 862013 w 2190750"/>
                <a:gd name="connsiteY420" fmla="*/ 130492 h 1371600"/>
                <a:gd name="connsiteX421" fmla="*/ 861060 w 2190750"/>
                <a:gd name="connsiteY421" fmla="*/ 128588 h 1371600"/>
                <a:gd name="connsiteX422" fmla="*/ 860107 w 2190750"/>
                <a:gd name="connsiteY422" fmla="*/ 124777 h 1371600"/>
                <a:gd name="connsiteX423" fmla="*/ 861060 w 2190750"/>
                <a:gd name="connsiteY423" fmla="*/ 120967 h 1371600"/>
                <a:gd name="connsiteX424" fmla="*/ 862013 w 2190750"/>
                <a:gd name="connsiteY424" fmla="*/ 120015 h 1371600"/>
                <a:gd name="connsiteX425" fmla="*/ 864870 w 2190750"/>
                <a:gd name="connsiteY425" fmla="*/ 120015 h 1371600"/>
                <a:gd name="connsiteX426" fmla="*/ 869632 w 2190750"/>
                <a:gd name="connsiteY426" fmla="*/ 123825 h 1371600"/>
                <a:gd name="connsiteX427" fmla="*/ 876300 w 2190750"/>
                <a:gd name="connsiteY427" fmla="*/ 126682 h 1371600"/>
                <a:gd name="connsiteX428" fmla="*/ 880110 w 2190750"/>
                <a:gd name="connsiteY428" fmla="*/ 128588 h 1371600"/>
                <a:gd name="connsiteX429" fmla="*/ 883920 w 2190750"/>
                <a:gd name="connsiteY429" fmla="*/ 132397 h 1371600"/>
                <a:gd name="connsiteX430" fmla="*/ 885825 w 2190750"/>
                <a:gd name="connsiteY430" fmla="*/ 136207 h 1371600"/>
                <a:gd name="connsiteX431" fmla="*/ 889635 w 2190750"/>
                <a:gd name="connsiteY431" fmla="*/ 130492 h 1371600"/>
                <a:gd name="connsiteX432" fmla="*/ 912495 w 2190750"/>
                <a:gd name="connsiteY432" fmla="*/ 137160 h 1371600"/>
                <a:gd name="connsiteX433" fmla="*/ 921067 w 2190750"/>
                <a:gd name="connsiteY433" fmla="*/ 142875 h 1371600"/>
                <a:gd name="connsiteX434" fmla="*/ 914400 w 2190750"/>
                <a:gd name="connsiteY434" fmla="*/ 151447 h 1371600"/>
                <a:gd name="connsiteX435" fmla="*/ 920115 w 2190750"/>
                <a:gd name="connsiteY435" fmla="*/ 161925 h 1371600"/>
                <a:gd name="connsiteX436" fmla="*/ 927735 w 2190750"/>
                <a:gd name="connsiteY436" fmla="*/ 160020 h 1371600"/>
                <a:gd name="connsiteX437" fmla="*/ 946785 w 2190750"/>
                <a:gd name="connsiteY437" fmla="*/ 130492 h 1371600"/>
                <a:gd name="connsiteX438" fmla="*/ 947738 w 2190750"/>
                <a:gd name="connsiteY438" fmla="*/ 135255 h 1371600"/>
                <a:gd name="connsiteX439" fmla="*/ 946785 w 2190750"/>
                <a:gd name="connsiteY439" fmla="*/ 147638 h 1371600"/>
                <a:gd name="connsiteX440" fmla="*/ 948690 w 2190750"/>
                <a:gd name="connsiteY440" fmla="*/ 159067 h 1371600"/>
                <a:gd name="connsiteX441" fmla="*/ 952500 w 2190750"/>
                <a:gd name="connsiteY441" fmla="*/ 162877 h 1371600"/>
                <a:gd name="connsiteX442" fmla="*/ 958215 w 2190750"/>
                <a:gd name="connsiteY442" fmla="*/ 165735 h 1371600"/>
                <a:gd name="connsiteX443" fmla="*/ 963930 w 2190750"/>
                <a:gd name="connsiteY443" fmla="*/ 167640 h 1371600"/>
                <a:gd name="connsiteX444" fmla="*/ 968692 w 2190750"/>
                <a:gd name="connsiteY444" fmla="*/ 166688 h 1371600"/>
                <a:gd name="connsiteX445" fmla="*/ 971550 w 2190750"/>
                <a:gd name="connsiteY445" fmla="*/ 162877 h 1371600"/>
                <a:gd name="connsiteX446" fmla="*/ 973455 w 2190750"/>
                <a:gd name="connsiteY446" fmla="*/ 149542 h 1371600"/>
                <a:gd name="connsiteX447" fmla="*/ 975360 w 2190750"/>
                <a:gd name="connsiteY447" fmla="*/ 145732 h 1371600"/>
                <a:gd name="connsiteX448" fmla="*/ 985838 w 2190750"/>
                <a:gd name="connsiteY448" fmla="*/ 145732 h 1371600"/>
                <a:gd name="connsiteX449" fmla="*/ 992505 w 2190750"/>
                <a:gd name="connsiteY449" fmla="*/ 152400 h 1371600"/>
                <a:gd name="connsiteX450" fmla="*/ 1004888 w 2190750"/>
                <a:gd name="connsiteY450" fmla="*/ 171450 h 1371600"/>
                <a:gd name="connsiteX451" fmla="*/ 994410 w 2190750"/>
                <a:gd name="connsiteY451" fmla="*/ 176213 h 1371600"/>
                <a:gd name="connsiteX452" fmla="*/ 990600 w 2190750"/>
                <a:gd name="connsiteY452" fmla="*/ 177165 h 1371600"/>
                <a:gd name="connsiteX453" fmla="*/ 999172 w 2190750"/>
                <a:gd name="connsiteY453" fmla="*/ 184785 h 1371600"/>
                <a:gd name="connsiteX454" fmla="*/ 1010602 w 2190750"/>
                <a:gd name="connsiteY454" fmla="*/ 190500 h 1371600"/>
                <a:gd name="connsiteX455" fmla="*/ 1017270 w 2190750"/>
                <a:gd name="connsiteY455" fmla="*/ 198120 h 1371600"/>
                <a:gd name="connsiteX456" fmla="*/ 1015365 w 2190750"/>
                <a:gd name="connsiteY456" fmla="*/ 213360 h 1371600"/>
                <a:gd name="connsiteX457" fmla="*/ 1011555 w 2190750"/>
                <a:gd name="connsiteY457" fmla="*/ 216217 h 1371600"/>
                <a:gd name="connsiteX458" fmla="*/ 1000125 w 2190750"/>
                <a:gd name="connsiteY458" fmla="*/ 221932 h 1371600"/>
                <a:gd name="connsiteX459" fmla="*/ 997267 w 2190750"/>
                <a:gd name="connsiteY459" fmla="*/ 225742 h 1371600"/>
                <a:gd name="connsiteX460" fmla="*/ 996315 w 2190750"/>
                <a:gd name="connsiteY460" fmla="*/ 235267 h 1371600"/>
                <a:gd name="connsiteX461" fmla="*/ 991552 w 2190750"/>
                <a:gd name="connsiteY461" fmla="*/ 247650 h 1371600"/>
                <a:gd name="connsiteX462" fmla="*/ 990600 w 2190750"/>
                <a:gd name="connsiteY462" fmla="*/ 255270 h 1371600"/>
                <a:gd name="connsiteX463" fmla="*/ 1004888 w 2190750"/>
                <a:gd name="connsiteY463" fmla="*/ 239077 h 1371600"/>
                <a:gd name="connsiteX464" fmla="*/ 1004888 w 2190750"/>
                <a:gd name="connsiteY464" fmla="*/ 245745 h 1371600"/>
                <a:gd name="connsiteX465" fmla="*/ 1004888 w 2190750"/>
                <a:gd name="connsiteY465" fmla="*/ 249555 h 1371600"/>
                <a:gd name="connsiteX466" fmla="*/ 1001077 w 2190750"/>
                <a:gd name="connsiteY466" fmla="*/ 255270 h 1371600"/>
                <a:gd name="connsiteX467" fmla="*/ 1005840 w 2190750"/>
                <a:gd name="connsiteY467" fmla="*/ 253365 h 1371600"/>
                <a:gd name="connsiteX468" fmla="*/ 1008697 w 2190750"/>
                <a:gd name="connsiteY468" fmla="*/ 252413 h 1371600"/>
                <a:gd name="connsiteX469" fmla="*/ 1010602 w 2190750"/>
                <a:gd name="connsiteY469" fmla="*/ 249555 h 1371600"/>
                <a:gd name="connsiteX470" fmla="*/ 1012507 w 2190750"/>
                <a:gd name="connsiteY470" fmla="*/ 244792 h 1371600"/>
                <a:gd name="connsiteX471" fmla="*/ 1015365 w 2190750"/>
                <a:gd name="connsiteY471" fmla="*/ 244792 h 1371600"/>
                <a:gd name="connsiteX472" fmla="*/ 1015365 w 2190750"/>
                <a:gd name="connsiteY472" fmla="*/ 262890 h 1371600"/>
                <a:gd name="connsiteX473" fmla="*/ 1018222 w 2190750"/>
                <a:gd name="connsiteY473" fmla="*/ 267652 h 1371600"/>
                <a:gd name="connsiteX474" fmla="*/ 1021080 w 2190750"/>
                <a:gd name="connsiteY474" fmla="*/ 260985 h 1371600"/>
                <a:gd name="connsiteX475" fmla="*/ 1022985 w 2190750"/>
                <a:gd name="connsiteY475" fmla="*/ 241935 h 1371600"/>
                <a:gd name="connsiteX476" fmla="*/ 1026795 w 2190750"/>
                <a:gd name="connsiteY476" fmla="*/ 226695 h 1371600"/>
                <a:gd name="connsiteX477" fmla="*/ 1035367 w 2190750"/>
                <a:gd name="connsiteY477" fmla="*/ 216217 h 1371600"/>
                <a:gd name="connsiteX478" fmla="*/ 1046797 w 2190750"/>
                <a:gd name="connsiteY478" fmla="*/ 213360 h 1371600"/>
                <a:gd name="connsiteX479" fmla="*/ 1055370 w 2190750"/>
                <a:gd name="connsiteY479" fmla="*/ 218122 h 1371600"/>
                <a:gd name="connsiteX480" fmla="*/ 1051560 w 2190750"/>
                <a:gd name="connsiteY480" fmla="*/ 221932 h 1371600"/>
                <a:gd name="connsiteX481" fmla="*/ 1044892 w 2190750"/>
                <a:gd name="connsiteY481" fmla="*/ 233363 h 1371600"/>
                <a:gd name="connsiteX482" fmla="*/ 1052513 w 2190750"/>
                <a:gd name="connsiteY482" fmla="*/ 252413 h 1371600"/>
                <a:gd name="connsiteX483" fmla="*/ 1058227 w 2190750"/>
                <a:gd name="connsiteY483" fmla="*/ 260032 h 1371600"/>
                <a:gd name="connsiteX484" fmla="*/ 1064895 w 2190750"/>
                <a:gd name="connsiteY484" fmla="*/ 257175 h 1371600"/>
                <a:gd name="connsiteX485" fmla="*/ 1074420 w 2190750"/>
                <a:gd name="connsiteY485" fmla="*/ 241935 h 1371600"/>
                <a:gd name="connsiteX486" fmla="*/ 1079182 w 2190750"/>
                <a:gd name="connsiteY486" fmla="*/ 232410 h 1371600"/>
                <a:gd name="connsiteX487" fmla="*/ 1081088 w 2190750"/>
                <a:gd name="connsiteY487" fmla="*/ 225742 h 1371600"/>
                <a:gd name="connsiteX488" fmla="*/ 1083945 w 2190750"/>
                <a:gd name="connsiteY488" fmla="*/ 223838 h 1371600"/>
                <a:gd name="connsiteX489" fmla="*/ 1092517 w 2190750"/>
                <a:gd name="connsiteY489" fmla="*/ 226695 h 1371600"/>
                <a:gd name="connsiteX490" fmla="*/ 1101090 w 2190750"/>
                <a:gd name="connsiteY490" fmla="*/ 227647 h 1371600"/>
                <a:gd name="connsiteX491" fmla="*/ 1105852 w 2190750"/>
                <a:gd name="connsiteY491" fmla="*/ 218122 h 1371600"/>
                <a:gd name="connsiteX492" fmla="*/ 1103947 w 2190750"/>
                <a:gd name="connsiteY492" fmla="*/ 211455 h 1371600"/>
                <a:gd name="connsiteX493" fmla="*/ 1098232 w 2190750"/>
                <a:gd name="connsiteY493" fmla="*/ 203835 h 1371600"/>
                <a:gd name="connsiteX494" fmla="*/ 1087755 w 2190750"/>
                <a:gd name="connsiteY494" fmla="*/ 192405 h 1371600"/>
                <a:gd name="connsiteX495" fmla="*/ 1087755 w 2190750"/>
                <a:gd name="connsiteY495" fmla="*/ 187642 h 1371600"/>
                <a:gd name="connsiteX496" fmla="*/ 1125855 w 2190750"/>
                <a:gd name="connsiteY496" fmla="*/ 200977 h 1371600"/>
                <a:gd name="connsiteX497" fmla="*/ 1131570 w 2190750"/>
                <a:gd name="connsiteY497" fmla="*/ 204788 h 1371600"/>
                <a:gd name="connsiteX498" fmla="*/ 1132522 w 2190750"/>
                <a:gd name="connsiteY498" fmla="*/ 212407 h 1371600"/>
                <a:gd name="connsiteX499" fmla="*/ 1134427 w 2190750"/>
                <a:gd name="connsiteY499" fmla="*/ 216217 h 1371600"/>
                <a:gd name="connsiteX500" fmla="*/ 1134427 w 2190750"/>
                <a:gd name="connsiteY500" fmla="*/ 221932 h 1371600"/>
                <a:gd name="connsiteX501" fmla="*/ 1131570 w 2190750"/>
                <a:gd name="connsiteY501" fmla="*/ 233363 h 1371600"/>
                <a:gd name="connsiteX502" fmla="*/ 1129665 w 2190750"/>
                <a:gd name="connsiteY502" fmla="*/ 238125 h 1371600"/>
                <a:gd name="connsiteX503" fmla="*/ 1121092 w 2190750"/>
                <a:gd name="connsiteY503" fmla="*/ 249555 h 1371600"/>
                <a:gd name="connsiteX504" fmla="*/ 1117282 w 2190750"/>
                <a:gd name="connsiteY504" fmla="*/ 255270 h 1371600"/>
                <a:gd name="connsiteX505" fmla="*/ 1112520 w 2190750"/>
                <a:gd name="connsiteY505" fmla="*/ 258127 h 1371600"/>
                <a:gd name="connsiteX506" fmla="*/ 1107757 w 2190750"/>
                <a:gd name="connsiteY506" fmla="*/ 261938 h 1371600"/>
                <a:gd name="connsiteX507" fmla="*/ 1100138 w 2190750"/>
                <a:gd name="connsiteY507" fmla="*/ 263842 h 1371600"/>
                <a:gd name="connsiteX508" fmla="*/ 1093470 w 2190750"/>
                <a:gd name="connsiteY508" fmla="*/ 264795 h 1371600"/>
                <a:gd name="connsiteX509" fmla="*/ 1088707 w 2190750"/>
                <a:gd name="connsiteY509" fmla="*/ 269557 h 1371600"/>
                <a:gd name="connsiteX510" fmla="*/ 1086802 w 2190750"/>
                <a:gd name="connsiteY510" fmla="*/ 286702 h 1371600"/>
                <a:gd name="connsiteX511" fmla="*/ 1082040 w 2190750"/>
                <a:gd name="connsiteY511" fmla="*/ 291465 h 1371600"/>
                <a:gd name="connsiteX512" fmla="*/ 1075372 w 2190750"/>
                <a:gd name="connsiteY512" fmla="*/ 294322 h 1371600"/>
                <a:gd name="connsiteX513" fmla="*/ 1071563 w 2190750"/>
                <a:gd name="connsiteY513" fmla="*/ 301942 h 1371600"/>
                <a:gd name="connsiteX514" fmla="*/ 1068705 w 2190750"/>
                <a:gd name="connsiteY514" fmla="*/ 310515 h 1371600"/>
                <a:gd name="connsiteX515" fmla="*/ 1065847 w 2190750"/>
                <a:gd name="connsiteY515" fmla="*/ 317182 h 1371600"/>
                <a:gd name="connsiteX516" fmla="*/ 1060132 w 2190750"/>
                <a:gd name="connsiteY516" fmla="*/ 322897 h 1371600"/>
                <a:gd name="connsiteX517" fmla="*/ 1044892 w 2190750"/>
                <a:gd name="connsiteY517" fmla="*/ 333375 h 1371600"/>
                <a:gd name="connsiteX518" fmla="*/ 1044892 w 2190750"/>
                <a:gd name="connsiteY518" fmla="*/ 338138 h 1371600"/>
                <a:gd name="connsiteX519" fmla="*/ 1067752 w 2190750"/>
                <a:gd name="connsiteY519" fmla="*/ 333375 h 1371600"/>
                <a:gd name="connsiteX520" fmla="*/ 1088707 w 2190750"/>
                <a:gd name="connsiteY520" fmla="*/ 322897 h 1371600"/>
                <a:gd name="connsiteX521" fmla="*/ 1143000 w 2190750"/>
                <a:gd name="connsiteY521" fmla="*/ 272415 h 1371600"/>
                <a:gd name="connsiteX522" fmla="*/ 1151572 w 2190750"/>
                <a:gd name="connsiteY522" fmla="*/ 267652 h 1371600"/>
                <a:gd name="connsiteX523" fmla="*/ 1173480 w 2190750"/>
                <a:gd name="connsiteY523" fmla="*/ 262890 h 1371600"/>
                <a:gd name="connsiteX524" fmla="*/ 1182052 w 2190750"/>
                <a:gd name="connsiteY524" fmla="*/ 256222 h 1371600"/>
                <a:gd name="connsiteX525" fmla="*/ 1196340 w 2190750"/>
                <a:gd name="connsiteY525" fmla="*/ 239077 h 1371600"/>
                <a:gd name="connsiteX526" fmla="*/ 1199197 w 2190750"/>
                <a:gd name="connsiteY526" fmla="*/ 249555 h 1371600"/>
                <a:gd name="connsiteX527" fmla="*/ 1200150 w 2190750"/>
                <a:gd name="connsiteY527" fmla="*/ 258127 h 1371600"/>
                <a:gd name="connsiteX528" fmla="*/ 1199197 w 2190750"/>
                <a:gd name="connsiteY528" fmla="*/ 265747 h 1371600"/>
                <a:gd name="connsiteX529" fmla="*/ 1195388 w 2190750"/>
                <a:gd name="connsiteY529" fmla="*/ 272415 h 1371600"/>
                <a:gd name="connsiteX530" fmla="*/ 1191577 w 2190750"/>
                <a:gd name="connsiteY530" fmla="*/ 271463 h 1371600"/>
                <a:gd name="connsiteX531" fmla="*/ 1174432 w 2190750"/>
                <a:gd name="connsiteY531" fmla="*/ 274320 h 1371600"/>
                <a:gd name="connsiteX532" fmla="*/ 1173480 w 2190750"/>
                <a:gd name="connsiteY532" fmla="*/ 275272 h 1371600"/>
                <a:gd name="connsiteX533" fmla="*/ 1165860 w 2190750"/>
                <a:gd name="connsiteY533" fmla="*/ 277177 h 1371600"/>
                <a:gd name="connsiteX534" fmla="*/ 1160145 w 2190750"/>
                <a:gd name="connsiteY534" fmla="*/ 280035 h 1371600"/>
                <a:gd name="connsiteX535" fmla="*/ 1155382 w 2190750"/>
                <a:gd name="connsiteY535" fmla="*/ 285750 h 1371600"/>
                <a:gd name="connsiteX536" fmla="*/ 1153477 w 2190750"/>
                <a:gd name="connsiteY536" fmla="*/ 294322 h 1371600"/>
                <a:gd name="connsiteX537" fmla="*/ 1151572 w 2190750"/>
                <a:gd name="connsiteY537" fmla="*/ 304800 h 1371600"/>
                <a:gd name="connsiteX538" fmla="*/ 1144905 w 2190750"/>
                <a:gd name="connsiteY538" fmla="*/ 318135 h 1371600"/>
                <a:gd name="connsiteX539" fmla="*/ 1142047 w 2190750"/>
                <a:gd name="connsiteY539" fmla="*/ 327660 h 1371600"/>
                <a:gd name="connsiteX540" fmla="*/ 1156335 w 2190750"/>
                <a:gd name="connsiteY540" fmla="*/ 321945 h 1371600"/>
                <a:gd name="connsiteX541" fmla="*/ 1169670 w 2190750"/>
                <a:gd name="connsiteY541" fmla="*/ 312420 h 1371600"/>
                <a:gd name="connsiteX542" fmla="*/ 1183005 w 2190750"/>
                <a:gd name="connsiteY542" fmla="*/ 306705 h 1371600"/>
                <a:gd name="connsiteX543" fmla="*/ 1196340 w 2190750"/>
                <a:gd name="connsiteY543" fmla="*/ 312420 h 1371600"/>
                <a:gd name="connsiteX544" fmla="*/ 1203960 w 2190750"/>
                <a:gd name="connsiteY544" fmla="*/ 329565 h 1371600"/>
                <a:gd name="connsiteX545" fmla="*/ 1198245 w 2190750"/>
                <a:gd name="connsiteY545" fmla="*/ 345757 h 1371600"/>
                <a:gd name="connsiteX546" fmla="*/ 1186815 w 2190750"/>
                <a:gd name="connsiteY546" fmla="*/ 360997 h 1371600"/>
                <a:gd name="connsiteX547" fmla="*/ 1178242 w 2190750"/>
                <a:gd name="connsiteY547" fmla="*/ 374332 h 1371600"/>
                <a:gd name="connsiteX548" fmla="*/ 1189672 w 2190750"/>
                <a:gd name="connsiteY548" fmla="*/ 370522 h 1371600"/>
                <a:gd name="connsiteX549" fmla="*/ 1199197 w 2190750"/>
                <a:gd name="connsiteY549" fmla="*/ 372427 h 1371600"/>
                <a:gd name="connsiteX550" fmla="*/ 1218247 w 2190750"/>
                <a:gd name="connsiteY550" fmla="*/ 379095 h 1371600"/>
                <a:gd name="connsiteX551" fmla="*/ 1230630 w 2190750"/>
                <a:gd name="connsiteY551" fmla="*/ 377190 h 1371600"/>
                <a:gd name="connsiteX552" fmla="*/ 1249680 w 2190750"/>
                <a:gd name="connsiteY552" fmla="*/ 365760 h 1371600"/>
                <a:gd name="connsiteX553" fmla="*/ 1261110 w 2190750"/>
                <a:gd name="connsiteY553" fmla="*/ 363855 h 1371600"/>
                <a:gd name="connsiteX554" fmla="*/ 1261110 w 2190750"/>
                <a:gd name="connsiteY554" fmla="*/ 368617 h 1371600"/>
                <a:gd name="connsiteX555" fmla="*/ 1257300 w 2190750"/>
                <a:gd name="connsiteY555" fmla="*/ 373380 h 1371600"/>
                <a:gd name="connsiteX556" fmla="*/ 1247775 w 2190750"/>
                <a:gd name="connsiteY556" fmla="*/ 382905 h 1371600"/>
                <a:gd name="connsiteX557" fmla="*/ 1243013 w 2190750"/>
                <a:gd name="connsiteY557" fmla="*/ 389572 h 1371600"/>
                <a:gd name="connsiteX558" fmla="*/ 1257300 w 2190750"/>
                <a:gd name="connsiteY558" fmla="*/ 392430 h 1371600"/>
                <a:gd name="connsiteX559" fmla="*/ 1261110 w 2190750"/>
                <a:gd name="connsiteY559" fmla="*/ 394335 h 1371600"/>
                <a:gd name="connsiteX560" fmla="*/ 1264920 w 2190750"/>
                <a:gd name="connsiteY560" fmla="*/ 400050 h 1371600"/>
                <a:gd name="connsiteX561" fmla="*/ 1271588 w 2190750"/>
                <a:gd name="connsiteY561" fmla="*/ 411480 h 1371600"/>
                <a:gd name="connsiteX562" fmla="*/ 1275397 w 2190750"/>
                <a:gd name="connsiteY562" fmla="*/ 416242 h 1371600"/>
                <a:gd name="connsiteX563" fmla="*/ 1283017 w 2190750"/>
                <a:gd name="connsiteY563" fmla="*/ 418147 h 1371600"/>
                <a:gd name="connsiteX564" fmla="*/ 1310640 w 2190750"/>
                <a:gd name="connsiteY564" fmla="*/ 416242 h 1371600"/>
                <a:gd name="connsiteX565" fmla="*/ 1316355 w 2190750"/>
                <a:gd name="connsiteY565" fmla="*/ 420052 h 1371600"/>
                <a:gd name="connsiteX566" fmla="*/ 1329690 w 2190750"/>
                <a:gd name="connsiteY566" fmla="*/ 451485 h 1371600"/>
                <a:gd name="connsiteX567" fmla="*/ 1335405 w 2190750"/>
                <a:gd name="connsiteY567" fmla="*/ 456247 h 1371600"/>
                <a:gd name="connsiteX568" fmla="*/ 1342072 w 2190750"/>
                <a:gd name="connsiteY568" fmla="*/ 459105 h 1371600"/>
                <a:gd name="connsiteX569" fmla="*/ 1345882 w 2190750"/>
                <a:gd name="connsiteY569" fmla="*/ 463867 h 1371600"/>
                <a:gd name="connsiteX570" fmla="*/ 1347788 w 2190750"/>
                <a:gd name="connsiteY570" fmla="*/ 475297 h 1371600"/>
                <a:gd name="connsiteX571" fmla="*/ 1350645 w 2190750"/>
                <a:gd name="connsiteY571" fmla="*/ 484822 h 1371600"/>
                <a:gd name="connsiteX572" fmla="*/ 1363980 w 2190750"/>
                <a:gd name="connsiteY572" fmla="*/ 497205 h 1371600"/>
                <a:gd name="connsiteX573" fmla="*/ 1366838 w 2190750"/>
                <a:gd name="connsiteY573" fmla="*/ 506730 h 1371600"/>
                <a:gd name="connsiteX574" fmla="*/ 1375410 w 2190750"/>
                <a:gd name="connsiteY574" fmla="*/ 558165 h 1371600"/>
                <a:gd name="connsiteX575" fmla="*/ 1377315 w 2190750"/>
                <a:gd name="connsiteY575" fmla="*/ 560070 h 1371600"/>
                <a:gd name="connsiteX576" fmla="*/ 1379220 w 2190750"/>
                <a:gd name="connsiteY576" fmla="*/ 562927 h 1371600"/>
                <a:gd name="connsiteX577" fmla="*/ 1377315 w 2190750"/>
                <a:gd name="connsiteY577" fmla="*/ 570547 h 1371600"/>
                <a:gd name="connsiteX578" fmla="*/ 1374457 w 2190750"/>
                <a:gd name="connsiteY578" fmla="*/ 575310 h 1371600"/>
                <a:gd name="connsiteX579" fmla="*/ 1367790 w 2190750"/>
                <a:gd name="connsiteY579" fmla="*/ 580072 h 1371600"/>
                <a:gd name="connsiteX580" fmla="*/ 1364932 w 2190750"/>
                <a:gd name="connsiteY580" fmla="*/ 582930 h 1371600"/>
                <a:gd name="connsiteX581" fmla="*/ 1358265 w 2190750"/>
                <a:gd name="connsiteY581" fmla="*/ 588645 h 1371600"/>
                <a:gd name="connsiteX582" fmla="*/ 1340167 w 2190750"/>
                <a:gd name="connsiteY582" fmla="*/ 592455 h 1371600"/>
                <a:gd name="connsiteX583" fmla="*/ 1333500 w 2190750"/>
                <a:gd name="connsiteY583" fmla="*/ 596265 h 1371600"/>
                <a:gd name="connsiteX584" fmla="*/ 1333500 w 2190750"/>
                <a:gd name="connsiteY584" fmla="*/ 601980 h 1371600"/>
                <a:gd name="connsiteX585" fmla="*/ 1341120 w 2190750"/>
                <a:gd name="connsiteY585" fmla="*/ 608647 h 1371600"/>
                <a:gd name="connsiteX586" fmla="*/ 1355407 w 2190750"/>
                <a:gd name="connsiteY586" fmla="*/ 637222 h 1371600"/>
                <a:gd name="connsiteX587" fmla="*/ 1362075 w 2190750"/>
                <a:gd name="connsiteY587" fmla="*/ 644842 h 1371600"/>
                <a:gd name="connsiteX588" fmla="*/ 1393507 w 2190750"/>
                <a:gd name="connsiteY588" fmla="*/ 669607 h 1371600"/>
                <a:gd name="connsiteX589" fmla="*/ 1398270 w 2190750"/>
                <a:gd name="connsiteY589" fmla="*/ 669607 h 1371600"/>
                <a:gd name="connsiteX590" fmla="*/ 1403985 w 2190750"/>
                <a:gd name="connsiteY590" fmla="*/ 666750 h 1371600"/>
                <a:gd name="connsiteX591" fmla="*/ 1413510 w 2190750"/>
                <a:gd name="connsiteY591" fmla="*/ 662940 h 1371600"/>
                <a:gd name="connsiteX592" fmla="*/ 1421130 w 2190750"/>
                <a:gd name="connsiteY592" fmla="*/ 663892 h 1371600"/>
                <a:gd name="connsiteX593" fmla="*/ 1430655 w 2190750"/>
                <a:gd name="connsiteY593" fmla="*/ 665797 h 1371600"/>
                <a:gd name="connsiteX594" fmla="*/ 1438275 w 2190750"/>
                <a:gd name="connsiteY594" fmla="*/ 670560 h 1371600"/>
                <a:gd name="connsiteX595" fmla="*/ 1442085 w 2190750"/>
                <a:gd name="connsiteY595" fmla="*/ 676275 h 1371600"/>
                <a:gd name="connsiteX596" fmla="*/ 1452563 w 2190750"/>
                <a:gd name="connsiteY596" fmla="*/ 682942 h 1371600"/>
                <a:gd name="connsiteX597" fmla="*/ 1512570 w 2190750"/>
                <a:gd name="connsiteY597" fmla="*/ 704850 h 1371600"/>
                <a:gd name="connsiteX598" fmla="*/ 1517332 w 2190750"/>
                <a:gd name="connsiteY598" fmla="*/ 708660 h 1371600"/>
                <a:gd name="connsiteX599" fmla="*/ 1524000 w 2190750"/>
                <a:gd name="connsiteY599" fmla="*/ 717232 h 1371600"/>
                <a:gd name="connsiteX600" fmla="*/ 1532572 w 2190750"/>
                <a:gd name="connsiteY600" fmla="*/ 725805 h 1371600"/>
                <a:gd name="connsiteX601" fmla="*/ 1541145 w 2190750"/>
                <a:gd name="connsiteY601" fmla="*/ 730567 h 1371600"/>
                <a:gd name="connsiteX602" fmla="*/ 1549717 w 2190750"/>
                <a:gd name="connsiteY602" fmla="*/ 727710 h 1371600"/>
                <a:gd name="connsiteX603" fmla="*/ 1557338 w 2190750"/>
                <a:gd name="connsiteY603" fmla="*/ 722947 h 1371600"/>
                <a:gd name="connsiteX604" fmla="*/ 1568767 w 2190750"/>
                <a:gd name="connsiteY604" fmla="*/ 709613 h 1371600"/>
                <a:gd name="connsiteX605" fmla="*/ 1561147 w 2190750"/>
                <a:gd name="connsiteY605" fmla="*/ 699135 h 1371600"/>
                <a:gd name="connsiteX606" fmla="*/ 1552575 w 2190750"/>
                <a:gd name="connsiteY606" fmla="*/ 695325 h 1371600"/>
                <a:gd name="connsiteX607" fmla="*/ 1543050 w 2190750"/>
                <a:gd name="connsiteY607" fmla="*/ 693420 h 1371600"/>
                <a:gd name="connsiteX608" fmla="*/ 1532572 w 2190750"/>
                <a:gd name="connsiteY608" fmla="*/ 688657 h 1371600"/>
                <a:gd name="connsiteX609" fmla="*/ 1527810 w 2190750"/>
                <a:gd name="connsiteY609" fmla="*/ 682942 h 1371600"/>
                <a:gd name="connsiteX610" fmla="*/ 1524952 w 2190750"/>
                <a:gd name="connsiteY610" fmla="*/ 676275 h 1371600"/>
                <a:gd name="connsiteX611" fmla="*/ 1522095 w 2190750"/>
                <a:gd name="connsiteY611" fmla="*/ 670560 h 1371600"/>
                <a:gd name="connsiteX612" fmla="*/ 1516380 w 2190750"/>
                <a:gd name="connsiteY612" fmla="*/ 667702 h 1371600"/>
                <a:gd name="connsiteX613" fmla="*/ 1510665 w 2190750"/>
                <a:gd name="connsiteY613" fmla="*/ 666750 h 1371600"/>
                <a:gd name="connsiteX614" fmla="*/ 1506855 w 2190750"/>
                <a:gd name="connsiteY614" fmla="*/ 663892 h 1371600"/>
                <a:gd name="connsiteX615" fmla="*/ 1395413 w 2190750"/>
                <a:gd name="connsiteY615" fmla="*/ 502920 h 1371600"/>
                <a:gd name="connsiteX616" fmla="*/ 1372552 w 2190750"/>
                <a:gd name="connsiteY616" fmla="*/ 477202 h 1371600"/>
                <a:gd name="connsiteX617" fmla="*/ 1369695 w 2190750"/>
                <a:gd name="connsiteY617" fmla="*/ 470535 h 1371600"/>
                <a:gd name="connsiteX618" fmla="*/ 1355407 w 2190750"/>
                <a:gd name="connsiteY618" fmla="*/ 451485 h 1371600"/>
                <a:gd name="connsiteX619" fmla="*/ 1345882 w 2190750"/>
                <a:gd name="connsiteY619" fmla="*/ 428625 h 1371600"/>
                <a:gd name="connsiteX620" fmla="*/ 1341120 w 2190750"/>
                <a:gd name="connsiteY620" fmla="*/ 421005 h 1371600"/>
                <a:gd name="connsiteX621" fmla="*/ 1337310 w 2190750"/>
                <a:gd name="connsiteY621" fmla="*/ 417195 h 1371600"/>
                <a:gd name="connsiteX622" fmla="*/ 1332547 w 2190750"/>
                <a:gd name="connsiteY622" fmla="*/ 415290 h 1371600"/>
                <a:gd name="connsiteX623" fmla="*/ 1327785 w 2190750"/>
                <a:gd name="connsiteY623" fmla="*/ 411480 h 1371600"/>
                <a:gd name="connsiteX624" fmla="*/ 1326832 w 2190750"/>
                <a:gd name="connsiteY624" fmla="*/ 401955 h 1371600"/>
                <a:gd name="connsiteX625" fmla="*/ 1318260 w 2190750"/>
                <a:gd name="connsiteY625" fmla="*/ 387667 h 1371600"/>
                <a:gd name="connsiteX626" fmla="*/ 1317307 w 2190750"/>
                <a:gd name="connsiteY626" fmla="*/ 384810 h 1371600"/>
                <a:gd name="connsiteX627" fmla="*/ 1316355 w 2190750"/>
                <a:gd name="connsiteY627" fmla="*/ 379095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</a:cxnLst>
              <a:rect l="l" t="t" r="r" b="b"/>
              <a:pathLst>
                <a:path w="2190750" h="1371600">
                  <a:moveTo>
                    <a:pt x="1316355" y="379095"/>
                  </a:moveTo>
                  <a:lnTo>
                    <a:pt x="1329690" y="370522"/>
                  </a:lnTo>
                  <a:lnTo>
                    <a:pt x="1351597" y="415290"/>
                  </a:lnTo>
                  <a:lnTo>
                    <a:pt x="1503045" y="640080"/>
                  </a:lnTo>
                  <a:lnTo>
                    <a:pt x="1582102" y="695325"/>
                  </a:lnTo>
                  <a:lnTo>
                    <a:pt x="1601152" y="697230"/>
                  </a:lnTo>
                  <a:lnTo>
                    <a:pt x="1694497" y="670560"/>
                  </a:lnTo>
                  <a:lnTo>
                    <a:pt x="1705927" y="662940"/>
                  </a:lnTo>
                  <a:lnTo>
                    <a:pt x="1720215" y="647700"/>
                  </a:lnTo>
                  <a:lnTo>
                    <a:pt x="1722120" y="640080"/>
                  </a:lnTo>
                  <a:lnTo>
                    <a:pt x="1723072" y="633413"/>
                  </a:lnTo>
                  <a:lnTo>
                    <a:pt x="1724977" y="628650"/>
                  </a:lnTo>
                  <a:lnTo>
                    <a:pt x="1732597" y="626745"/>
                  </a:lnTo>
                  <a:lnTo>
                    <a:pt x="1735455" y="623888"/>
                  </a:lnTo>
                  <a:lnTo>
                    <a:pt x="1744027" y="612457"/>
                  </a:lnTo>
                  <a:lnTo>
                    <a:pt x="1745932" y="609600"/>
                  </a:lnTo>
                  <a:lnTo>
                    <a:pt x="1747838" y="595313"/>
                  </a:lnTo>
                  <a:lnTo>
                    <a:pt x="1752600" y="581977"/>
                  </a:lnTo>
                  <a:lnTo>
                    <a:pt x="1759267" y="570547"/>
                  </a:lnTo>
                  <a:lnTo>
                    <a:pt x="1767840" y="564832"/>
                  </a:lnTo>
                  <a:lnTo>
                    <a:pt x="1780222" y="566738"/>
                  </a:lnTo>
                  <a:lnTo>
                    <a:pt x="1782127" y="573405"/>
                  </a:lnTo>
                  <a:lnTo>
                    <a:pt x="1777365" y="584835"/>
                  </a:lnTo>
                  <a:lnTo>
                    <a:pt x="1774507" y="599122"/>
                  </a:lnTo>
                  <a:lnTo>
                    <a:pt x="1778317" y="607695"/>
                  </a:lnTo>
                  <a:lnTo>
                    <a:pt x="1787842" y="615315"/>
                  </a:lnTo>
                  <a:lnTo>
                    <a:pt x="1827847" y="639127"/>
                  </a:lnTo>
                  <a:lnTo>
                    <a:pt x="1847850" y="646747"/>
                  </a:lnTo>
                  <a:lnTo>
                    <a:pt x="1867852" y="641985"/>
                  </a:lnTo>
                  <a:lnTo>
                    <a:pt x="1883092" y="621982"/>
                  </a:lnTo>
                  <a:lnTo>
                    <a:pt x="1889760" y="599122"/>
                  </a:lnTo>
                  <a:lnTo>
                    <a:pt x="1891665" y="596265"/>
                  </a:lnTo>
                  <a:lnTo>
                    <a:pt x="1906905" y="586740"/>
                  </a:lnTo>
                  <a:lnTo>
                    <a:pt x="1917382" y="575310"/>
                  </a:lnTo>
                  <a:lnTo>
                    <a:pt x="1927860" y="571500"/>
                  </a:lnTo>
                  <a:lnTo>
                    <a:pt x="1988820" y="572452"/>
                  </a:lnTo>
                  <a:lnTo>
                    <a:pt x="1996440" y="567690"/>
                  </a:lnTo>
                  <a:lnTo>
                    <a:pt x="2005013" y="561022"/>
                  </a:lnTo>
                  <a:lnTo>
                    <a:pt x="2013585" y="562927"/>
                  </a:lnTo>
                  <a:lnTo>
                    <a:pt x="2017395" y="572452"/>
                  </a:lnTo>
                  <a:lnTo>
                    <a:pt x="2013585" y="585788"/>
                  </a:lnTo>
                  <a:lnTo>
                    <a:pt x="2020252" y="585788"/>
                  </a:lnTo>
                  <a:lnTo>
                    <a:pt x="2025015" y="581977"/>
                  </a:lnTo>
                  <a:lnTo>
                    <a:pt x="2029777" y="577215"/>
                  </a:lnTo>
                  <a:lnTo>
                    <a:pt x="2035492" y="575310"/>
                  </a:lnTo>
                  <a:lnTo>
                    <a:pt x="2045017" y="577215"/>
                  </a:lnTo>
                  <a:lnTo>
                    <a:pt x="2062163" y="588645"/>
                  </a:lnTo>
                  <a:lnTo>
                    <a:pt x="2072640" y="591502"/>
                  </a:lnTo>
                  <a:lnTo>
                    <a:pt x="2104072" y="583882"/>
                  </a:lnTo>
                  <a:lnTo>
                    <a:pt x="2114550" y="585788"/>
                  </a:lnTo>
                  <a:lnTo>
                    <a:pt x="2127885" y="603885"/>
                  </a:lnTo>
                  <a:lnTo>
                    <a:pt x="2136458" y="611505"/>
                  </a:lnTo>
                  <a:lnTo>
                    <a:pt x="2145030" y="609600"/>
                  </a:lnTo>
                  <a:lnTo>
                    <a:pt x="2154555" y="599122"/>
                  </a:lnTo>
                  <a:lnTo>
                    <a:pt x="2163127" y="598170"/>
                  </a:lnTo>
                  <a:lnTo>
                    <a:pt x="2171700" y="602932"/>
                  </a:lnTo>
                  <a:lnTo>
                    <a:pt x="2179320" y="611505"/>
                  </a:lnTo>
                  <a:lnTo>
                    <a:pt x="2188845" y="637222"/>
                  </a:lnTo>
                  <a:lnTo>
                    <a:pt x="2192655" y="655320"/>
                  </a:lnTo>
                  <a:lnTo>
                    <a:pt x="2187892" y="662940"/>
                  </a:lnTo>
                  <a:lnTo>
                    <a:pt x="2170747" y="667702"/>
                  </a:lnTo>
                  <a:lnTo>
                    <a:pt x="2165033" y="667702"/>
                  </a:lnTo>
                  <a:lnTo>
                    <a:pt x="2158365" y="666750"/>
                  </a:lnTo>
                  <a:lnTo>
                    <a:pt x="2143125" y="658177"/>
                  </a:lnTo>
                  <a:lnTo>
                    <a:pt x="2130742" y="656272"/>
                  </a:lnTo>
                  <a:lnTo>
                    <a:pt x="2120265" y="658177"/>
                  </a:lnTo>
                  <a:lnTo>
                    <a:pt x="2113597" y="666750"/>
                  </a:lnTo>
                  <a:lnTo>
                    <a:pt x="2110740" y="681038"/>
                  </a:lnTo>
                  <a:lnTo>
                    <a:pt x="2112645" y="686752"/>
                  </a:lnTo>
                  <a:lnTo>
                    <a:pt x="2116455" y="689610"/>
                  </a:lnTo>
                  <a:lnTo>
                    <a:pt x="2117408" y="693420"/>
                  </a:lnTo>
                  <a:lnTo>
                    <a:pt x="2114550" y="699135"/>
                  </a:lnTo>
                  <a:lnTo>
                    <a:pt x="2109788" y="701992"/>
                  </a:lnTo>
                  <a:lnTo>
                    <a:pt x="2097405" y="702945"/>
                  </a:lnTo>
                  <a:lnTo>
                    <a:pt x="2093595" y="704850"/>
                  </a:lnTo>
                  <a:lnTo>
                    <a:pt x="2085975" y="714375"/>
                  </a:lnTo>
                  <a:lnTo>
                    <a:pt x="2080260" y="729615"/>
                  </a:lnTo>
                  <a:lnTo>
                    <a:pt x="2076450" y="745807"/>
                  </a:lnTo>
                  <a:lnTo>
                    <a:pt x="2071688" y="789622"/>
                  </a:lnTo>
                  <a:lnTo>
                    <a:pt x="2071688" y="805815"/>
                  </a:lnTo>
                  <a:lnTo>
                    <a:pt x="2074545" y="822007"/>
                  </a:lnTo>
                  <a:lnTo>
                    <a:pt x="2088832" y="838200"/>
                  </a:lnTo>
                  <a:lnTo>
                    <a:pt x="2095500" y="849630"/>
                  </a:lnTo>
                  <a:lnTo>
                    <a:pt x="2094547" y="861060"/>
                  </a:lnTo>
                  <a:lnTo>
                    <a:pt x="2087880" y="867727"/>
                  </a:lnTo>
                  <a:lnTo>
                    <a:pt x="2049780" y="882015"/>
                  </a:lnTo>
                  <a:lnTo>
                    <a:pt x="2002155" y="883920"/>
                  </a:lnTo>
                  <a:lnTo>
                    <a:pt x="1996440" y="885825"/>
                  </a:lnTo>
                  <a:lnTo>
                    <a:pt x="1991677" y="888682"/>
                  </a:lnTo>
                  <a:lnTo>
                    <a:pt x="1989772" y="893445"/>
                  </a:lnTo>
                  <a:lnTo>
                    <a:pt x="1986915" y="905827"/>
                  </a:lnTo>
                  <a:lnTo>
                    <a:pt x="1984057" y="909638"/>
                  </a:lnTo>
                  <a:lnTo>
                    <a:pt x="1974532" y="912495"/>
                  </a:lnTo>
                  <a:lnTo>
                    <a:pt x="1926907" y="902017"/>
                  </a:lnTo>
                  <a:lnTo>
                    <a:pt x="1897380" y="882967"/>
                  </a:lnTo>
                  <a:lnTo>
                    <a:pt x="1897380" y="888682"/>
                  </a:lnTo>
                  <a:lnTo>
                    <a:pt x="1881188" y="882015"/>
                  </a:lnTo>
                  <a:lnTo>
                    <a:pt x="1868805" y="893445"/>
                  </a:lnTo>
                  <a:lnTo>
                    <a:pt x="1860232" y="910590"/>
                  </a:lnTo>
                  <a:lnTo>
                    <a:pt x="1852613" y="919163"/>
                  </a:lnTo>
                  <a:lnTo>
                    <a:pt x="1811655" y="917257"/>
                  </a:lnTo>
                  <a:lnTo>
                    <a:pt x="1775460" y="923925"/>
                  </a:lnTo>
                  <a:lnTo>
                    <a:pt x="1764982" y="918210"/>
                  </a:lnTo>
                  <a:lnTo>
                    <a:pt x="1760220" y="902017"/>
                  </a:lnTo>
                  <a:lnTo>
                    <a:pt x="1757363" y="894397"/>
                  </a:lnTo>
                  <a:lnTo>
                    <a:pt x="1741170" y="875347"/>
                  </a:lnTo>
                  <a:lnTo>
                    <a:pt x="1734502" y="868680"/>
                  </a:lnTo>
                  <a:lnTo>
                    <a:pt x="1701165" y="847725"/>
                  </a:lnTo>
                  <a:lnTo>
                    <a:pt x="1663065" y="832485"/>
                  </a:lnTo>
                  <a:lnTo>
                    <a:pt x="1640205" y="828675"/>
                  </a:lnTo>
                  <a:lnTo>
                    <a:pt x="1617345" y="828675"/>
                  </a:lnTo>
                  <a:lnTo>
                    <a:pt x="1595438" y="833438"/>
                  </a:lnTo>
                  <a:lnTo>
                    <a:pt x="1576388" y="842963"/>
                  </a:lnTo>
                  <a:lnTo>
                    <a:pt x="1547813" y="864870"/>
                  </a:lnTo>
                  <a:lnTo>
                    <a:pt x="1543050" y="871538"/>
                  </a:lnTo>
                  <a:lnTo>
                    <a:pt x="1542097" y="880110"/>
                  </a:lnTo>
                  <a:lnTo>
                    <a:pt x="1539240" y="885825"/>
                  </a:lnTo>
                  <a:lnTo>
                    <a:pt x="1538288" y="891540"/>
                  </a:lnTo>
                  <a:lnTo>
                    <a:pt x="1539240" y="899160"/>
                  </a:lnTo>
                  <a:lnTo>
                    <a:pt x="1543050" y="902970"/>
                  </a:lnTo>
                  <a:lnTo>
                    <a:pt x="1558290" y="909638"/>
                  </a:lnTo>
                  <a:lnTo>
                    <a:pt x="1558290" y="914400"/>
                  </a:lnTo>
                  <a:lnTo>
                    <a:pt x="1550670" y="917257"/>
                  </a:lnTo>
                  <a:lnTo>
                    <a:pt x="1533525" y="916305"/>
                  </a:lnTo>
                  <a:lnTo>
                    <a:pt x="1525905" y="919163"/>
                  </a:lnTo>
                  <a:lnTo>
                    <a:pt x="1519238" y="927735"/>
                  </a:lnTo>
                  <a:lnTo>
                    <a:pt x="1518285" y="937260"/>
                  </a:lnTo>
                  <a:lnTo>
                    <a:pt x="1522095" y="960120"/>
                  </a:lnTo>
                  <a:lnTo>
                    <a:pt x="1496377" y="940117"/>
                  </a:lnTo>
                  <a:lnTo>
                    <a:pt x="1494472" y="942975"/>
                  </a:lnTo>
                  <a:lnTo>
                    <a:pt x="1488757" y="946785"/>
                  </a:lnTo>
                  <a:lnTo>
                    <a:pt x="1485900" y="950595"/>
                  </a:lnTo>
                  <a:lnTo>
                    <a:pt x="1472565" y="942975"/>
                  </a:lnTo>
                  <a:lnTo>
                    <a:pt x="1463040" y="948690"/>
                  </a:lnTo>
                  <a:lnTo>
                    <a:pt x="1451610" y="973455"/>
                  </a:lnTo>
                  <a:lnTo>
                    <a:pt x="1442085" y="982027"/>
                  </a:lnTo>
                  <a:lnTo>
                    <a:pt x="1419225" y="986790"/>
                  </a:lnTo>
                  <a:lnTo>
                    <a:pt x="1409700" y="991552"/>
                  </a:lnTo>
                  <a:lnTo>
                    <a:pt x="1396365" y="1016317"/>
                  </a:lnTo>
                  <a:lnTo>
                    <a:pt x="1385888" y="1048702"/>
                  </a:lnTo>
                  <a:lnTo>
                    <a:pt x="1370647" y="1071563"/>
                  </a:lnTo>
                  <a:lnTo>
                    <a:pt x="1347788" y="1067752"/>
                  </a:lnTo>
                  <a:lnTo>
                    <a:pt x="1343025" y="1060132"/>
                  </a:lnTo>
                  <a:lnTo>
                    <a:pt x="1337310" y="1049655"/>
                  </a:lnTo>
                  <a:lnTo>
                    <a:pt x="1331595" y="1041082"/>
                  </a:lnTo>
                  <a:lnTo>
                    <a:pt x="1321117" y="1037272"/>
                  </a:lnTo>
                  <a:lnTo>
                    <a:pt x="1303020" y="1036320"/>
                  </a:lnTo>
                  <a:lnTo>
                    <a:pt x="1297305" y="1037272"/>
                  </a:lnTo>
                  <a:lnTo>
                    <a:pt x="1291590" y="1040130"/>
                  </a:lnTo>
                  <a:lnTo>
                    <a:pt x="1287780" y="1043940"/>
                  </a:lnTo>
                  <a:lnTo>
                    <a:pt x="1283970" y="1047750"/>
                  </a:lnTo>
                  <a:lnTo>
                    <a:pt x="1280160" y="1051560"/>
                  </a:lnTo>
                  <a:lnTo>
                    <a:pt x="1270635" y="1053465"/>
                  </a:lnTo>
                  <a:lnTo>
                    <a:pt x="1252538" y="1049655"/>
                  </a:lnTo>
                  <a:lnTo>
                    <a:pt x="1244917" y="1054417"/>
                  </a:lnTo>
                  <a:lnTo>
                    <a:pt x="1237297" y="1058227"/>
                  </a:lnTo>
                  <a:lnTo>
                    <a:pt x="1200150" y="1051560"/>
                  </a:lnTo>
                  <a:lnTo>
                    <a:pt x="1181100" y="1059180"/>
                  </a:lnTo>
                  <a:lnTo>
                    <a:pt x="1143952" y="1083945"/>
                  </a:lnTo>
                  <a:lnTo>
                    <a:pt x="1123950" y="1092517"/>
                  </a:lnTo>
                  <a:lnTo>
                    <a:pt x="1082040" y="1102042"/>
                  </a:lnTo>
                  <a:lnTo>
                    <a:pt x="1064895" y="1109663"/>
                  </a:lnTo>
                  <a:lnTo>
                    <a:pt x="1051560" y="1123950"/>
                  </a:lnTo>
                  <a:lnTo>
                    <a:pt x="1050607" y="1119188"/>
                  </a:lnTo>
                  <a:lnTo>
                    <a:pt x="1048702" y="1119188"/>
                  </a:lnTo>
                  <a:lnTo>
                    <a:pt x="1027747" y="1148715"/>
                  </a:lnTo>
                  <a:lnTo>
                    <a:pt x="1024890" y="1154430"/>
                  </a:lnTo>
                  <a:lnTo>
                    <a:pt x="1019175" y="1161097"/>
                  </a:lnTo>
                  <a:lnTo>
                    <a:pt x="1001077" y="1192530"/>
                  </a:lnTo>
                  <a:lnTo>
                    <a:pt x="981075" y="1245870"/>
                  </a:lnTo>
                  <a:lnTo>
                    <a:pt x="975360" y="1255395"/>
                  </a:lnTo>
                  <a:lnTo>
                    <a:pt x="971550" y="1257300"/>
                  </a:lnTo>
                  <a:lnTo>
                    <a:pt x="959167" y="1255395"/>
                  </a:lnTo>
                  <a:lnTo>
                    <a:pt x="951547" y="1255395"/>
                  </a:lnTo>
                  <a:lnTo>
                    <a:pt x="945832" y="1255395"/>
                  </a:lnTo>
                  <a:lnTo>
                    <a:pt x="943927" y="1255395"/>
                  </a:lnTo>
                  <a:lnTo>
                    <a:pt x="941070" y="1258252"/>
                  </a:lnTo>
                  <a:lnTo>
                    <a:pt x="941070" y="1263015"/>
                  </a:lnTo>
                  <a:lnTo>
                    <a:pt x="940117" y="1265872"/>
                  </a:lnTo>
                  <a:lnTo>
                    <a:pt x="928688" y="1283970"/>
                  </a:lnTo>
                  <a:lnTo>
                    <a:pt x="922020" y="1289685"/>
                  </a:lnTo>
                  <a:lnTo>
                    <a:pt x="897255" y="1294447"/>
                  </a:lnTo>
                  <a:lnTo>
                    <a:pt x="890588" y="1303020"/>
                  </a:lnTo>
                  <a:lnTo>
                    <a:pt x="885825" y="1314450"/>
                  </a:lnTo>
                  <a:lnTo>
                    <a:pt x="879157" y="1326832"/>
                  </a:lnTo>
                  <a:lnTo>
                    <a:pt x="872490" y="1332547"/>
                  </a:lnTo>
                  <a:lnTo>
                    <a:pt x="855345" y="1344930"/>
                  </a:lnTo>
                  <a:lnTo>
                    <a:pt x="847725" y="1346835"/>
                  </a:lnTo>
                  <a:lnTo>
                    <a:pt x="835342" y="1348740"/>
                  </a:lnTo>
                  <a:lnTo>
                    <a:pt x="779145" y="1375410"/>
                  </a:lnTo>
                  <a:lnTo>
                    <a:pt x="767715" y="1377315"/>
                  </a:lnTo>
                  <a:lnTo>
                    <a:pt x="756285" y="1375410"/>
                  </a:lnTo>
                  <a:lnTo>
                    <a:pt x="722947" y="1362075"/>
                  </a:lnTo>
                  <a:lnTo>
                    <a:pt x="716280" y="1362075"/>
                  </a:lnTo>
                  <a:lnTo>
                    <a:pt x="705802" y="1365885"/>
                  </a:lnTo>
                  <a:lnTo>
                    <a:pt x="699135" y="1366838"/>
                  </a:lnTo>
                  <a:lnTo>
                    <a:pt x="664845" y="1365885"/>
                  </a:lnTo>
                  <a:lnTo>
                    <a:pt x="658177" y="1364932"/>
                  </a:lnTo>
                  <a:lnTo>
                    <a:pt x="677227" y="1359217"/>
                  </a:lnTo>
                  <a:lnTo>
                    <a:pt x="678180" y="1349692"/>
                  </a:lnTo>
                  <a:lnTo>
                    <a:pt x="687705" y="1344930"/>
                  </a:lnTo>
                  <a:lnTo>
                    <a:pt x="722947" y="1340167"/>
                  </a:lnTo>
                  <a:lnTo>
                    <a:pt x="718185" y="1322070"/>
                  </a:lnTo>
                  <a:lnTo>
                    <a:pt x="698182" y="1269682"/>
                  </a:lnTo>
                  <a:lnTo>
                    <a:pt x="683895" y="1265872"/>
                  </a:lnTo>
                  <a:lnTo>
                    <a:pt x="679132" y="1247775"/>
                  </a:lnTo>
                  <a:lnTo>
                    <a:pt x="658177" y="1249680"/>
                  </a:lnTo>
                  <a:lnTo>
                    <a:pt x="649605" y="1228725"/>
                  </a:lnTo>
                  <a:lnTo>
                    <a:pt x="669607" y="1197292"/>
                  </a:lnTo>
                  <a:lnTo>
                    <a:pt x="647700" y="1165860"/>
                  </a:lnTo>
                  <a:lnTo>
                    <a:pt x="602932" y="1169670"/>
                  </a:lnTo>
                  <a:lnTo>
                    <a:pt x="596265" y="1125855"/>
                  </a:lnTo>
                  <a:lnTo>
                    <a:pt x="637222" y="1101090"/>
                  </a:lnTo>
                  <a:lnTo>
                    <a:pt x="629602" y="1073467"/>
                  </a:lnTo>
                  <a:lnTo>
                    <a:pt x="599122" y="1054417"/>
                  </a:lnTo>
                  <a:lnTo>
                    <a:pt x="580072" y="1052513"/>
                  </a:lnTo>
                  <a:lnTo>
                    <a:pt x="574357" y="1027747"/>
                  </a:lnTo>
                  <a:lnTo>
                    <a:pt x="589597" y="1022985"/>
                  </a:lnTo>
                  <a:lnTo>
                    <a:pt x="595313" y="1013460"/>
                  </a:lnTo>
                  <a:lnTo>
                    <a:pt x="598170" y="1001077"/>
                  </a:lnTo>
                  <a:lnTo>
                    <a:pt x="600075" y="985838"/>
                  </a:lnTo>
                  <a:lnTo>
                    <a:pt x="600075" y="968692"/>
                  </a:lnTo>
                  <a:lnTo>
                    <a:pt x="594360" y="940117"/>
                  </a:lnTo>
                  <a:lnTo>
                    <a:pt x="593407" y="927735"/>
                  </a:lnTo>
                  <a:lnTo>
                    <a:pt x="591502" y="922972"/>
                  </a:lnTo>
                  <a:lnTo>
                    <a:pt x="581977" y="903922"/>
                  </a:lnTo>
                  <a:lnTo>
                    <a:pt x="580072" y="897255"/>
                  </a:lnTo>
                  <a:lnTo>
                    <a:pt x="579120" y="878205"/>
                  </a:lnTo>
                  <a:lnTo>
                    <a:pt x="570547" y="847725"/>
                  </a:lnTo>
                  <a:lnTo>
                    <a:pt x="557213" y="830580"/>
                  </a:lnTo>
                  <a:lnTo>
                    <a:pt x="521017" y="806767"/>
                  </a:lnTo>
                  <a:lnTo>
                    <a:pt x="491490" y="780097"/>
                  </a:lnTo>
                  <a:lnTo>
                    <a:pt x="482917" y="776288"/>
                  </a:lnTo>
                  <a:lnTo>
                    <a:pt x="461010" y="779145"/>
                  </a:lnTo>
                  <a:lnTo>
                    <a:pt x="441007" y="786765"/>
                  </a:lnTo>
                  <a:lnTo>
                    <a:pt x="422910" y="798195"/>
                  </a:lnTo>
                  <a:lnTo>
                    <a:pt x="410527" y="801052"/>
                  </a:lnTo>
                  <a:lnTo>
                    <a:pt x="404813" y="794385"/>
                  </a:lnTo>
                  <a:lnTo>
                    <a:pt x="400050" y="783907"/>
                  </a:lnTo>
                  <a:lnTo>
                    <a:pt x="388620" y="778192"/>
                  </a:lnTo>
                  <a:lnTo>
                    <a:pt x="364807" y="770572"/>
                  </a:lnTo>
                  <a:lnTo>
                    <a:pt x="357188" y="762952"/>
                  </a:lnTo>
                  <a:lnTo>
                    <a:pt x="339090" y="740092"/>
                  </a:lnTo>
                  <a:lnTo>
                    <a:pt x="325755" y="732472"/>
                  </a:lnTo>
                  <a:lnTo>
                    <a:pt x="320992" y="725805"/>
                  </a:lnTo>
                  <a:lnTo>
                    <a:pt x="315277" y="714375"/>
                  </a:lnTo>
                  <a:lnTo>
                    <a:pt x="310515" y="711517"/>
                  </a:lnTo>
                  <a:lnTo>
                    <a:pt x="300990" y="707707"/>
                  </a:lnTo>
                  <a:lnTo>
                    <a:pt x="296227" y="704850"/>
                  </a:lnTo>
                  <a:lnTo>
                    <a:pt x="260985" y="674370"/>
                  </a:lnTo>
                  <a:lnTo>
                    <a:pt x="241935" y="661988"/>
                  </a:lnTo>
                  <a:lnTo>
                    <a:pt x="220980" y="652463"/>
                  </a:lnTo>
                  <a:lnTo>
                    <a:pt x="141922" y="645795"/>
                  </a:lnTo>
                  <a:lnTo>
                    <a:pt x="130492" y="647700"/>
                  </a:lnTo>
                  <a:lnTo>
                    <a:pt x="121920" y="653415"/>
                  </a:lnTo>
                  <a:lnTo>
                    <a:pt x="103822" y="674370"/>
                  </a:lnTo>
                  <a:lnTo>
                    <a:pt x="96202" y="678180"/>
                  </a:lnTo>
                  <a:lnTo>
                    <a:pt x="58102" y="678180"/>
                  </a:lnTo>
                  <a:lnTo>
                    <a:pt x="46672" y="674370"/>
                  </a:lnTo>
                  <a:lnTo>
                    <a:pt x="28575" y="664845"/>
                  </a:lnTo>
                  <a:lnTo>
                    <a:pt x="17145" y="662940"/>
                  </a:lnTo>
                  <a:lnTo>
                    <a:pt x="2857" y="621982"/>
                  </a:lnTo>
                  <a:lnTo>
                    <a:pt x="0" y="611505"/>
                  </a:lnTo>
                  <a:lnTo>
                    <a:pt x="7620" y="591502"/>
                  </a:lnTo>
                  <a:lnTo>
                    <a:pt x="22860" y="574357"/>
                  </a:lnTo>
                  <a:lnTo>
                    <a:pt x="85725" y="526732"/>
                  </a:lnTo>
                  <a:lnTo>
                    <a:pt x="96202" y="523875"/>
                  </a:lnTo>
                  <a:lnTo>
                    <a:pt x="108585" y="522922"/>
                  </a:lnTo>
                  <a:lnTo>
                    <a:pt x="118110" y="520065"/>
                  </a:lnTo>
                  <a:lnTo>
                    <a:pt x="126682" y="515302"/>
                  </a:lnTo>
                  <a:lnTo>
                    <a:pt x="133350" y="508635"/>
                  </a:lnTo>
                  <a:lnTo>
                    <a:pt x="138113" y="503872"/>
                  </a:lnTo>
                  <a:lnTo>
                    <a:pt x="141922" y="498157"/>
                  </a:lnTo>
                  <a:lnTo>
                    <a:pt x="145732" y="494347"/>
                  </a:lnTo>
                  <a:lnTo>
                    <a:pt x="154305" y="493395"/>
                  </a:lnTo>
                  <a:lnTo>
                    <a:pt x="159067" y="494347"/>
                  </a:lnTo>
                  <a:lnTo>
                    <a:pt x="169545" y="498157"/>
                  </a:lnTo>
                  <a:lnTo>
                    <a:pt x="175260" y="499110"/>
                  </a:lnTo>
                  <a:lnTo>
                    <a:pt x="182880" y="496252"/>
                  </a:lnTo>
                  <a:lnTo>
                    <a:pt x="183832" y="490538"/>
                  </a:lnTo>
                  <a:lnTo>
                    <a:pt x="181927" y="483870"/>
                  </a:lnTo>
                  <a:lnTo>
                    <a:pt x="180975" y="478155"/>
                  </a:lnTo>
                  <a:lnTo>
                    <a:pt x="182880" y="471488"/>
                  </a:lnTo>
                  <a:lnTo>
                    <a:pt x="184785" y="466725"/>
                  </a:lnTo>
                  <a:lnTo>
                    <a:pt x="187642" y="461963"/>
                  </a:lnTo>
                  <a:lnTo>
                    <a:pt x="203835" y="444817"/>
                  </a:lnTo>
                  <a:lnTo>
                    <a:pt x="240030" y="421005"/>
                  </a:lnTo>
                  <a:lnTo>
                    <a:pt x="360045" y="364807"/>
                  </a:lnTo>
                  <a:lnTo>
                    <a:pt x="366713" y="360045"/>
                  </a:lnTo>
                  <a:lnTo>
                    <a:pt x="369570" y="350520"/>
                  </a:lnTo>
                  <a:lnTo>
                    <a:pt x="366713" y="347663"/>
                  </a:lnTo>
                  <a:lnTo>
                    <a:pt x="361950" y="344805"/>
                  </a:lnTo>
                  <a:lnTo>
                    <a:pt x="357188" y="340995"/>
                  </a:lnTo>
                  <a:lnTo>
                    <a:pt x="358140" y="332422"/>
                  </a:lnTo>
                  <a:lnTo>
                    <a:pt x="362902" y="328613"/>
                  </a:lnTo>
                  <a:lnTo>
                    <a:pt x="367665" y="331470"/>
                  </a:lnTo>
                  <a:lnTo>
                    <a:pt x="376238" y="342900"/>
                  </a:lnTo>
                  <a:lnTo>
                    <a:pt x="395288" y="354330"/>
                  </a:lnTo>
                  <a:lnTo>
                    <a:pt x="413385" y="351472"/>
                  </a:lnTo>
                  <a:lnTo>
                    <a:pt x="452438" y="327660"/>
                  </a:lnTo>
                  <a:lnTo>
                    <a:pt x="471488" y="319088"/>
                  </a:lnTo>
                  <a:lnTo>
                    <a:pt x="473392" y="314325"/>
                  </a:lnTo>
                  <a:lnTo>
                    <a:pt x="489585" y="297180"/>
                  </a:lnTo>
                  <a:lnTo>
                    <a:pt x="498157" y="293370"/>
                  </a:lnTo>
                  <a:lnTo>
                    <a:pt x="520065" y="279082"/>
                  </a:lnTo>
                  <a:lnTo>
                    <a:pt x="527685" y="275272"/>
                  </a:lnTo>
                  <a:lnTo>
                    <a:pt x="531495" y="277177"/>
                  </a:lnTo>
                  <a:lnTo>
                    <a:pt x="541020" y="283845"/>
                  </a:lnTo>
                  <a:lnTo>
                    <a:pt x="547688" y="285750"/>
                  </a:lnTo>
                  <a:lnTo>
                    <a:pt x="553402" y="284797"/>
                  </a:lnTo>
                  <a:lnTo>
                    <a:pt x="565785" y="280988"/>
                  </a:lnTo>
                  <a:lnTo>
                    <a:pt x="579120" y="264795"/>
                  </a:lnTo>
                  <a:lnTo>
                    <a:pt x="589597" y="258127"/>
                  </a:lnTo>
                  <a:lnTo>
                    <a:pt x="595313" y="255270"/>
                  </a:lnTo>
                  <a:lnTo>
                    <a:pt x="600075" y="255270"/>
                  </a:lnTo>
                  <a:lnTo>
                    <a:pt x="605790" y="256222"/>
                  </a:lnTo>
                  <a:lnTo>
                    <a:pt x="612457" y="259080"/>
                  </a:lnTo>
                  <a:lnTo>
                    <a:pt x="616267" y="262890"/>
                  </a:lnTo>
                  <a:lnTo>
                    <a:pt x="618172" y="267652"/>
                  </a:lnTo>
                  <a:lnTo>
                    <a:pt x="621030" y="271463"/>
                  </a:lnTo>
                  <a:lnTo>
                    <a:pt x="626745" y="272415"/>
                  </a:lnTo>
                  <a:lnTo>
                    <a:pt x="638175" y="270510"/>
                  </a:lnTo>
                  <a:lnTo>
                    <a:pt x="639127" y="261938"/>
                  </a:lnTo>
                  <a:lnTo>
                    <a:pt x="638175" y="243840"/>
                  </a:lnTo>
                  <a:lnTo>
                    <a:pt x="639127" y="230505"/>
                  </a:lnTo>
                  <a:lnTo>
                    <a:pt x="647700" y="233363"/>
                  </a:lnTo>
                  <a:lnTo>
                    <a:pt x="656272" y="228600"/>
                  </a:lnTo>
                  <a:lnTo>
                    <a:pt x="674370" y="223838"/>
                  </a:lnTo>
                  <a:lnTo>
                    <a:pt x="682942" y="219075"/>
                  </a:lnTo>
                  <a:lnTo>
                    <a:pt x="673417" y="210502"/>
                  </a:lnTo>
                  <a:lnTo>
                    <a:pt x="663892" y="204788"/>
                  </a:lnTo>
                  <a:lnTo>
                    <a:pt x="633413" y="197167"/>
                  </a:lnTo>
                  <a:lnTo>
                    <a:pt x="620077" y="198120"/>
                  </a:lnTo>
                  <a:lnTo>
                    <a:pt x="614363" y="200025"/>
                  </a:lnTo>
                  <a:lnTo>
                    <a:pt x="610552" y="204788"/>
                  </a:lnTo>
                  <a:lnTo>
                    <a:pt x="606742" y="207645"/>
                  </a:lnTo>
                  <a:lnTo>
                    <a:pt x="600075" y="202882"/>
                  </a:lnTo>
                  <a:lnTo>
                    <a:pt x="610552" y="189547"/>
                  </a:lnTo>
                  <a:lnTo>
                    <a:pt x="614363" y="180975"/>
                  </a:lnTo>
                  <a:lnTo>
                    <a:pt x="613410" y="176213"/>
                  </a:lnTo>
                  <a:lnTo>
                    <a:pt x="606742" y="174307"/>
                  </a:lnTo>
                  <a:lnTo>
                    <a:pt x="606742" y="167640"/>
                  </a:lnTo>
                  <a:lnTo>
                    <a:pt x="609600" y="160020"/>
                  </a:lnTo>
                  <a:lnTo>
                    <a:pt x="613410" y="154305"/>
                  </a:lnTo>
                  <a:lnTo>
                    <a:pt x="612457" y="148590"/>
                  </a:lnTo>
                  <a:lnTo>
                    <a:pt x="605790" y="121920"/>
                  </a:lnTo>
                  <a:lnTo>
                    <a:pt x="604838" y="113347"/>
                  </a:lnTo>
                  <a:lnTo>
                    <a:pt x="610552" y="105727"/>
                  </a:lnTo>
                  <a:lnTo>
                    <a:pt x="615315" y="97155"/>
                  </a:lnTo>
                  <a:lnTo>
                    <a:pt x="613410" y="85725"/>
                  </a:lnTo>
                  <a:lnTo>
                    <a:pt x="604838" y="70485"/>
                  </a:lnTo>
                  <a:lnTo>
                    <a:pt x="621982" y="52388"/>
                  </a:lnTo>
                  <a:lnTo>
                    <a:pt x="627697" y="33338"/>
                  </a:lnTo>
                  <a:lnTo>
                    <a:pt x="622935" y="5715"/>
                  </a:lnTo>
                  <a:lnTo>
                    <a:pt x="626745" y="0"/>
                  </a:lnTo>
                  <a:lnTo>
                    <a:pt x="632460" y="4763"/>
                  </a:lnTo>
                  <a:lnTo>
                    <a:pt x="636270" y="10477"/>
                  </a:lnTo>
                  <a:lnTo>
                    <a:pt x="660082" y="54292"/>
                  </a:lnTo>
                  <a:lnTo>
                    <a:pt x="664845" y="59055"/>
                  </a:lnTo>
                  <a:lnTo>
                    <a:pt x="688657" y="73342"/>
                  </a:lnTo>
                  <a:lnTo>
                    <a:pt x="695325" y="67627"/>
                  </a:lnTo>
                  <a:lnTo>
                    <a:pt x="698182" y="56197"/>
                  </a:lnTo>
                  <a:lnTo>
                    <a:pt x="698182" y="30480"/>
                  </a:lnTo>
                  <a:lnTo>
                    <a:pt x="720090" y="40005"/>
                  </a:lnTo>
                  <a:lnTo>
                    <a:pt x="722947" y="43815"/>
                  </a:lnTo>
                  <a:lnTo>
                    <a:pt x="722947" y="64770"/>
                  </a:lnTo>
                  <a:lnTo>
                    <a:pt x="721042" y="72390"/>
                  </a:lnTo>
                  <a:lnTo>
                    <a:pt x="716280" y="78105"/>
                  </a:lnTo>
                  <a:lnTo>
                    <a:pt x="736282" y="102870"/>
                  </a:lnTo>
                  <a:lnTo>
                    <a:pt x="741045" y="115252"/>
                  </a:lnTo>
                  <a:lnTo>
                    <a:pt x="730567" y="120015"/>
                  </a:lnTo>
                  <a:lnTo>
                    <a:pt x="730567" y="122872"/>
                  </a:lnTo>
                  <a:lnTo>
                    <a:pt x="731520" y="125730"/>
                  </a:lnTo>
                  <a:lnTo>
                    <a:pt x="734377" y="130492"/>
                  </a:lnTo>
                  <a:lnTo>
                    <a:pt x="730567" y="136207"/>
                  </a:lnTo>
                  <a:lnTo>
                    <a:pt x="739140" y="135255"/>
                  </a:lnTo>
                  <a:lnTo>
                    <a:pt x="745807" y="129540"/>
                  </a:lnTo>
                  <a:lnTo>
                    <a:pt x="750570" y="122872"/>
                  </a:lnTo>
                  <a:lnTo>
                    <a:pt x="755332" y="120015"/>
                  </a:lnTo>
                  <a:lnTo>
                    <a:pt x="762000" y="122872"/>
                  </a:lnTo>
                  <a:lnTo>
                    <a:pt x="765810" y="130492"/>
                  </a:lnTo>
                  <a:lnTo>
                    <a:pt x="767715" y="137160"/>
                  </a:lnTo>
                  <a:lnTo>
                    <a:pt x="771525" y="140017"/>
                  </a:lnTo>
                  <a:lnTo>
                    <a:pt x="774382" y="143827"/>
                  </a:lnTo>
                  <a:lnTo>
                    <a:pt x="782955" y="149542"/>
                  </a:lnTo>
                  <a:lnTo>
                    <a:pt x="791527" y="152400"/>
                  </a:lnTo>
                  <a:lnTo>
                    <a:pt x="795338" y="142875"/>
                  </a:lnTo>
                  <a:lnTo>
                    <a:pt x="792480" y="134302"/>
                  </a:lnTo>
                  <a:lnTo>
                    <a:pt x="788670" y="125730"/>
                  </a:lnTo>
                  <a:lnTo>
                    <a:pt x="788670" y="119063"/>
                  </a:lnTo>
                  <a:lnTo>
                    <a:pt x="799147" y="114300"/>
                  </a:lnTo>
                  <a:lnTo>
                    <a:pt x="796290" y="106680"/>
                  </a:lnTo>
                  <a:lnTo>
                    <a:pt x="792480" y="105727"/>
                  </a:lnTo>
                  <a:lnTo>
                    <a:pt x="786765" y="106680"/>
                  </a:lnTo>
                  <a:lnTo>
                    <a:pt x="781050" y="103822"/>
                  </a:lnTo>
                  <a:lnTo>
                    <a:pt x="771525" y="95250"/>
                  </a:lnTo>
                  <a:lnTo>
                    <a:pt x="769620" y="90488"/>
                  </a:lnTo>
                  <a:lnTo>
                    <a:pt x="775335" y="87630"/>
                  </a:lnTo>
                  <a:lnTo>
                    <a:pt x="800100" y="88582"/>
                  </a:lnTo>
                  <a:lnTo>
                    <a:pt x="810577" y="92392"/>
                  </a:lnTo>
                  <a:lnTo>
                    <a:pt x="821055" y="99060"/>
                  </a:lnTo>
                  <a:lnTo>
                    <a:pt x="842963" y="130492"/>
                  </a:lnTo>
                  <a:lnTo>
                    <a:pt x="860107" y="140017"/>
                  </a:lnTo>
                  <a:lnTo>
                    <a:pt x="889635" y="166688"/>
                  </a:lnTo>
                  <a:lnTo>
                    <a:pt x="889635" y="171450"/>
                  </a:lnTo>
                  <a:lnTo>
                    <a:pt x="883920" y="178117"/>
                  </a:lnTo>
                  <a:lnTo>
                    <a:pt x="877252" y="180975"/>
                  </a:lnTo>
                  <a:lnTo>
                    <a:pt x="869632" y="180975"/>
                  </a:lnTo>
                  <a:lnTo>
                    <a:pt x="860107" y="177165"/>
                  </a:lnTo>
                  <a:lnTo>
                    <a:pt x="862965" y="189547"/>
                  </a:lnTo>
                  <a:lnTo>
                    <a:pt x="868680" y="200025"/>
                  </a:lnTo>
                  <a:lnTo>
                    <a:pt x="882015" y="213360"/>
                  </a:lnTo>
                  <a:lnTo>
                    <a:pt x="888682" y="207645"/>
                  </a:lnTo>
                  <a:lnTo>
                    <a:pt x="897255" y="206692"/>
                  </a:lnTo>
                  <a:lnTo>
                    <a:pt x="904875" y="202882"/>
                  </a:lnTo>
                  <a:lnTo>
                    <a:pt x="907732" y="189547"/>
                  </a:lnTo>
                  <a:lnTo>
                    <a:pt x="906780" y="174307"/>
                  </a:lnTo>
                  <a:lnTo>
                    <a:pt x="903922" y="164782"/>
                  </a:lnTo>
                  <a:lnTo>
                    <a:pt x="898207" y="159067"/>
                  </a:lnTo>
                  <a:lnTo>
                    <a:pt x="867727" y="132397"/>
                  </a:lnTo>
                  <a:lnTo>
                    <a:pt x="862013" y="130492"/>
                  </a:lnTo>
                  <a:lnTo>
                    <a:pt x="861060" y="128588"/>
                  </a:lnTo>
                  <a:lnTo>
                    <a:pt x="860107" y="124777"/>
                  </a:lnTo>
                  <a:lnTo>
                    <a:pt x="861060" y="120967"/>
                  </a:lnTo>
                  <a:lnTo>
                    <a:pt x="862013" y="120015"/>
                  </a:lnTo>
                  <a:lnTo>
                    <a:pt x="864870" y="120015"/>
                  </a:lnTo>
                  <a:lnTo>
                    <a:pt x="869632" y="123825"/>
                  </a:lnTo>
                  <a:lnTo>
                    <a:pt x="876300" y="126682"/>
                  </a:lnTo>
                  <a:lnTo>
                    <a:pt x="880110" y="128588"/>
                  </a:lnTo>
                  <a:lnTo>
                    <a:pt x="883920" y="132397"/>
                  </a:lnTo>
                  <a:lnTo>
                    <a:pt x="885825" y="136207"/>
                  </a:lnTo>
                  <a:lnTo>
                    <a:pt x="889635" y="130492"/>
                  </a:lnTo>
                  <a:lnTo>
                    <a:pt x="912495" y="137160"/>
                  </a:lnTo>
                  <a:lnTo>
                    <a:pt x="921067" y="142875"/>
                  </a:lnTo>
                  <a:lnTo>
                    <a:pt x="914400" y="151447"/>
                  </a:lnTo>
                  <a:lnTo>
                    <a:pt x="920115" y="161925"/>
                  </a:lnTo>
                  <a:lnTo>
                    <a:pt x="927735" y="160020"/>
                  </a:lnTo>
                  <a:lnTo>
                    <a:pt x="946785" y="130492"/>
                  </a:lnTo>
                  <a:lnTo>
                    <a:pt x="947738" y="135255"/>
                  </a:lnTo>
                  <a:lnTo>
                    <a:pt x="946785" y="147638"/>
                  </a:lnTo>
                  <a:lnTo>
                    <a:pt x="948690" y="159067"/>
                  </a:lnTo>
                  <a:lnTo>
                    <a:pt x="952500" y="162877"/>
                  </a:lnTo>
                  <a:lnTo>
                    <a:pt x="958215" y="165735"/>
                  </a:lnTo>
                  <a:lnTo>
                    <a:pt x="963930" y="167640"/>
                  </a:lnTo>
                  <a:lnTo>
                    <a:pt x="968692" y="166688"/>
                  </a:lnTo>
                  <a:lnTo>
                    <a:pt x="971550" y="162877"/>
                  </a:lnTo>
                  <a:lnTo>
                    <a:pt x="973455" y="149542"/>
                  </a:lnTo>
                  <a:lnTo>
                    <a:pt x="975360" y="145732"/>
                  </a:lnTo>
                  <a:lnTo>
                    <a:pt x="985838" y="145732"/>
                  </a:lnTo>
                  <a:lnTo>
                    <a:pt x="992505" y="152400"/>
                  </a:lnTo>
                  <a:lnTo>
                    <a:pt x="1004888" y="171450"/>
                  </a:lnTo>
                  <a:lnTo>
                    <a:pt x="994410" y="176213"/>
                  </a:lnTo>
                  <a:lnTo>
                    <a:pt x="990600" y="177165"/>
                  </a:lnTo>
                  <a:lnTo>
                    <a:pt x="999172" y="184785"/>
                  </a:lnTo>
                  <a:lnTo>
                    <a:pt x="1010602" y="190500"/>
                  </a:lnTo>
                  <a:lnTo>
                    <a:pt x="1017270" y="198120"/>
                  </a:lnTo>
                  <a:lnTo>
                    <a:pt x="1015365" y="213360"/>
                  </a:lnTo>
                  <a:lnTo>
                    <a:pt x="1011555" y="216217"/>
                  </a:lnTo>
                  <a:lnTo>
                    <a:pt x="1000125" y="221932"/>
                  </a:lnTo>
                  <a:lnTo>
                    <a:pt x="997267" y="225742"/>
                  </a:lnTo>
                  <a:lnTo>
                    <a:pt x="996315" y="235267"/>
                  </a:lnTo>
                  <a:lnTo>
                    <a:pt x="991552" y="247650"/>
                  </a:lnTo>
                  <a:lnTo>
                    <a:pt x="990600" y="255270"/>
                  </a:lnTo>
                  <a:lnTo>
                    <a:pt x="1004888" y="239077"/>
                  </a:lnTo>
                  <a:lnTo>
                    <a:pt x="1004888" y="245745"/>
                  </a:lnTo>
                  <a:lnTo>
                    <a:pt x="1004888" y="249555"/>
                  </a:lnTo>
                  <a:lnTo>
                    <a:pt x="1001077" y="255270"/>
                  </a:lnTo>
                  <a:lnTo>
                    <a:pt x="1005840" y="253365"/>
                  </a:lnTo>
                  <a:lnTo>
                    <a:pt x="1008697" y="252413"/>
                  </a:lnTo>
                  <a:lnTo>
                    <a:pt x="1010602" y="249555"/>
                  </a:lnTo>
                  <a:lnTo>
                    <a:pt x="1012507" y="244792"/>
                  </a:lnTo>
                  <a:lnTo>
                    <a:pt x="1015365" y="244792"/>
                  </a:lnTo>
                  <a:lnTo>
                    <a:pt x="1015365" y="262890"/>
                  </a:lnTo>
                  <a:lnTo>
                    <a:pt x="1018222" y="267652"/>
                  </a:lnTo>
                  <a:lnTo>
                    <a:pt x="1021080" y="260985"/>
                  </a:lnTo>
                  <a:lnTo>
                    <a:pt x="1022985" y="241935"/>
                  </a:lnTo>
                  <a:lnTo>
                    <a:pt x="1026795" y="226695"/>
                  </a:lnTo>
                  <a:lnTo>
                    <a:pt x="1035367" y="216217"/>
                  </a:lnTo>
                  <a:lnTo>
                    <a:pt x="1046797" y="213360"/>
                  </a:lnTo>
                  <a:lnTo>
                    <a:pt x="1055370" y="218122"/>
                  </a:lnTo>
                  <a:lnTo>
                    <a:pt x="1051560" y="221932"/>
                  </a:lnTo>
                  <a:lnTo>
                    <a:pt x="1044892" y="233363"/>
                  </a:lnTo>
                  <a:lnTo>
                    <a:pt x="1052513" y="252413"/>
                  </a:lnTo>
                  <a:lnTo>
                    <a:pt x="1058227" y="260032"/>
                  </a:lnTo>
                  <a:lnTo>
                    <a:pt x="1064895" y="257175"/>
                  </a:lnTo>
                  <a:lnTo>
                    <a:pt x="1074420" y="241935"/>
                  </a:lnTo>
                  <a:lnTo>
                    <a:pt x="1079182" y="232410"/>
                  </a:lnTo>
                  <a:lnTo>
                    <a:pt x="1081088" y="225742"/>
                  </a:lnTo>
                  <a:lnTo>
                    <a:pt x="1083945" y="223838"/>
                  </a:lnTo>
                  <a:lnTo>
                    <a:pt x="1092517" y="226695"/>
                  </a:lnTo>
                  <a:lnTo>
                    <a:pt x="1101090" y="227647"/>
                  </a:lnTo>
                  <a:lnTo>
                    <a:pt x="1105852" y="218122"/>
                  </a:lnTo>
                  <a:lnTo>
                    <a:pt x="1103947" y="211455"/>
                  </a:lnTo>
                  <a:lnTo>
                    <a:pt x="1098232" y="203835"/>
                  </a:lnTo>
                  <a:lnTo>
                    <a:pt x="1087755" y="192405"/>
                  </a:lnTo>
                  <a:lnTo>
                    <a:pt x="1087755" y="187642"/>
                  </a:lnTo>
                  <a:lnTo>
                    <a:pt x="1125855" y="200977"/>
                  </a:lnTo>
                  <a:lnTo>
                    <a:pt x="1131570" y="204788"/>
                  </a:lnTo>
                  <a:lnTo>
                    <a:pt x="1132522" y="212407"/>
                  </a:lnTo>
                  <a:lnTo>
                    <a:pt x="1134427" y="216217"/>
                  </a:lnTo>
                  <a:lnTo>
                    <a:pt x="1134427" y="221932"/>
                  </a:lnTo>
                  <a:lnTo>
                    <a:pt x="1131570" y="233363"/>
                  </a:lnTo>
                  <a:lnTo>
                    <a:pt x="1129665" y="238125"/>
                  </a:lnTo>
                  <a:lnTo>
                    <a:pt x="1121092" y="249555"/>
                  </a:lnTo>
                  <a:lnTo>
                    <a:pt x="1117282" y="255270"/>
                  </a:lnTo>
                  <a:lnTo>
                    <a:pt x="1112520" y="258127"/>
                  </a:lnTo>
                  <a:lnTo>
                    <a:pt x="1107757" y="261938"/>
                  </a:lnTo>
                  <a:lnTo>
                    <a:pt x="1100138" y="263842"/>
                  </a:lnTo>
                  <a:lnTo>
                    <a:pt x="1093470" y="264795"/>
                  </a:lnTo>
                  <a:lnTo>
                    <a:pt x="1088707" y="269557"/>
                  </a:lnTo>
                  <a:lnTo>
                    <a:pt x="1086802" y="286702"/>
                  </a:lnTo>
                  <a:lnTo>
                    <a:pt x="1082040" y="291465"/>
                  </a:lnTo>
                  <a:lnTo>
                    <a:pt x="1075372" y="294322"/>
                  </a:lnTo>
                  <a:lnTo>
                    <a:pt x="1071563" y="301942"/>
                  </a:lnTo>
                  <a:lnTo>
                    <a:pt x="1068705" y="310515"/>
                  </a:lnTo>
                  <a:lnTo>
                    <a:pt x="1065847" y="317182"/>
                  </a:lnTo>
                  <a:lnTo>
                    <a:pt x="1060132" y="322897"/>
                  </a:lnTo>
                  <a:lnTo>
                    <a:pt x="1044892" y="333375"/>
                  </a:lnTo>
                  <a:lnTo>
                    <a:pt x="1044892" y="338138"/>
                  </a:lnTo>
                  <a:lnTo>
                    <a:pt x="1067752" y="333375"/>
                  </a:lnTo>
                  <a:lnTo>
                    <a:pt x="1088707" y="322897"/>
                  </a:lnTo>
                  <a:lnTo>
                    <a:pt x="1143000" y="272415"/>
                  </a:lnTo>
                  <a:lnTo>
                    <a:pt x="1151572" y="267652"/>
                  </a:lnTo>
                  <a:lnTo>
                    <a:pt x="1173480" y="262890"/>
                  </a:lnTo>
                  <a:lnTo>
                    <a:pt x="1182052" y="256222"/>
                  </a:lnTo>
                  <a:lnTo>
                    <a:pt x="1196340" y="239077"/>
                  </a:lnTo>
                  <a:lnTo>
                    <a:pt x="1199197" y="249555"/>
                  </a:lnTo>
                  <a:lnTo>
                    <a:pt x="1200150" y="258127"/>
                  </a:lnTo>
                  <a:lnTo>
                    <a:pt x="1199197" y="265747"/>
                  </a:lnTo>
                  <a:lnTo>
                    <a:pt x="1195388" y="272415"/>
                  </a:lnTo>
                  <a:lnTo>
                    <a:pt x="1191577" y="271463"/>
                  </a:lnTo>
                  <a:lnTo>
                    <a:pt x="1174432" y="274320"/>
                  </a:lnTo>
                  <a:lnTo>
                    <a:pt x="1173480" y="275272"/>
                  </a:lnTo>
                  <a:lnTo>
                    <a:pt x="1165860" y="277177"/>
                  </a:lnTo>
                  <a:lnTo>
                    <a:pt x="1160145" y="280035"/>
                  </a:lnTo>
                  <a:lnTo>
                    <a:pt x="1155382" y="285750"/>
                  </a:lnTo>
                  <a:lnTo>
                    <a:pt x="1153477" y="294322"/>
                  </a:lnTo>
                  <a:lnTo>
                    <a:pt x="1151572" y="304800"/>
                  </a:lnTo>
                  <a:lnTo>
                    <a:pt x="1144905" y="318135"/>
                  </a:lnTo>
                  <a:lnTo>
                    <a:pt x="1142047" y="327660"/>
                  </a:lnTo>
                  <a:lnTo>
                    <a:pt x="1156335" y="321945"/>
                  </a:lnTo>
                  <a:lnTo>
                    <a:pt x="1169670" y="312420"/>
                  </a:lnTo>
                  <a:lnTo>
                    <a:pt x="1183005" y="306705"/>
                  </a:lnTo>
                  <a:lnTo>
                    <a:pt x="1196340" y="312420"/>
                  </a:lnTo>
                  <a:lnTo>
                    <a:pt x="1203960" y="329565"/>
                  </a:lnTo>
                  <a:lnTo>
                    <a:pt x="1198245" y="345757"/>
                  </a:lnTo>
                  <a:lnTo>
                    <a:pt x="1186815" y="360997"/>
                  </a:lnTo>
                  <a:lnTo>
                    <a:pt x="1178242" y="374332"/>
                  </a:lnTo>
                  <a:lnTo>
                    <a:pt x="1189672" y="370522"/>
                  </a:lnTo>
                  <a:lnTo>
                    <a:pt x="1199197" y="372427"/>
                  </a:lnTo>
                  <a:lnTo>
                    <a:pt x="1218247" y="379095"/>
                  </a:lnTo>
                  <a:lnTo>
                    <a:pt x="1230630" y="377190"/>
                  </a:lnTo>
                  <a:lnTo>
                    <a:pt x="1249680" y="365760"/>
                  </a:lnTo>
                  <a:lnTo>
                    <a:pt x="1261110" y="363855"/>
                  </a:lnTo>
                  <a:lnTo>
                    <a:pt x="1261110" y="368617"/>
                  </a:lnTo>
                  <a:lnTo>
                    <a:pt x="1257300" y="373380"/>
                  </a:lnTo>
                  <a:lnTo>
                    <a:pt x="1247775" y="382905"/>
                  </a:lnTo>
                  <a:lnTo>
                    <a:pt x="1243013" y="389572"/>
                  </a:lnTo>
                  <a:lnTo>
                    <a:pt x="1257300" y="392430"/>
                  </a:lnTo>
                  <a:lnTo>
                    <a:pt x="1261110" y="394335"/>
                  </a:lnTo>
                  <a:lnTo>
                    <a:pt x="1264920" y="400050"/>
                  </a:lnTo>
                  <a:lnTo>
                    <a:pt x="1271588" y="411480"/>
                  </a:lnTo>
                  <a:lnTo>
                    <a:pt x="1275397" y="416242"/>
                  </a:lnTo>
                  <a:lnTo>
                    <a:pt x="1283017" y="418147"/>
                  </a:lnTo>
                  <a:lnTo>
                    <a:pt x="1310640" y="416242"/>
                  </a:lnTo>
                  <a:lnTo>
                    <a:pt x="1316355" y="420052"/>
                  </a:lnTo>
                  <a:lnTo>
                    <a:pt x="1329690" y="451485"/>
                  </a:lnTo>
                  <a:lnTo>
                    <a:pt x="1335405" y="456247"/>
                  </a:lnTo>
                  <a:lnTo>
                    <a:pt x="1342072" y="459105"/>
                  </a:lnTo>
                  <a:lnTo>
                    <a:pt x="1345882" y="463867"/>
                  </a:lnTo>
                  <a:lnTo>
                    <a:pt x="1347788" y="475297"/>
                  </a:lnTo>
                  <a:lnTo>
                    <a:pt x="1350645" y="484822"/>
                  </a:lnTo>
                  <a:lnTo>
                    <a:pt x="1363980" y="497205"/>
                  </a:lnTo>
                  <a:lnTo>
                    <a:pt x="1366838" y="506730"/>
                  </a:lnTo>
                  <a:lnTo>
                    <a:pt x="1375410" y="558165"/>
                  </a:lnTo>
                  <a:lnTo>
                    <a:pt x="1377315" y="560070"/>
                  </a:lnTo>
                  <a:lnTo>
                    <a:pt x="1379220" y="562927"/>
                  </a:lnTo>
                  <a:lnTo>
                    <a:pt x="1377315" y="570547"/>
                  </a:lnTo>
                  <a:lnTo>
                    <a:pt x="1374457" y="575310"/>
                  </a:lnTo>
                  <a:lnTo>
                    <a:pt x="1367790" y="580072"/>
                  </a:lnTo>
                  <a:lnTo>
                    <a:pt x="1364932" y="582930"/>
                  </a:lnTo>
                  <a:lnTo>
                    <a:pt x="1358265" y="588645"/>
                  </a:lnTo>
                  <a:lnTo>
                    <a:pt x="1340167" y="592455"/>
                  </a:lnTo>
                  <a:lnTo>
                    <a:pt x="1333500" y="596265"/>
                  </a:lnTo>
                  <a:lnTo>
                    <a:pt x="1333500" y="601980"/>
                  </a:lnTo>
                  <a:lnTo>
                    <a:pt x="1341120" y="608647"/>
                  </a:lnTo>
                  <a:lnTo>
                    <a:pt x="1355407" y="637222"/>
                  </a:lnTo>
                  <a:lnTo>
                    <a:pt x="1362075" y="644842"/>
                  </a:lnTo>
                  <a:lnTo>
                    <a:pt x="1393507" y="669607"/>
                  </a:lnTo>
                  <a:lnTo>
                    <a:pt x="1398270" y="669607"/>
                  </a:lnTo>
                  <a:lnTo>
                    <a:pt x="1403985" y="666750"/>
                  </a:lnTo>
                  <a:lnTo>
                    <a:pt x="1413510" y="662940"/>
                  </a:lnTo>
                  <a:lnTo>
                    <a:pt x="1421130" y="663892"/>
                  </a:lnTo>
                  <a:lnTo>
                    <a:pt x="1430655" y="665797"/>
                  </a:lnTo>
                  <a:lnTo>
                    <a:pt x="1438275" y="670560"/>
                  </a:lnTo>
                  <a:lnTo>
                    <a:pt x="1442085" y="676275"/>
                  </a:lnTo>
                  <a:lnTo>
                    <a:pt x="1452563" y="682942"/>
                  </a:lnTo>
                  <a:lnTo>
                    <a:pt x="1512570" y="704850"/>
                  </a:lnTo>
                  <a:lnTo>
                    <a:pt x="1517332" y="708660"/>
                  </a:lnTo>
                  <a:lnTo>
                    <a:pt x="1524000" y="717232"/>
                  </a:lnTo>
                  <a:lnTo>
                    <a:pt x="1532572" y="725805"/>
                  </a:lnTo>
                  <a:lnTo>
                    <a:pt x="1541145" y="730567"/>
                  </a:lnTo>
                  <a:lnTo>
                    <a:pt x="1549717" y="727710"/>
                  </a:lnTo>
                  <a:lnTo>
                    <a:pt x="1557338" y="722947"/>
                  </a:lnTo>
                  <a:lnTo>
                    <a:pt x="1568767" y="709613"/>
                  </a:lnTo>
                  <a:lnTo>
                    <a:pt x="1561147" y="699135"/>
                  </a:lnTo>
                  <a:lnTo>
                    <a:pt x="1552575" y="695325"/>
                  </a:lnTo>
                  <a:lnTo>
                    <a:pt x="1543050" y="693420"/>
                  </a:lnTo>
                  <a:lnTo>
                    <a:pt x="1532572" y="688657"/>
                  </a:lnTo>
                  <a:lnTo>
                    <a:pt x="1527810" y="682942"/>
                  </a:lnTo>
                  <a:lnTo>
                    <a:pt x="1524952" y="676275"/>
                  </a:lnTo>
                  <a:lnTo>
                    <a:pt x="1522095" y="670560"/>
                  </a:lnTo>
                  <a:lnTo>
                    <a:pt x="1516380" y="667702"/>
                  </a:lnTo>
                  <a:lnTo>
                    <a:pt x="1510665" y="666750"/>
                  </a:lnTo>
                  <a:lnTo>
                    <a:pt x="1506855" y="663892"/>
                  </a:lnTo>
                  <a:lnTo>
                    <a:pt x="1395413" y="502920"/>
                  </a:lnTo>
                  <a:lnTo>
                    <a:pt x="1372552" y="477202"/>
                  </a:lnTo>
                  <a:lnTo>
                    <a:pt x="1369695" y="470535"/>
                  </a:lnTo>
                  <a:lnTo>
                    <a:pt x="1355407" y="451485"/>
                  </a:lnTo>
                  <a:lnTo>
                    <a:pt x="1345882" y="428625"/>
                  </a:lnTo>
                  <a:lnTo>
                    <a:pt x="1341120" y="421005"/>
                  </a:lnTo>
                  <a:lnTo>
                    <a:pt x="1337310" y="417195"/>
                  </a:lnTo>
                  <a:lnTo>
                    <a:pt x="1332547" y="415290"/>
                  </a:lnTo>
                  <a:lnTo>
                    <a:pt x="1327785" y="411480"/>
                  </a:lnTo>
                  <a:lnTo>
                    <a:pt x="1326832" y="401955"/>
                  </a:lnTo>
                  <a:lnTo>
                    <a:pt x="1318260" y="387667"/>
                  </a:lnTo>
                  <a:lnTo>
                    <a:pt x="1317307" y="384810"/>
                  </a:lnTo>
                  <a:lnTo>
                    <a:pt x="1316355" y="37909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" name="Полилиния: фигура 4">
              <a:extLst>
                <a:ext uri="{FF2B5EF4-FFF2-40B4-BE49-F238E27FC236}">
                  <a16:creationId xmlns:a16="http://schemas.microsoft.com/office/drawing/2014/main" id="{5BAB39AD-F45B-0786-5256-AA01DF3BC0E5}"/>
                </a:ext>
              </a:extLst>
            </p:cNvPr>
            <p:cNvSpPr/>
            <p:nvPr/>
          </p:nvSpPr>
          <p:spPr>
            <a:xfrm>
              <a:off x="5601653" y="3676650"/>
              <a:ext cx="1543050" cy="1390650"/>
            </a:xfrm>
            <a:custGeom>
              <a:avLst/>
              <a:gdLst>
                <a:gd name="connsiteX0" fmla="*/ 866775 w 1543050"/>
                <a:gd name="connsiteY0" fmla="*/ 1323023 h 1390650"/>
                <a:gd name="connsiteX1" fmla="*/ 847725 w 1543050"/>
                <a:gd name="connsiteY1" fmla="*/ 1353503 h 1390650"/>
                <a:gd name="connsiteX2" fmla="*/ 823912 w 1543050"/>
                <a:gd name="connsiteY2" fmla="*/ 1343025 h 1390650"/>
                <a:gd name="connsiteX3" fmla="*/ 811530 w 1543050"/>
                <a:gd name="connsiteY3" fmla="*/ 1340168 h 1390650"/>
                <a:gd name="connsiteX4" fmla="*/ 800100 w 1543050"/>
                <a:gd name="connsiteY4" fmla="*/ 1339215 h 1390650"/>
                <a:gd name="connsiteX5" fmla="*/ 792480 w 1543050"/>
                <a:gd name="connsiteY5" fmla="*/ 1343978 h 1390650"/>
                <a:gd name="connsiteX6" fmla="*/ 783908 w 1543050"/>
                <a:gd name="connsiteY6" fmla="*/ 1352550 h 1390650"/>
                <a:gd name="connsiteX7" fmla="*/ 781050 w 1543050"/>
                <a:gd name="connsiteY7" fmla="*/ 1356360 h 1390650"/>
                <a:gd name="connsiteX8" fmla="*/ 779145 w 1543050"/>
                <a:gd name="connsiteY8" fmla="*/ 1362075 h 1390650"/>
                <a:gd name="connsiteX9" fmla="*/ 778192 w 1543050"/>
                <a:gd name="connsiteY9" fmla="*/ 1369695 h 1390650"/>
                <a:gd name="connsiteX10" fmla="*/ 779145 w 1543050"/>
                <a:gd name="connsiteY10" fmla="*/ 1393507 h 1390650"/>
                <a:gd name="connsiteX11" fmla="*/ 766762 w 1543050"/>
                <a:gd name="connsiteY11" fmla="*/ 1361123 h 1390650"/>
                <a:gd name="connsiteX12" fmla="*/ 762953 w 1543050"/>
                <a:gd name="connsiteY12" fmla="*/ 1356360 h 1390650"/>
                <a:gd name="connsiteX13" fmla="*/ 755333 w 1543050"/>
                <a:gd name="connsiteY13" fmla="*/ 1353503 h 1390650"/>
                <a:gd name="connsiteX14" fmla="*/ 693420 w 1543050"/>
                <a:gd name="connsiteY14" fmla="*/ 1290638 h 1390650"/>
                <a:gd name="connsiteX15" fmla="*/ 684847 w 1543050"/>
                <a:gd name="connsiteY15" fmla="*/ 1272540 h 1390650"/>
                <a:gd name="connsiteX16" fmla="*/ 701992 w 1543050"/>
                <a:gd name="connsiteY16" fmla="*/ 1286828 h 1390650"/>
                <a:gd name="connsiteX17" fmla="*/ 716280 w 1543050"/>
                <a:gd name="connsiteY17" fmla="*/ 1301115 h 1390650"/>
                <a:gd name="connsiteX18" fmla="*/ 723900 w 1543050"/>
                <a:gd name="connsiteY18" fmla="*/ 1305878 h 1390650"/>
                <a:gd name="connsiteX19" fmla="*/ 816292 w 1543050"/>
                <a:gd name="connsiteY19" fmla="*/ 1298257 h 1390650"/>
                <a:gd name="connsiteX20" fmla="*/ 834390 w 1543050"/>
                <a:gd name="connsiteY20" fmla="*/ 1303973 h 1390650"/>
                <a:gd name="connsiteX21" fmla="*/ 863917 w 1543050"/>
                <a:gd name="connsiteY21" fmla="*/ 1322070 h 1390650"/>
                <a:gd name="connsiteX22" fmla="*/ 866775 w 1543050"/>
                <a:gd name="connsiteY22" fmla="*/ 1323023 h 1390650"/>
                <a:gd name="connsiteX23" fmla="*/ 1490662 w 1543050"/>
                <a:gd name="connsiteY23" fmla="*/ 200978 h 1390650"/>
                <a:gd name="connsiteX24" fmla="*/ 1496378 w 1543050"/>
                <a:gd name="connsiteY24" fmla="*/ 205740 h 1390650"/>
                <a:gd name="connsiteX25" fmla="*/ 1495425 w 1543050"/>
                <a:gd name="connsiteY25" fmla="*/ 210503 h 1390650"/>
                <a:gd name="connsiteX26" fmla="*/ 1492567 w 1543050"/>
                <a:gd name="connsiteY26" fmla="*/ 218122 h 1390650"/>
                <a:gd name="connsiteX27" fmla="*/ 1488758 w 1543050"/>
                <a:gd name="connsiteY27" fmla="*/ 232410 h 1390650"/>
                <a:gd name="connsiteX28" fmla="*/ 1488758 w 1543050"/>
                <a:gd name="connsiteY28" fmla="*/ 237172 h 1390650"/>
                <a:gd name="connsiteX29" fmla="*/ 1489710 w 1543050"/>
                <a:gd name="connsiteY29" fmla="*/ 240030 h 1390650"/>
                <a:gd name="connsiteX30" fmla="*/ 1492567 w 1543050"/>
                <a:gd name="connsiteY30" fmla="*/ 241935 h 1390650"/>
                <a:gd name="connsiteX31" fmla="*/ 1498283 w 1543050"/>
                <a:gd name="connsiteY31" fmla="*/ 241935 h 1390650"/>
                <a:gd name="connsiteX32" fmla="*/ 1501140 w 1543050"/>
                <a:gd name="connsiteY32" fmla="*/ 240982 h 1390650"/>
                <a:gd name="connsiteX33" fmla="*/ 1504950 w 1543050"/>
                <a:gd name="connsiteY33" fmla="*/ 241935 h 1390650"/>
                <a:gd name="connsiteX34" fmla="*/ 1508760 w 1543050"/>
                <a:gd name="connsiteY34" fmla="*/ 243840 h 1390650"/>
                <a:gd name="connsiteX35" fmla="*/ 1513523 w 1543050"/>
                <a:gd name="connsiteY35" fmla="*/ 251460 h 1390650"/>
                <a:gd name="connsiteX36" fmla="*/ 1515428 w 1543050"/>
                <a:gd name="connsiteY36" fmla="*/ 256222 h 1390650"/>
                <a:gd name="connsiteX37" fmla="*/ 1515428 w 1543050"/>
                <a:gd name="connsiteY37" fmla="*/ 259080 h 1390650"/>
                <a:gd name="connsiteX38" fmla="*/ 1511617 w 1543050"/>
                <a:gd name="connsiteY38" fmla="*/ 263843 h 1390650"/>
                <a:gd name="connsiteX39" fmla="*/ 1510665 w 1543050"/>
                <a:gd name="connsiteY39" fmla="*/ 266700 h 1390650"/>
                <a:gd name="connsiteX40" fmla="*/ 1509712 w 1543050"/>
                <a:gd name="connsiteY40" fmla="*/ 270510 h 1390650"/>
                <a:gd name="connsiteX41" fmla="*/ 1508760 w 1543050"/>
                <a:gd name="connsiteY41" fmla="*/ 288607 h 1390650"/>
                <a:gd name="connsiteX42" fmla="*/ 1507808 w 1543050"/>
                <a:gd name="connsiteY42" fmla="*/ 292418 h 1390650"/>
                <a:gd name="connsiteX43" fmla="*/ 1505903 w 1543050"/>
                <a:gd name="connsiteY43" fmla="*/ 297180 h 1390650"/>
                <a:gd name="connsiteX44" fmla="*/ 1503998 w 1543050"/>
                <a:gd name="connsiteY44" fmla="*/ 307657 h 1390650"/>
                <a:gd name="connsiteX45" fmla="*/ 1503998 w 1543050"/>
                <a:gd name="connsiteY45" fmla="*/ 350520 h 1390650"/>
                <a:gd name="connsiteX46" fmla="*/ 1503998 w 1543050"/>
                <a:gd name="connsiteY46" fmla="*/ 356235 h 1390650"/>
                <a:gd name="connsiteX47" fmla="*/ 1505903 w 1543050"/>
                <a:gd name="connsiteY47" fmla="*/ 360045 h 1390650"/>
                <a:gd name="connsiteX48" fmla="*/ 1509712 w 1543050"/>
                <a:gd name="connsiteY48" fmla="*/ 362903 h 1390650"/>
                <a:gd name="connsiteX49" fmla="*/ 1512570 w 1543050"/>
                <a:gd name="connsiteY49" fmla="*/ 365760 h 1390650"/>
                <a:gd name="connsiteX50" fmla="*/ 1515428 w 1543050"/>
                <a:gd name="connsiteY50" fmla="*/ 370522 h 1390650"/>
                <a:gd name="connsiteX51" fmla="*/ 1518285 w 1543050"/>
                <a:gd name="connsiteY51" fmla="*/ 381000 h 1390650"/>
                <a:gd name="connsiteX52" fmla="*/ 1517333 w 1543050"/>
                <a:gd name="connsiteY52" fmla="*/ 384810 h 1390650"/>
                <a:gd name="connsiteX53" fmla="*/ 1515428 w 1543050"/>
                <a:gd name="connsiteY53" fmla="*/ 387668 h 1390650"/>
                <a:gd name="connsiteX54" fmla="*/ 1492567 w 1543050"/>
                <a:gd name="connsiteY54" fmla="*/ 389572 h 1390650"/>
                <a:gd name="connsiteX55" fmla="*/ 1472565 w 1543050"/>
                <a:gd name="connsiteY55" fmla="*/ 395288 h 1390650"/>
                <a:gd name="connsiteX56" fmla="*/ 1469708 w 1543050"/>
                <a:gd name="connsiteY56" fmla="*/ 396240 h 1390650"/>
                <a:gd name="connsiteX57" fmla="*/ 1465898 w 1543050"/>
                <a:gd name="connsiteY57" fmla="*/ 400050 h 1390650"/>
                <a:gd name="connsiteX58" fmla="*/ 1463040 w 1543050"/>
                <a:gd name="connsiteY58" fmla="*/ 401955 h 1390650"/>
                <a:gd name="connsiteX59" fmla="*/ 1463992 w 1543050"/>
                <a:gd name="connsiteY59" fmla="*/ 406718 h 1390650"/>
                <a:gd name="connsiteX60" fmla="*/ 1466850 w 1543050"/>
                <a:gd name="connsiteY60" fmla="*/ 414338 h 1390650"/>
                <a:gd name="connsiteX61" fmla="*/ 1475423 w 1543050"/>
                <a:gd name="connsiteY61" fmla="*/ 429578 h 1390650"/>
                <a:gd name="connsiteX62" fmla="*/ 1479233 w 1543050"/>
                <a:gd name="connsiteY62" fmla="*/ 439103 h 1390650"/>
                <a:gd name="connsiteX63" fmla="*/ 1482090 w 1543050"/>
                <a:gd name="connsiteY63" fmla="*/ 447675 h 1390650"/>
                <a:gd name="connsiteX64" fmla="*/ 1483042 w 1543050"/>
                <a:gd name="connsiteY64" fmla="*/ 455295 h 1390650"/>
                <a:gd name="connsiteX65" fmla="*/ 1483042 w 1543050"/>
                <a:gd name="connsiteY65" fmla="*/ 460057 h 1390650"/>
                <a:gd name="connsiteX66" fmla="*/ 1481137 w 1543050"/>
                <a:gd name="connsiteY66" fmla="*/ 463868 h 1390650"/>
                <a:gd name="connsiteX67" fmla="*/ 1478280 w 1543050"/>
                <a:gd name="connsiteY67" fmla="*/ 467678 h 1390650"/>
                <a:gd name="connsiteX68" fmla="*/ 1472565 w 1543050"/>
                <a:gd name="connsiteY68" fmla="*/ 474345 h 1390650"/>
                <a:gd name="connsiteX69" fmla="*/ 1468755 w 1543050"/>
                <a:gd name="connsiteY69" fmla="*/ 480060 h 1390650"/>
                <a:gd name="connsiteX70" fmla="*/ 1467803 w 1543050"/>
                <a:gd name="connsiteY70" fmla="*/ 485775 h 1390650"/>
                <a:gd name="connsiteX71" fmla="*/ 1467803 w 1543050"/>
                <a:gd name="connsiteY71" fmla="*/ 489585 h 1390650"/>
                <a:gd name="connsiteX72" fmla="*/ 1468755 w 1543050"/>
                <a:gd name="connsiteY72" fmla="*/ 491490 h 1390650"/>
                <a:gd name="connsiteX73" fmla="*/ 1470660 w 1543050"/>
                <a:gd name="connsiteY73" fmla="*/ 493395 h 1390650"/>
                <a:gd name="connsiteX74" fmla="*/ 1474470 w 1543050"/>
                <a:gd name="connsiteY74" fmla="*/ 495300 h 1390650"/>
                <a:gd name="connsiteX75" fmla="*/ 1519237 w 1543050"/>
                <a:gd name="connsiteY75" fmla="*/ 501968 h 1390650"/>
                <a:gd name="connsiteX76" fmla="*/ 1518285 w 1543050"/>
                <a:gd name="connsiteY76" fmla="*/ 508635 h 1390650"/>
                <a:gd name="connsiteX77" fmla="*/ 1517333 w 1543050"/>
                <a:gd name="connsiteY77" fmla="*/ 518160 h 1390650"/>
                <a:gd name="connsiteX78" fmla="*/ 1518285 w 1543050"/>
                <a:gd name="connsiteY78" fmla="*/ 523875 h 1390650"/>
                <a:gd name="connsiteX79" fmla="*/ 1519237 w 1543050"/>
                <a:gd name="connsiteY79" fmla="*/ 528638 h 1390650"/>
                <a:gd name="connsiteX80" fmla="*/ 1522095 w 1543050"/>
                <a:gd name="connsiteY80" fmla="*/ 533400 h 1390650"/>
                <a:gd name="connsiteX81" fmla="*/ 1529715 w 1543050"/>
                <a:gd name="connsiteY81" fmla="*/ 540068 h 1390650"/>
                <a:gd name="connsiteX82" fmla="*/ 1532573 w 1543050"/>
                <a:gd name="connsiteY82" fmla="*/ 542925 h 1390650"/>
                <a:gd name="connsiteX83" fmla="*/ 1534478 w 1543050"/>
                <a:gd name="connsiteY83" fmla="*/ 547688 h 1390650"/>
                <a:gd name="connsiteX84" fmla="*/ 1534478 w 1543050"/>
                <a:gd name="connsiteY84" fmla="*/ 550545 h 1390650"/>
                <a:gd name="connsiteX85" fmla="*/ 1530667 w 1543050"/>
                <a:gd name="connsiteY85" fmla="*/ 559118 h 1390650"/>
                <a:gd name="connsiteX86" fmla="*/ 1530667 w 1543050"/>
                <a:gd name="connsiteY86" fmla="*/ 561975 h 1390650"/>
                <a:gd name="connsiteX87" fmla="*/ 1530667 w 1543050"/>
                <a:gd name="connsiteY87" fmla="*/ 566738 h 1390650"/>
                <a:gd name="connsiteX88" fmla="*/ 1534478 w 1543050"/>
                <a:gd name="connsiteY88" fmla="*/ 574357 h 1390650"/>
                <a:gd name="connsiteX89" fmla="*/ 1536383 w 1543050"/>
                <a:gd name="connsiteY89" fmla="*/ 580072 h 1390650"/>
                <a:gd name="connsiteX90" fmla="*/ 1538287 w 1543050"/>
                <a:gd name="connsiteY90" fmla="*/ 583882 h 1390650"/>
                <a:gd name="connsiteX91" fmla="*/ 1538287 w 1543050"/>
                <a:gd name="connsiteY91" fmla="*/ 590550 h 1390650"/>
                <a:gd name="connsiteX92" fmla="*/ 1536383 w 1543050"/>
                <a:gd name="connsiteY92" fmla="*/ 596265 h 1390650"/>
                <a:gd name="connsiteX93" fmla="*/ 1535430 w 1543050"/>
                <a:gd name="connsiteY93" fmla="*/ 602932 h 1390650"/>
                <a:gd name="connsiteX94" fmla="*/ 1535430 w 1543050"/>
                <a:gd name="connsiteY94" fmla="*/ 606743 h 1390650"/>
                <a:gd name="connsiteX95" fmla="*/ 1536383 w 1543050"/>
                <a:gd name="connsiteY95" fmla="*/ 612457 h 1390650"/>
                <a:gd name="connsiteX96" fmla="*/ 1540192 w 1543050"/>
                <a:gd name="connsiteY96" fmla="*/ 621030 h 1390650"/>
                <a:gd name="connsiteX97" fmla="*/ 1540192 w 1543050"/>
                <a:gd name="connsiteY97" fmla="*/ 626745 h 1390650"/>
                <a:gd name="connsiteX98" fmla="*/ 1539240 w 1543050"/>
                <a:gd name="connsiteY98" fmla="*/ 629603 h 1390650"/>
                <a:gd name="connsiteX99" fmla="*/ 1537335 w 1543050"/>
                <a:gd name="connsiteY99" fmla="*/ 631507 h 1390650"/>
                <a:gd name="connsiteX100" fmla="*/ 1532573 w 1543050"/>
                <a:gd name="connsiteY100" fmla="*/ 633413 h 1390650"/>
                <a:gd name="connsiteX101" fmla="*/ 1522095 w 1543050"/>
                <a:gd name="connsiteY101" fmla="*/ 634365 h 1390650"/>
                <a:gd name="connsiteX102" fmla="*/ 1516380 w 1543050"/>
                <a:gd name="connsiteY102" fmla="*/ 632460 h 1390650"/>
                <a:gd name="connsiteX103" fmla="*/ 1515428 w 1543050"/>
                <a:gd name="connsiteY103" fmla="*/ 630555 h 1390650"/>
                <a:gd name="connsiteX104" fmla="*/ 1514475 w 1543050"/>
                <a:gd name="connsiteY104" fmla="*/ 628650 h 1390650"/>
                <a:gd name="connsiteX105" fmla="*/ 1511617 w 1543050"/>
                <a:gd name="connsiteY105" fmla="*/ 618172 h 1390650"/>
                <a:gd name="connsiteX106" fmla="*/ 1505903 w 1543050"/>
                <a:gd name="connsiteY106" fmla="*/ 606743 h 1390650"/>
                <a:gd name="connsiteX107" fmla="*/ 1504950 w 1543050"/>
                <a:gd name="connsiteY107" fmla="*/ 604838 h 1390650"/>
                <a:gd name="connsiteX108" fmla="*/ 1503045 w 1543050"/>
                <a:gd name="connsiteY108" fmla="*/ 603885 h 1390650"/>
                <a:gd name="connsiteX109" fmla="*/ 1501140 w 1543050"/>
                <a:gd name="connsiteY109" fmla="*/ 604838 h 1390650"/>
                <a:gd name="connsiteX110" fmla="*/ 1500187 w 1543050"/>
                <a:gd name="connsiteY110" fmla="*/ 609600 h 1390650"/>
                <a:gd name="connsiteX111" fmla="*/ 1498283 w 1543050"/>
                <a:gd name="connsiteY111" fmla="*/ 616268 h 1390650"/>
                <a:gd name="connsiteX112" fmla="*/ 1496378 w 1543050"/>
                <a:gd name="connsiteY112" fmla="*/ 620078 h 1390650"/>
                <a:gd name="connsiteX113" fmla="*/ 1488758 w 1543050"/>
                <a:gd name="connsiteY113" fmla="*/ 631507 h 1390650"/>
                <a:gd name="connsiteX114" fmla="*/ 1485900 w 1543050"/>
                <a:gd name="connsiteY114" fmla="*/ 638175 h 1390650"/>
                <a:gd name="connsiteX115" fmla="*/ 1485900 w 1543050"/>
                <a:gd name="connsiteY115" fmla="*/ 640080 h 1390650"/>
                <a:gd name="connsiteX116" fmla="*/ 1487805 w 1543050"/>
                <a:gd name="connsiteY116" fmla="*/ 644843 h 1390650"/>
                <a:gd name="connsiteX117" fmla="*/ 1490662 w 1543050"/>
                <a:gd name="connsiteY117" fmla="*/ 648653 h 1390650"/>
                <a:gd name="connsiteX118" fmla="*/ 1494473 w 1543050"/>
                <a:gd name="connsiteY118" fmla="*/ 652463 h 1390650"/>
                <a:gd name="connsiteX119" fmla="*/ 1500187 w 1543050"/>
                <a:gd name="connsiteY119" fmla="*/ 654368 h 1390650"/>
                <a:gd name="connsiteX120" fmla="*/ 1518285 w 1543050"/>
                <a:gd name="connsiteY120" fmla="*/ 654368 h 1390650"/>
                <a:gd name="connsiteX121" fmla="*/ 1520190 w 1543050"/>
                <a:gd name="connsiteY121" fmla="*/ 655320 h 1390650"/>
                <a:gd name="connsiteX122" fmla="*/ 1523048 w 1543050"/>
                <a:gd name="connsiteY122" fmla="*/ 656272 h 1390650"/>
                <a:gd name="connsiteX123" fmla="*/ 1524000 w 1543050"/>
                <a:gd name="connsiteY123" fmla="*/ 658178 h 1390650"/>
                <a:gd name="connsiteX124" fmla="*/ 1535430 w 1543050"/>
                <a:gd name="connsiteY124" fmla="*/ 683895 h 1390650"/>
                <a:gd name="connsiteX125" fmla="*/ 1537335 w 1543050"/>
                <a:gd name="connsiteY125" fmla="*/ 691515 h 1390650"/>
                <a:gd name="connsiteX126" fmla="*/ 1537335 w 1543050"/>
                <a:gd name="connsiteY126" fmla="*/ 696278 h 1390650"/>
                <a:gd name="connsiteX127" fmla="*/ 1537335 w 1543050"/>
                <a:gd name="connsiteY127" fmla="*/ 701040 h 1390650"/>
                <a:gd name="connsiteX128" fmla="*/ 1535430 w 1543050"/>
                <a:gd name="connsiteY128" fmla="*/ 707707 h 1390650"/>
                <a:gd name="connsiteX129" fmla="*/ 1530667 w 1543050"/>
                <a:gd name="connsiteY129" fmla="*/ 721995 h 1390650"/>
                <a:gd name="connsiteX130" fmla="*/ 1527810 w 1543050"/>
                <a:gd name="connsiteY130" fmla="*/ 731520 h 1390650"/>
                <a:gd name="connsiteX131" fmla="*/ 1526858 w 1543050"/>
                <a:gd name="connsiteY131" fmla="*/ 738188 h 1390650"/>
                <a:gd name="connsiteX132" fmla="*/ 1526858 w 1543050"/>
                <a:gd name="connsiteY132" fmla="*/ 743903 h 1390650"/>
                <a:gd name="connsiteX133" fmla="*/ 1528762 w 1543050"/>
                <a:gd name="connsiteY133" fmla="*/ 748665 h 1390650"/>
                <a:gd name="connsiteX134" fmla="*/ 1531620 w 1543050"/>
                <a:gd name="connsiteY134" fmla="*/ 756285 h 1390650"/>
                <a:gd name="connsiteX135" fmla="*/ 1543050 w 1543050"/>
                <a:gd name="connsiteY135" fmla="*/ 776288 h 1390650"/>
                <a:gd name="connsiteX136" fmla="*/ 1544003 w 1543050"/>
                <a:gd name="connsiteY136" fmla="*/ 779145 h 1390650"/>
                <a:gd name="connsiteX137" fmla="*/ 1544003 w 1543050"/>
                <a:gd name="connsiteY137" fmla="*/ 781050 h 1390650"/>
                <a:gd name="connsiteX138" fmla="*/ 1541145 w 1543050"/>
                <a:gd name="connsiteY138" fmla="*/ 787718 h 1390650"/>
                <a:gd name="connsiteX139" fmla="*/ 1539240 w 1543050"/>
                <a:gd name="connsiteY139" fmla="*/ 793432 h 1390650"/>
                <a:gd name="connsiteX140" fmla="*/ 1538287 w 1543050"/>
                <a:gd name="connsiteY140" fmla="*/ 796290 h 1390650"/>
                <a:gd name="connsiteX141" fmla="*/ 1535430 w 1543050"/>
                <a:gd name="connsiteY141" fmla="*/ 798195 h 1390650"/>
                <a:gd name="connsiteX142" fmla="*/ 1531620 w 1543050"/>
                <a:gd name="connsiteY142" fmla="*/ 798195 h 1390650"/>
                <a:gd name="connsiteX143" fmla="*/ 1528762 w 1543050"/>
                <a:gd name="connsiteY143" fmla="*/ 797243 h 1390650"/>
                <a:gd name="connsiteX144" fmla="*/ 1522095 w 1543050"/>
                <a:gd name="connsiteY144" fmla="*/ 793432 h 1390650"/>
                <a:gd name="connsiteX145" fmla="*/ 1519237 w 1543050"/>
                <a:gd name="connsiteY145" fmla="*/ 792480 h 1390650"/>
                <a:gd name="connsiteX146" fmla="*/ 1516380 w 1543050"/>
                <a:gd name="connsiteY146" fmla="*/ 793432 h 1390650"/>
                <a:gd name="connsiteX147" fmla="*/ 1512570 w 1543050"/>
                <a:gd name="connsiteY147" fmla="*/ 795338 h 1390650"/>
                <a:gd name="connsiteX148" fmla="*/ 1497330 w 1543050"/>
                <a:gd name="connsiteY148" fmla="*/ 813435 h 1390650"/>
                <a:gd name="connsiteX149" fmla="*/ 1494473 w 1543050"/>
                <a:gd name="connsiteY149" fmla="*/ 815340 h 1390650"/>
                <a:gd name="connsiteX150" fmla="*/ 1490662 w 1543050"/>
                <a:gd name="connsiteY150" fmla="*/ 817245 h 1390650"/>
                <a:gd name="connsiteX151" fmla="*/ 1483042 w 1543050"/>
                <a:gd name="connsiteY151" fmla="*/ 818197 h 1390650"/>
                <a:gd name="connsiteX152" fmla="*/ 1470660 w 1543050"/>
                <a:gd name="connsiteY152" fmla="*/ 818197 h 1390650"/>
                <a:gd name="connsiteX153" fmla="*/ 1469708 w 1543050"/>
                <a:gd name="connsiteY153" fmla="*/ 817245 h 1390650"/>
                <a:gd name="connsiteX154" fmla="*/ 1463992 w 1543050"/>
                <a:gd name="connsiteY154" fmla="*/ 810578 h 1390650"/>
                <a:gd name="connsiteX155" fmla="*/ 1462087 w 1543050"/>
                <a:gd name="connsiteY155" fmla="*/ 809625 h 1390650"/>
                <a:gd name="connsiteX156" fmla="*/ 1459230 w 1543050"/>
                <a:gd name="connsiteY156" fmla="*/ 810578 h 1390650"/>
                <a:gd name="connsiteX157" fmla="*/ 1456373 w 1543050"/>
                <a:gd name="connsiteY157" fmla="*/ 814388 h 1390650"/>
                <a:gd name="connsiteX158" fmla="*/ 1451610 w 1543050"/>
                <a:gd name="connsiteY158" fmla="*/ 827722 h 1390650"/>
                <a:gd name="connsiteX159" fmla="*/ 1438275 w 1543050"/>
                <a:gd name="connsiteY159" fmla="*/ 857250 h 1390650"/>
                <a:gd name="connsiteX160" fmla="*/ 1428750 w 1543050"/>
                <a:gd name="connsiteY160" fmla="*/ 869632 h 1390650"/>
                <a:gd name="connsiteX161" fmla="*/ 1426845 w 1543050"/>
                <a:gd name="connsiteY161" fmla="*/ 875347 h 1390650"/>
                <a:gd name="connsiteX162" fmla="*/ 1427798 w 1543050"/>
                <a:gd name="connsiteY162" fmla="*/ 880110 h 1390650"/>
                <a:gd name="connsiteX163" fmla="*/ 1428750 w 1543050"/>
                <a:gd name="connsiteY163" fmla="*/ 885825 h 1390650"/>
                <a:gd name="connsiteX164" fmla="*/ 1429703 w 1543050"/>
                <a:gd name="connsiteY164" fmla="*/ 893445 h 1390650"/>
                <a:gd name="connsiteX165" fmla="*/ 1430655 w 1543050"/>
                <a:gd name="connsiteY165" fmla="*/ 895350 h 1390650"/>
                <a:gd name="connsiteX166" fmla="*/ 1432560 w 1543050"/>
                <a:gd name="connsiteY166" fmla="*/ 897255 h 1390650"/>
                <a:gd name="connsiteX167" fmla="*/ 1435417 w 1543050"/>
                <a:gd name="connsiteY167" fmla="*/ 897255 h 1390650"/>
                <a:gd name="connsiteX168" fmla="*/ 1443037 w 1543050"/>
                <a:gd name="connsiteY168" fmla="*/ 896303 h 1390650"/>
                <a:gd name="connsiteX169" fmla="*/ 1448753 w 1543050"/>
                <a:gd name="connsiteY169" fmla="*/ 897255 h 1390650"/>
                <a:gd name="connsiteX170" fmla="*/ 1479233 w 1543050"/>
                <a:gd name="connsiteY170" fmla="*/ 915353 h 1390650"/>
                <a:gd name="connsiteX171" fmla="*/ 1503045 w 1543050"/>
                <a:gd name="connsiteY171" fmla="*/ 938213 h 1390650"/>
                <a:gd name="connsiteX172" fmla="*/ 1503998 w 1543050"/>
                <a:gd name="connsiteY172" fmla="*/ 941070 h 1390650"/>
                <a:gd name="connsiteX173" fmla="*/ 1503998 w 1543050"/>
                <a:gd name="connsiteY173" fmla="*/ 942975 h 1390650"/>
                <a:gd name="connsiteX174" fmla="*/ 1502092 w 1543050"/>
                <a:gd name="connsiteY174" fmla="*/ 948690 h 1390650"/>
                <a:gd name="connsiteX175" fmla="*/ 1498283 w 1543050"/>
                <a:gd name="connsiteY175" fmla="*/ 955357 h 1390650"/>
                <a:gd name="connsiteX176" fmla="*/ 1488758 w 1543050"/>
                <a:gd name="connsiteY176" fmla="*/ 965835 h 1390650"/>
                <a:gd name="connsiteX177" fmla="*/ 1486853 w 1543050"/>
                <a:gd name="connsiteY177" fmla="*/ 968693 h 1390650"/>
                <a:gd name="connsiteX178" fmla="*/ 1485900 w 1543050"/>
                <a:gd name="connsiteY178" fmla="*/ 972503 h 1390650"/>
                <a:gd name="connsiteX179" fmla="*/ 1485900 w 1543050"/>
                <a:gd name="connsiteY179" fmla="*/ 977265 h 1390650"/>
                <a:gd name="connsiteX180" fmla="*/ 1484948 w 1543050"/>
                <a:gd name="connsiteY180" fmla="*/ 978218 h 1390650"/>
                <a:gd name="connsiteX181" fmla="*/ 1470660 w 1543050"/>
                <a:gd name="connsiteY181" fmla="*/ 968693 h 1390650"/>
                <a:gd name="connsiteX182" fmla="*/ 1467803 w 1543050"/>
                <a:gd name="connsiteY182" fmla="*/ 965835 h 1390650"/>
                <a:gd name="connsiteX183" fmla="*/ 1464945 w 1543050"/>
                <a:gd name="connsiteY183" fmla="*/ 962025 h 1390650"/>
                <a:gd name="connsiteX184" fmla="*/ 1462087 w 1543050"/>
                <a:gd name="connsiteY184" fmla="*/ 958215 h 1390650"/>
                <a:gd name="connsiteX185" fmla="*/ 1458278 w 1543050"/>
                <a:gd name="connsiteY185" fmla="*/ 955357 h 1390650"/>
                <a:gd name="connsiteX186" fmla="*/ 1453515 w 1543050"/>
                <a:gd name="connsiteY186" fmla="*/ 957263 h 1390650"/>
                <a:gd name="connsiteX187" fmla="*/ 1447800 w 1543050"/>
                <a:gd name="connsiteY187" fmla="*/ 962025 h 1390650"/>
                <a:gd name="connsiteX188" fmla="*/ 1445895 w 1543050"/>
                <a:gd name="connsiteY188" fmla="*/ 965835 h 1390650"/>
                <a:gd name="connsiteX189" fmla="*/ 1444942 w 1543050"/>
                <a:gd name="connsiteY189" fmla="*/ 969645 h 1390650"/>
                <a:gd name="connsiteX190" fmla="*/ 1445895 w 1543050"/>
                <a:gd name="connsiteY190" fmla="*/ 978218 h 1390650"/>
                <a:gd name="connsiteX191" fmla="*/ 1445895 w 1543050"/>
                <a:gd name="connsiteY191" fmla="*/ 983932 h 1390650"/>
                <a:gd name="connsiteX192" fmla="*/ 1447800 w 1543050"/>
                <a:gd name="connsiteY192" fmla="*/ 988695 h 1390650"/>
                <a:gd name="connsiteX193" fmla="*/ 1451610 w 1543050"/>
                <a:gd name="connsiteY193" fmla="*/ 992505 h 1390650"/>
                <a:gd name="connsiteX194" fmla="*/ 1453515 w 1543050"/>
                <a:gd name="connsiteY194" fmla="*/ 993457 h 1390650"/>
                <a:gd name="connsiteX195" fmla="*/ 1472565 w 1543050"/>
                <a:gd name="connsiteY195" fmla="*/ 993457 h 1390650"/>
                <a:gd name="connsiteX196" fmla="*/ 1476375 w 1543050"/>
                <a:gd name="connsiteY196" fmla="*/ 995363 h 1390650"/>
                <a:gd name="connsiteX197" fmla="*/ 1479233 w 1543050"/>
                <a:gd name="connsiteY197" fmla="*/ 999172 h 1390650"/>
                <a:gd name="connsiteX198" fmla="*/ 1480185 w 1543050"/>
                <a:gd name="connsiteY198" fmla="*/ 1001078 h 1390650"/>
                <a:gd name="connsiteX199" fmla="*/ 1477328 w 1543050"/>
                <a:gd name="connsiteY199" fmla="*/ 1004888 h 1390650"/>
                <a:gd name="connsiteX200" fmla="*/ 1471612 w 1543050"/>
                <a:gd name="connsiteY200" fmla="*/ 1007745 h 1390650"/>
                <a:gd name="connsiteX201" fmla="*/ 1450658 w 1543050"/>
                <a:gd name="connsiteY201" fmla="*/ 1013460 h 1390650"/>
                <a:gd name="connsiteX202" fmla="*/ 1443037 w 1543050"/>
                <a:gd name="connsiteY202" fmla="*/ 1017270 h 1390650"/>
                <a:gd name="connsiteX203" fmla="*/ 1431608 w 1543050"/>
                <a:gd name="connsiteY203" fmla="*/ 1030605 h 1390650"/>
                <a:gd name="connsiteX204" fmla="*/ 1426845 w 1543050"/>
                <a:gd name="connsiteY204" fmla="*/ 1032510 h 1390650"/>
                <a:gd name="connsiteX205" fmla="*/ 1375410 w 1543050"/>
                <a:gd name="connsiteY205" fmla="*/ 1041082 h 1390650"/>
                <a:gd name="connsiteX206" fmla="*/ 1372553 w 1543050"/>
                <a:gd name="connsiteY206" fmla="*/ 1042035 h 1390650"/>
                <a:gd name="connsiteX207" fmla="*/ 1369695 w 1543050"/>
                <a:gd name="connsiteY207" fmla="*/ 1045845 h 1390650"/>
                <a:gd name="connsiteX208" fmla="*/ 1369695 w 1543050"/>
                <a:gd name="connsiteY208" fmla="*/ 1048703 h 1390650"/>
                <a:gd name="connsiteX209" fmla="*/ 1370648 w 1543050"/>
                <a:gd name="connsiteY209" fmla="*/ 1051560 h 1390650"/>
                <a:gd name="connsiteX210" fmla="*/ 1372553 w 1543050"/>
                <a:gd name="connsiteY210" fmla="*/ 1053465 h 1390650"/>
                <a:gd name="connsiteX211" fmla="*/ 1376362 w 1543050"/>
                <a:gd name="connsiteY211" fmla="*/ 1055370 h 1390650"/>
                <a:gd name="connsiteX212" fmla="*/ 1380173 w 1543050"/>
                <a:gd name="connsiteY212" fmla="*/ 1057275 h 1390650"/>
                <a:gd name="connsiteX213" fmla="*/ 1392555 w 1543050"/>
                <a:gd name="connsiteY213" fmla="*/ 1058228 h 1390650"/>
                <a:gd name="connsiteX214" fmla="*/ 1421130 w 1543050"/>
                <a:gd name="connsiteY214" fmla="*/ 1055370 h 1390650"/>
                <a:gd name="connsiteX215" fmla="*/ 1424940 w 1543050"/>
                <a:gd name="connsiteY215" fmla="*/ 1056323 h 1390650"/>
                <a:gd name="connsiteX216" fmla="*/ 1429703 w 1543050"/>
                <a:gd name="connsiteY216" fmla="*/ 1059180 h 1390650"/>
                <a:gd name="connsiteX217" fmla="*/ 1432560 w 1543050"/>
                <a:gd name="connsiteY217" fmla="*/ 1060132 h 1390650"/>
                <a:gd name="connsiteX218" fmla="*/ 1437323 w 1543050"/>
                <a:gd name="connsiteY218" fmla="*/ 1059180 h 1390650"/>
                <a:gd name="connsiteX219" fmla="*/ 1439228 w 1543050"/>
                <a:gd name="connsiteY219" fmla="*/ 1060132 h 1390650"/>
                <a:gd name="connsiteX220" fmla="*/ 1441133 w 1543050"/>
                <a:gd name="connsiteY220" fmla="*/ 1062038 h 1390650"/>
                <a:gd name="connsiteX221" fmla="*/ 1435417 w 1543050"/>
                <a:gd name="connsiteY221" fmla="*/ 1065848 h 1390650"/>
                <a:gd name="connsiteX222" fmla="*/ 1426845 w 1543050"/>
                <a:gd name="connsiteY222" fmla="*/ 1070610 h 1390650"/>
                <a:gd name="connsiteX223" fmla="*/ 1385887 w 1543050"/>
                <a:gd name="connsiteY223" fmla="*/ 1084898 h 1390650"/>
                <a:gd name="connsiteX224" fmla="*/ 1381125 w 1543050"/>
                <a:gd name="connsiteY224" fmla="*/ 1087755 h 1390650"/>
                <a:gd name="connsiteX225" fmla="*/ 1378267 w 1543050"/>
                <a:gd name="connsiteY225" fmla="*/ 1088707 h 1390650"/>
                <a:gd name="connsiteX226" fmla="*/ 1352550 w 1543050"/>
                <a:gd name="connsiteY226" fmla="*/ 1087755 h 1390650"/>
                <a:gd name="connsiteX227" fmla="*/ 1323975 w 1543050"/>
                <a:gd name="connsiteY227" fmla="*/ 1091565 h 1390650"/>
                <a:gd name="connsiteX228" fmla="*/ 1318260 w 1543050"/>
                <a:gd name="connsiteY228" fmla="*/ 1091565 h 1390650"/>
                <a:gd name="connsiteX229" fmla="*/ 1314450 w 1543050"/>
                <a:gd name="connsiteY229" fmla="*/ 1089660 h 1390650"/>
                <a:gd name="connsiteX230" fmla="*/ 1312545 w 1543050"/>
                <a:gd name="connsiteY230" fmla="*/ 1087755 h 1390650"/>
                <a:gd name="connsiteX231" fmla="*/ 1309687 w 1543050"/>
                <a:gd name="connsiteY231" fmla="*/ 1083945 h 1390650"/>
                <a:gd name="connsiteX232" fmla="*/ 1305878 w 1543050"/>
                <a:gd name="connsiteY232" fmla="*/ 1077278 h 1390650"/>
                <a:gd name="connsiteX233" fmla="*/ 1303020 w 1543050"/>
                <a:gd name="connsiteY233" fmla="*/ 1073468 h 1390650"/>
                <a:gd name="connsiteX234" fmla="*/ 1300162 w 1543050"/>
                <a:gd name="connsiteY234" fmla="*/ 1072515 h 1390650"/>
                <a:gd name="connsiteX235" fmla="*/ 1288733 w 1543050"/>
                <a:gd name="connsiteY235" fmla="*/ 1068705 h 1390650"/>
                <a:gd name="connsiteX236" fmla="*/ 1285875 w 1543050"/>
                <a:gd name="connsiteY236" fmla="*/ 1066800 h 1390650"/>
                <a:gd name="connsiteX237" fmla="*/ 1282065 w 1543050"/>
                <a:gd name="connsiteY237" fmla="*/ 1063943 h 1390650"/>
                <a:gd name="connsiteX238" fmla="*/ 1278255 w 1543050"/>
                <a:gd name="connsiteY238" fmla="*/ 1062990 h 1390650"/>
                <a:gd name="connsiteX239" fmla="*/ 1257300 w 1543050"/>
                <a:gd name="connsiteY239" fmla="*/ 1062990 h 1390650"/>
                <a:gd name="connsiteX240" fmla="*/ 1251585 w 1543050"/>
                <a:gd name="connsiteY240" fmla="*/ 1062038 h 1390650"/>
                <a:gd name="connsiteX241" fmla="*/ 1247775 w 1543050"/>
                <a:gd name="connsiteY241" fmla="*/ 1060132 h 1390650"/>
                <a:gd name="connsiteX242" fmla="*/ 1245870 w 1543050"/>
                <a:gd name="connsiteY242" fmla="*/ 1059180 h 1390650"/>
                <a:gd name="connsiteX243" fmla="*/ 1241108 w 1543050"/>
                <a:gd name="connsiteY243" fmla="*/ 1058228 h 1390650"/>
                <a:gd name="connsiteX244" fmla="*/ 1239203 w 1543050"/>
                <a:gd name="connsiteY244" fmla="*/ 1057275 h 1390650"/>
                <a:gd name="connsiteX245" fmla="*/ 1235392 w 1543050"/>
                <a:gd name="connsiteY245" fmla="*/ 1053465 h 1390650"/>
                <a:gd name="connsiteX246" fmla="*/ 1233487 w 1543050"/>
                <a:gd name="connsiteY246" fmla="*/ 1052513 h 1390650"/>
                <a:gd name="connsiteX247" fmla="*/ 1230630 w 1543050"/>
                <a:gd name="connsiteY247" fmla="*/ 1052513 h 1390650"/>
                <a:gd name="connsiteX248" fmla="*/ 1228725 w 1543050"/>
                <a:gd name="connsiteY248" fmla="*/ 1053465 h 1390650"/>
                <a:gd name="connsiteX249" fmla="*/ 1227773 w 1543050"/>
                <a:gd name="connsiteY249" fmla="*/ 1057275 h 1390650"/>
                <a:gd name="connsiteX250" fmla="*/ 1227773 w 1543050"/>
                <a:gd name="connsiteY250" fmla="*/ 1068705 h 1390650"/>
                <a:gd name="connsiteX251" fmla="*/ 1227773 w 1543050"/>
                <a:gd name="connsiteY251" fmla="*/ 1071563 h 1390650"/>
                <a:gd name="connsiteX252" fmla="*/ 1225867 w 1543050"/>
                <a:gd name="connsiteY252" fmla="*/ 1078230 h 1390650"/>
                <a:gd name="connsiteX253" fmla="*/ 1223010 w 1543050"/>
                <a:gd name="connsiteY253" fmla="*/ 1082040 h 1390650"/>
                <a:gd name="connsiteX254" fmla="*/ 1220153 w 1543050"/>
                <a:gd name="connsiteY254" fmla="*/ 1083945 h 1390650"/>
                <a:gd name="connsiteX255" fmla="*/ 1216342 w 1543050"/>
                <a:gd name="connsiteY255" fmla="*/ 1084898 h 1390650"/>
                <a:gd name="connsiteX256" fmla="*/ 1197292 w 1543050"/>
                <a:gd name="connsiteY256" fmla="*/ 1086803 h 1390650"/>
                <a:gd name="connsiteX257" fmla="*/ 1192530 w 1543050"/>
                <a:gd name="connsiteY257" fmla="*/ 1085850 h 1390650"/>
                <a:gd name="connsiteX258" fmla="*/ 1188720 w 1543050"/>
                <a:gd name="connsiteY258" fmla="*/ 1083945 h 1390650"/>
                <a:gd name="connsiteX259" fmla="*/ 1185862 w 1543050"/>
                <a:gd name="connsiteY259" fmla="*/ 1076325 h 1390650"/>
                <a:gd name="connsiteX260" fmla="*/ 1183958 w 1543050"/>
                <a:gd name="connsiteY260" fmla="*/ 1074420 h 1390650"/>
                <a:gd name="connsiteX261" fmla="*/ 1182053 w 1543050"/>
                <a:gd name="connsiteY261" fmla="*/ 1073468 h 1390650"/>
                <a:gd name="connsiteX262" fmla="*/ 1179195 w 1543050"/>
                <a:gd name="connsiteY262" fmla="*/ 1073468 h 1390650"/>
                <a:gd name="connsiteX263" fmla="*/ 1167765 w 1543050"/>
                <a:gd name="connsiteY263" fmla="*/ 1074420 h 1390650"/>
                <a:gd name="connsiteX264" fmla="*/ 1149667 w 1543050"/>
                <a:gd name="connsiteY264" fmla="*/ 1079182 h 1390650"/>
                <a:gd name="connsiteX265" fmla="*/ 1145858 w 1543050"/>
                <a:gd name="connsiteY265" fmla="*/ 1081088 h 1390650"/>
                <a:gd name="connsiteX266" fmla="*/ 1142048 w 1543050"/>
                <a:gd name="connsiteY266" fmla="*/ 1085850 h 1390650"/>
                <a:gd name="connsiteX267" fmla="*/ 1140142 w 1543050"/>
                <a:gd name="connsiteY267" fmla="*/ 1089660 h 1390650"/>
                <a:gd name="connsiteX268" fmla="*/ 1133475 w 1543050"/>
                <a:gd name="connsiteY268" fmla="*/ 1108710 h 1390650"/>
                <a:gd name="connsiteX269" fmla="*/ 1132523 w 1543050"/>
                <a:gd name="connsiteY269" fmla="*/ 1110615 h 1390650"/>
                <a:gd name="connsiteX270" fmla="*/ 1129665 w 1543050"/>
                <a:gd name="connsiteY270" fmla="*/ 1112520 h 1390650"/>
                <a:gd name="connsiteX271" fmla="*/ 1125855 w 1543050"/>
                <a:gd name="connsiteY271" fmla="*/ 1113473 h 1390650"/>
                <a:gd name="connsiteX272" fmla="*/ 1111567 w 1543050"/>
                <a:gd name="connsiteY272" fmla="*/ 1112520 h 1390650"/>
                <a:gd name="connsiteX273" fmla="*/ 1081087 w 1543050"/>
                <a:gd name="connsiteY273" fmla="*/ 1101090 h 1390650"/>
                <a:gd name="connsiteX274" fmla="*/ 1075373 w 1543050"/>
                <a:gd name="connsiteY274" fmla="*/ 1101090 h 1390650"/>
                <a:gd name="connsiteX275" fmla="*/ 1068705 w 1543050"/>
                <a:gd name="connsiteY275" fmla="*/ 1102043 h 1390650"/>
                <a:gd name="connsiteX276" fmla="*/ 1064895 w 1543050"/>
                <a:gd name="connsiteY276" fmla="*/ 1103948 h 1390650"/>
                <a:gd name="connsiteX277" fmla="*/ 1062037 w 1543050"/>
                <a:gd name="connsiteY277" fmla="*/ 1105853 h 1390650"/>
                <a:gd name="connsiteX278" fmla="*/ 1057275 w 1543050"/>
                <a:gd name="connsiteY278" fmla="*/ 1109663 h 1390650"/>
                <a:gd name="connsiteX279" fmla="*/ 1055370 w 1543050"/>
                <a:gd name="connsiteY279" fmla="*/ 1113473 h 1390650"/>
                <a:gd name="connsiteX280" fmla="*/ 1054417 w 1543050"/>
                <a:gd name="connsiteY280" fmla="*/ 1117282 h 1390650"/>
                <a:gd name="connsiteX281" fmla="*/ 1048703 w 1543050"/>
                <a:gd name="connsiteY281" fmla="*/ 1131570 h 1390650"/>
                <a:gd name="connsiteX282" fmla="*/ 1043940 w 1543050"/>
                <a:gd name="connsiteY282" fmla="*/ 1141095 h 1390650"/>
                <a:gd name="connsiteX283" fmla="*/ 1042035 w 1543050"/>
                <a:gd name="connsiteY283" fmla="*/ 1143953 h 1390650"/>
                <a:gd name="connsiteX284" fmla="*/ 1039178 w 1543050"/>
                <a:gd name="connsiteY284" fmla="*/ 1147763 h 1390650"/>
                <a:gd name="connsiteX285" fmla="*/ 1035367 w 1543050"/>
                <a:gd name="connsiteY285" fmla="*/ 1150620 h 1390650"/>
                <a:gd name="connsiteX286" fmla="*/ 1025842 w 1543050"/>
                <a:gd name="connsiteY286" fmla="*/ 1154430 h 1390650"/>
                <a:gd name="connsiteX287" fmla="*/ 1009650 w 1543050"/>
                <a:gd name="connsiteY287" fmla="*/ 1159193 h 1390650"/>
                <a:gd name="connsiteX288" fmla="*/ 1003935 w 1543050"/>
                <a:gd name="connsiteY288" fmla="*/ 1159193 h 1390650"/>
                <a:gd name="connsiteX289" fmla="*/ 997267 w 1543050"/>
                <a:gd name="connsiteY289" fmla="*/ 1157288 h 1390650"/>
                <a:gd name="connsiteX290" fmla="*/ 988695 w 1543050"/>
                <a:gd name="connsiteY290" fmla="*/ 1151573 h 1390650"/>
                <a:gd name="connsiteX291" fmla="*/ 982980 w 1543050"/>
                <a:gd name="connsiteY291" fmla="*/ 1150620 h 1390650"/>
                <a:gd name="connsiteX292" fmla="*/ 979170 w 1543050"/>
                <a:gd name="connsiteY292" fmla="*/ 1151573 h 1390650"/>
                <a:gd name="connsiteX293" fmla="*/ 974408 w 1543050"/>
                <a:gd name="connsiteY293" fmla="*/ 1152525 h 1390650"/>
                <a:gd name="connsiteX294" fmla="*/ 965835 w 1543050"/>
                <a:gd name="connsiteY294" fmla="*/ 1159193 h 1390650"/>
                <a:gd name="connsiteX295" fmla="*/ 961072 w 1543050"/>
                <a:gd name="connsiteY295" fmla="*/ 1163955 h 1390650"/>
                <a:gd name="connsiteX296" fmla="*/ 953453 w 1543050"/>
                <a:gd name="connsiteY296" fmla="*/ 1166813 h 1390650"/>
                <a:gd name="connsiteX297" fmla="*/ 926783 w 1543050"/>
                <a:gd name="connsiteY297" fmla="*/ 1165860 h 1390650"/>
                <a:gd name="connsiteX298" fmla="*/ 925830 w 1543050"/>
                <a:gd name="connsiteY298" fmla="*/ 1169670 h 1390650"/>
                <a:gd name="connsiteX299" fmla="*/ 923925 w 1543050"/>
                <a:gd name="connsiteY299" fmla="*/ 1164907 h 1390650"/>
                <a:gd name="connsiteX300" fmla="*/ 918210 w 1543050"/>
                <a:gd name="connsiteY300" fmla="*/ 1154430 h 1390650"/>
                <a:gd name="connsiteX301" fmla="*/ 913447 w 1543050"/>
                <a:gd name="connsiteY301" fmla="*/ 1141095 h 1390650"/>
                <a:gd name="connsiteX302" fmla="*/ 910590 w 1543050"/>
                <a:gd name="connsiteY302" fmla="*/ 1109663 h 1390650"/>
                <a:gd name="connsiteX303" fmla="*/ 921067 w 1543050"/>
                <a:gd name="connsiteY303" fmla="*/ 1084898 h 1390650"/>
                <a:gd name="connsiteX304" fmla="*/ 935355 w 1543050"/>
                <a:gd name="connsiteY304" fmla="*/ 1062990 h 1390650"/>
                <a:gd name="connsiteX305" fmla="*/ 945833 w 1543050"/>
                <a:gd name="connsiteY305" fmla="*/ 1036320 h 1390650"/>
                <a:gd name="connsiteX306" fmla="*/ 948690 w 1543050"/>
                <a:gd name="connsiteY306" fmla="*/ 1021080 h 1390650"/>
                <a:gd name="connsiteX307" fmla="*/ 947737 w 1543050"/>
                <a:gd name="connsiteY307" fmla="*/ 1008697 h 1390650"/>
                <a:gd name="connsiteX308" fmla="*/ 942022 w 1543050"/>
                <a:gd name="connsiteY308" fmla="*/ 1001078 h 1390650"/>
                <a:gd name="connsiteX309" fmla="*/ 916305 w 1543050"/>
                <a:gd name="connsiteY309" fmla="*/ 996315 h 1390650"/>
                <a:gd name="connsiteX310" fmla="*/ 910590 w 1543050"/>
                <a:gd name="connsiteY310" fmla="*/ 989647 h 1390650"/>
                <a:gd name="connsiteX311" fmla="*/ 912495 w 1543050"/>
                <a:gd name="connsiteY311" fmla="*/ 980122 h 1390650"/>
                <a:gd name="connsiteX312" fmla="*/ 927735 w 1543050"/>
                <a:gd name="connsiteY312" fmla="*/ 956310 h 1390650"/>
                <a:gd name="connsiteX313" fmla="*/ 932497 w 1543050"/>
                <a:gd name="connsiteY313" fmla="*/ 947738 h 1390650"/>
                <a:gd name="connsiteX314" fmla="*/ 929640 w 1543050"/>
                <a:gd name="connsiteY314" fmla="*/ 942022 h 1390650"/>
                <a:gd name="connsiteX315" fmla="*/ 915353 w 1543050"/>
                <a:gd name="connsiteY315" fmla="*/ 940118 h 1390650"/>
                <a:gd name="connsiteX316" fmla="*/ 891540 w 1543050"/>
                <a:gd name="connsiteY316" fmla="*/ 944880 h 1390650"/>
                <a:gd name="connsiteX317" fmla="*/ 882015 w 1543050"/>
                <a:gd name="connsiteY317" fmla="*/ 943928 h 1390650"/>
                <a:gd name="connsiteX318" fmla="*/ 873442 w 1543050"/>
                <a:gd name="connsiteY318" fmla="*/ 934403 h 1390650"/>
                <a:gd name="connsiteX319" fmla="*/ 888683 w 1543050"/>
                <a:gd name="connsiteY319" fmla="*/ 902018 h 1390650"/>
                <a:gd name="connsiteX320" fmla="*/ 890587 w 1543050"/>
                <a:gd name="connsiteY320" fmla="*/ 882968 h 1390650"/>
                <a:gd name="connsiteX321" fmla="*/ 882967 w 1543050"/>
                <a:gd name="connsiteY321" fmla="*/ 862965 h 1390650"/>
                <a:gd name="connsiteX322" fmla="*/ 875347 w 1543050"/>
                <a:gd name="connsiteY322" fmla="*/ 856297 h 1390650"/>
                <a:gd name="connsiteX323" fmla="*/ 868680 w 1543050"/>
                <a:gd name="connsiteY323" fmla="*/ 854393 h 1390650"/>
                <a:gd name="connsiteX324" fmla="*/ 862965 w 1543050"/>
                <a:gd name="connsiteY324" fmla="*/ 851535 h 1390650"/>
                <a:gd name="connsiteX325" fmla="*/ 859155 w 1543050"/>
                <a:gd name="connsiteY325" fmla="*/ 839153 h 1390650"/>
                <a:gd name="connsiteX326" fmla="*/ 857250 w 1543050"/>
                <a:gd name="connsiteY326" fmla="*/ 824865 h 1390650"/>
                <a:gd name="connsiteX327" fmla="*/ 857250 w 1543050"/>
                <a:gd name="connsiteY327" fmla="*/ 816293 h 1390650"/>
                <a:gd name="connsiteX328" fmla="*/ 855345 w 1543050"/>
                <a:gd name="connsiteY328" fmla="*/ 810578 h 1390650"/>
                <a:gd name="connsiteX329" fmla="*/ 847725 w 1543050"/>
                <a:gd name="connsiteY329" fmla="*/ 802005 h 1390650"/>
                <a:gd name="connsiteX330" fmla="*/ 817245 w 1543050"/>
                <a:gd name="connsiteY330" fmla="*/ 787718 h 1390650"/>
                <a:gd name="connsiteX331" fmla="*/ 811530 w 1543050"/>
                <a:gd name="connsiteY331" fmla="*/ 778193 h 1390650"/>
                <a:gd name="connsiteX332" fmla="*/ 814387 w 1543050"/>
                <a:gd name="connsiteY332" fmla="*/ 762000 h 1390650"/>
                <a:gd name="connsiteX333" fmla="*/ 813435 w 1543050"/>
                <a:gd name="connsiteY333" fmla="*/ 756285 h 1390650"/>
                <a:gd name="connsiteX334" fmla="*/ 808672 w 1543050"/>
                <a:gd name="connsiteY334" fmla="*/ 754380 h 1390650"/>
                <a:gd name="connsiteX335" fmla="*/ 806767 w 1543050"/>
                <a:gd name="connsiteY335" fmla="*/ 757238 h 1390650"/>
                <a:gd name="connsiteX336" fmla="*/ 799147 w 1543050"/>
                <a:gd name="connsiteY336" fmla="*/ 770572 h 1390650"/>
                <a:gd name="connsiteX337" fmla="*/ 797242 w 1543050"/>
                <a:gd name="connsiteY337" fmla="*/ 775335 h 1390650"/>
                <a:gd name="connsiteX338" fmla="*/ 800100 w 1543050"/>
                <a:gd name="connsiteY338" fmla="*/ 783907 h 1390650"/>
                <a:gd name="connsiteX339" fmla="*/ 808672 w 1543050"/>
                <a:gd name="connsiteY339" fmla="*/ 793432 h 1390650"/>
                <a:gd name="connsiteX340" fmla="*/ 819150 w 1543050"/>
                <a:gd name="connsiteY340" fmla="*/ 800100 h 1390650"/>
                <a:gd name="connsiteX341" fmla="*/ 842010 w 1543050"/>
                <a:gd name="connsiteY341" fmla="*/ 805815 h 1390650"/>
                <a:gd name="connsiteX342" fmla="*/ 847725 w 1543050"/>
                <a:gd name="connsiteY342" fmla="*/ 815340 h 1390650"/>
                <a:gd name="connsiteX343" fmla="*/ 847725 w 1543050"/>
                <a:gd name="connsiteY343" fmla="*/ 860107 h 1390650"/>
                <a:gd name="connsiteX344" fmla="*/ 849630 w 1543050"/>
                <a:gd name="connsiteY344" fmla="*/ 864870 h 1390650"/>
                <a:gd name="connsiteX345" fmla="*/ 862965 w 1543050"/>
                <a:gd name="connsiteY345" fmla="*/ 867728 h 1390650"/>
                <a:gd name="connsiteX346" fmla="*/ 866775 w 1543050"/>
                <a:gd name="connsiteY346" fmla="*/ 871538 h 1390650"/>
                <a:gd name="connsiteX347" fmla="*/ 868680 w 1543050"/>
                <a:gd name="connsiteY347" fmla="*/ 874395 h 1390650"/>
                <a:gd name="connsiteX348" fmla="*/ 871537 w 1543050"/>
                <a:gd name="connsiteY348" fmla="*/ 876300 h 1390650"/>
                <a:gd name="connsiteX349" fmla="*/ 878205 w 1543050"/>
                <a:gd name="connsiteY349" fmla="*/ 882015 h 1390650"/>
                <a:gd name="connsiteX350" fmla="*/ 874395 w 1543050"/>
                <a:gd name="connsiteY350" fmla="*/ 895350 h 1390650"/>
                <a:gd name="connsiteX351" fmla="*/ 866775 w 1543050"/>
                <a:gd name="connsiteY351" fmla="*/ 908685 h 1390650"/>
                <a:gd name="connsiteX352" fmla="*/ 862965 w 1543050"/>
                <a:gd name="connsiteY352" fmla="*/ 913447 h 1390650"/>
                <a:gd name="connsiteX353" fmla="*/ 859155 w 1543050"/>
                <a:gd name="connsiteY353" fmla="*/ 948690 h 1390650"/>
                <a:gd name="connsiteX354" fmla="*/ 875347 w 1543050"/>
                <a:gd name="connsiteY354" fmla="*/ 956310 h 1390650"/>
                <a:gd name="connsiteX355" fmla="*/ 899160 w 1543050"/>
                <a:gd name="connsiteY355" fmla="*/ 952500 h 1390650"/>
                <a:gd name="connsiteX356" fmla="*/ 916305 w 1543050"/>
                <a:gd name="connsiteY356" fmla="*/ 955357 h 1390650"/>
                <a:gd name="connsiteX357" fmla="*/ 901065 w 1543050"/>
                <a:gd name="connsiteY357" fmla="*/ 973455 h 1390650"/>
                <a:gd name="connsiteX358" fmla="*/ 894397 w 1543050"/>
                <a:gd name="connsiteY358" fmla="*/ 985838 h 1390650"/>
                <a:gd name="connsiteX359" fmla="*/ 891540 w 1543050"/>
                <a:gd name="connsiteY359" fmla="*/ 998220 h 1390650"/>
                <a:gd name="connsiteX360" fmla="*/ 896303 w 1543050"/>
                <a:gd name="connsiteY360" fmla="*/ 1011555 h 1390650"/>
                <a:gd name="connsiteX361" fmla="*/ 905828 w 1543050"/>
                <a:gd name="connsiteY361" fmla="*/ 1014413 h 1390650"/>
                <a:gd name="connsiteX362" fmla="*/ 917258 w 1543050"/>
                <a:gd name="connsiteY362" fmla="*/ 1010603 h 1390650"/>
                <a:gd name="connsiteX363" fmla="*/ 927735 w 1543050"/>
                <a:gd name="connsiteY363" fmla="*/ 1003935 h 1390650"/>
                <a:gd name="connsiteX364" fmla="*/ 930592 w 1543050"/>
                <a:gd name="connsiteY364" fmla="*/ 1020128 h 1390650"/>
                <a:gd name="connsiteX365" fmla="*/ 924878 w 1543050"/>
                <a:gd name="connsiteY365" fmla="*/ 1042988 h 1390650"/>
                <a:gd name="connsiteX366" fmla="*/ 915353 w 1543050"/>
                <a:gd name="connsiteY366" fmla="*/ 1063943 h 1390650"/>
                <a:gd name="connsiteX367" fmla="*/ 903922 w 1543050"/>
                <a:gd name="connsiteY367" fmla="*/ 1072515 h 1390650"/>
                <a:gd name="connsiteX368" fmla="*/ 891540 w 1543050"/>
                <a:gd name="connsiteY368" fmla="*/ 1076325 h 1390650"/>
                <a:gd name="connsiteX369" fmla="*/ 880110 w 1543050"/>
                <a:gd name="connsiteY369" fmla="*/ 1087755 h 1390650"/>
                <a:gd name="connsiteX370" fmla="*/ 873442 w 1543050"/>
                <a:gd name="connsiteY370" fmla="*/ 1104900 h 1390650"/>
                <a:gd name="connsiteX371" fmla="*/ 873442 w 1543050"/>
                <a:gd name="connsiteY371" fmla="*/ 1124903 h 1390650"/>
                <a:gd name="connsiteX372" fmla="*/ 893445 w 1543050"/>
                <a:gd name="connsiteY372" fmla="*/ 1151573 h 1390650"/>
                <a:gd name="connsiteX373" fmla="*/ 895350 w 1543050"/>
                <a:gd name="connsiteY373" fmla="*/ 1157288 h 1390650"/>
                <a:gd name="connsiteX374" fmla="*/ 891540 w 1543050"/>
                <a:gd name="connsiteY374" fmla="*/ 1191578 h 1390650"/>
                <a:gd name="connsiteX375" fmla="*/ 893445 w 1543050"/>
                <a:gd name="connsiteY375" fmla="*/ 1203960 h 1390650"/>
                <a:gd name="connsiteX376" fmla="*/ 895350 w 1543050"/>
                <a:gd name="connsiteY376" fmla="*/ 1210628 h 1390650"/>
                <a:gd name="connsiteX377" fmla="*/ 896303 w 1543050"/>
                <a:gd name="connsiteY377" fmla="*/ 1215390 h 1390650"/>
                <a:gd name="connsiteX378" fmla="*/ 891540 w 1543050"/>
                <a:gd name="connsiteY378" fmla="*/ 1224915 h 1390650"/>
                <a:gd name="connsiteX379" fmla="*/ 887730 w 1543050"/>
                <a:gd name="connsiteY379" fmla="*/ 1229678 h 1390650"/>
                <a:gd name="connsiteX380" fmla="*/ 876300 w 1543050"/>
                <a:gd name="connsiteY380" fmla="*/ 1238250 h 1390650"/>
                <a:gd name="connsiteX381" fmla="*/ 869633 w 1543050"/>
                <a:gd name="connsiteY381" fmla="*/ 1241107 h 1390650"/>
                <a:gd name="connsiteX382" fmla="*/ 846772 w 1543050"/>
                <a:gd name="connsiteY382" fmla="*/ 1245870 h 1390650"/>
                <a:gd name="connsiteX383" fmla="*/ 823912 w 1543050"/>
                <a:gd name="connsiteY383" fmla="*/ 1242060 h 1390650"/>
                <a:gd name="connsiteX384" fmla="*/ 772478 w 1543050"/>
                <a:gd name="connsiteY384" fmla="*/ 1222057 h 1390650"/>
                <a:gd name="connsiteX385" fmla="*/ 741045 w 1543050"/>
                <a:gd name="connsiteY385" fmla="*/ 1224915 h 1390650"/>
                <a:gd name="connsiteX386" fmla="*/ 732472 w 1543050"/>
                <a:gd name="connsiteY386" fmla="*/ 1230630 h 1390650"/>
                <a:gd name="connsiteX387" fmla="*/ 727710 w 1543050"/>
                <a:gd name="connsiteY387" fmla="*/ 1241107 h 1390650"/>
                <a:gd name="connsiteX388" fmla="*/ 722947 w 1543050"/>
                <a:gd name="connsiteY388" fmla="*/ 1249680 h 1390650"/>
                <a:gd name="connsiteX389" fmla="*/ 710565 w 1543050"/>
                <a:gd name="connsiteY389" fmla="*/ 1251585 h 1390650"/>
                <a:gd name="connsiteX390" fmla="*/ 706755 w 1543050"/>
                <a:gd name="connsiteY390" fmla="*/ 1249680 h 1390650"/>
                <a:gd name="connsiteX391" fmla="*/ 699135 w 1543050"/>
                <a:gd name="connsiteY391" fmla="*/ 1242060 h 1390650"/>
                <a:gd name="connsiteX392" fmla="*/ 694372 w 1543050"/>
                <a:gd name="connsiteY392" fmla="*/ 1241107 h 1390650"/>
                <a:gd name="connsiteX393" fmla="*/ 682942 w 1543050"/>
                <a:gd name="connsiteY393" fmla="*/ 1242060 h 1390650"/>
                <a:gd name="connsiteX394" fmla="*/ 677228 w 1543050"/>
                <a:gd name="connsiteY394" fmla="*/ 1241107 h 1390650"/>
                <a:gd name="connsiteX395" fmla="*/ 673417 w 1543050"/>
                <a:gd name="connsiteY395" fmla="*/ 1238250 h 1390650"/>
                <a:gd name="connsiteX396" fmla="*/ 670560 w 1543050"/>
                <a:gd name="connsiteY396" fmla="*/ 1227773 h 1390650"/>
                <a:gd name="connsiteX397" fmla="*/ 676275 w 1543050"/>
                <a:gd name="connsiteY397" fmla="*/ 1214438 h 1390650"/>
                <a:gd name="connsiteX398" fmla="*/ 704850 w 1543050"/>
                <a:gd name="connsiteY398" fmla="*/ 1164907 h 1390650"/>
                <a:gd name="connsiteX399" fmla="*/ 712470 w 1543050"/>
                <a:gd name="connsiteY399" fmla="*/ 1148715 h 1390650"/>
                <a:gd name="connsiteX400" fmla="*/ 712470 w 1543050"/>
                <a:gd name="connsiteY400" fmla="*/ 1141095 h 1390650"/>
                <a:gd name="connsiteX401" fmla="*/ 719137 w 1543050"/>
                <a:gd name="connsiteY401" fmla="*/ 1135380 h 1390650"/>
                <a:gd name="connsiteX402" fmla="*/ 742950 w 1543050"/>
                <a:gd name="connsiteY402" fmla="*/ 1099185 h 1390650"/>
                <a:gd name="connsiteX403" fmla="*/ 737235 w 1543050"/>
                <a:gd name="connsiteY403" fmla="*/ 1089660 h 1390650"/>
                <a:gd name="connsiteX404" fmla="*/ 732472 w 1543050"/>
                <a:gd name="connsiteY404" fmla="*/ 1093470 h 1390650"/>
                <a:gd name="connsiteX405" fmla="*/ 728662 w 1543050"/>
                <a:gd name="connsiteY405" fmla="*/ 1104900 h 1390650"/>
                <a:gd name="connsiteX406" fmla="*/ 724853 w 1543050"/>
                <a:gd name="connsiteY406" fmla="*/ 1114425 h 1390650"/>
                <a:gd name="connsiteX407" fmla="*/ 721042 w 1543050"/>
                <a:gd name="connsiteY407" fmla="*/ 1117282 h 1390650"/>
                <a:gd name="connsiteX408" fmla="*/ 711517 w 1543050"/>
                <a:gd name="connsiteY408" fmla="*/ 1122045 h 1390650"/>
                <a:gd name="connsiteX409" fmla="*/ 706755 w 1543050"/>
                <a:gd name="connsiteY409" fmla="*/ 1124903 h 1390650"/>
                <a:gd name="connsiteX410" fmla="*/ 703897 w 1543050"/>
                <a:gd name="connsiteY410" fmla="*/ 1128713 h 1390650"/>
                <a:gd name="connsiteX411" fmla="*/ 693420 w 1543050"/>
                <a:gd name="connsiteY411" fmla="*/ 1144905 h 1390650"/>
                <a:gd name="connsiteX412" fmla="*/ 693420 w 1543050"/>
                <a:gd name="connsiteY412" fmla="*/ 1147763 h 1390650"/>
                <a:gd name="connsiteX413" fmla="*/ 691515 w 1543050"/>
                <a:gd name="connsiteY413" fmla="*/ 1149668 h 1390650"/>
                <a:gd name="connsiteX414" fmla="*/ 684847 w 1543050"/>
                <a:gd name="connsiteY414" fmla="*/ 1151573 h 1390650"/>
                <a:gd name="connsiteX415" fmla="*/ 678180 w 1543050"/>
                <a:gd name="connsiteY415" fmla="*/ 1147763 h 1390650"/>
                <a:gd name="connsiteX416" fmla="*/ 671512 w 1543050"/>
                <a:gd name="connsiteY416" fmla="*/ 1141095 h 1390650"/>
                <a:gd name="connsiteX417" fmla="*/ 663892 w 1543050"/>
                <a:gd name="connsiteY417" fmla="*/ 1122045 h 1390650"/>
                <a:gd name="connsiteX418" fmla="*/ 658178 w 1543050"/>
                <a:gd name="connsiteY418" fmla="*/ 1112520 h 1390650"/>
                <a:gd name="connsiteX419" fmla="*/ 649605 w 1543050"/>
                <a:gd name="connsiteY419" fmla="*/ 1108710 h 1390650"/>
                <a:gd name="connsiteX420" fmla="*/ 655320 w 1543050"/>
                <a:gd name="connsiteY420" fmla="*/ 1128713 h 1390650"/>
                <a:gd name="connsiteX421" fmla="*/ 656272 w 1543050"/>
                <a:gd name="connsiteY421" fmla="*/ 1133475 h 1390650"/>
                <a:gd name="connsiteX422" fmla="*/ 657225 w 1543050"/>
                <a:gd name="connsiteY422" fmla="*/ 1144905 h 1390650"/>
                <a:gd name="connsiteX423" fmla="*/ 661035 w 1543050"/>
                <a:gd name="connsiteY423" fmla="*/ 1148715 h 1390650"/>
                <a:gd name="connsiteX424" fmla="*/ 665797 w 1543050"/>
                <a:gd name="connsiteY424" fmla="*/ 1151573 h 1390650"/>
                <a:gd name="connsiteX425" fmla="*/ 681990 w 1543050"/>
                <a:gd name="connsiteY425" fmla="*/ 1164907 h 1390650"/>
                <a:gd name="connsiteX426" fmla="*/ 683895 w 1543050"/>
                <a:gd name="connsiteY426" fmla="*/ 1170623 h 1390650"/>
                <a:gd name="connsiteX427" fmla="*/ 680085 w 1543050"/>
                <a:gd name="connsiteY427" fmla="*/ 1181100 h 1390650"/>
                <a:gd name="connsiteX428" fmla="*/ 670560 w 1543050"/>
                <a:gd name="connsiteY428" fmla="*/ 1196340 h 1390650"/>
                <a:gd name="connsiteX429" fmla="*/ 669608 w 1543050"/>
                <a:gd name="connsiteY429" fmla="*/ 1199198 h 1390650"/>
                <a:gd name="connsiteX430" fmla="*/ 661035 w 1543050"/>
                <a:gd name="connsiteY430" fmla="*/ 1205865 h 1390650"/>
                <a:gd name="connsiteX431" fmla="*/ 642937 w 1543050"/>
                <a:gd name="connsiteY431" fmla="*/ 1234440 h 1390650"/>
                <a:gd name="connsiteX432" fmla="*/ 636270 w 1543050"/>
                <a:gd name="connsiteY432" fmla="*/ 1241107 h 1390650"/>
                <a:gd name="connsiteX433" fmla="*/ 626745 w 1543050"/>
                <a:gd name="connsiteY433" fmla="*/ 1243013 h 1390650"/>
                <a:gd name="connsiteX434" fmla="*/ 602932 w 1543050"/>
                <a:gd name="connsiteY434" fmla="*/ 1256348 h 1390650"/>
                <a:gd name="connsiteX435" fmla="*/ 595313 w 1543050"/>
                <a:gd name="connsiteY435" fmla="*/ 1262063 h 1390650"/>
                <a:gd name="connsiteX436" fmla="*/ 587692 w 1543050"/>
                <a:gd name="connsiteY436" fmla="*/ 1258253 h 1390650"/>
                <a:gd name="connsiteX437" fmla="*/ 573405 w 1543050"/>
                <a:gd name="connsiteY437" fmla="*/ 1256348 h 1390650"/>
                <a:gd name="connsiteX438" fmla="*/ 566738 w 1543050"/>
                <a:gd name="connsiteY438" fmla="*/ 1251585 h 1390650"/>
                <a:gd name="connsiteX439" fmla="*/ 562928 w 1543050"/>
                <a:gd name="connsiteY439" fmla="*/ 1257300 h 1390650"/>
                <a:gd name="connsiteX440" fmla="*/ 552450 w 1543050"/>
                <a:gd name="connsiteY440" fmla="*/ 1250632 h 1390650"/>
                <a:gd name="connsiteX441" fmla="*/ 516255 w 1543050"/>
                <a:gd name="connsiteY441" fmla="*/ 1241107 h 1390650"/>
                <a:gd name="connsiteX442" fmla="*/ 508635 w 1543050"/>
                <a:gd name="connsiteY442" fmla="*/ 1198245 h 1390650"/>
                <a:gd name="connsiteX443" fmla="*/ 508635 w 1543050"/>
                <a:gd name="connsiteY443" fmla="*/ 1183957 h 1390650"/>
                <a:gd name="connsiteX444" fmla="*/ 509588 w 1543050"/>
                <a:gd name="connsiteY444" fmla="*/ 1180148 h 1390650"/>
                <a:gd name="connsiteX445" fmla="*/ 511492 w 1543050"/>
                <a:gd name="connsiteY445" fmla="*/ 1175385 h 1390650"/>
                <a:gd name="connsiteX446" fmla="*/ 510540 w 1543050"/>
                <a:gd name="connsiteY446" fmla="*/ 1170623 h 1390650"/>
                <a:gd name="connsiteX447" fmla="*/ 510540 w 1543050"/>
                <a:gd name="connsiteY447" fmla="*/ 1165860 h 1390650"/>
                <a:gd name="connsiteX448" fmla="*/ 507682 w 1543050"/>
                <a:gd name="connsiteY448" fmla="*/ 1158240 h 1390650"/>
                <a:gd name="connsiteX449" fmla="*/ 503872 w 1543050"/>
                <a:gd name="connsiteY449" fmla="*/ 1097280 h 1390650"/>
                <a:gd name="connsiteX450" fmla="*/ 502920 w 1543050"/>
                <a:gd name="connsiteY450" fmla="*/ 1089660 h 1390650"/>
                <a:gd name="connsiteX451" fmla="*/ 493395 w 1543050"/>
                <a:gd name="connsiteY451" fmla="*/ 1082040 h 1390650"/>
                <a:gd name="connsiteX452" fmla="*/ 485775 w 1543050"/>
                <a:gd name="connsiteY452" fmla="*/ 1078230 h 1390650"/>
                <a:gd name="connsiteX453" fmla="*/ 481965 w 1543050"/>
                <a:gd name="connsiteY453" fmla="*/ 1073468 h 1390650"/>
                <a:gd name="connsiteX454" fmla="*/ 476250 w 1543050"/>
                <a:gd name="connsiteY454" fmla="*/ 1060132 h 1390650"/>
                <a:gd name="connsiteX455" fmla="*/ 472440 w 1543050"/>
                <a:gd name="connsiteY455" fmla="*/ 1053465 h 1390650"/>
                <a:gd name="connsiteX456" fmla="*/ 469582 w 1543050"/>
                <a:gd name="connsiteY456" fmla="*/ 1049655 h 1390650"/>
                <a:gd name="connsiteX457" fmla="*/ 446722 w 1543050"/>
                <a:gd name="connsiteY457" fmla="*/ 1034415 h 1390650"/>
                <a:gd name="connsiteX458" fmla="*/ 443865 w 1543050"/>
                <a:gd name="connsiteY458" fmla="*/ 1028700 h 1390650"/>
                <a:gd name="connsiteX459" fmla="*/ 439103 w 1543050"/>
                <a:gd name="connsiteY459" fmla="*/ 1019175 h 1390650"/>
                <a:gd name="connsiteX460" fmla="*/ 434340 w 1543050"/>
                <a:gd name="connsiteY460" fmla="*/ 1002982 h 1390650"/>
                <a:gd name="connsiteX461" fmla="*/ 434340 w 1543050"/>
                <a:gd name="connsiteY461" fmla="*/ 995363 h 1390650"/>
                <a:gd name="connsiteX462" fmla="*/ 435292 w 1543050"/>
                <a:gd name="connsiteY462" fmla="*/ 991553 h 1390650"/>
                <a:gd name="connsiteX463" fmla="*/ 437197 w 1543050"/>
                <a:gd name="connsiteY463" fmla="*/ 991553 h 1390650"/>
                <a:gd name="connsiteX464" fmla="*/ 463867 w 1543050"/>
                <a:gd name="connsiteY464" fmla="*/ 989647 h 1390650"/>
                <a:gd name="connsiteX465" fmla="*/ 467678 w 1543050"/>
                <a:gd name="connsiteY465" fmla="*/ 986790 h 1390650"/>
                <a:gd name="connsiteX466" fmla="*/ 473392 w 1543050"/>
                <a:gd name="connsiteY466" fmla="*/ 977265 h 1390650"/>
                <a:gd name="connsiteX467" fmla="*/ 475297 w 1543050"/>
                <a:gd name="connsiteY467" fmla="*/ 975360 h 1390650"/>
                <a:gd name="connsiteX468" fmla="*/ 477203 w 1543050"/>
                <a:gd name="connsiteY468" fmla="*/ 974407 h 1390650"/>
                <a:gd name="connsiteX469" fmla="*/ 482917 w 1543050"/>
                <a:gd name="connsiteY469" fmla="*/ 974407 h 1390650"/>
                <a:gd name="connsiteX470" fmla="*/ 484822 w 1543050"/>
                <a:gd name="connsiteY470" fmla="*/ 975360 h 1390650"/>
                <a:gd name="connsiteX471" fmla="*/ 488632 w 1543050"/>
                <a:gd name="connsiteY471" fmla="*/ 978218 h 1390650"/>
                <a:gd name="connsiteX472" fmla="*/ 490538 w 1543050"/>
                <a:gd name="connsiteY472" fmla="*/ 979170 h 1390650"/>
                <a:gd name="connsiteX473" fmla="*/ 498157 w 1543050"/>
                <a:gd name="connsiteY473" fmla="*/ 977265 h 1390650"/>
                <a:gd name="connsiteX474" fmla="*/ 530542 w 1543050"/>
                <a:gd name="connsiteY474" fmla="*/ 974407 h 1390650"/>
                <a:gd name="connsiteX475" fmla="*/ 533400 w 1543050"/>
                <a:gd name="connsiteY475" fmla="*/ 974407 h 1390650"/>
                <a:gd name="connsiteX476" fmla="*/ 535305 w 1543050"/>
                <a:gd name="connsiteY476" fmla="*/ 972503 h 1390650"/>
                <a:gd name="connsiteX477" fmla="*/ 538163 w 1543050"/>
                <a:gd name="connsiteY477" fmla="*/ 965835 h 1390650"/>
                <a:gd name="connsiteX478" fmla="*/ 540067 w 1543050"/>
                <a:gd name="connsiteY478" fmla="*/ 962978 h 1390650"/>
                <a:gd name="connsiteX479" fmla="*/ 541972 w 1543050"/>
                <a:gd name="connsiteY479" fmla="*/ 962025 h 1390650"/>
                <a:gd name="connsiteX480" fmla="*/ 552450 w 1543050"/>
                <a:gd name="connsiteY480" fmla="*/ 956310 h 1390650"/>
                <a:gd name="connsiteX481" fmla="*/ 555307 w 1543050"/>
                <a:gd name="connsiteY481" fmla="*/ 953453 h 1390650"/>
                <a:gd name="connsiteX482" fmla="*/ 558165 w 1543050"/>
                <a:gd name="connsiteY482" fmla="*/ 943928 h 1390650"/>
                <a:gd name="connsiteX483" fmla="*/ 561022 w 1543050"/>
                <a:gd name="connsiteY483" fmla="*/ 932497 h 1390650"/>
                <a:gd name="connsiteX484" fmla="*/ 563880 w 1543050"/>
                <a:gd name="connsiteY484" fmla="*/ 927735 h 1390650"/>
                <a:gd name="connsiteX485" fmla="*/ 566738 w 1543050"/>
                <a:gd name="connsiteY485" fmla="*/ 923925 h 1390650"/>
                <a:gd name="connsiteX486" fmla="*/ 569595 w 1543050"/>
                <a:gd name="connsiteY486" fmla="*/ 921068 h 1390650"/>
                <a:gd name="connsiteX487" fmla="*/ 572453 w 1543050"/>
                <a:gd name="connsiteY487" fmla="*/ 916305 h 1390650"/>
                <a:gd name="connsiteX488" fmla="*/ 573405 w 1543050"/>
                <a:gd name="connsiteY488" fmla="*/ 911543 h 1390650"/>
                <a:gd name="connsiteX489" fmla="*/ 573405 w 1543050"/>
                <a:gd name="connsiteY489" fmla="*/ 905828 h 1390650"/>
                <a:gd name="connsiteX490" fmla="*/ 573405 w 1543050"/>
                <a:gd name="connsiteY490" fmla="*/ 898207 h 1390650"/>
                <a:gd name="connsiteX491" fmla="*/ 579120 w 1543050"/>
                <a:gd name="connsiteY491" fmla="*/ 884872 h 1390650"/>
                <a:gd name="connsiteX492" fmla="*/ 578167 w 1543050"/>
                <a:gd name="connsiteY492" fmla="*/ 879157 h 1390650"/>
                <a:gd name="connsiteX493" fmla="*/ 577215 w 1543050"/>
                <a:gd name="connsiteY493" fmla="*/ 876300 h 1390650"/>
                <a:gd name="connsiteX494" fmla="*/ 575310 w 1543050"/>
                <a:gd name="connsiteY494" fmla="*/ 874395 h 1390650"/>
                <a:gd name="connsiteX495" fmla="*/ 573405 w 1543050"/>
                <a:gd name="connsiteY495" fmla="*/ 873443 h 1390650"/>
                <a:gd name="connsiteX496" fmla="*/ 563880 w 1543050"/>
                <a:gd name="connsiteY496" fmla="*/ 872490 h 1390650"/>
                <a:gd name="connsiteX497" fmla="*/ 561022 w 1543050"/>
                <a:gd name="connsiteY497" fmla="*/ 871538 h 1390650"/>
                <a:gd name="connsiteX498" fmla="*/ 559117 w 1543050"/>
                <a:gd name="connsiteY498" fmla="*/ 869632 h 1390650"/>
                <a:gd name="connsiteX499" fmla="*/ 557213 w 1543050"/>
                <a:gd name="connsiteY499" fmla="*/ 865822 h 1390650"/>
                <a:gd name="connsiteX500" fmla="*/ 556260 w 1543050"/>
                <a:gd name="connsiteY500" fmla="*/ 860107 h 1390650"/>
                <a:gd name="connsiteX501" fmla="*/ 552450 w 1543050"/>
                <a:gd name="connsiteY501" fmla="*/ 853440 h 1390650"/>
                <a:gd name="connsiteX502" fmla="*/ 551497 w 1543050"/>
                <a:gd name="connsiteY502" fmla="*/ 851535 h 1390650"/>
                <a:gd name="connsiteX503" fmla="*/ 545782 w 1543050"/>
                <a:gd name="connsiteY503" fmla="*/ 845820 h 1390650"/>
                <a:gd name="connsiteX504" fmla="*/ 541972 w 1543050"/>
                <a:gd name="connsiteY504" fmla="*/ 840105 h 1390650"/>
                <a:gd name="connsiteX505" fmla="*/ 539115 w 1543050"/>
                <a:gd name="connsiteY505" fmla="*/ 832485 h 1390650"/>
                <a:gd name="connsiteX506" fmla="*/ 537210 w 1543050"/>
                <a:gd name="connsiteY506" fmla="*/ 828675 h 1390650"/>
                <a:gd name="connsiteX507" fmla="*/ 535305 w 1543050"/>
                <a:gd name="connsiteY507" fmla="*/ 826770 h 1390650"/>
                <a:gd name="connsiteX508" fmla="*/ 529590 w 1543050"/>
                <a:gd name="connsiteY508" fmla="*/ 826770 h 1390650"/>
                <a:gd name="connsiteX509" fmla="*/ 524828 w 1543050"/>
                <a:gd name="connsiteY509" fmla="*/ 828675 h 1390650"/>
                <a:gd name="connsiteX510" fmla="*/ 518160 w 1543050"/>
                <a:gd name="connsiteY510" fmla="*/ 831532 h 1390650"/>
                <a:gd name="connsiteX511" fmla="*/ 513397 w 1543050"/>
                <a:gd name="connsiteY511" fmla="*/ 832485 h 1390650"/>
                <a:gd name="connsiteX512" fmla="*/ 508635 w 1543050"/>
                <a:gd name="connsiteY512" fmla="*/ 830580 h 1390650"/>
                <a:gd name="connsiteX513" fmla="*/ 502920 w 1543050"/>
                <a:gd name="connsiteY513" fmla="*/ 825818 h 1390650"/>
                <a:gd name="connsiteX514" fmla="*/ 498157 w 1543050"/>
                <a:gd name="connsiteY514" fmla="*/ 822960 h 1390650"/>
                <a:gd name="connsiteX515" fmla="*/ 485775 w 1543050"/>
                <a:gd name="connsiteY515" fmla="*/ 820103 h 1390650"/>
                <a:gd name="connsiteX516" fmla="*/ 482917 w 1543050"/>
                <a:gd name="connsiteY516" fmla="*/ 819150 h 1390650"/>
                <a:gd name="connsiteX517" fmla="*/ 481013 w 1543050"/>
                <a:gd name="connsiteY517" fmla="*/ 816293 h 1390650"/>
                <a:gd name="connsiteX518" fmla="*/ 479107 w 1543050"/>
                <a:gd name="connsiteY518" fmla="*/ 813435 h 1390650"/>
                <a:gd name="connsiteX519" fmla="*/ 478155 w 1543050"/>
                <a:gd name="connsiteY519" fmla="*/ 807720 h 1390650"/>
                <a:gd name="connsiteX520" fmla="*/ 478155 w 1543050"/>
                <a:gd name="connsiteY520" fmla="*/ 801053 h 1390650"/>
                <a:gd name="connsiteX521" fmla="*/ 479107 w 1543050"/>
                <a:gd name="connsiteY521" fmla="*/ 794385 h 1390650"/>
                <a:gd name="connsiteX522" fmla="*/ 481013 w 1543050"/>
                <a:gd name="connsiteY522" fmla="*/ 792480 h 1390650"/>
                <a:gd name="connsiteX523" fmla="*/ 485775 w 1543050"/>
                <a:gd name="connsiteY523" fmla="*/ 790575 h 1390650"/>
                <a:gd name="connsiteX524" fmla="*/ 490538 w 1543050"/>
                <a:gd name="connsiteY524" fmla="*/ 788670 h 1390650"/>
                <a:gd name="connsiteX525" fmla="*/ 495300 w 1543050"/>
                <a:gd name="connsiteY525" fmla="*/ 786765 h 1390650"/>
                <a:gd name="connsiteX526" fmla="*/ 497205 w 1543050"/>
                <a:gd name="connsiteY526" fmla="*/ 784860 h 1390650"/>
                <a:gd name="connsiteX527" fmla="*/ 504825 w 1543050"/>
                <a:gd name="connsiteY527" fmla="*/ 777240 h 1390650"/>
                <a:gd name="connsiteX528" fmla="*/ 505778 w 1543050"/>
                <a:gd name="connsiteY528" fmla="*/ 774382 h 1390650"/>
                <a:gd name="connsiteX529" fmla="*/ 507682 w 1543050"/>
                <a:gd name="connsiteY529" fmla="*/ 768668 h 1390650"/>
                <a:gd name="connsiteX530" fmla="*/ 506730 w 1543050"/>
                <a:gd name="connsiteY530" fmla="*/ 762000 h 1390650"/>
                <a:gd name="connsiteX531" fmla="*/ 505778 w 1543050"/>
                <a:gd name="connsiteY531" fmla="*/ 757238 h 1390650"/>
                <a:gd name="connsiteX532" fmla="*/ 501967 w 1543050"/>
                <a:gd name="connsiteY532" fmla="*/ 748665 h 1390650"/>
                <a:gd name="connsiteX533" fmla="*/ 498157 w 1543050"/>
                <a:gd name="connsiteY533" fmla="*/ 744855 h 1390650"/>
                <a:gd name="connsiteX534" fmla="*/ 496253 w 1543050"/>
                <a:gd name="connsiteY534" fmla="*/ 743903 h 1390650"/>
                <a:gd name="connsiteX535" fmla="*/ 454342 w 1543050"/>
                <a:gd name="connsiteY535" fmla="*/ 753428 h 1390650"/>
                <a:gd name="connsiteX536" fmla="*/ 438150 w 1543050"/>
                <a:gd name="connsiteY536" fmla="*/ 760095 h 1390650"/>
                <a:gd name="connsiteX537" fmla="*/ 435292 w 1543050"/>
                <a:gd name="connsiteY537" fmla="*/ 760095 h 1390650"/>
                <a:gd name="connsiteX538" fmla="*/ 432435 w 1543050"/>
                <a:gd name="connsiteY538" fmla="*/ 759143 h 1390650"/>
                <a:gd name="connsiteX539" fmla="*/ 426720 w 1543050"/>
                <a:gd name="connsiteY539" fmla="*/ 748665 h 1390650"/>
                <a:gd name="connsiteX540" fmla="*/ 424815 w 1543050"/>
                <a:gd name="connsiteY540" fmla="*/ 746760 h 1390650"/>
                <a:gd name="connsiteX541" fmla="*/ 422910 w 1543050"/>
                <a:gd name="connsiteY541" fmla="*/ 746760 h 1390650"/>
                <a:gd name="connsiteX542" fmla="*/ 401955 w 1543050"/>
                <a:gd name="connsiteY542" fmla="*/ 745807 h 1390650"/>
                <a:gd name="connsiteX543" fmla="*/ 372428 w 1543050"/>
                <a:gd name="connsiteY543" fmla="*/ 740093 h 1390650"/>
                <a:gd name="connsiteX544" fmla="*/ 365760 w 1543050"/>
                <a:gd name="connsiteY544" fmla="*/ 729615 h 1390650"/>
                <a:gd name="connsiteX545" fmla="*/ 357188 w 1543050"/>
                <a:gd name="connsiteY545" fmla="*/ 709613 h 1390650"/>
                <a:gd name="connsiteX546" fmla="*/ 332422 w 1543050"/>
                <a:gd name="connsiteY546" fmla="*/ 634365 h 1390650"/>
                <a:gd name="connsiteX547" fmla="*/ 329565 w 1543050"/>
                <a:gd name="connsiteY547" fmla="*/ 621982 h 1390650"/>
                <a:gd name="connsiteX548" fmla="*/ 336232 w 1543050"/>
                <a:gd name="connsiteY548" fmla="*/ 604838 h 1390650"/>
                <a:gd name="connsiteX549" fmla="*/ 339090 w 1543050"/>
                <a:gd name="connsiteY549" fmla="*/ 592455 h 1390650"/>
                <a:gd name="connsiteX550" fmla="*/ 340995 w 1543050"/>
                <a:gd name="connsiteY550" fmla="*/ 584835 h 1390650"/>
                <a:gd name="connsiteX551" fmla="*/ 341947 w 1543050"/>
                <a:gd name="connsiteY551" fmla="*/ 577215 h 1390650"/>
                <a:gd name="connsiteX552" fmla="*/ 340995 w 1543050"/>
                <a:gd name="connsiteY552" fmla="*/ 571500 h 1390650"/>
                <a:gd name="connsiteX553" fmla="*/ 341947 w 1543050"/>
                <a:gd name="connsiteY553" fmla="*/ 566738 h 1390650"/>
                <a:gd name="connsiteX554" fmla="*/ 345757 w 1543050"/>
                <a:gd name="connsiteY554" fmla="*/ 563880 h 1390650"/>
                <a:gd name="connsiteX555" fmla="*/ 347663 w 1543050"/>
                <a:gd name="connsiteY555" fmla="*/ 561975 h 1390650"/>
                <a:gd name="connsiteX556" fmla="*/ 349567 w 1543050"/>
                <a:gd name="connsiteY556" fmla="*/ 556260 h 1390650"/>
                <a:gd name="connsiteX557" fmla="*/ 349567 w 1543050"/>
                <a:gd name="connsiteY557" fmla="*/ 548640 h 1390650"/>
                <a:gd name="connsiteX558" fmla="*/ 347663 w 1543050"/>
                <a:gd name="connsiteY558" fmla="*/ 532447 h 1390650"/>
                <a:gd name="connsiteX559" fmla="*/ 344805 w 1543050"/>
                <a:gd name="connsiteY559" fmla="*/ 527685 h 1390650"/>
                <a:gd name="connsiteX560" fmla="*/ 337185 w 1543050"/>
                <a:gd name="connsiteY560" fmla="*/ 519113 h 1390650"/>
                <a:gd name="connsiteX561" fmla="*/ 331470 w 1543050"/>
                <a:gd name="connsiteY561" fmla="*/ 508635 h 1390650"/>
                <a:gd name="connsiteX562" fmla="*/ 328613 w 1543050"/>
                <a:gd name="connsiteY562" fmla="*/ 503872 h 1390650"/>
                <a:gd name="connsiteX563" fmla="*/ 324803 w 1543050"/>
                <a:gd name="connsiteY563" fmla="*/ 501015 h 1390650"/>
                <a:gd name="connsiteX564" fmla="*/ 306705 w 1543050"/>
                <a:gd name="connsiteY564" fmla="*/ 500063 h 1390650"/>
                <a:gd name="connsiteX565" fmla="*/ 303847 w 1543050"/>
                <a:gd name="connsiteY565" fmla="*/ 499110 h 1390650"/>
                <a:gd name="connsiteX566" fmla="*/ 303847 w 1543050"/>
                <a:gd name="connsiteY566" fmla="*/ 496253 h 1390650"/>
                <a:gd name="connsiteX567" fmla="*/ 304800 w 1543050"/>
                <a:gd name="connsiteY567" fmla="*/ 494347 h 1390650"/>
                <a:gd name="connsiteX568" fmla="*/ 306705 w 1543050"/>
                <a:gd name="connsiteY568" fmla="*/ 489585 h 1390650"/>
                <a:gd name="connsiteX569" fmla="*/ 306705 w 1543050"/>
                <a:gd name="connsiteY569" fmla="*/ 483870 h 1390650"/>
                <a:gd name="connsiteX570" fmla="*/ 305753 w 1543050"/>
                <a:gd name="connsiteY570" fmla="*/ 469582 h 1390650"/>
                <a:gd name="connsiteX571" fmla="*/ 303847 w 1543050"/>
                <a:gd name="connsiteY571" fmla="*/ 464820 h 1390650"/>
                <a:gd name="connsiteX572" fmla="*/ 300990 w 1543050"/>
                <a:gd name="connsiteY572" fmla="*/ 461963 h 1390650"/>
                <a:gd name="connsiteX573" fmla="*/ 271463 w 1543050"/>
                <a:gd name="connsiteY573" fmla="*/ 468630 h 1390650"/>
                <a:gd name="connsiteX574" fmla="*/ 269557 w 1543050"/>
                <a:gd name="connsiteY574" fmla="*/ 470535 h 1390650"/>
                <a:gd name="connsiteX575" fmla="*/ 267653 w 1543050"/>
                <a:gd name="connsiteY575" fmla="*/ 472440 h 1390650"/>
                <a:gd name="connsiteX576" fmla="*/ 267653 w 1543050"/>
                <a:gd name="connsiteY576" fmla="*/ 476250 h 1390650"/>
                <a:gd name="connsiteX577" fmla="*/ 264795 w 1543050"/>
                <a:gd name="connsiteY577" fmla="*/ 488632 h 1390650"/>
                <a:gd name="connsiteX578" fmla="*/ 261938 w 1543050"/>
                <a:gd name="connsiteY578" fmla="*/ 494347 h 1390650"/>
                <a:gd name="connsiteX579" fmla="*/ 259080 w 1543050"/>
                <a:gd name="connsiteY579" fmla="*/ 498157 h 1390650"/>
                <a:gd name="connsiteX580" fmla="*/ 256222 w 1543050"/>
                <a:gd name="connsiteY580" fmla="*/ 498157 h 1390650"/>
                <a:gd name="connsiteX581" fmla="*/ 253365 w 1543050"/>
                <a:gd name="connsiteY581" fmla="*/ 496253 h 1390650"/>
                <a:gd name="connsiteX582" fmla="*/ 251460 w 1543050"/>
                <a:gd name="connsiteY582" fmla="*/ 493395 h 1390650"/>
                <a:gd name="connsiteX583" fmla="*/ 248603 w 1543050"/>
                <a:gd name="connsiteY583" fmla="*/ 487680 h 1390650"/>
                <a:gd name="connsiteX584" fmla="*/ 245745 w 1543050"/>
                <a:gd name="connsiteY584" fmla="*/ 473393 h 1390650"/>
                <a:gd name="connsiteX585" fmla="*/ 243840 w 1543050"/>
                <a:gd name="connsiteY585" fmla="*/ 470535 h 1390650"/>
                <a:gd name="connsiteX586" fmla="*/ 240982 w 1543050"/>
                <a:gd name="connsiteY586" fmla="*/ 468630 h 1390650"/>
                <a:gd name="connsiteX587" fmla="*/ 221932 w 1543050"/>
                <a:gd name="connsiteY587" fmla="*/ 467678 h 1390650"/>
                <a:gd name="connsiteX588" fmla="*/ 219075 w 1543050"/>
                <a:gd name="connsiteY588" fmla="*/ 467678 h 1390650"/>
                <a:gd name="connsiteX589" fmla="*/ 215265 w 1543050"/>
                <a:gd name="connsiteY589" fmla="*/ 465772 h 1390650"/>
                <a:gd name="connsiteX590" fmla="*/ 208597 w 1543050"/>
                <a:gd name="connsiteY590" fmla="*/ 460057 h 1390650"/>
                <a:gd name="connsiteX591" fmla="*/ 205740 w 1543050"/>
                <a:gd name="connsiteY591" fmla="*/ 459105 h 1390650"/>
                <a:gd name="connsiteX592" fmla="*/ 202882 w 1543050"/>
                <a:gd name="connsiteY592" fmla="*/ 459105 h 1390650"/>
                <a:gd name="connsiteX593" fmla="*/ 200025 w 1543050"/>
                <a:gd name="connsiteY593" fmla="*/ 460057 h 1390650"/>
                <a:gd name="connsiteX594" fmla="*/ 195263 w 1543050"/>
                <a:gd name="connsiteY594" fmla="*/ 465772 h 1390650"/>
                <a:gd name="connsiteX595" fmla="*/ 186690 w 1543050"/>
                <a:gd name="connsiteY595" fmla="*/ 471488 h 1390650"/>
                <a:gd name="connsiteX596" fmla="*/ 181928 w 1543050"/>
                <a:gd name="connsiteY596" fmla="*/ 474345 h 1390650"/>
                <a:gd name="connsiteX597" fmla="*/ 180022 w 1543050"/>
                <a:gd name="connsiteY597" fmla="*/ 474345 h 1390650"/>
                <a:gd name="connsiteX598" fmla="*/ 177165 w 1543050"/>
                <a:gd name="connsiteY598" fmla="*/ 474345 h 1390650"/>
                <a:gd name="connsiteX599" fmla="*/ 174307 w 1543050"/>
                <a:gd name="connsiteY599" fmla="*/ 472440 h 1390650"/>
                <a:gd name="connsiteX600" fmla="*/ 170497 w 1543050"/>
                <a:gd name="connsiteY600" fmla="*/ 467678 h 1390650"/>
                <a:gd name="connsiteX601" fmla="*/ 167640 w 1543050"/>
                <a:gd name="connsiteY601" fmla="*/ 466725 h 1390650"/>
                <a:gd name="connsiteX602" fmla="*/ 164782 w 1543050"/>
                <a:gd name="connsiteY602" fmla="*/ 466725 h 1390650"/>
                <a:gd name="connsiteX603" fmla="*/ 140970 w 1543050"/>
                <a:gd name="connsiteY603" fmla="*/ 471488 h 1390650"/>
                <a:gd name="connsiteX604" fmla="*/ 138113 w 1543050"/>
                <a:gd name="connsiteY604" fmla="*/ 470535 h 1390650"/>
                <a:gd name="connsiteX605" fmla="*/ 131445 w 1543050"/>
                <a:gd name="connsiteY605" fmla="*/ 462915 h 1390650"/>
                <a:gd name="connsiteX606" fmla="*/ 129540 w 1543050"/>
                <a:gd name="connsiteY606" fmla="*/ 461010 h 1390650"/>
                <a:gd name="connsiteX607" fmla="*/ 117157 w 1543050"/>
                <a:gd name="connsiteY607" fmla="*/ 454343 h 1390650"/>
                <a:gd name="connsiteX608" fmla="*/ 111442 w 1543050"/>
                <a:gd name="connsiteY608" fmla="*/ 450532 h 1390650"/>
                <a:gd name="connsiteX609" fmla="*/ 108585 w 1543050"/>
                <a:gd name="connsiteY609" fmla="*/ 443865 h 1390650"/>
                <a:gd name="connsiteX610" fmla="*/ 106680 w 1543050"/>
                <a:gd name="connsiteY610" fmla="*/ 436245 h 1390650"/>
                <a:gd name="connsiteX611" fmla="*/ 102870 w 1543050"/>
                <a:gd name="connsiteY611" fmla="*/ 426720 h 1390650"/>
                <a:gd name="connsiteX612" fmla="*/ 101917 w 1543050"/>
                <a:gd name="connsiteY612" fmla="*/ 420053 h 1390650"/>
                <a:gd name="connsiteX613" fmla="*/ 102870 w 1543050"/>
                <a:gd name="connsiteY613" fmla="*/ 414338 h 1390650"/>
                <a:gd name="connsiteX614" fmla="*/ 106680 w 1543050"/>
                <a:gd name="connsiteY614" fmla="*/ 406718 h 1390650"/>
                <a:gd name="connsiteX615" fmla="*/ 107632 w 1543050"/>
                <a:gd name="connsiteY615" fmla="*/ 403860 h 1390650"/>
                <a:gd name="connsiteX616" fmla="*/ 108585 w 1543050"/>
                <a:gd name="connsiteY616" fmla="*/ 400050 h 1390650"/>
                <a:gd name="connsiteX617" fmla="*/ 108585 w 1543050"/>
                <a:gd name="connsiteY617" fmla="*/ 394335 h 1390650"/>
                <a:gd name="connsiteX618" fmla="*/ 104775 w 1543050"/>
                <a:gd name="connsiteY618" fmla="*/ 388620 h 1390650"/>
                <a:gd name="connsiteX619" fmla="*/ 98107 w 1543050"/>
                <a:gd name="connsiteY619" fmla="*/ 383857 h 1390650"/>
                <a:gd name="connsiteX620" fmla="*/ 91440 w 1543050"/>
                <a:gd name="connsiteY620" fmla="*/ 376238 h 1390650"/>
                <a:gd name="connsiteX621" fmla="*/ 89535 w 1543050"/>
                <a:gd name="connsiteY621" fmla="*/ 373380 h 1390650"/>
                <a:gd name="connsiteX622" fmla="*/ 89535 w 1543050"/>
                <a:gd name="connsiteY622" fmla="*/ 369570 h 1390650"/>
                <a:gd name="connsiteX623" fmla="*/ 90488 w 1543050"/>
                <a:gd name="connsiteY623" fmla="*/ 366713 h 1390650"/>
                <a:gd name="connsiteX624" fmla="*/ 92392 w 1543050"/>
                <a:gd name="connsiteY624" fmla="*/ 364807 h 1390650"/>
                <a:gd name="connsiteX625" fmla="*/ 97155 w 1543050"/>
                <a:gd name="connsiteY625" fmla="*/ 359093 h 1390650"/>
                <a:gd name="connsiteX626" fmla="*/ 99060 w 1543050"/>
                <a:gd name="connsiteY626" fmla="*/ 357188 h 1390650"/>
                <a:gd name="connsiteX627" fmla="*/ 100965 w 1543050"/>
                <a:gd name="connsiteY627" fmla="*/ 353378 h 1390650"/>
                <a:gd name="connsiteX628" fmla="*/ 100965 w 1543050"/>
                <a:gd name="connsiteY628" fmla="*/ 349568 h 1390650"/>
                <a:gd name="connsiteX629" fmla="*/ 98107 w 1543050"/>
                <a:gd name="connsiteY629" fmla="*/ 338138 h 1390650"/>
                <a:gd name="connsiteX630" fmla="*/ 95250 w 1543050"/>
                <a:gd name="connsiteY630" fmla="*/ 334328 h 1390650"/>
                <a:gd name="connsiteX631" fmla="*/ 92392 w 1543050"/>
                <a:gd name="connsiteY631" fmla="*/ 332422 h 1390650"/>
                <a:gd name="connsiteX632" fmla="*/ 79057 w 1543050"/>
                <a:gd name="connsiteY632" fmla="*/ 326707 h 1390650"/>
                <a:gd name="connsiteX633" fmla="*/ 73342 w 1543050"/>
                <a:gd name="connsiteY633" fmla="*/ 322897 h 1390650"/>
                <a:gd name="connsiteX634" fmla="*/ 64770 w 1543050"/>
                <a:gd name="connsiteY634" fmla="*/ 315278 h 1390650"/>
                <a:gd name="connsiteX635" fmla="*/ 60960 w 1543050"/>
                <a:gd name="connsiteY635" fmla="*/ 308610 h 1390650"/>
                <a:gd name="connsiteX636" fmla="*/ 60007 w 1543050"/>
                <a:gd name="connsiteY636" fmla="*/ 301943 h 1390650"/>
                <a:gd name="connsiteX637" fmla="*/ 46672 w 1543050"/>
                <a:gd name="connsiteY637" fmla="*/ 217170 h 1390650"/>
                <a:gd name="connsiteX638" fmla="*/ 45720 w 1543050"/>
                <a:gd name="connsiteY638" fmla="*/ 214313 h 1390650"/>
                <a:gd name="connsiteX639" fmla="*/ 43815 w 1543050"/>
                <a:gd name="connsiteY639" fmla="*/ 211455 h 1390650"/>
                <a:gd name="connsiteX640" fmla="*/ 34290 w 1543050"/>
                <a:gd name="connsiteY640" fmla="*/ 199072 h 1390650"/>
                <a:gd name="connsiteX641" fmla="*/ 28575 w 1543050"/>
                <a:gd name="connsiteY641" fmla="*/ 191453 h 1390650"/>
                <a:gd name="connsiteX642" fmla="*/ 24765 w 1543050"/>
                <a:gd name="connsiteY642" fmla="*/ 186690 h 1390650"/>
                <a:gd name="connsiteX643" fmla="*/ 22860 w 1543050"/>
                <a:gd name="connsiteY643" fmla="*/ 185738 h 1390650"/>
                <a:gd name="connsiteX644" fmla="*/ 9525 w 1543050"/>
                <a:gd name="connsiteY644" fmla="*/ 181928 h 1390650"/>
                <a:gd name="connsiteX645" fmla="*/ 5715 w 1543050"/>
                <a:gd name="connsiteY645" fmla="*/ 180022 h 1390650"/>
                <a:gd name="connsiteX646" fmla="*/ 3810 w 1543050"/>
                <a:gd name="connsiteY646" fmla="*/ 175260 h 1390650"/>
                <a:gd name="connsiteX647" fmla="*/ 3810 w 1543050"/>
                <a:gd name="connsiteY647" fmla="*/ 167640 h 1390650"/>
                <a:gd name="connsiteX648" fmla="*/ 4763 w 1543050"/>
                <a:gd name="connsiteY648" fmla="*/ 161925 h 1390650"/>
                <a:gd name="connsiteX649" fmla="*/ 8572 w 1543050"/>
                <a:gd name="connsiteY649" fmla="*/ 155257 h 1390650"/>
                <a:gd name="connsiteX650" fmla="*/ 9525 w 1543050"/>
                <a:gd name="connsiteY650" fmla="*/ 149543 h 1390650"/>
                <a:gd name="connsiteX651" fmla="*/ 8572 w 1543050"/>
                <a:gd name="connsiteY651" fmla="*/ 146685 h 1390650"/>
                <a:gd name="connsiteX652" fmla="*/ 9525 w 1543050"/>
                <a:gd name="connsiteY652" fmla="*/ 136207 h 1390650"/>
                <a:gd name="connsiteX653" fmla="*/ 8572 w 1543050"/>
                <a:gd name="connsiteY653" fmla="*/ 132397 h 1390650"/>
                <a:gd name="connsiteX654" fmla="*/ 7620 w 1543050"/>
                <a:gd name="connsiteY654" fmla="*/ 129540 h 1390650"/>
                <a:gd name="connsiteX655" fmla="*/ 953 w 1543050"/>
                <a:gd name="connsiteY655" fmla="*/ 124778 h 1390650"/>
                <a:gd name="connsiteX656" fmla="*/ 0 w 1543050"/>
                <a:gd name="connsiteY656" fmla="*/ 122872 h 1390650"/>
                <a:gd name="connsiteX657" fmla="*/ 953 w 1543050"/>
                <a:gd name="connsiteY657" fmla="*/ 120968 h 1390650"/>
                <a:gd name="connsiteX658" fmla="*/ 6667 w 1543050"/>
                <a:gd name="connsiteY658" fmla="*/ 115253 h 1390650"/>
                <a:gd name="connsiteX659" fmla="*/ 24765 w 1543050"/>
                <a:gd name="connsiteY659" fmla="*/ 107632 h 1390650"/>
                <a:gd name="connsiteX660" fmla="*/ 33338 w 1543050"/>
                <a:gd name="connsiteY660" fmla="*/ 108585 h 1390650"/>
                <a:gd name="connsiteX661" fmla="*/ 35242 w 1543050"/>
                <a:gd name="connsiteY661" fmla="*/ 107632 h 1390650"/>
                <a:gd name="connsiteX662" fmla="*/ 38100 w 1543050"/>
                <a:gd name="connsiteY662" fmla="*/ 103822 h 1390650"/>
                <a:gd name="connsiteX663" fmla="*/ 40005 w 1543050"/>
                <a:gd name="connsiteY663" fmla="*/ 101918 h 1390650"/>
                <a:gd name="connsiteX664" fmla="*/ 42863 w 1543050"/>
                <a:gd name="connsiteY664" fmla="*/ 101918 h 1390650"/>
                <a:gd name="connsiteX665" fmla="*/ 45720 w 1543050"/>
                <a:gd name="connsiteY665" fmla="*/ 101918 h 1390650"/>
                <a:gd name="connsiteX666" fmla="*/ 51435 w 1543050"/>
                <a:gd name="connsiteY666" fmla="*/ 103822 h 1390650"/>
                <a:gd name="connsiteX667" fmla="*/ 54292 w 1543050"/>
                <a:gd name="connsiteY667" fmla="*/ 102870 h 1390650"/>
                <a:gd name="connsiteX668" fmla="*/ 56197 w 1543050"/>
                <a:gd name="connsiteY668" fmla="*/ 100965 h 1390650"/>
                <a:gd name="connsiteX669" fmla="*/ 57150 w 1543050"/>
                <a:gd name="connsiteY669" fmla="*/ 97155 h 1390650"/>
                <a:gd name="connsiteX670" fmla="*/ 57150 w 1543050"/>
                <a:gd name="connsiteY670" fmla="*/ 93345 h 1390650"/>
                <a:gd name="connsiteX671" fmla="*/ 54292 w 1543050"/>
                <a:gd name="connsiteY671" fmla="*/ 90488 h 1390650"/>
                <a:gd name="connsiteX672" fmla="*/ 47625 w 1543050"/>
                <a:gd name="connsiteY672" fmla="*/ 86678 h 1390650"/>
                <a:gd name="connsiteX673" fmla="*/ 45720 w 1543050"/>
                <a:gd name="connsiteY673" fmla="*/ 84772 h 1390650"/>
                <a:gd name="connsiteX674" fmla="*/ 44767 w 1543050"/>
                <a:gd name="connsiteY674" fmla="*/ 80963 h 1390650"/>
                <a:gd name="connsiteX675" fmla="*/ 44767 w 1543050"/>
                <a:gd name="connsiteY675" fmla="*/ 66675 h 1390650"/>
                <a:gd name="connsiteX676" fmla="*/ 60007 w 1543050"/>
                <a:gd name="connsiteY676" fmla="*/ 67628 h 1390650"/>
                <a:gd name="connsiteX677" fmla="*/ 63817 w 1543050"/>
                <a:gd name="connsiteY677" fmla="*/ 66675 h 1390650"/>
                <a:gd name="connsiteX678" fmla="*/ 66675 w 1543050"/>
                <a:gd name="connsiteY678" fmla="*/ 61913 h 1390650"/>
                <a:gd name="connsiteX679" fmla="*/ 70485 w 1543050"/>
                <a:gd name="connsiteY679" fmla="*/ 47625 h 1390650"/>
                <a:gd name="connsiteX680" fmla="*/ 73342 w 1543050"/>
                <a:gd name="connsiteY680" fmla="*/ 44768 h 1390650"/>
                <a:gd name="connsiteX681" fmla="*/ 154305 w 1543050"/>
                <a:gd name="connsiteY681" fmla="*/ 44768 h 1390650"/>
                <a:gd name="connsiteX682" fmla="*/ 159067 w 1543050"/>
                <a:gd name="connsiteY682" fmla="*/ 45720 h 1390650"/>
                <a:gd name="connsiteX683" fmla="*/ 163830 w 1543050"/>
                <a:gd name="connsiteY683" fmla="*/ 45720 h 1390650"/>
                <a:gd name="connsiteX684" fmla="*/ 167640 w 1543050"/>
                <a:gd name="connsiteY684" fmla="*/ 46672 h 1390650"/>
                <a:gd name="connsiteX685" fmla="*/ 191453 w 1543050"/>
                <a:gd name="connsiteY685" fmla="*/ 55245 h 1390650"/>
                <a:gd name="connsiteX686" fmla="*/ 211455 w 1543050"/>
                <a:gd name="connsiteY686" fmla="*/ 60007 h 1390650"/>
                <a:gd name="connsiteX687" fmla="*/ 217170 w 1543050"/>
                <a:gd name="connsiteY687" fmla="*/ 60007 h 1390650"/>
                <a:gd name="connsiteX688" fmla="*/ 220028 w 1543050"/>
                <a:gd name="connsiteY688" fmla="*/ 58103 h 1390650"/>
                <a:gd name="connsiteX689" fmla="*/ 222885 w 1543050"/>
                <a:gd name="connsiteY689" fmla="*/ 54293 h 1390650"/>
                <a:gd name="connsiteX690" fmla="*/ 224790 w 1543050"/>
                <a:gd name="connsiteY690" fmla="*/ 47625 h 1390650"/>
                <a:gd name="connsiteX691" fmla="*/ 225742 w 1543050"/>
                <a:gd name="connsiteY691" fmla="*/ 45720 h 1390650"/>
                <a:gd name="connsiteX692" fmla="*/ 230505 w 1543050"/>
                <a:gd name="connsiteY692" fmla="*/ 42863 h 1390650"/>
                <a:gd name="connsiteX693" fmla="*/ 237172 w 1543050"/>
                <a:gd name="connsiteY693" fmla="*/ 39053 h 1390650"/>
                <a:gd name="connsiteX694" fmla="*/ 261938 w 1543050"/>
                <a:gd name="connsiteY694" fmla="*/ 30480 h 1390650"/>
                <a:gd name="connsiteX695" fmla="*/ 267653 w 1543050"/>
                <a:gd name="connsiteY695" fmla="*/ 29528 h 1390650"/>
                <a:gd name="connsiteX696" fmla="*/ 282892 w 1543050"/>
                <a:gd name="connsiteY696" fmla="*/ 32385 h 1390650"/>
                <a:gd name="connsiteX697" fmla="*/ 299085 w 1543050"/>
                <a:gd name="connsiteY697" fmla="*/ 32385 h 1390650"/>
                <a:gd name="connsiteX698" fmla="*/ 305753 w 1543050"/>
                <a:gd name="connsiteY698" fmla="*/ 33338 h 1390650"/>
                <a:gd name="connsiteX699" fmla="*/ 310515 w 1543050"/>
                <a:gd name="connsiteY699" fmla="*/ 35243 h 1390650"/>
                <a:gd name="connsiteX700" fmla="*/ 311467 w 1543050"/>
                <a:gd name="connsiteY700" fmla="*/ 40957 h 1390650"/>
                <a:gd name="connsiteX701" fmla="*/ 313372 w 1543050"/>
                <a:gd name="connsiteY701" fmla="*/ 43815 h 1390650"/>
                <a:gd name="connsiteX702" fmla="*/ 315278 w 1543050"/>
                <a:gd name="connsiteY702" fmla="*/ 46672 h 1390650"/>
                <a:gd name="connsiteX703" fmla="*/ 320992 w 1543050"/>
                <a:gd name="connsiteY703" fmla="*/ 48578 h 1390650"/>
                <a:gd name="connsiteX704" fmla="*/ 323850 w 1543050"/>
                <a:gd name="connsiteY704" fmla="*/ 48578 h 1390650"/>
                <a:gd name="connsiteX705" fmla="*/ 325755 w 1543050"/>
                <a:gd name="connsiteY705" fmla="*/ 46672 h 1390650"/>
                <a:gd name="connsiteX706" fmla="*/ 329565 w 1543050"/>
                <a:gd name="connsiteY706" fmla="*/ 36195 h 1390650"/>
                <a:gd name="connsiteX707" fmla="*/ 331470 w 1543050"/>
                <a:gd name="connsiteY707" fmla="*/ 33338 h 1390650"/>
                <a:gd name="connsiteX708" fmla="*/ 333375 w 1543050"/>
                <a:gd name="connsiteY708" fmla="*/ 31432 h 1390650"/>
                <a:gd name="connsiteX709" fmla="*/ 338138 w 1543050"/>
                <a:gd name="connsiteY709" fmla="*/ 27622 h 1390650"/>
                <a:gd name="connsiteX710" fmla="*/ 341947 w 1543050"/>
                <a:gd name="connsiteY710" fmla="*/ 26670 h 1390650"/>
                <a:gd name="connsiteX711" fmla="*/ 344805 w 1543050"/>
                <a:gd name="connsiteY711" fmla="*/ 27622 h 1390650"/>
                <a:gd name="connsiteX712" fmla="*/ 347663 w 1543050"/>
                <a:gd name="connsiteY712" fmla="*/ 28575 h 1390650"/>
                <a:gd name="connsiteX713" fmla="*/ 351472 w 1543050"/>
                <a:gd name="connsiteY713" fmla="*/ 32385 h 1390650"/>
                <a:gd name="connsiteX714" fmla="*/ 352425 w 1543050"/>
                <a:gd name="connsiteY714" fmla="*/ 35243 h 1390650"/>
                <a:gd name="connsiteX715" fmla="*/ 352425 w 1543050"/>
                <a:gd name="connsiteY715" fmla="*/ 40957 h 1390650"/>
                <a:gd name="connsiteX716" fmla="*/ 354330 w 1543050"/>
                <a:gd name="connsiteY716" fmla="*/ 43815 h 1390650"/>
                <a:gd name="connsiteX717" fmla="*/ 356235 w 1543050"/>
                <a:gd name="connsiteY717" fmla="*/ 46672 h 1390650"/>
                <a:gd name="connsiteX718" fmla="*/ 363855 w 1543050"/>
                <a:gd name="connsiteY718" fmla="*/ 49530 h 1390650"/>
                <a:gd name="connsiteX719" fmla="*/ 367665 w 1543050"/>
                <a:gd name="connsiteY719" fmla="*/ 50482 h 1390650"/>
                <a:gd name="connsiteX720" fmla="*/ 371475 w 1543050"/>
                <a:gd name="connsiteY720" fmla="*/ 49530 h 1390650"/>
                <a:gd name="connsiteX721" fmla="*/ 375285 w 1543050"/>
                <a:gd name="connsiteY721" fmla="*/ 46672 h 1390650"/>
                <a:gd name="connsiteX722" fmla="*/ 377190 w 1543050"/>
                <a:gd name="connsiteY722" fmla="*/ 44768 h 1390650"/>
                <a:gd name="connsiteX723" fmla="*/ 380047 w 1543050"/>
                <a:gd name="connsiteY723" fmla="*/ 40957 h 1390650"/>
                <a:gd name="connsiteX724" fmla="*/ 383857 w 1543050"/>
                <a:gd name="connsiteY724" fmla="*/ 38100 h 1390650"/>
                <a:gd name="connsiteX725" fmla="*/ 401003 w 1543050"/>
                <a:gd name="connsiteY725" fmla="*/ 32385 h 1390650"/>
                <a:gd name="connsiteX726" fmla="*/ 404813 w 1543050"/>
                <a:gd name="connsiteY726" fmla="*/ 30480 h 1390650"/>
                <a:gd name="connsiteX727" fmla="*/ 406717 w 1543050"/>
                <a:gd name="connsiteY727" fmla="*/ 28575 h 1390650"/>
                <a:gd name="connsiteX728" fmla="*/ 408622 w 1543050"/>
                <a:gd name="connsiteY728" fmla="*/ 22860 h 1390650"/>
                <a:gd name="connsiteX729" fmla="*/ 409575 w 1543050"/>
                <a:gd name="connsiteY729" fmla="*/ 16193 h 1390650"/>
                <a:gd name="connsiteX730" fmla="*/ 414338 w 1543050"/>
                <a:gd name="connsiteY730" fmla="*/ 11430 h 1390650"/>
                <a:gd name="connsiteX731" fmla="*/ 421005 w 1543050"/>
                <a:gd name="connsiteY731" fmla="*/ 7620 h 1390650"/>
                <a:gd name="connsiteX732" fmla="*/ 439103 w 1543050"/>
                <a:gd name="connsiteY732" fmla="*/ 953 h 1390650"/>
                <a:gd name="connsiteX733" fmla="*/ 450532 w 1543050"/>
                <a:gd name="connsiteY733" fmla="*/ 0 h 1390650"/>
                <a:gd name="connsiteX734" fmla="*/ 488632 w 1543050"/>
                <a:gd name="connsiteY734" fmla="*/ 2857 h 1390650"/>
                <a:gd name="connsiteX735" fmla="*/ 497205 w 1543050"/>
                <a:gd name="connsiteY735" fmla="*/ 5715 h 1390650"/>
                <a:gd name="connsiteX736" fmla="*/ 505778 w 1543050"/>
                <a:gd name="connsiteY736" fmla="*/ 6668 h 1390650"/>
                <a:gd name="connsiteX737" fmla="*/ 510540 w 1543050"/>
                <a:gd name="connsiteY737" fmla="*/ 8572 h 1390650"/>
                <a:gd name="connsiteX738" fmla="*/ 514350 w 1543050"/>
                <a:gd name="connsiteY738" fmla="*/ 9525 h 1390650"/>
                <a:gd name="connsiteX739" fmla="*/ 515303 w 1543050"/>
                <a:gd name="connsiteY739" fmla="*/ 15240 h 1390650"/>
                <a:gd name="connsiteX740" fmla="*/ 517207 w 1543050"/>
                <a:gd name="connsiteY740" fmla="*/ 36195 h 1390650"/>
                <a:gd name="connsiteX741" fmla="*/ 517207 w 1543050"/>
                <a:gd name="connsiteY741" fmla="*/ 39053 h 1390650"/>
                <a:gd name="connsiteX742" fmla="*/ 519113 w 1543050"/>
                <a:gd name="connsiteY742" fmla="*/ 40957 h 1390650"/>
                <a:gd name="connsiteX743" fmla="*/ 522922 w 1543050"/>
                <a:gd name="connsiteY743" fmla="*/ 43815 h 1390650"/>
                <a:gd name="connsiteX744" fmla="*/ 535305 w 1543050"/>
                <a:gd name="connsiteY744" fmla="*/ 46672 h 1390650"/>
                <a:gd name="connsiteX745" fmla="*/ 537210 w 1543050"/>
                <a:gd name="connsiteY745" fmla="*/ 48578 h 1390650"/>
                <a:gd name="connsiteX746" fmla="*/ 538163 w 1543050"/>
                <a:gd name="connsiteY746" fmla="*/ 52388 h 1390650"/>
                <a:gd name="connsiteX747" fmla="*/ 538163 w 1543050"/>
                <a:gd name="connsiteY747" fmla="*/ 64770 h 1390650"/>
                <a:gd name="connsiteX748" fmla="*/ 538163 w 1543050"/>
                <a:gd name="connsiteY748" fmla="*/ 67628 h 1390650"/>
                <a:gd name="connsiteX749" fmla="*/ 539115 w 1543050"/>
                <a:gd name="connsiteY749" fmla="*/ 70485 h 1390650"/>
                <a:gd name="connsiteX750" fmla="*/ 541020 w 1543050"/>
                <a:gd name="connsiteY750" fmla="*/ 74295 h 1390650"/>
                <a:gd name="connsiteX751" fmla="*/ 543878 w 1543050"/>
                <a:gd name="connsiteY751" fmla="*/ 76200 h 1390650"/>
                <a:gd name="connsiteX752" fmla="*/ 549592 w 1543050"/>
                <a:gd name="connsiteY752" fmla="*/ 79057 h 1390650"/>
                <a:gd name="connsiteX753" fmla="*/ 598170 w 1543050"/>
                <a:gd name="connsiteY753" fmla="*/ 85725 h 1390650"/>
                <a:gd name="connsiteX754" fmla="*/ 602932 w 1543050"/>
                <a:gd name="connsiteY754" fmla="*/ 85725 h 1390650"/>
                <a:gd name="connsiteX755" fmla="*/ 611505 w 1543050"/>
                <a:gd name="connsiteY755" fmla="*/ 79057 h 1390650"/>
                <a:gd name="connsiteX756" fmla="*/ 620078 w 1543050"/>
                <a:gd name="connsiteY756" fmla="*/ 75247 h 1390650"/>
                <a:gd name="connsiteX757" fmla="*/ 621983 w 1543050"/>
                <a:gd name="connsiteY757" fmla="*/ 76200 h 1390650"/>
                <a:gd name="connsiteX758" fmla="*/ 623887 w 1543050"/>
                <a:gd name="connsiteY758" fmla="*/ 78105 h 1390650"/>
                <a:gd name="connsiteX759" fmla="*/ 625792 w 1543050"/>
                <a:gd name="connsiteY759" fmla="*/ 83820 h 1390650"/>
                <a:gd name="connsiteX760" fmla="*/ 628650 w 1543050"/>
                <a:gd name="connsiteY760" fmla="*/ 85725 h 1390650"/>
                <a:gd name="connsiteX761" fmla="*/ 632460 w 1543050"/>
                <a:gd name="connsiteY761" fmla="*/ 88582 h 1390650"/>
                <a:gd name="connsiteX762" fmla="*/ 636270 w 1543050"/>
                <a:gd name="connsiteY762" fmla="*/ 89535 h 1390650"/>
                <a:gd name="connsiteX763" fmla="*/ 638175 w 1543050"/>
                <a:gd name="connsiteY763" fmla="*/ 88582 h 1390650"/>
                <a:gd name="connsiteX764" fmla="*/ 640080 w 1543050"/>
                <a:gd name="connsiteY764" fmla="*/ 86678 h 1390650"/>
                <a:gd name="connsiteX765" fmla="*/ 644842 w 1543050"/>
                <a:gd name="connsiteY765" fmla="*/ 84772 h 1390650"/>
                <a:gd name="connsiteX766" fmla="*/ 651510 w 1543050"/>
                <a:gd name="connsiteY766" fmla="*/ 82868 h 1390650"/>
                <a:gd name="connsiteX767" fmla="*/ 681037 w 1543050"/>
                <a:gd name="connsiteY767" fmla="*/ 80010 h 1390650"/>
                <a:gd name="connsiteX768" fmla="*/ 684847 w 1543050"/>
                <a:gd name="connsiteY768" fmla="*/ 82868 h 1390650"/>
                <a:gd name="connsiteX769" fmla="*/ 686753 w 1543050"/>
                <a:gd name="connsiteY769" fmla="*/ 86678 h 1390650"/>
                <a:gd name="connsiteX770" fmla="*/ 687705 w 1543050"/>
                <a:gd name="connsiteY770" fmla="*/ 92393 h 1390650"/>
                <a:gd name="connsiteX771" fmla="*/ 685800 w 1543050"/>
                <a:gd name="connsiteY771" fmla="*/ 109538 h 1390650"/>
                <a:gd name="connsiteX772" fmla="*/ 683895 w 1543050"/>
                <a:gd name="connsiteY772" fmla="*/ 115253 h 1390650"/>
                <a:gd name="connsiteX773" fmla="*/ 681037 w 1543050"/>
                <a:gd name="connsiteY773" fmla="*/ 121920 h 1390650"/>
                <a:gd name="connsiteX774" fmla="*/ 681037 w 1543050"/>
                <a:gd name="connsiteY774" fmla="*/ 126682 h 1390650"/>
                <a:gd name="connsiteX775" fmla="*/ 683895 w 1543050"/>
                <a:gd name="connsiteY775" fmla="*/ 129540 h 1390650"/>
                <a:gd name="connsiteX776" fmla="*/ 686753 w 1543050"/>
                <a:gd name="connsiteY776" fmla="*/ 130493 h 1390650"/>
                <a:gd name="connsiteX777" fmla="*/ 690562 w 1543050"/>
                <a:gd name="connsiteY777" fmla="*/ 130493 h 1390650"/>
                <a:gd name="connsiteX778" fmla="*/ 692467 w 1543050"/>
                <a:gd name="connsiteY778" fmla="*/ 129540 h 1390650"/>
                <a:gd name="connsiteX779" fmla="*/ 694372 w 1543050"/>
                <a:gd name="connsiteY779" fmla="*/ 127635 h 1390650"/>
                <a:gd name="connsiteX780" fmla="*/ 695325 w 1543050"/>
                <a:gd name="connsiteY780" fmla="*/ 121920 h 1390650"/>
                <a:gd name="connsiteX781" fmla="*/ 696278 w 1543050"/>
                <a:gd name="connsiteY781" fmla="*/ 112395 h 1390650"/>
                <a:gd name="connsiteX782" fmla="*/ 697230 w 1543050"/>
                <a:gd name="connsiteY782" fmla="*/ 108585 h 1390650"/>
                <a:gd name="connsiteX783" fmla="*/ 699135 w 1543050"/>
                <a:gd name="connsiteY783" fmla="*/ 105728 h 1390650"/>
                <a:gd name="connsiteX784" fmla="*/ 702945 w 1543050"/>
                <a:gd name="connsiteY784" fmla="*/ 102870 h 1390650"/>
                <a:gd name="connsiteX785" fmla="*/ 705803 w 1543050"/>
                <a:gd name="connsiteY785" fmla="*/ 102870 h 1390650"/>
                <a:gd name="connsiteX786" fmla="*/ 707708 w 1543050"/>
                <a:gd name="connsiteY786" fmla="*/ 104775 h 1390650"/>
                <a:gd name="connsiteX787" fmla="*/ 709612 w 1543050"/>
                <a:gd name="connsiteY787" fmla="*/ 107632 h 1390650"/>
                <a:gd name="connsiteX788" fmla="*/ 712470 w 1543050"/>
                <a:gd name="connsiteY788" fmla="*/ 108585 h 1390650"/>
                <a:gd name="connsiteX789" fmla="*/ 715328 w 1543050"/>
                <a:gd name="connsiteY789" fmla="*/ 108585 h 1390650"/>
                <a:gd name="connsiteX790" fmla="*/ 722947 w 1543050"/>
                <a:gd name="connsiteY790" fmla="*/ 107632 h 1390650"/>
                <a:gd name="connsiteX791" fmla="*/ 727710 w 1543050"/>
                <a:gd name="connsiteY791" fmla="*/ 104775 h 1390650"/>
                <a:gd name="connsiteX792" fmla="*/ 727710 w 1543050"/>
                <a:gd name="connsiteY792" fmla="*/ 101918 h 1390650"/>
                <a:gd name="connsiteX793" fmla="*/ 727710 w 1543050"/>
                <a:gd name="connsiteY793" fmla="*/ 93345 h 1390650"/>
                <a:gd name="connsiteX794" fmla="*/ 727710 w 1543050"/>
                <a:gd name="connsiteY794" fmla="*/ 90488 h 1390650"/>
                <a:gd name="connsiteX795" fmla="*/ 728662 w 1543050"/>
                <a:gd name="connsiteY795" fmla="*/ 87630 h 1390650"/>
                <a:gd name="connsiteX796" fmla="*/ 730567 w 1543050"/>
                <a:gd name="connsiteY796" fmla="*/ 85725 h 1390650"/>
                <a:gd name="connsiteX797" fmla="*/ 733425 w 1543050"/>
                <a:gd name="connsiteY797" fmla="*/ 83820 h 1390650"/>
                <a:gd name="connsiteX798" fmla="*/ 741997 w 1543050"/>
                <a:gd name="connsiteY798" fmla="*/ 80010 h 1390650"/>
                <a:gd name="connsiteX799" fmla="*/ 745808 w 1543050"/>
                <a:gd name="connsiteY799" fmla="*/ 80963 h 1390650"/>
                <a:gd name="connsiteX800" fmla="*/ 747712 w 1543050"/>
                <a:gd name="connsiteY800" fmla="*/ 81915 h 1390650"/>
                <a:gd name="connsiteX801" fmla="*/ 755333 w 1543050"/>
                <a:gd name="connsiteY801" fmla="*/ 90488 h 1390650"/>
                <a:gd name="connsiteX802" fmla="*/ 758190 w 1543050"/>
                <a:gd name="connsiteY802" fmla="*/ 92393 h 1390650"/>
                <a:gd name="connsiteX803" fmla="*/ 762953 w 1543050"/>
                <a:gd name="connsiteY803" fmla="*/ 94297 h 1390650"/>
                <a:gd name="connsiteX804" fmla="*/ 769620 w 1543050"/>
                <a:gd name="connsiteY804" fmla="*/ 93345 h 1390650"/>
                <a:gd name="connsiteX805" fmla="*/ 773430 w 1543050"/>
                <a:gd name="connsiteY805" fmla="*/ 94297 h 1390650"/>
                <a:gd name="connsiteX806" fmla="*/ 777240 w 1543050"/>
                <a:gd name="connsiteY806" fmla="*/ 95250 h 1390650"/>
                <a:gd name="connsiteX807" fmla="*/ 782003 w 1543050"/>
                <a:gd name="connsiteY807" fmla="*/ 99060 h 1390650"/>
                <a:gd name="connsiteX808" fmla="*/ 785812 w 1543050"/>
                <a:gd name="connsiteY808" fmla="*/ 100013 h 1390650"/>
                <a:gd name="connsiteX809" fmla="*/ 788670 w 1543050"/>
                <a:gd name="connsiteY809" fmla="*/ 100965 h 1390650"/>
                <a:gd name="connsiteX810" fmla="*/ 809625 w 1543050"/>
                <a:gd name="connsiteY810" fmla="*/ 96203 h 1390650"/>
                <a:gd name="connsiteX811" fmla="*/ 814387 w 1543050"/>
                <a:gd name="connsiteY811" fmla="*/ 97155 h 1390650"/>
                <a:gd name="connsiteX812" fmla="*/ 817245 w 1543050"/>
                <a:gd name="connsiteY812" fmla="*/ 99060 h 1390650"/>
                <a:gd name="connsiteX813" fmla="*/ 818197 w 1543050"/>
                <a:gd name="connsiteY813" fmla="*/ 100965 h 1390650"/>
                <a:gd name="connsiteX814" fmla="*/ 822008 w 1543050"/>
                <a:gd name="connsiteY814" fmla="*/ 114300 h 1390650"/>
                <a:gd name="connsiteX815" fmla="*/ 824865 w 1543050"/>
                <a:gd name="connsiteY815" fmla="*/ 121920 h 1390650"/>
                <a:gd name="connsiteX816" fmla="*/ 824865 w 1543050"/>
                <a:gd name="connsiteY816" fmla="*/ 127635 h 1390650"/>
                <a:gd name="connsiteX817" fmla="*/ 823912 w 1543050"/>
                <a:gd name="connsiteY817" fmla="*/ 134303 h 1390650"/>
                <a:gd name="connsiteX818" fmla="*/ 822960 w 1543050"/>
                <a:gd name="connsiteY818" fmla="*/ 137160 h 1390650"/>
                <a:gd name="connsiteX819" fmla="*/ 819150 w 1543050"/>
                <a:gd name="connsiteY819" fmla="*/ 140970 h 1390650"/>
                <a:gd name="connsiteX820" fmla="*/ 813435 w 1543050"/>
                <a:gd name="connsiteY820" fmla="*/ 145732 h 1390650"/>
                <a:gd name="connsiteX821" fmla="*/ 792480 w 1543050"/>
                <a:gd name="connsiteY821" fmla="*/ 155257 h 1390650"/>
                <a:gd name="connsiteX822" fmla="*/ 790575 w 1543050"/>
                <a:gd name="connsiteY822" fmla="*/ 156210 h 1390650"/>
                <a:gd name="connsiteX823" fmla="*/ 791528 w 1543050"/>
                <a:gd name="connsiteY823" fmla="*/ 160972 h 1390650"/>
                <a:gd name="connsiteX824" fmla="*/ 799147 w 1543050"/>
                <a:gd name="connsiteY824" fmla="*/ 174307 h 1390650"/>
                <a:gd name="connsiteX825" fmla="*/ 815340 w 1543050"/>
                <a:gd name="connsiteY825" fmla="*/ 202882 h 1390650"/>
                <a:gd name="connsiteX826" fmla="*/ 822008 w 1543050"/>
                <a:gd name="connsiteY826" fmla="*/ 211455 h 1390650"/>
                <a:gd name="connsiteX827" fmla="*/ 828675 w 1543050"/>
                <a:gd name="connsiteY827" fmla="*/ 217170 h 1390650"/>
                <a:gd name="connsiteX828" fmla="*/ 831533 w 1543050"/>
                <a:gd name="connsiteY828" fmla="*/ 218122 h 1390650"/>
                <a:gd name="connsiteX829" fmla="*/ 844867 w 1543050"/>
                <a:gd name="connsiteY829" fmla="*/ 215265 h 1390650"/>
                <a:gd name="connsiteX830" fmla="*/ 847725 w 1543050"/>
                <a:gd name="connsiteY830" fmla="*/ 216218 h 1390650"/>
                <a:gd name="connsiteX831" fmla="*/ 850583 w 1543050"/>
                <a:gd name="connsiteY831" fmla="*/ 217170 h 1390650"/>
                <a:gd name="connsiteX832" fmla="*/ 853440 w 1543050"/>
                <a:gd name="connsiteY832" fmla="*/ 220980 h 1390650"/>
                <a:gd name="connsiteX833" fmla="*/ 855345 w 1543050"/>
                <a:gd name="connsiteY833" fmla="*/ 225743 h 1390650"/>
                <a:gd name="connsiteX834" fmla="*/ 856297 w 1543050"/>
                <a:gd name="connsiteY834" fmla="*/ 234315 h 1390650"/>
                <a:gd name="connsiteX835" fmla="*/ 858203 w 1543050"/>
                <a:gd name="connsiteY835" fmla="*/ 239078 h 1390650"/>
                <a:gd name="connsiteX836" fmla="*/ 860108 w 1543050"/>
                <a:gd name="connsiteY836" fmla="*/ 240982 h 1390650"/>
                <a:gd name="connsiteX837" fmla="*/ 871537 w 1543050"/>
                <a:gd name="connsiteY837" fmla="*/ 255270 h 1390650"/>
                <a:gd name="connsiteX838" fmla="*/ 873442 w 1543050"/>
                <a:gd name="connsiteY838" fmla="*/ 260032 h 1390650"/>
                <a:gd name="connsiteX839" fmla="*/ 874395 w 1543050"/>
                <a:gd name="connsiteY839" fmla="*/ 265747 h 1390650"/>
                <a:gd name="connsiteX840" fmla="*/ 874395 w 1543050"/>
                <a:gd name="connsiteY840" fmla="*/ 268605 h 1390650"/>
                <a:gd name="connsiteX841" fmla="*/ 871537 w 1543050"/>
                <a:gd name="connsiteY841" fmla="*/ 273368 h 1390650"/>
                <a:gd name="connsiteX842" fmla="*/ 862965 w 1543050"/>
                <a:gd name="connsiteY842" fmla="*/ 287655 h 1390650"/>
                <a:gd name="connsiteX843" fmla="*/ 860108 w 1543050"/>
                <a:gd name="connsiteY843" fmla="*/ 292418 h 1390650"/>
                <a:gd name="connsiteX844" fmla="*/ 860108 w 1543050"/>
                <a:gd name="connsiteY844" fmla="*/ 295275 h 1390650"/>
                <a:gd name="connsiteX845" fmla="*/ 861060 w 1543050"/>
                <a:gd name="connsiteY845" fmla="*/ 300990 h 1390650"/>
                <a:gd name="connsiteX846" fmla="*/ 866775 w 1543050"/>
                <a:gd name="connsiteY846" fmla="*/ 309563 h 1390650"/>
                <a:gd name="connsiteX847" fmla="*/ 866775 w 1543050"/>
                <a:gd name="connsiteY847" fmla="*/ 315278 h 1390650"/>
                <a:gd name="connsiteX848" fmla="*/ 865822 w 1543050"/>
                <a:gd name="connsiteY848" fmla="*/ 321945 h 1390650"/>
                <a:gd name="connsiteX849" fmla="*/ 865822 w 1543050"/>
                <a:gd name="connsiteY849" fmla="*/ 325755 h 1390650"/>
                <a:gd name="connsiteX850" fmla="*/ 866775 w 1543050"/>
                <a:gd name="connsiteY850" fmla="*/ 329565 h 1390650"/>
                <a:gd name="connsiteX851" fmla="*/ 868680 w 1543050"/>
                <a:gd name="connsiteY851" fmla="*/ 333375 h 1390650"/>
                <a:gd name="connsiteX852" fmla="*/ 871537 w 1543050"/>
                <a:gd name="connsiteY852" fmla="*/ 335280 h 1390650"/>
                <a:gd name="connsiteX853" fmla="*/ 875347 w 1543050"/>
                <a:gd name="connsiteY853" fmla="*/ 335280 h 1390650"/>
                <a:gd name="connsiteX854" fmla="*/ 921067 w 1543050"/>
                <a:gd name="connsiteY854" fmla="*/ 335280 h 1390650"/>
                <a:gd name="connsiteX855" fmla="*/ 923925 w 1543050"/>
                <a:gd name="connsiteY855" fmla="*/ 334328 h 1390650"/>
                <a:gd name="connsiteX856" fmla="*/ 925830 w 1543050"/>
                <a:gd name="connsiteY856" fmla="*/ 332422 h 1390650"/>
                <a:gd name="connsiteX857" fmla="*/ 927735 w 1543050"/>
                <a:gd name="connsiteY857" fmla="*/ 323850 h 1390650"/>
                <a:gd name="connsiteX858" fmla="*/ 931545 w 1543050"/>
                <a:gd name="connsiteY858" fmla="*/ 321945 h 1390650"/>
                <a:gd name="connsiteX859" fmla="*/ 937260 w 1543050"/>
                <a:gd name="connsiteY859" fmla="*/ 320993 h 1390650"/>
                <a:gd name="connsiteX860" fmla="*/ 956310 w 1543050"/>
                <a:gd name="connsiteY860" fmla="*/ 323850 h 1390650"/>
                <a:gd name="connsiteX861" fmla="*/ 960120 w 1543050"/>
                <a:gd name="connsiteY861" fmla="*/ 325755 h 1390650"/>
                <a:gd name="connsiteX862" fmla="*/ 965835 w 1543050"/>
                <a:gd name="connsiteY862" fmla="*/ 331470 h 1390650"/>
                <a:gd name="connsiteX863" fmla="*/ 978217 w 1543050"/>
                <a:gd name="connsiteY863" fmla="*/ 338138 h 1390650"/>
                <a:gd name="connsiteX864" fmla="*/ 980122 w 1543050"/>
                <a:gd name="connsiteY864" fmla="*/ 339090 h 1390650"/>
                <a:gd name="connsiteX865" fmla="*/ 983933 w 1543050"/>
                <a:gd name="connsiteY865" fmla="*/ 343853 h 1390650"/>
                <a:gd name="connsiteX866" fmla="*/ 988695 w 1543050"/>
                <a:gd name="connsiteY866" fmla="*/ 352425 h 1390650"/>
                <a:gd name="connsiteX867" fmla="*/ 990600 w 1543050"/>
                <a:gd name="connsiteY867" fmla="*/ 357188 h 1390650"/>
                <a:gd name="connsiteX868" fmla="*/ 992505 w 1543050"/>
                <a:gd name="connsiteY868" fmla="*/ 360997 h 1390650"/>
                <a:gd name="connsiteX869" fmla="*/ 997267 w 1543050"/>
                <a:gd name="connsiteY869" fmla="*/ 363855 h 1390650"/>
                <a:gd name="connsiteX870" fmla="*/ 1007745 w 1543050"/>
                <a:gd name="connsiteY870" fmla="*/ 369570 h 1390650"/>
                <a:gd name="connsiteX871" fmla="*/ 1013460 w 1543050"/>
                <a:gd name="connsiteY871" fmla="*/ 371475 h 1390650"/>
                <a:gd name="connsiteX872" fmla="*/ 1017270 w 1543050"/>
                <a:gd name="connsiteY872" fmla="*/ 372428 h 1390650"/>
                <a:gd name="connsiteX873" fmla="*/ 1022985 w 1543050"/>
                <a:gd name="connsiteY873" fmla="*/ 371475 h 1390650"/>
                <a:gd name="connsiteX874" fmla="*/ 1027747 w 1543050"/>
                <a:gd name="connsiteY874" fmla="*/ 369570 h 1390650"/>
                <a:gd name="connsiteX875" fmla="*/ 1030605 w 1543050"/>
                <a:gd name="connsiteY875" fmla="*/ 368618 h 1390650"/>
                <a:gd name="connsiteX876" fmla="*/ 1033462 w 1543050"/>
                <a:gd name="connsiteY876" fmla="*/ 364807 h 1390650"/>
                <a:gd name="connsiteX877" fmla="*/ 1040130 w 1543050"/>
                <a:gd name="connsiteY877" fmla="*/ 356235 h 1390650"/>
                <a:gd name="connsiteX878" fmla="*/ 1046797 w 1543050"/>
                <a:gd name="connsiteY878" fmla="*/ 341947 h 1390650"/>
                <a:gd name="connsiteX879" fmla="*/ 1058228 w 1543050"/>
                <a:gd name="connsiteY879" fmla="*/ 322897 h 1390650"/>
                <a:gd name="connsiteX880" fmla="*/ 1061085 w 1543050"/>
                <a:gd name="connsiteY880" fmla="*/ 319088 h 1390650"/>
                <a:gd name="connsiteX881" fmla="*/ 1063942 w 1543050"/>
                <a:gd name="connsiteY881" fmla="*/ 317182 h 1390650"/>
                <a:gd name="connsiteX882" fmla="*/ 1067753 w 1543050"/>
                <a:gd name="connsiteY882" fmla="*/ 315278 h 1390650"/>
                <a:gd name="connsiteX883" fmla="*/ 1087755 w 1543050"/>
                <a:gd name="connsiteY883" fmla="*/ 312420 h 1390650"/>
                <a:gd name="connsiteX884" fmla="*/ 1096328 w 1543050"/>
                <a:gd name="connsiteY884" fmla="*/ 314325 h 1390650"/>
                <a:gd name="connsiteX885" fmla="*/ 1102042 w 1543050"/>
                <a:gd name="connsiteY885" fmla="*/ 316230 h 1390650"/>
                <a:gd name="connsiteX886" fmla="*/ 1116330 w 1543050"/>
                <a:gd name="connsiteY886" fmla="*/ 324803 h 1390650"/>
                <a:gd name="connsiteX887" fmla="*/ 1125855 w 1543050"/>
                <a:gd name="connsiteY887" fmla="*/ 334328 h 1390650"/>
                <a:gd name="connsiteX888" fmla="*/ 1127760 w 1543050"/>
                <a:gd name="connsiteY888" fmla="*/ 335280 h 1390650"/>
                <a:gd name="connsiteX889" fmla="*/ 1130617 w 1543050"/>
                <a:gd name="connsiteY889" fmla="*/ 334328 h 1390650"/>
                <a:gd name="connsiteX890" fmla="*/ 1136333 w 1543050"/>
                <a:gd name="connsiteY890" fmla="*/ 331470 h 1390650"/>
                <a:gd name="connsiteX891" fmla="*/ 1142048 w 1543050"/>
                <a:gd name="connsiteY891" fmla="*/ 330518 h 1390650"/>
                <a:gd name="connsiteX892" fmla="*/ 1148715 w 1543050"/>
                <a:gd name="connsiteY892" fmla="*/ 331470 h 1390650"/>
                <a:gd name="connsiteX893" fmla="*/ 1150620 w 1543050"/>
                <a:gd name="connsiteY893" fmla="*/ 333375 h 1390650"/>
                <a:gd name="connsiteX894" fmla="*/ 1185862 w 1543050"/>
                <a:gd name="connsiteY894" fmla="*/ 345757 h 1390650"/>
                <a:gd name="connsiteX895" fmla="*/ 1190625 w 1543050"/>
                <a:gd name="connsiteY895" fmla="*/ 346710 h 1390650"/>
                <a:gd name="connsiteX896" fmla="*/ 1282065 w 1543050"/>
                <a:gd name="connsiteY896" fmla="*/ 331470 h 1390650"/>
                <a:gd name="connsiteX897" fmla="*/ 1284923 w 1543050"/>
                <a:gd name="connsiteY897" fmla="*/ 331470 h 1390650"/>
                <a:gd name="connsiteX898" fmla="*/ 1285875 w 1543050"/>
                <a:gd name="connsiteY898" fmla="*/ 328613 h 1390650"/>
                <a:gd name="connsiteX899" fmla="*/ 1286828 w 1543050"/>
                <a:gd name="connsiteY899" fmla="*/ 326707 h 1390650"/>
                <a:gd name="connsiteX900" fmla="*/ 1286828 w 1543050"/>
                <a:gd name="connsiteY900" fmla="*/ 314325 h 1390650"/>
                <a:gd name="connsiteX901" fmla="*/ 1286828 w 1543050"/>
                <a:gd name="connsiteY901" fmla="*/ 311468 h 1390650"/>
                <a:gd name="connsiteX902" fmla="*/ 1287780 w 1543050"/>
                <a:gd name="connsiteY902" fmla="*/ 304800 h 1390650"/>
                <a:gd name="connsiteX903" fmla="*/ 1288733 w 1543050"/>
                <a:gd name="connsiteY903" fmla="*/ 301943 h 1390650"/>
                <a:gd name="connsiteX904" fmla="*/ 1290637 w 1543050"/>
                <a:gd name="connsiteY904" fmla="*/ 300990 h 1390650"/>
                <a:gd name="connsiteX905" fmla="*/ 1301115 w 1543050"/>
                <a:gd name="connsiteY905" fmla="*/ 299085 h 1390650"/>
                <a:gd name="connsiteX906" fmla="*/ 1303020 w 1543050"/>
                <a:gd name="connsiteY906" fmla="*/ 297180 h 1390650"/>
                <a:gd name="connsiteX907" fmla="*/ 1303973 w 1543050"/>
                <a:gd name="connsiteY907" fmla="*/ 295275 h 1390650"/>
                <a:gd name="connsiteX908" fmla="*/ 1303973 w 1543050"/>
                <a:gd name="connsiteY908" fmla="*/ 293370 h 1390650"/>
                <a:gd name="connsiteX909" fmla="*/ 1299210 w 1543050"/>
                <a:gd name="connsiteY909" fmla="*/ 287655 h 1390650"/>
                <a:gd name="connsiteX910" fmla="*/ 1298258 w 1543050"/>
                <a:gd name="connsiteY910" fmla="*/ 284797 h 1390650"/>
                <a:gd name="connsiteX911" fmla="*/ 1298258 w 1543050"/>
                <a:gd name="connsiteY911" fmla="*/ 281940 h 1390650"/>
                <a:gd name="connsiteX912" fmla="*/ 1299210 w 1543050"/>
                <a:gd name="connsiteY912" fmla="*/ 275272 h 1390650"/>
                <a:gd name="connsiteX913" fmla="*/ 1298258 w 1543050"/>
                <a:gd name="connsiteY913" fmla="*/ 269557 h 1390650"/>
                <a:gd name="connsiteX914" fmla="*/ 1294448 w 1543050"/>
                <a:gd name="connsiteY914" fmla="*/ 262890 h 1390650"/>
                <a:gd name="connsiteX915" fmla="*/ 1292542 w 1543050"/>
                <a:gd name="connsiteY915" fmla="*/ 258128 h 1390650"/>
                <a:gd name="connsiteX916" fmla="*/ 1293495 w 1543050"/>
                <a:gd name="connsiteY916" fmla="*/ 255270 h 1390650"/>
                <a:gd name="connsiteX917" fmla="*/ 1295400 w 1543050"/>
                <a:gd name="connsiteY917" fmla="*/ 250507 h 1390650"/>
                <a:gd name="connsiteX918" fmla="*/ 1297305 w 1543050"/>
                <a:gd name="connsiteY918" fmla="*/ 249555 h 1390650"/>
                <a:gd name="connsiteX919" fmla="*/ 1303020 w 1543050"/>
                <a:gd name="connsiteY919" fmla="*/ 247650 h 1390650"/>
                <a:gd name="connsiteX920" fmla="*/ 1317308 w 1543050"/>
                <a:gd name="connsiteY920" fmla="*/ 245745 h 1390650"/>
                <a:gd name="connsiteX921" fmla="*/ 1319212 w 1543050"/>
                <a:gd name="connsiteY921" fmla="*/ 245745 h 1390650"/>
                <a:gd name="connsiteX922" fmla="*/ 1321117 w 1543050"/>
                <a:gd name="connsiteY922" fmla="*/ 243840 h 1390650"/>
                <a:gd name="connsiteX923" fmla="*/ 1322070 w 1543050"/>
                <a:gd name="connsiteY923" fmla="*/ 238125 h 1390650"/>
                <a:gd name="connsiteX924" fmla="*/ 1322070 w 1543050"/>
                <a:gd name="connsiteY924" fmla="*/ 231457 h 1390650"/>
                <a:gd name="connsiteX925" fmla="*/ 1321117 w 1543050"/>
                <a:gd name="connsiteY925" fmla="*/ 229553 h 1390650"/>
                <a:gd name="connsiteX926" fmla="*/ 1319212 w 1543050"/>
                <a:gd name="connsiteY926" fmla="*/ 228600 h 1390650"/>
                <a:gd name="connsiteX927" fmla="*/ 1310640 w 1543050"/>
                <a:gd name="connsiteY927" fmla="*/ 226695 h 1390650"/>
                <a:gd name="connsiteX928" fmla="*/ 1307783 w 1543050"/>
                <a:gd name="connsiteY928" fmla="*/ 225743 h 1390650"/>
                <a:gd name="connsiteX929" fmla="*/ 1304925 w 1543050"/>
                <a:gd name="connsiteY929" fmla="*/ 221932 h 1390650"/>
                <a:gd name="connsiteX930" fmla="*/ 1303973 w 1543050"/>
                <a:gd name="connsiteY930" fmla="*/ 216218 h 1390650"/>
                <a:gd name="connsiteX931" fmla="*/ 1304925 w 1543050"/>
                <a:gd name="connsiteY931" fmla="*/ 209550 h 1390650"/>
                <a:gd name="connsiteX932" fmla="*/ 1306830 w 1543050"/>
                <a:gd name="connsiteY932" fmla="*/ 203835 h 1390650"/>
                <a:gd name="connsiteX933" fmla="*/ 1309687 w 1543050"/>
                <a:gd name="connsiteY933" fmla="*/ 199072 h 1390650"/>
                <a:gd name="connsiteX934" fmla="*/ 1311592 w 1543050"/>
                <a:gd name="connsiteY934" fmla="*/ 197168 h 1390650"/>
                <a:gd name="connsiteX935" fmla="*/ 1315403 w 1543050"/>
                <a:gd name="connsiteY935" fmla="*/ 194310 h 1390650"/>
                <a:gd name="connsiteX936" fmla="*/ 1322070 w 1543050"/>
                <a:gd name="connsiteY936" fmla="*/ 190500 h 1390650"/>
                <a:gd name="connsiteX937" fmla="*/ 1343978 w 1543050"/>
                <a:gd name="connsiteY937" fmla="*/ 186690 h 1390650"/>
                <a:gd name="connsiteX938" fmla="*/ 1354455 w 1543050"/>
                <a:gd name="connsiteY938" fmla="*/ 182880 h 1390650"/>
                <a:gd name="connsiteX939" fmla="*/ 1357312 w 1543050"/>
                <a:gd name="connsiteY939" fmla="*/ 182880 h 1390650"/>
                <a:gd name="connsiteX940" fmla="*/ 1359217 w 1543050"/>
                <a:gd name="connsiteY940" fmla="*/ 184785 h 1390650"/>
                <a:gd name="connsiteX941" fmla="*/ 1364933 w 1543050"/>
                <a:gd name="connsiteY941" fmla="*/ 193357 h 1390650"/>
                <a:gd name="connsiteX942" fmla="*/ 1366837 w 1543050"/>
                <a:gd name="connsiteY942" fmla="*/ 195263 h 1390650"/>
                <a:gd name="connsiteX943" fmla="*/ 1369695 w 1543050"/>
                <a:gd name="connsiteY943" fmla="*/ 198120 h 1390650"/>
                <a:gd name="connsiteX944" fmla="*/ 1375410 w 1543050"/>
                <a:gd name="connsiteY944" fmla="*/ 200978 h 1390650"/>
                <a:gd name="connsiteX945" fmla="*/ 1379220 w 1543050"/>
                <a:gd name="connsiteY945" fmla="*/ 200978 h 1390650"/>
                <a:gd name="connsiteX946" fmla="*/ 1382078 w 1543050"/>
                <a:gd name="connsiteY946" fmla="*/ 200025 h 1390650"/>
                <a:gd name="connsiteX947" fmla="*/ 1383030 w 1543050"/>
                <a:gd name="connsiteY947" fmla="*/ 198120 h 1390650"/>
                <a:gd name="connsiteX948" fmla="*/ 1386840 w 1543050"/>
                <a:gd name="connsiteY948" fmla="*/ 189547 h 1390650"/>
                <a:gd name="connsiteX949" fmla="*/ 1387792 w 1543050"/>
                <a:gd name="connsiteY949" fmla="*/ 186690 h 1390650"/>
                <a:gd name="connsiteX950" fmla="*/ 1389698 w 1543050"/>
                <a:gd name="connsiteY950" fmla="*/ 184785 h 1390650"/>
                <a:gd name="connsiteX951" fmla="*/ 1405890 w 1543050"/>
                <a:gd name="connsiteY951" fmla="*/ 181928 h 1390650"/>
                <a:gd name="connsiteX952" fmla="*/ 1409700 w 1543050"/>
                <a:gd name="connsiteY952" fmla="*/ 179070 h 1390650"/>
                <a:gd name="connsiteX953" fmla="*/ 1411605 w 1543050"/>
                <a:gd name="connsiteY953" fmla="*/ 177165 h 1390650"/>
                <a:gd name="connsiteX954" fmla="*/ 1411605 w 1543050"/>
                <a:gd name="connsiteY954" fmla="*/ 173355 h 1390650"/>
                <a:gd name="connsiteX955" fmla="*/ 1409700 w 1543050"/>
                <a:gd name="connsiteY955" fmla="*/ 165735 h 1390650"/>
                <a:gd name="connsiteX956" fmla="*/ 1408748 w 1543050"/>
                <a:gd name="connsiteY956" fmla="*/ 160020 h 1390650"/>
                <a:gd name="connsiteX957" fmla="*/ 1409700 w 1543050"/>
                <a:gd name="connsiteY957" fmla="*/ 154305 h 1390650"/>
                <a:gd name="connsiteX958" fmla="*/ 1410653 w 1543050"/>
                <a:gd name="connsiteY958" fmla="*/ 151447 h 1390650"/>
                <a:gd name="connsiteX959" fmla="*/ 1412558 w 1543050"/>
                <a:gd name="connsiteY959" fmla="*/ 148590 h 1390650"/>
                <a:gd name="connsiteX960" fmla="*/ 1416367 w 1543050"/>
                <a:gd name="connsiteY960" fmla="*/ 146685 h 1390650"/>
                <a:gd name="connsiteX961" fmla="*/ 1423035 w 1543050"/>
                <a:gd name="connsiteY961" fmla="*/ 144780 h 1390650"/>
                <a:gd name="connsiteX962" fmla="*/ 1428750 w 1543050"/>
                <a:gd name="connsiteY962" fmla="*/ 144780 h 1390650"/>
                <a:gd name="connsiteX963" fmla="*/ 1442085 w 1543050"/>
                <a:gd name="connsiteY963" fmla="*/ 147638 h 1390650"/>
                <a:gd name="connsiteX964" fmla="*/ 1444942 w 1543050"/>
                <a:gd name="connsiteY964" fmla="*/ 146685 h 1390650"/>
                <a:gd name="connsiteX965" fmla="*/ 1456373 w 1543050"/>
                <a:gd name="connsiteY965" fmla="*/ 139065 h 1390650"/>
                <a:gd name="connsiteX966" fmla="*/ 1459230 w 1543050"/>
                <a:gd name="connsiteY966" fmla="*/ 139065 h 1390650"/>
                <a:gd name="connsiteX967" fmla="*/ 1461135 w 1543050"/>
                <a:gd name="connsiteY967" fmla="*/ 140018 h 1390650"/>
                <a:gd name="connsiteX968" fmla="*/ 1463040 w 1543050"/>
                <a:gd name="connsiteY968" fmla="*/ 145732 h 1390650"/>
                <a:gd name="connsiteX969" fmla="*/ 1463992 w 1543050"/>
                <a:gd name="connsiteY969" fmla="*/ 150495 h 1390650"/>
                <a:gd name="connsiteX970" fmla="*/ 1465898 w 1543050"/>
                <a:gd name="connsiteY970" fmla="*/ 156210 h 1390650"/>
                <a:gd name="connsiteX971" fmla="*/ 1467803 w 1543050"/>
                <a:gd name="connsiteY971" fmla="*/ 160020 h 1390650"/>
                <a:gd name="connsiteX972" fmla="*/ 1477328 w 1543050"/>
                <a:gd name="connsiteY972" fmla="*/ 171450 h 1390650"/>
                <a:gd name="connsiteX973" fmla="*/ 1479233 w 1543050"/>
                <a:gd name="connsiteY973" fmla="*/ 175260 h 1390650"/>
                <a:gd name="connsiteX974" fmla="*/ 1480185 w 1543050"/>
                <a:gd name="connsiteY974" fmla="*/ 180022 h 1390650"/>
                <a:gd name="connsiteX975" fmla="*/ 1480185 w 1543050"/>
                <a:gd name="connsiteY975" fmla="*/ 189547 h 1390650"/>
                <a:gd name="connsiteX976" fmla="*/ 1480185 w 1543050"/>
                <a:gd name="connsiteY976" fmla="*/ 192405 h 1390650"/>
                <a:gd name="connsiteX977" fmla="*/ 1482090 w 1543050"/>
                <a:gd name="connsiteY977" fmla="*/ 194310 h 1390650"/>
                <a:gd name="connsiteX978" fmla="*/ 1490662 w 1543050"/>
                <a:gd name="connsiteY978" fmla="*/ 200978 h 139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</a:cxnLst>
              <a:rect l="l" t="t" r="r" b="b"/>
              <a:pathLst>
                <a:path w="1543050" h="1390650">
                  <a:moveTo>
                    <a:pt x="866775" y="1323023"/>
                  </a:moveTo>
                  <a:lnTo>
                    <a:pt x="847725" y="1353503"/>
                  </a:lnTo>
                  <a:lnTo>
                    <a:pt x="823912" y="1343025"/>
                  </a:lnTo>
                  <a:lnTo>
                    <a:pt x="811530" y="1340168"/>
                  </a:lnTo>
                  <a:lnTo>
                    <a:pt x="800100" y="1339215"/>
                  </a:lnTo>
                  <a:lnTo>
                    <a:pt x="792480" y="1343978"/>
                  </a:lnTo>
                  <a:lnTo>
                    <a:pt x="783908" y="1352550"/>
                  </a:lnTo>
                  <a:lnTo>
                    <a:pt x="781050" y="1356360"/>
                  </a:lnTo>
                  <a:lnTo>
                    <a:pt x="779145" y="1362075"/>
                  </a:lnTo>
                  <a:lnTo>
                    <a:pt x="778192" y="1369695"/>
                  </a:lnTo>
                  <a:lnTo>
                    <a:pt x="779145" y="1393507"/>
                  </a:lnTo>
                  <a:lnTo>
                    <a:pt x="766762" y="1361123"/>
                  </a:lnTo>
                  <a:lnTo>
                    <a:pt x="762953" y="1356360"/>
                  </a:lnTo>
                  <a:lnTo>
                    <a:pt x="755333" y="1353503"/>
                  </a:lnTo>
                  <a:lnTo>
                    <a:pt x="693420" y="1290638"/>
                  </a:lnTo>
                  <a:lnTo>
                    <a:pt x="684847" y="1272540"/>
                  </a:lnTo>
                  <a:lnTo>
                    <a:pt x="701992" y="1286828"/>
                  </a:lnTo>
                  <a:lnTo>
                    <a:pt x="716280" y="1301115"/>
                  </a:lnTo>
                  <a:lnTo>
                    <a:pt x="723900" y="1305878"/>
                  </a:lnTo>
                  <a:lnTo>
                    <a:pt x="816292" y="1298257"/>
                  </a:lnTo>
                  <a:lnTo>
                    <a:pt x="834390" y="1303973"/>
                  </a:lnTo>
                  <a:lnTo>
                    <a:pt x="863917" y="1322070"/>
                  </a:lnTo>
                  <a:lnTo>
                    <a:pt x="866775" y="1323023"/>
                  </a:lnTo>
                  <a:close/>
                  <a:moveTo>
                    <a:pt x="1490662" y="200978"/>
                  </a:moveTo>
                  <a:lnTo>
                    <a:pt x="1496378" y="205740"/>
                  </a:lnTo>
                  <a:lnTo>
                    <a:pt x="1495425" y="210503"/>
                  </a:lnTo>
                  <a:lnTo>
                    <a:pt x="1492567" y="218122"/>
                  </a:lnTo>
                  <a:lnTo>
                    <a:pt x="1488758" y="232410"/>
                  </a:lnTo>
                  <a:lnTo>
                    <a:pt x="1488758" y="237172"/>
                  </a:lnTo>
                  <a:lnTo>
                    <a:pt x="1489710" y="240030"/>
                  </a:lnTo>
                  <a:lnTo>
                    <a:pt x="1492567" y="241935"/>
                  </a:lnTo>
                  <a:lnTo>
                    <a:pt x="1498283" y="241935"/>
                  </a:lnTo>
                  <a:lnTo>
                    <a:pt x="1501140" y="240982"/>
                  </a:lnTo>
                  <a:lnTo>
                    <a:pt x="1504950" y="241935"/>
                  </a:lnTo>
                  <a:lnTo>
                    <a:pt x="1508760" y="243840"/>
                  </a:lnTo>
                  <a:lnTo>
                    <a:pt x="1513523" y="251460"/>
                  </a:lnTo>
                  <a:lnTo>
                    <a:pt x="1515428" y="256222"/>
                  </a:lnTo>
                  <a:lnTo>
                    <a:pt x="1515428" y="259080"/>
                  </a:lnTo>
                  <a:lnTo>
                    <a:pt x="1511617" y="263843"/>
                  </a:lnTo>
                  <a:lnTo>
                    <a:pt x="1510665" y="266700"/>
                  </a:lnTo>
                  <a:lnTo>
                    <a:pt x="1509712" y="270510"/>
                  </a:lnTo>
                  <a:lnTo>
                    <a:pt x="1508760" y="288607"/>
                  </a:lnTo>
                  <a:lnTo>
                    <a:pt x="1507808" y="292418"/>
                  </a:lnTo>
                  <a:lnTo>
                    <a:pt x="1505903" y="297180"/>
                  </a:lnTo>
                  <a:lnTo>
                    <a:pt x="1503998" y="307657"/>
                  </a:lnTo>
                  <a:lnTo>
                    <a:pt x="1503998" y="350520"/>
                  </a:lnTo>
                  <a:lnTo>
                    <a:pt x="1503998" y="356235"/>
                  </a:lnTo>
                  <a:lnTo>
                    <a:pt x="1505903" y="360045"/>
                  </a:lnTo>
                  <a:lnTo>
                    <a:pt x="1509712" y="362903"/>
                  </a:lnTo>
                  <a:lnTo>
                    <a:pt x="1512570" y="365760"/>
                  </a:lnTo>
                  <a:lnTo>
                    <a:pt x="1515428" y="370522"/>
                  </a:lnTo>
                  <a:lnTo>
                    <a:pt x="1518285" y="381000"/>
                  </a:lnTo>
                  <a:lnTo>
                    <a:pt x="1517333" y="384810"/>
                  </a:lnTo>
                  <a:lnTo>
                    <a:pt x="1515428" y="387668"/>
                  </a:lnTo>
                  <a:lnTo>
                    <a:pt x="1492567" y="389572"/>
                  </a:lnTo>
                  <a:lnTo>
                    <a:pt x="1472565" y="395288"/>
                  </a:lnTo>
                  <a:lnTo>
                    <a:pt x="1469708" y="396240"/>
                  </a:lnTo>
                  <a:lnTo>
                    <a:pt x="1465898" y="400050"/>
                  </a:lnTo>
                  <a:lnTo>
                    <a:pt x="1463040" y="401955"/>
                  </a:lnTo>
                  <a:lnTo>
                    <a:pt x="1463992" y="406718"/>
                  </a:lnTo>
                  <a:lnTo>
                    <a:pt x="1466850" y="414338"/>
                  </a:lnTo>
                  <a:lnTo>
                    <a:pt x="1475423" y="429578"/>
                  </a:lnTo>
                  <a:lnTo>
                    <a:pt x="1479233" y="439103"/>
                  </a:lnTo>
                  <a:lnTo>
                    <a:pt x="1482090" y="447675"/>
                  </a:lnTo>
                  <a:lnTo>
                    <a:pt x="1483042" y="455295"/>
                  </a:lnTo>
                  <a:lnTo>
                    <a:pt x="1483042" y="460057"/>
                  </a:lnTo>
                  <a:lnTo>
                    <a:pt x="1481137" y="463868"/>
                  </a:lnTo>
                  <a:lnTo>
                    <a:pt x="1478280" y="467678"/>
                  </a:lnTo>
                  <a:lnTo>
                    <a:pt x="1472565" y="474345"/>
                  </a:lnTo>
                  <a:lnTo>
                    <a:pt x="1468755" y="480060"/>
                  </a:lnTo>
                  <a:lnTo>
                    <a:pt x="1467803" y="485775"/>
                  </a:lnTo>
                  <a:lnTo>
                    <a:pt x="1467803" y="489585"/>
                  </a:lnTo>
                  <a:lnTo>
                    <a:pt x="1468755" y="491490"/>
                  </a:lnTo>
                  <a:lnTo>
                    <a:pt x="1470660" y="493395"/>
                  </a:lnTo>
                  <a:lnTo>
                    <a:pt x="1474470" y="495300"/>
                  </a:lnTo>
                  <a:lnTo>
                    <a:pt x="1519237" y="501968"/>
                  </a:lnTo>
                  <a:lnTo>
                    <a:pt x="1518285" y="508635"/>
                  </a:lnTo>
                  <a:lnTo>
                    <a:pt x="1517333" y="518160"/>
                  </a:lnTo>
                  <a:lnTo>
                    <a:pt x="1518285" y="523875"/>
                  </a:lnTo>
                  <a:lnTo>
                    <a:pt x="1519237" y="528638"/>
                  </a:lnTo>
                  <a:lnTo>
                    <a:pt x="1522095" y="533400"/>
                  </a:lnTo>
                  <a:lnTo>
                    <a:pt x="1529715" y="540068"/>
                  </a:lnTo>
                  <a:lnTo>
                    <a:pt x="1532573" y="542925"/>
                  </a:lnTo>
                  <a:lnTo>
                    <a:pt x="1534478" y="547688"/>
                  </a:lnTo>
                  <a:lnTo>
                    <a:pt x="1534478" y="550545"/>
                  </a:lnTo>
                  <a:lnTo>
                    <a:pt x="1530667" y="559118"/>
                  </a:lnTo>
                  <a:lnTo>
                    <a:pt x="1530667" y="561975"/>
                  </a:lnTo>
                  <a:lnTo>
                    <a:pt x="1530667" y="566738"/>
                  </a:lnTo>
                  <a:lnTo>
                    <a:pt x="1534478" y="574357"/>
                  </a:lnTo>
                  <a:lnTo>
                    <a:pt x="1536383" y="580072"/>
                  </a:lnTo>
                  <a:lnTo>
                    <a:pt x="1538287" y="583882"/>
                  </a:lnTo>
                  <a:lnTo>
                    <a:pt x="1538287" y="590550"/>
                  </a:lnTo>
                  <a:lnTo>
                    <a:pt x="1536383" y="596265"/>
                  </a:lnTo>
                  <a:lnTo>
                    <a:pt x="1535430" y="602932"/>
                  </a:lnTo>
                  <a:lnTo>
                    <a:pt x="1535430" y="606743"/>
                  </a:lnTo>
                  <a:lnTo>
                    <a:pt x="1536383" y="612457"/>
                  </a:lnTo>
                  <a:lnTo>
                    <a:pt x="1540192" y="621030"/>
                  </a:lnTo>
                  <a:lnTo>
                    <a:pt x="1540192" y="626745"/>
                  </a:lnTo>
                  <a:lnTo>
                    <a:pt x="1539240" y="629603"/>
                  </a:lnTo>
                  <a:lnTo>
                    <a:pt x="1537335" y="631507"/>
                  </a:lnTo>
                  <a:lnTo>
                    <a:pt x="1532573" y="633413"/>
                  </a:lnTo>
                  <a:lnTo>
                    <a:pt x="1522095" y="634365"/>
                  </a:lnTo>
                  <a:lnTo>
                    <a:pt x="1516380" y="632460"/>
                  </a:lnTo>
                  <a:lnTo>
                    <a:pt x="1515428" y="630555"/>
                  </a:lnTo>
                  <a:lnTo>
                    <a:pt x="1514475" y="628650"/>
                  </a:lnTo>
                  <a:lnTo>
                    <a:pt x="1511617" y="618172"/>
                  </a:lnTo>
                  <a:lnTo>
                    <a:pt x="1505903" y="606743"/>
                  </a:lnTo>
                  <a:lnTo>
                    <a:pt x="1504950" y="604838"/>
                  </a:lnTo>
                  <a:lnTo>
                    <a:pt x="1503045" y="603885"/>
                  </a:lnTo>
                  <a:lnTo>
                    <a:pt x="1501140" y="604838"/>
                  </a:lnTo>
                  <a:lnTo>
                    <a:pt x="1500187" y="609600"/>
                  </a:lnTo>
                  <a:lnTo>
                    <a:pt x="1498283" y="616268"/>
                  </a:lnTo>
                  <a:lnTo>
                    <a:pt x="1496378" y="620078"/>
                  </a:lnTo>
                  <a:lnTo>
                    <a:pt x="1488758" y="631507"/>
                  </a:lnTo>
                  <a:lnTo>
                    <a:pt x="1485900" y="638175"/>
                  </a:lnTo>
                  <a:lnTo>
                    <a:pt x="1485900" y="640080"/>
                  </a:lnTo>
                  <a:lnTo>
                    <a:pt x="1487805" y="644843"/>
                  </a:lnTo>
                  <a:lnTo>
                    <a:pt x="1490662" y="648653"/>
                  </a:lnTo>
                  <a:lnTo>
                    <a:pt x="1494473" y="652463"/>
                  </a:lnTo>
                  <a:lnTo>
                    <a:pt x="1500187" y="654368"/>
                  </a:lnTo>
                  <a:lnTo>
                    <a:pt x="1518285" y="654368"/>
                  </a:lnTo>
                  <a:lnTo>
                    <a:pt x="1520190" y="655320"/>
                  </a:lnTo>
                  <a:lnTo>
                    <a:pt x="1523048" y="656272"/>
                  </a:lnTo>
                  <a:lnTo>
                    <a:pt x="1524000" y="658178"/>
                  </a:lnTo>
                  <a:lnTo>
                    <a:pt x="1535430" y="683895"/>
                  </a:lnTo>
                  <a:lnTo>
                    <a:pt x="1537335" y="691515"/>
                  </a:lnTo>
                  <a:lnTo>
                    <a:pt x="1537335" y="696278"/>
                  </a:lnTo>
                  <a:lnTo>
                    <a:pt x="1537335" y="701040"/>
                  </a:lnTo>
                  <a:lnTo>
                    <a:pt x="1535430" y="707707"/>
                  </a:lnTo>
                  <a:lnTo>
                    <a:pt x="1530667" y="721995"/>
                  </a:lnTo>
                  <a:lnTo>
                    <a:pt x="1527810" y="731520"/>
                  </a:lnTo>
                  <a:lnTo>
                    <a:pt x="1526858" y="738188"/>
                  </a:lnTo>
                  <a:lnTo>
                    <a:pt x="1526858" y="743903"/>
                  </a:lnTo>
                  <a:lnTo>
                    <a:pt x="1528762" y="748665"/>
                  </a:lnTo>
                  <a:lnTo>
                    <a:pt x="1531620" y="756285"/>
                  </a:lnTo>
                  <a:lnTo>
                    <a:pt x="1543050" y="776288"/>
                  </a:lnTo>
                  <a:lnTo>
                    <a:pt x="1544003" y="779145"/>
                  </a:lnTo>
                  <a:lnTo>
                    <a:pt x="1544003" y="781050"/>
                  </a:lnTo>
                  <a:lnTo>
                    <a:pt x="1541145" y="787718"/>
                  </a:lnTo>
                  <a:lnTo>
                    <a:pt x="1539240" y="793432"/>
                  </a:lnTo>
                  <a:lnTo>
                    <a:pt x="1538287" y="796290"/>
                  </a:lnTo>
                  <a:lnTo>
                    <a:pt x="1535430" y="798195"/>
                  </a:lnTo>
                  <a:lnTo>
                    <a:pt x="1531620" y="798195"/>
                  </a:lnTo>
                  <a:lnTo>
                    <a:pt x="1528762" y="797243"/>
                  </a:lnTo>
                  <a:lnTo>
                    <a:pt x="1522095" y="793432"/>
                  </a:lnTo>
                  <a:lnTo>
                    <a:pt x="1519237" y="792480"/>
                  </a:lnTo>
                  <a:lnTo>
                    <a:pt x="1516380" y="793432"/>
                  </a:lnTo>
                  <a:lnTo>
                    <a:pt x="1512570" y="795338"/>
                  </a:lnTo>
                  <a:lnTo>
                    <a:pt x="1497330" y="813435"/>
                  </a:lnTo>
                  <a:lnTo>
                    <a:pt x="1494473" y="815340"/>
                  </a:lnTo>
                  <a:lnTo>
                    <a:pt x="1490662" y="817245"/>
                  </a:lnTo>
                  <a:lnTo>
                    <a:pt x="1483042" y="818197"/>
                  </a:lnTo>
                  <a:lnTo>
                    <a:pt x="1470660" y="818197"/>
                  </a:lnTo>
                  <a:lnTo>
                    <a:pt x="1469708" y="817245"/>
                  </a:lnTo>
                  <a:lnTo>
                    <a:pt x="1463992" y="810578"/>
                  </a:lnTo>
                  <a:lnTo>
                    <a:pt x="1462087" y="809625"/>
                  </a:lnTo>
                  <a:lnTo>
                    <a:pt x="1459230" y="810578"/>
                  </a:lnTo>
                  <a:lnTo>
                    <a:pt x="1456373" y="814388"/>
                  </a:lnTo>
                  <a:lnTo>
                    <a:pt x="1451610" y="827722"/>
                  </a:lnTo>
                  <a:lnTo>
                    <a:pt x="1438275" y="857250"/>
                  </a:lnTo>
                  <a:lnTo>
                    <a:pt x="1428750" y="869632"/>
                  </a:lnTo>
                  <a:lnTo>
                    <a:pt x="1426845" y="875347"/>
                  </a:lnTo>
                  <a:lnTo>
                    <a:pt x="1427798" y="880110"/>
                  </a:lnTo>
                  <a:lnTo>
                    <a:pt x="1428750" y="885825"/>
                  </a:lnTo>
                  <a:lnTo>
                    <a:pt x="1429703" y="893445"/>
                  </a:lnTo>
                  <a:lnTo>
                    <a:pt x="1430655" y="895350"/>
                  </a:lnTo>
                  <a:lnTo>
                    <a:pt x="1432560" y="897255"/>
                  </a:lnTo>
                  <a:lnTo>
                    <a:pt x="1435417" y="897255"/>
                  </a:lnTo>
                  <a:lnTo>
                    <a:pt x="1443037" y="896303"/>
                  </a:lnTo>
                  <a:lnTo>
                    <a:pt x="1448753" y="897255"/>
                  </a:lnTo>
                  <a:lnTo>
                    <a:pt x="1479233" y="915353"/>
                  </a:lnTo>
                  <a:lnTo>
                    <a:pt x="1503045" y="938213"/>
                  </a:lnTo>
                  <a:lnTo>
                    <a:pt x="1503998" y="941070"/>
                  </a:lnTo>
                  <a:lnTo>
                    <a:pt x="1503998" y="942975"/>
                  </a:lnTo>
                  <a:lnTo>
                    <a:pt x="1502092" y="948690"/>
                  </a:lnTo>
                  <a:lnTo>
                    <a:pt x="1498283" y="955357"/>
                  </a:lnTo>
                  <a:lnTo>
                    <a:pt x="1488758" y="965835"/>
                  </a:lnTo>
                  <a:lnTo>
                    <a:pt x="1486853" y="968693"/>
                  </a:lnTo>
                  <a:lnTo>
                    <a:pt x="1485900" y="972503"/>
                  </a:lnTo>
                  <a:lnTo>
                    <a:pt x="1485900" y="977265"/>
                  </a:lnTo>
                  <a:lnTo>
                    <a:pt x="1484948" y="978218"/>
                  </a:lnTo>
                  <a:lnTo>
                    <a:pt x="1470660" y="968693"/>
                  </a:lnTo>
                  <a:lnTo>
                    <a:pt x="1467803" y="965835"/>
                  </a:lnTo>
                  <a:lnTo>
                    <a:pt x="1464945" y="962025"/>
                  </a:lnTo>
                  <a:lnTo>
                    <a:pt x="1462087" y="958215"/>
                  </a:lnTo>
                  <a:lnTo>
                    <a:pt x="1458278" y="955357"/>
                  </a:lnTo>
                  <a:lnTo>
                    <a:pt x="1453515" y="957263"/>
                  </a:lnTo>
                  <a:lnTo>
                    <a:pt x="1447800" y="962025"/>
                  </a:lnTo>
                  <a:lnTo>
                    <a:pt x="1445895" y="965835"/>
                  </a:lnTo>
                  <a:lnTo>
                    <a:pt x="1444942" y="969645"/>
                  </a:lnTo>
                  <a:lnTo>
                    <a:pt x="1445895" y="978218"/>
                  </a:lnTo>
                  <a:lnTo>
                    <a:pt x="1445895" y="983932"/>
                  </a:lnTo>
                  <a:lnTo>
                    <a:pt x="1447800" y="988695"/>
                  </a:lnTo>
                  <a:lnTo>
                    <a:pt x="1451610" y="992505"/>
                  </a:lnTo>
                  <a:lnTo>
                    <a:pt x="1453515" y="993457"/>
                  </a:lnTo>
                  <a:lnTo>
                    <a:pt x="1472565" y="993457"/>
                  </a:lnTo>
                  <a:lnTo>
                    <a:pt x="1476375" y="995363"/>
                  </a:lnTo>
                  <a:lnTo>
                    <a:pt x="1479233" y="999172"/>
                  </a:lnTo>
                  <a:lnTo>
                    <a:pt x="1480185" y="1001078"/>
                  </a:lnTo>
                  <a:lnTo>
                    <a:pt x="1477328" y="1004888"/>
                  </a:lnTo>
                  <a:lnTo>
                    <a:pt x="1471612" y="1007745"/>
                  </a:lnTo>
                  <a:lnTo>
                    <a:pt x="1450658" y="1013460"/>
                  </a:lnTo>
                  <a:lnTo>
                    <a:pt x="1443037" y="1017270"/>
                  </a:lnTo>
                  <a:lnTo>
                    <a:pt x="1431608" y="1030605"/>
                  </a:lnTo>
                  <a:lnTo>
                    <a:pt x="1426845" y="1032510"/>
                  </a:lnTo>
                  <a:lnTo>
                    <a:pt x="1375410" y="1041082"/>
                  </a:lnTo>
                  <a:lnTo>
                    <a:pt x="1372553" y="1042035"/>
                  </a:lnTo>
                  <a:lnTo>
                    <a:pt x="1369695" y="1045845"/>
                  </a:lnTo>
                  <a:lnTo>
                    <a:pt x="1369695" y="1048703"/>
                  </a:lnTo>
                  <a:lnTo>
                    <a:pt x="1370648" y="1051560"/>
                  </a:lnTo>
                  <a:lnTo>
                    <a:pt x="1372553" y="1053465"/>
                  </a:lnTo>
                  <a:lnTo>
                    <a:pt x="1376362" y="1055370"/>
                  </a:lnTo>
                  <a:lnTo>
                    <a:pt x="1380173" y="1057275"/>
                  </a:lnTo>
                  <a:lnTo>
                    <a:pt x="1392555" y="1058228"/>
                  </a:lnTo>
                  <a:lnTo>
                    <a:pt x="1421130" y="1055370"/>
                  </a:lnTo>
                  <a:lnTo>
                    <a:pt x="1424940" y="1056323"/>
                  </a:lnTo>
                  <a:lnTo>
                    <a:pt x="1429703" y="1059180"/>
                  </a:lnTo>
                  <a:lnTo>
                    <a:pt x="1432560" y="1060132"/>
                  </a:lnTo>
                  <a:lnTo>
                    <a:pt x="1437323" y="1059180"/>
                  </a:lnTo>
                  <a:lnTo>
                    <a:pt x="1439228" y="1060132"/>
                  </a:lnTo>
                  <a:lnTo>
                    <a:pt x="1441133" y="1062038"/>
                  </a:lnTo>
                  <a:lnTo>
                    <a:pt x="1435417" y="1065848"/>
                  </a:lnTo>
                  <a:lnTo>
                    <a:pt x="1426845" y="1070610"/>
                  </a:lnTo>
                  <a:lnTo>
                    <a:pt x="1385887" y="1084898"/>
                  </a:lnTo>
                  <a:lnTo>
                    <a:pt x="1381125" y="1087755"/>
                  </a:lnTo>
                  <a:lnTo>
                    <a:pt x="1378267" y="1088707"/>
                  </a:lnTo>
                  <a:lnTo>
                    <a:pt x="1352550" y="1087755"/>
                  </a:lnTo>
                  <a:lnTo>
                    <a:pt x="1323975" y="1091565"/>
                  </a:lnTo>
                  <a:lnTo>
                    <a:pt x="1318260" y="1091565"/>
                  </a:lnTo>
                  <a:lnTo>
                    <a:pt x="1314450" y="1089660"/>
                  </a:lnTo>
                  <a:lnTo>
                    <a:pt x="1312545" y="1087755"/>
                  </a:lnTo>
                  <a:lnTo>
                    <a:pt x="1309687" y="1083945"/>
                  </a:lnTo>
                  <a:lnTo>
                    <a:pt x="1305878" y="1077278"/>
                  </a:lnTo>
                  <a:lnTo>
                    <a:pt x="1303020" y="1073468"/>
                  </a:lnTo>
                  <a:lnTo>
                    <a:pt x="1300162" y="1072515"/>
                  </a:lnTo>
                  <a:lnTo>
                    <a:pt x="1288733" y="1068705"/>
                  </a:lnTo>
                  <a:lnTo>
                    <a:pt x="1285875" y="1066800"/>
                  </a:lnTo>
                  <a:lnTo>
                    <a:pt x="1282065" y="1063943"/>
                  </a:lnTo>
                  <a:lnTo>
                    <a:pt x="1278255" y="1062990"/>
                  </a:lnTo>
                  <a:lnTo>
                    <a:pt x="1257300" y="1062990"/>
                  </a:lnTo>
                  <a:lnTo>
                    <a:pt x="1251585" y="1062038"/>
                  </a:lnTo>
                  <a:lnTo>
                    <a:pt x="1247775" y="1060132"/>
                  </a:lnTo>
                  <a:lnTo>
                    <a:pt x="1245870" y="1059180"/>
                  </a:lnTo>
                  <a:lnTo>
                    <a:pt x="1241108" y="1058228"/>
                  </a:lnTo>
                  <a:lnTo>
                    <a:pt x="1239203" y="1057275"/>
                  </a:lnTo>
                  <a:lnTo>
                    <a:pt x="1235392" y="1053465"/>
                  </a:lnTo>
                  <a:lnTo>
                    <a:pt x="1233487" y="1052513"/>
                  </a:lnTo>
                  <a:lnTo>
                    <a:pt x="1230630" y="1052513"/>
                  </a:lnTo>
                  <a:lnTo>
                    <a:pt x="1228725" y="1053465"/>
                  </a:lnTo>
                  <a:lnTo>
                    <a:pt x="1227773" y="1057275"/>
                  </a:lnTo>
                  <a:lnTo>
                    <a:pt x="1227773" y="1068705"/>
                  </a:lnTo>
                  <a:lnTo>
                    <a:pt x="1227773" y="1071563"/>
                  </a:lnTo>
                  <a:lnTo>
                    <a:pt x="1225867" y="1078230"/>
                  </a:lnTo>
                  <a:lnTo>
                    <a:pt x="1223010" y="1082040"/>
                  </a:lnTo>
                  <a:lnTo>
                    <a:pt x="1220153" y="1083945"/>
                  </a:lnTo>
                  <a:lnTo>
                    <a:pt x="1216342" y="1084898"/>
                  </a:lnTo>
                  <a:lnTo>
                    <a:pt x="1197292" y="1086803"/>
                  </a:lnTo>
                  <a:lnTo>
                    <a:pt x="1192530" y="1085850"/>
                  </a:lnTo>
                  <a:lnTo>
                    <a:pt x="1188720" y="1083945"/>
                  </a:lnTo>
                  <a:lnTo>
                    <a:pt x="1185862" y="1076325"/>
                  </a:lnTo>
                  <a:lnTo>
                    <a:pt x="1183958" y="1074420"/>
                  </a:lnTo>
                  <a:lnTo>
                    <a:pt x="1182053" y="1073468"/>
                  </a:lnTo>
                  <a:lnTo>
                    <a:pt x="1179195" y="1073468"/>
                  </a:lnTo>
                  <a:lnTo>
                    <a:pt x="1167765" y="1074420"/>
                  </a:lnTo>
                  <a:lnTo>
                    <a:pt x="1149667" y="1079182"/>
                  </a:lnTo>
                  <a:lnTo>
                    <a:pt x="1145858" y="1081088"/>
                  </a:lnTo>
                  <a:lnTo>
                    <a:pt x="1142048" y="1085850"/>
                  </a:lnTo>
                  <a:lnTo>
                    <a:pt x="1140142" y="1089660"/>
                  </a:lnTo>
                  <a:lnTo>
                    <a:pt x="1133475" y="1108710"/>
                  </a:lnTo>
                  <a:lnTo>
                    <a:pt x="1132523" y="1110615"/>
                  </a:lnTo>
                  <a:lnTo>
                    <a:pt x="1129665" y="1112520"/>
                  </a:lnTo>
                  <a:lnTo>
                    <a:pt x="1125855" y="1113473"/>
                  </a:lnTo>
                  <a:lnTo>
                    <a:pt x="1111567" y="1112520"/>
                  </a:lnTo>
                  <a:lnTo>
                    <a:pt x="1081087" y="1101090"/>
                  </a:lnTo>
                  <a:lnTo>
                    <a:pt x="1075373" y="1101090"/>
                  </a:lnTo>
                  <a:lnTo>
                    <a:pt x="1068705" y="1102043"/>
                  </a:lnTo>
                  <a:lnTo>
                    <a:pt x="1064895" y="1103948"/>
                  </a:lnTo>
                  <a:lnTo>
                    <a:pt x="1062037" y="1105853"/>
                  </a:lnTo>
                  <a:lnTo>
                    <a:pt x="1057275" y="1109663"/>
                  </a:lnTo>
                  <a:lnTo>
                    <a:pt x="1055370" y="1113473"/>
                  </a:lnTo>
                  <a:lnTo>
                    <a:pt x="1054417" y="1117282"/>
                  </a:lnTo>
                  <a:lnTo>
                    <a:pt x="1048703" y="1131570"/>
                  </a:lnTo>
                  <a:lnTo>
                    <a:pt x="1043940" y="1141095"/>
                  </a:lnTo>
                  <a:lnTo>
                    <a:pt x="1042035" y="1143953"/>
                  </a:lnTo>
                  <a:lnTo>
                    <a:pt x="1039178" y="1147763"/>
                  </a:lnTo>
                  <a:lnTo>
                    <a:pt x="1035367" y="1150620"/>
                  </a:lnTo>
                  <a:lnTo>
                    <a:pt x="1025842" y="1154430"/>
                  </a:lnTo>
                  <a:lnTo>
                    <a:pt x="1009650" y="1159193"/>
                  </a:lnTo>
                  <a:lnTo>
                    <a:pt x="1003935" y="1159193"/>
                  </a:lnTo>
                  <a:lnTo>
                    <a:pt x="997267" y="1157288"/>
                  </a:lnTo>
                  <a:lnTo>
                    <a:pt x="988695" y="1151573"/>
                  </a:lnTo>
                  <a:lnTo>
                    <a:pt x="982980" y="1150620"/>
                  </a:lnTo>
                  <a:lnTo>
                    <a:pt x="979170" y="1151573"/>
                  </a:lnTo>
                  <a:lnTo>
                    <a:pt x="974408" y="1152525"/>
                  </a:lnTo>
                  <a:lnTo>
                    <a:pt x="965835" y="1159193"/>
                  </a:lnTo>
                  <a:lnTo>
                    <a:pt x="961072" y="1163955"/>
                  </a:lnTo>
                  <a:lnTo>
                    <a:pt x="953453" y="1166813"/>
                  </a:lnTo>
                  <a:lnTo>
                    <a:pt x="926783" y="1165860"/>
                  </a:lnTo>
                  <a:lnTo>
                    <a:pt x="925830" y="1169670"/>
                  </a:lnTo>
                  <a:lnTo>
                    <a:pt x="923925" y="1164907"/>
                  </a:lnTo>
                  <a:lnTo>
                    <a:pt x="918210" y="1154430"/>
                  </a:lnTo>
                  <a:lnTo>
                    <a:pt x="913447" y="1141095"/>
                  </a:lnTo>
                  <a:lnTo>
                    <a:pt x="910590" y="1109663"/>
                  </a:lnTo>
                  <a:lnTo>
                    <a:pt x="921067" y="1084898"/>
                  </a:lnTo>
                  <a:lnTo>
                    <a:pt x="935355" y="1062990"/>
                  </a:lnTo>
                  <a:lnTo>
                    <a:pt x="945833" y="1036320"/>
                  </a:lnTo>
                  <a:lnTo>
                    <a:pt x="948690" y="1021080"/>
                  </a:lnTo>
                  <a:lnTo>
                    <a:pt x="947737" y="1008697"/>
                  </a:lnTo>
                  <a:lnTo>
                    <a:pt x="942022" y="1001078"/>
                  </a:lnTo>
                  <a:lnTo>
                    <a:pt x="916305" y="996315"/>
                  </a:lnTo>
                  <a:lnTo>
                    <a:pt x="910590" y="989647"/>
                  </a:lnTo>
                  <a:lnTo>
                    <a:pt x="912495" y="980122"/>
                  </a:lnTo>
                  <a:lnTo>
                    <a:pt x="927735" y="956310"/>
                  </a:lnTo>
                  <a:lnTo>
                    <a:pt x="932497" y="947738"/>
                  </a:lnTo>
                  <a:lnTo>
                    <a:pt x="929640" y="942022"/>
                  </a:lnTo>
                  <a:lnTo>
                    <a:pt x="915353" y="940118"/>
                  </a:lnTo>
                  <a:lnTo>
                    <a:pt x="891540" y="944880"/>
                  </a:lnTo>
                  <a:lnTo>
                    <a:pt x="882015" y="943928"/>
                  </a:lnTo>
                  <a:lnTo>
                    <a:pt x="873442" y="934403"/>
                  </a:lnTo>
                  <a:lnTo>
                    <a:pt x="888683" y="902018"/>
                  </a:lnTo>
                  <a:lnTo>
                    <a:pt x="890587" y="882968"/>
                  </a:lnTo>
                  <a:lnTo>
                    <a:pt x="882967" y="862965"/>
                  </a:lnTo>
                  <a:lnTo>
                    <a:pt x="875347" y="856297"/>
                  </a:lnTo>
                  <a:lnTo>
                    <a:pt x="868680" y="854393"/>
                  </a:lnTo>
                  <a:lnTo>
                    <a:pt x="862965" y="851535"/>
                  </a:lnTo>
                  <a:lnTo>
                    <a:pt x="859155" y="839153"/>
                  </a:lnTo>
                  <a:lnTo>
                    <a:pt x="857250" y="824865"/>
                  </a:lnTo>
                  <a:lnTo>
                    <a:pt x="857250" y="816293"/>
                  </a:lnTo>
                  <a:lnTo>
                    <a:pt x="855345" y="810578"/>
                  </a:lnTo>
                  <a:lnTo>
                    <a:pt x="847725" y="802005"/>
                  </a:lnTo>
                  <a:lnTo>
                    <a:pt x="817245" y="787718"/>
                  </a:lnTo>
                  <a:lnTo>
                    <a:pt x="811530" y="778193"/>
                  </a:lnTo>
                  <a:lnTo>
                    <a:pt x="814387" y="762000"/>
                  </a:lnTo>
                  <a:lnTo>
                    <a:pt x="813435" y="756285"/>
                  </a:lnTo>
                  <a:lnTo>
                    <a:pt x="808672" y="754380"/>
                  </a:lnTo>
                  <a:lnTo>
                    <a:pt x="806767" y="757238"/>
                  </a:lnTo>
                  <a:lnTo>
                    <a:pt x="799147" y="770572"/>
                  </a:lnTo>
                  <a:lnTo>
                    <a:pt x="797242" y="775335"/>
                  </a:lnTo>
                  <a:lnTo>
                    <a:pt x="800100" y="783907"/>
                  </a:lnTo>
                  <a:lnTo>
                    <a:pt x="808672" y="793432"/>
                  </a:lnTo>
                  <a:lnTo>
                    <a:pt x="819150" y="800100"/>
                  </a:lnTo>
                  <a:lnTo>
                    <a:pt x="842010" y="805815"/>
                  </a:lnTo>
                  <a:lnTo>
                    <a:pt x="847725" y="815340"/>
                  </a:lnTo>
                  <a:lnTo>
                    <a:pt x="847725" y="860107"/>
                  </a:lnTo>
                  <a:lnTo>
                    <a:pt x="849630" y="864870"/>
                  </a:lnTo>
                  <a:lnTo>
                    <a:pt x="862965" y="867728"/>
                  </a:lnTo>
                  <a:lnTo>
                    <a:pt x="866775" y="871538"/>
                  </a:lnTo>
                  <a:lnTo>
                    <a:pt x="868680" y="874395"/>
                  </a:lnTo>
                  <a:lnTo>
                    <a:pt x="871537" y="876300"/>
                  </a:lnTo>
                  <a:lnTo>
                    <a:pt x="878205" y="882015"/>
                  </a:lnTo>
                  <a:lnTo>
                    <a:pt x="874395" y="895350"/>
                  </a:lnTo>
                  <a:lnTo>
                    <a:pt x="866775" y="908685"/>
                  </a:lnTo>
                  <a:lnTo>
                    <a:pt x="862965" y="913447"/>
                  </a:lnTo>
                  <a:lnTo>
                    <a:pt x="859155" y="948690"/>
                  </a:lnTo>
                  <a:lnTo>
                    <a:pt x="875347" y="956310"/>
                  </a:lnTo>
                  <a:lnTo>
                    <a:pt x="899160" y="952500"/>
                  </a:lnTo>
                  <a:lnTo>
                    <a:pt x="916305" y="955357"/>
                  </a:lnTo>
                  <a:lnTo>
                    <a:pt x="901065" y="973455"/>
                  </a:lnTo>
                  <a:lnTo>
                    <a:pt x="894397" y="985838"/>
                  </a:lnTo>
                  <a:lnTo>
                    <a:pt x="891540" y="998220"/>
                  </a:lnTo>
                  <a:lnTo>
                    <a:pt x="896303" y="1011555"/>
                  </a:lnTo>
                  <a:lnTo>
                    <a:pt x="905828" y="1014413"/>
                  </a:lnTo>
                  <a:lnTo>
                    <a:pt x="917258" y="1010603"/>
                  </a:lnTo>
                  <a:lnTo>
                    <a:pt x="927735" y="1003935"/>
                  </a:lnTo>
                  <a:lnTo>
                    <a:pt x="930592" y="1020128"/>
                  </a:lnTo>
                  <a:lnTo>
                    <a:pt x="924878" y="1042988"/>
                  </a:lnTo>
                  <a:lnTo>
                    <a:pt x="915353" y="1063943"/>
                  </a:lnTo>
                  <a:lnTo>
                    <a:pt x="903922" y="1072515"/>
                  </a:lnTo>
                  <a:lnTo>
                    <a:pt x="891540" y="1076325"/>
                  </a:lnTo>
                  <a:lnTo>
                    <a:pt x="880110" y="1087755"/>
                  </a:lnTo>
                  <a:lnTo>
                    <a:pt x="873442" y="1104900"/>
                  </a:lnTo>
                  <a:lnTo>
                    <a:pt x="873442" y="1124903"/>
                  </a:lnTo>
                  <a:lnTo>
                    <a:pt x="893445" y="1151573"/>
                  </a:lnTo>
                  <a:lnTo>
                    <a:pt x="895350" y="1157288"/>
                  </a:lnTo>
                  <a:lnTo>
                    <a:pt x="891540" y="1191578"/>
                  </a:lnTo>
                  <a:lnTo>
                    <a:pt x="893445" y="1203960"/>
                  </a:lnTo>
                  <a:lnTo>
                    <a:pt x="895350" y="1210628"/>
                  </a:lnTo>
                  <a:lnTo>
                    <a:pt x="896303" y="1215390"/>
                  </a:lnTo>
                  <a:lnTo>
                    <a:pt x="891540" y="1224915"/>
                  </a:lnTo>
                  <a:lnTo>
                    <a:pt x="887730" y="1229678"/>
                  </a:lnTo>
                  <a:lnTo>
                    <a:pt x="876300" y="1238250"/>
                  </a:lnTo>
                  <a:lnTo>
                    <a:pt x="869633" y="1241107"/>
                  </a:lnTo>
                  <a:lnTo>
                    <a:pt x="846772" y="1245870"/>
                  </a:lnTo>
                  <a:lnTo>
                    <a:pt x="823912" y="1242060"/>
                  </a:lnTo>
                  <a:lnTo>
                    <a:pt x="772478" y="1222057"/>
                  </a:lnTo>
                  <a:lnTo>
                    <a:pt x="741045" y="1224915"/>
                  </a:lnTo>
                  <a:lnTo>
                    <a:pt x="732472" y="1230630"/>
                  </a:lnTo>
                  <a:lnTo>
                    <a:pt x="727710" y="1241107"/>
                  </a:lnTo>
                  <a:lnTo>
                    <a:pt x="722947" y="1249680"/>
                  </a:lnTo>
                  <a:lnTo>
                    <a:pt x="710565" y="1251585"/>
                  </a:lnTo>
                  <a:lnTo>
                    <a:pt x="706755" y="1249680"/>
                  </a:lnTo>
                  <a:lnTo>
                    <a:pt x="699135" y="1242060"/>
                  </a:lnTo>
                  <a:lnTo>
                    <a:pt x="694372" y="1241107"/>
                  </a:lnTo>
                  <a:lnTo>
                    <a:pt x="682942" y="1242060"/>
                  </a:lnTo>
                  <a:lnTo>
                    <a:pt x="677228" y="1241107"/>
                  </a:lnTo>
                  <a:lnTo>
                    <a:pt x="673417" y="1238250"/>
                  </a:lnTo>
                  <a:lnTo>
                    <a:pt x="670560" y="1227773"/>
                  </a:lnTo>
                  <a:lnTo>
                    <a:pt x="676275" y="1214438"/>
                  </a:lnTo>
                  <a:lnTo>
                    <a:pt x="704850" y="1164907"/>
                  </a:lnTo>
                  <a:lnTo>
                    <a:pt x="712470" y="1148715"/>
                  </a:lnTo>
                  <a:lnTo>
                    <a:pt x="712470" y="1141095"/>
                  </a:lnTo>
                  <a:lnTo>
                    <a:pt x="719137" y="1135380"/>
                  </a:lnTo>
                  <a:lnTo>
                    <a:pt x="742950" y="1099185"/>
                  </a:lnTo>
                  <a:lnTo>
                    <a:pt x="737235" y="1089660"/>
                  </a:lnTo>
                  <a:lnTo>
                    <a:pt x="732472" y="1093470"/>
                  </a:lnTo>
                  <a:lnTo>
                    <a:pt x="728662" y="1104900"/>
                  </a:lnTo>
                  <a:lnTo>
                    <a:pt x="724853" y="1114425"/>
                  </a:lnTo>
                  <a:lnTo>
                    <a:pt x="721042" y="1117282"/>
                  </a:lnTo>
                  <a:lnTo>
                    <a:pt x="711517" y="1122045"/>
                  </a:lnTo>
                  <a:lnTo>
                    <a:pt x="706755" y="1124903"/>
                  </a:lnTo>
                  <a:lnTo>
                    <a:pt x="703897" y="1128713"/>
                  </a:lnTo>
                  <a:lnTo>
                    <a:pt x="693420" y="1144905"/>
                  </a:lnTo>
                  <a:lnTo>
                    <a:pt x="693420" y="1147763"/>
                  </a:lnTo>
                  <a:lnTo>
                    <a:pt x="691515" y="1149668"/>
                  </a:lnTo>
                  <a:lnTo>
                    <a:pt x="684847" y="1151573"/>
                  </a:lnTo>
                  <a:lnTo>
                    <a:pt x="678180" y="1147763"/>
                  </a:lnTo>
                  <a:lnTo>
                    <a:pt x="671512" y="1141095"/>
                  </a:lnTo>
                  <a:lnTo>
                    <a:pt x="663892" y="1122045"/>
                  </a:lnTo>
                  <a:lnTo>
                    <a:pt x="658178" y="1112520"/>
                  </a:lnTo>
                  <a:lnTo>
                    <a:pt x="649605" y="1108710"/>
                  </a:lnTo>
                  <a:lnTo>
                    <a:pt x="655320" y="1128713"/>
                  </a:lnTo>
                  <a:lnTo>
                    <a:pt x="656272" y="1133475"/>
                  </a:lnTo>
                  <a:lnTo>
                    <a:pt x="657225" y="1144905"/>
                  </a:lnTo>
                  <a:lnTo>
                    <a:pt x="661035" y="1148715"/>
                  </a:lnTo>
                  <a:lnTo>
                    <a:pt x="665797" y="1151573"/>
                  </a:lnTo>
                  <a:lnTo>
                    <a:pt x="681990" y="1164907"/>
                  </a:lnTo>
                  <a:lnTo>
                    <a:pt x="683895" y="1170623"/>
                  </a:lnTo>
                  <a:lnTo>
                    <a:pt x="680085" y="1181100"/>
                  </a:lnTo>
                  <a:lnTo>
                    <a:pt x="670560" y="1196340"/>
                  </a:lnTo>
                  <a:lnTo>
                    <a:pt x="669608" y="1199198"/>
                  </a:lnTo>
                  <a:lnTo>
                    <a:pt x="661035" y="1205865"/>
                  </a:lnTo>
                  <a:lnTo>
                    <a:pt x="642937" y="1234440"/>
                  </a:lnTo>
                  <a:lnTo>
                    <a:pt x="636270" y="1241107"/>
                  </a:lnTo>
                  <a:lnTo>
                    <a:pt x="626745" y="1243013"/>
                  </a:lnTo>
                  <a:lnTo>
                    <a:pt x="602932" y="1256348"/>
                  </a:lnTo>
                  <a:lnTo>
                    <a:pt x="595313" y="1262063"/>
                  </a:lnTo>
                  <a:lnTo>
                    <a:pt x="587692" y="1258253"/>
                  </a:lnTo>
                  <a:lnTo>
                    <a:pt x="573405" y="1256348"/>
                  </a:lnTo>
                  <a:lnTo>
                    <a:pt x="566738" y="1251585"/>
                  </a:lnTo>
                  <a:lnTo>
                    <a:pt x="562928" y="1257300"/>
                  </a:lnTo>
                  <a:lnTo>
                    <a:pt x="552450" y="1250632"/>
                  </a:lnTo>
                  <a:lnTo>
                    <a:pt x="516255" y="1241107"/>
                  </a:lnTo>
                  <a:lnTo>
                    <a:pt x="508635" y="1198245"/>
                  </a:lnTo>
                  <a:lnTo>
                    <a:pt x="508635" y="1183957"/>
                  </a:lnTo>
                  <a:lnTo>
                    <a:pt x="509588" y="1180148"/>
                  </a:lnTo>
                  <a:lnTo>
                    <a:pt x="511492" y="1175385"/>
                  </a:lnTo>
                  <a:lnTo>
                    <a:pt x="510540" y="1170623"/>
                  </a:lnTo>
                  <a:lnTo>
                    <a:pt x="510540" y="1165860"/>
                  </a:lnTo>
                  <a:lnTo>
                    <a:pt x="507682" y="1158240"/>
                  </a:lnTo>
                  <a:lnTo>
                    <a:pt x="503872" y="1097280"/>
                  </a:lnTo>
                  <a:lnTo>
                    <a:pt x="502920" y="1089660"/>
                  </a:lnTo>
                  <a:lnTo>
                    <a:pt x="493395" y="1082040"/>
                  </a:lnTo>
                  <a:lnTo>
                    <a:pt x="485775" y="1078230"/>
                  </a:lnTo>
                  <a:lnTo>
                    <a:pt x="481965" y="1073468"/>
                  </a:lnTo>
                  <a:lnTo>
                    <a:pt x="476250" y="1060132"/>
                  </a:lnTo>
                  <a:lnTo>
                    <a:pt x="472440" y="1053465"/>
                  </a:lnTo>
                  <a:lnTo>
                    <a:pt x="469582" y="1049655"/>
                  </a:lnTo>
                  <a:lnTo>
                    <a:pt x="446722" y="1034415"/>
                  </a:lnTo>
                  <a:lnTo>
                    <a:pt x="443865" y="1028700"/>
                  </a:lnTo>
                  <a:lnTo>
                    <a:pt x="439103" y="1019175"/>
                  </a:lnTo>
                  <a:lnTo>
                    <a:pt x="434340" y="1002982"/>
                  </a:lnTo>
                  <a:lnTo>
                    <a:pt x="434340" y="995363"/>
                  </a:lnTo>
                  <a:lnTo>
                    <a:pt x="435292" y="991553"/>
                  </a:lnTo>
                  <a:lnTo>
                    <a:pt x="437197" y="991553"/>
                  </a:lnTo>
                  <a:lnTo>
                    <a:pt x="463867" y="989647"/>
                  </a:lnTo>
                  <a:lnTo>
                    <a:pt x="467678" y="986790"/>
                  </a:lnTo>
                  <a:lnTo>
                    <a:pt x="473392" y="977265"/>
                  </a:lnTo>
                  <a:lnTo>
                    <a:pt x="475297" y="975360"/>
                  </a:lnTo>
                  <a:lnTo>
                    <a:pt x="477203" y="974407"/>
                  </a:lnTo>
                  <a:lnTo>
                    <a:pt x="482917" y="974407"/>
                  </a:lnTo>
                  <a:lnTo>
                    <a:pt x="484822" y="975360"/>
                  </a:lnTo>
                  <a:lnTo>
                    <a:pt x="488632" y="978218"/>
                  </a:lnTo>
                  <a:lnTo>
                    <a:pt x="490538" y="979170"/>
                  </a:lnTo>
                  <a:lnTo>
                    <a:pt x="498157" y="977265"/>
                  </a:lnTo>
                  <a:lnTo>
                    <a:pt x="530542" y="974407"/>
                  </a:lnTo>
                  <a:lnTo>
                    <a:pt x="533400" y="974407"/>
                  </a:lnTo>
                  <a:lnTo>
                    <a:pt x="535305" y="972503"/>
                  </a:lnTo>
                  <a:lnTo>
                    <a:pt x="538163" y="965835"/>
                  </a:lnTo>
                  <a:lnTo>
                    <a:pt x="540067" y="962978"/>
                  </a:lnTo>
                  <a:lnTo>
                    <a:pt x="541972" y="962025"/>
                  </a:lnTo>
                  <a:lnTo>
                    <a:pt x="552450" y="956310"/>
                  </a:lnTo>
                  <a:lnTo>
                    <a:pt x="555307" y="953453"/>
                  </a:lnTo>
                  <a:lnTo>
                    <a:pt x="558165" y="943928"/>
                  </a:lnTo>
                  <a:lnTo>
                    <a:pt x="561022" y="932497"/>
                  </a:lnTo>
                  <a:lnTo>
                    <a:pt x="563880" y="927735"/>
                  </a:lnTo>
                  <a:lnTo>
                    <a:pt x="566738" y="923925"/>
                  </a:lnTo>
                  <a:lnTo>
                    <a:pt x="569595" y="921068"/>
                  </a:lnTo>
                  <a:lnTo>
                    <a:pt x="572453" y="916305"/>
                  </a:lnTo>
                  <a:lnTo>
                    <a:pt x="573405" y="911543"/>
                  </a:lnTo>
                  <a:lnTo>
                    <a:pt x="573405" y="905828"/>
                  </a:lnTo>
                  <a:lnTo>
                    <a:pt x="573405" y="898207"/>
                  </a:lnTo>
                  <a:lnTo>
                    <a:pt x="579120" y="884872"/>
                  </a:lnTo>
                  <a:lnTo>
                    <a:pt x="578167" y="879157"/>
                  </a:lnTo>
                  <a:lnTo>
                    <a:pt x="577215" y="876300"/>
                  </a:lnTo>
                  <a:lnTo>
                    <a:pt x="575310" y="874395"/>
                  </a:lnTo>
                  <a:lnTo>
                    <a:pt x="573405" y="873443"/>
                  </a:lnTo>
                  <a:lnTo>
                    <a:pt x="563880" y="872490"/>
                  </a:lnTo>
                  <a:lnTo>
                    <a:pt x="561022" y="871538"/>
                  </a:lnTo>
                  <a:lnTo>
                    <a:pt x="559117" y="869632"/>
                  </a:lnTo>
                  <a:lnTo>
                    <a:pt x="557213" y="865822"/>
                  </a:lnTo>
                  <a:lnTo>
                    <a:pt x="556260" y="860107"/>
                  </a:lnTo>
                  <a:lnTo>
                    <a:pt x="552450" y="853440"/>
                  </a:lnTo>
                  <a:lnTo>
                    <a:pt x="551497" y="851535"/>
                  </a:lnTo>
                  <a:lnTo>
                    <a:pt x="545782" y="845820"/>
                  </a:lnTo>
                  <a:lnTo>
                    <a:pt x="541972" y="840105"/>
                  </a:lnTo>
                  <a:lnTo>
                    <a:pt x="539115" y="832485"/>
                  </a:lnTo>
                  <a:lnTo>
                    <a:pt x="537210" y="828675"/>
                  </a:lnTo>
                  <a:lnTo>
                    <a:pt x="535305" y="826770"/>
                  </a:lnTo>
                  <a:lnTo>
                    <a:pt x="529590" y="826770"/>
                  </a:lnTo>
                  <a:lnTo>
                    <a:pt x="524828" y="828675"/>
                  </a:lnTo>
                  <a:lnTo>
                    <a:pt x="518160" y="831532"/>
                  </a:lnTo>
                  <a:lnTo>
                    <a:pt x="513397" y="832485"/>
                  </a:lnTo>
                  <a:lnTo>
                    <a:pt x="508635" y="830580"/>
                  </a:lnTo>
                  <a:lnTo>
                    <a:pt x="502920" y="825818"/>
                  </a:lnTo>
                  <a:lnTo>
                    <a:pt x="498157" y="822960"/>
                  </a:lnTo>
                  <a:lnTo>
                    <a:pt x="485775" y="820103"/>
                  </a:lnTo>
                  <a:lnTo>
                    <a:pt x="482917" y="819150"/>
                  </a:lnTo>
                  <a:lnTo>
                    <a:pt x="481013" y="816293"/>
                  </a:lnTo>
                  <a:lnTo>
                    <a:pt x="479107" y="813435"/>
                  </a:lnTo>
                  <a:lnTo>
                    <a:pt x="478155" y="807720"/>
                  </a:lnTo>
                  <a:lnTo>
                    <a:pt x="478155" y="801053"/>
                  </a:lnTo>
                  <a:lnTo>
                    <a:pt x="479107" y="794385"/>
                  </a:lnTo>
                  <a:lnTo>
                    <a:pt x="481013" y="792480"/>
                  </a:lnTo>
                  <a:lnTo>
                    <a:pt x="485775" y="790575"/>
                  </a:lnTo>
                  <a:lnTo>
                    <a:pt x="490538" y="788670"/>
                  </a:lnTo>
                  <a:lnTo>
                    <a:pt x="495300" y="786765"/>
                  </a:lnTo>
                  <a:lnTo>
                    <a:pt x="497205" y="784860"/>
                  </a:lnTo>
                  <a:lnTo>
                    <a:pt x="504825" y="777240"/>
                  </a:lnTo>
                  <a:lnTo>
                    <a:pt x="505778" y="774382"/>
                  </a:lnTo>
                  <a:lnTo>
                    <a:pt x="507682" y="768668"/>
                  </a:lnTo>
                  <a:lnTo>
                    <a:pt x="506730" y="762000"/>
                  </a:lnTo>
                  <a:lnTo>
                    <a:pt x="505778" y="757238"/>
                  </a:lnTo>
                  <a:lnTo>
                    <a:pt x="501967" y="748665"/>
                  </a:lnTo>
                  <a:lnTo>
                    <a:pt x="498157" y="744855"/>
                  </a:lnTo>
                  <a:lnTo>
                    <a:pt x="496253" y="743903"/>
                  </a:lnTo>
                  <a:lnTo>
                    <a:pt x="454342" y="753428"/>
                  </a:lnTo>
                  <a:lnTo>
                    <a:pt x="438150" y="760095"/>
                  </a:lnTo>
                  <a:lnTo>
                    <a:pt x="435292" y="760095"/>
                  </a:lnTo>
                  <a:lnTo>
                    <a:pt x="432435" y="759143"/>
                  </a:lnTo>
                  <a:lnTo>
                    <a:pt x="426720" y="748665"/>
                  </a:lnTo>
                  <a:lnTo>
                    <a:pt x="424815" y="746760"/>
                  </a:lnTo>
                  <a:lnTo>
                    <a:pt x="422910" y="746760"/>
                  </a:lnTo>
                  <a:lnTo>
                    <a:pt x="401955" y="745807"/>
                  </a:lnTo>
                  <a:lnTo>
                    <a:pt x="372428" y="740093"/>
                  </a:lnTo>
                  <a:lnTo>
                    <a:pt x="365760" y="729615"/>
                  </a:lnTo>
                  <a:lnTo>
                    <a:pt x="357188" y="709613"/>
                  </a:lnTo>
                  <a:lnTo>
                    <a:pt x="332422" y="634365"/>
                  </a:lnTo>
                  <a:lnTo>
                    <a:pt x="329565" y="621982"/>
                  </a:lnTo>
                  <a:lnTo>
                    <a:pt x="336232" y="604838"/>
                  </a:lnTo>
                  <a:lnTo>
                    <a:pt x="339090" y="592455"/>
                  </a:lnTo>
                  <a:lnTo>
                    <a:pt x="340995" y="584835"/>
                  </a:lnTo>
                  <a:lnTo>
                    <a:pt x="341947" y="577215"/>
                  </a:lnTo>
                  <a:lnTo>
                    <a:pt x="340995" y="571500"/>
                  </a:lnTo>
                  <a:lnTo>
                    <a:pt x="341947" y="566738"/>
                  </a:lnTo>
                  <a:lnTo>
                    <a:pt x="345757" y="563880"/>
                  </a:lnTo>
                  <a:lnTo>
                    <a:pt x="347663" y="561975"/>
                  </a:lnTo>
                  <a:lnTo>
                    <a:pt x="349567" y="556260"/>
                  </a:lnTo>
                  <a:lnTo>
                    <a:pt x="349567" y="548640"/>
                  </a:lnTo>
                  <a:lnTo>
                    <a:pt x="347663" y="532447"/>
                  </a:lnTo>
                  <a:lnTo>
                    <a:pt x="344805" y="527685"/>
                  </a:lnTo>
                  <a:lnTo>
                    <a:pt x="337185" y="519113"/>
                  </a:lnTo>
                  <a:lnTo>
                    <a:pt x="331470" y="508635"/>
                  </a:lnTo>
                  <a:lnTo>
                    <a:pt x="328613" y="503872"/>
                  </a:lnTo>
                  <a:lnTo>
                    <a:pt x="324803" y="501015"/>
                  </a:lnTo>
                  <a:lnTo>
                    <a:pt x="306705" y="500063"/>
                  </a:lnTo>
                  <a:lnTo>
                    <a:pt x="303847" y="499110"/>
                  </a:lnTo>
                  <a:lnTo>
                    <a:pt x="303847" y="496253"/>
                  </a:lnTo>
                  <a:lnTo>
                    <a:pt x="304800" y="494347"/>
                  </a:lnTo>
                  <a:lnTo>
                    <a:pt x="306705" y="489585"/>
                  </a:lnTo>
                  <a:lnTo>
                    <a:pt x="306705" y="483870"/>
                  </a:lnTo>
                  <a:lnTo>
                    <a:pt x="305753" y="469582"/>
                  </a:lnTo>
                  <a:lnTo>
                    <a:pt x="303847" y="464820"/>
                  </a:lnTo>
                  <a:lnTo>
                    <a:pt x="300990" y="461963"/>
                  </a:lnTo>
                  <a:lnTo>
                    <a:pt x="271463" y="468630"/>
                  </a:lnTo>
                  <a:lnTo>
                    <a:pt x="269557" y="470535"/>
                  </a:lnTo>
                  <a:lnTo>
                    <a:pt x="267653" y="472440"/>
                  </a:lnTo>
                  <a:lnTo>
                    <a:pt x="267653" y="476250"/>
                  </a:lnTo>
                  <a:lnTo>
                    <a:pt x="264795" y="488632"/>
                  </a:lnTo>
                  <a:lnTo>
                    <a:pt x="261938" y="494347"/>
                  </a:lnTo>
                  <a:lnTo>
                    <a:pt x="259080" y="498157"/>
                  </a:lnTo>
                  <a:lnTo>
                    <a:pt x="256222" y="498157"/>
                  </a:lnTo>
                  <a:lnTo>
                    <a:pt x="253365" y="496253"/>
                  </a:lnTo>
                  <a:lnTo>
                    <a:pt x="251460" y="493395"/>
                  </a:lnTo>
                  <a:lnTo>
                    <a:pt x="248603" y="487680"/>
                  </a:lnTo>
                  <a:lnTo>
                    <a:pt x="245745" y="473393"/>
                  </a:lnTo>
                  <a:lnTo>
                    <a:pt x="243840" y="470535"/>
                  </a:lnTo>
                  <a:lnTo>
                    <a:pt x="240982" y="468630"/>
                  </a:lnTo>
                  <a:lnTo>
                    <a:pt x="221932" y="467678"/>
                  </a:lnTo>
                  <a:lnTo>
                    <a:pt x="219075" y="467678"/>
                  </a:lnTo>
                  <a:lnTo>
                    <a:pt x="215265" y="465772"/>
                  </a:lnTo>
                  <a:lnTo>
                    <a:pt x="208597" y="460057"/>
                  </a:lnTo>
                  <a:lnTo>
                    <a:pt x="205740" y="459105"/>
                  </a:lnTo>
                  <a:lnTo>
                    <a:pt x="202882" y="459105"/>
                  </a:lnTo>
                  <a:lnTo>
                    <a:pt x="200025" y="460057"/>
                  </a:lnTo>
                  <a:lnTo>
                    <a:pt x="195263" y="465772"/>
                  </a:lnTo>
                  <a:lnTo>
                    <a:pt x="186690" y="471488"/>
                  </a:lnTo>
                  <a:lnTo>
                    <a:pt x="181928" y="474345"/>
                  </a:lnTo>
                  <a:lnTo>
                    <a:pt x="180022" y="474345"/>
                  </a:lnTo>
                  <a:lnTo>
                    <a:pt x="177165" y="474345"/>
                  </a:lnTo>
                  <a:lnTo>
                    <a:pt x="174307" y="472440"/>
                  </a:lnTo>
                  <a:lnTo>
                    <a:pt x="170497" y="467678"/>
                  </a:lnTo>
                  <a:lnTo>
                    <a:pt x="167640" y="466725"/>
                  </a:lnTo>
                  <a:lnTo>
                    <a:pt x="164782" y="466725"/>
                  </a:lnTo>
                  <a:lnTo>
                    <a:pt x="140970" y="471488"/>
                  </a:lnTo>
                  <a:lnTo>
                    <a:pt x="138113" y="470535"/>
                  </a:lnTo>
                  <a:lnTo>
                    <a:pt x="131445" y="462915"/>
                  </a:lnTo>
                  <a:lnTo>
                    <a:pt x="129540" y="461010"/>
                  </a:lnTo>
                  <a:lnTo>
                    <a:pt x="117157" y="454343"/>
                  </a:lnTo>
                  <a:lnTo>
                    <a:pt x="111442" y="450532"/>
                  </a:lnTo>
                  <a:lnTo>
                    <a:pt x="108585" y="443865"/>
                  </a:lnTo>
                  <a:lnTo>
                    <a:pt x="106680" y="436245"/>
                  </a:lnTo>
                  <a:lnTo>
                    <a:pt x="102870" y="426720"/>
                  </a:lnTo>
                  <a:lnTo>
                    <a:pt x="101917" y="420053"/>
                  </a:lnTo>
                  <a:lnTo>
                    <a:pt x="102870" y="414338"/>
                  </a:lnTo>
                  <a:lnTo>
                    <a:pt x="106680" y="406718"/>
                  </a:lnTo>
                  <a:lnTo>
                    <a:pt x="107632" y="403860"/>
                  </a:lnTo>
                  <a:lnTo>
                    <a:pt x="108585" y="400050"/>
                  </a:lnTo>
                  <a:lnTo>
                    <a:pt x="108585" y="394335"/>
                  </a:lnTo>
                  <a:lnTo>
                    <a:pt x="104775" y="388620"/>
                  </a:lnTo>
                  <a:lnTo>
                    <a:pt x="98107" y="383857"/>
                  </a:lnTo>
                  <a:lnTo>
                    <a:pt x="91440" y="376238"/>
                  </a:lnTo>
                  <a:lnTo>
                    <a:pt x="89535" y="373380"/>
                  </a:lnTo>
                  <a:lnTo>
                    <a:pt x="89535" y="369570"/>
                  </a:lnTo>
                  <a:lnTo>
                    <a:pt x="90488" y="366713"/>
                  </a:lnTo>
                  <a:lnTo>
                    <a:pt x="92392" y="364807"/>
                  </a:lnTo>
                  <a:lnTo>
                    <a:pt x="97155" y="359093"/>
                  </a:lnTo>
                  <a:lnTo>
                    <a:pt x="99060" y="357188"/>
                  </a:lnTo>
                  <a:lnTo>
                    <a:pt x="100965" y="353378"/>
                  </a:lnTo>
                  <a:lnTo>
                    <a:pt x="100965" y="349568"/>
                  </a:lnTo>
                  <a:lnTo>
                    <a:pt x="98107" y="338138"/>
                  </a:lnTo>
                  <a:lnTo>
                    <a:pt x="95250" y="334328"/>
                  </a:lnTo>
                  <a:lnTo>
                    <a:pt x="92392" y="332422"/>
                  </a:lnTo>
                  <a:lnTo>
                    <a:pt x="79057" y="326707"/>
                  </a:lnTo>
                  <a:lnTo>
                    <a:pt x="73342" y="322897"/>
                  </a:lnTo>
                  <a:lnTo>
                    <a:pt x="64770" y="315278"/>
                  </a:lnTo>
                  <a:lnTo>
                    <a:pt x="60960" y="308610"/>
                  </a:lnTo>
                  <a:lnTo>
                    <a:pt x="60007" y="301943"/>
                  </a:lnTo>
                  <a:lnTo>
                    <a:pt x="46672" y="217170"/>
                  </a:lnTo>
                  <a:lnTo>
                    <a:pt x="45720" y="214313"/>
                  </a:lnTo>
                  <a:lnTo>
                    <a:pt x="43815" y="211455"/>
                  </a:lnTo>
                  <a:lnTo>
                    <a:pt x="34290" y="199072"/>
                  </a:lnTo>
                  <a:lnTo>
                    <a:pt x="28575" y="191453"/>
                  </a:lnTo>
                  <a:lnTo>
                    <a:pt x="24765" y="186690"/>
                  </a:lnTo>
                  <a:lnTo>
                    <a:pt x="22860" y="185738"/>
                  </a:lnTo>
                  <a:lnTo>
                    <a:pt x="9525" y="181928"/>
                  </a:lnTo>
                  <a:lnTo>
                    <a:pt x="5715" y="180022"/>
                  </a:lnTo>
                  <a:lnTo>
                    <a:pt x="3810" y="175260"/>
                  </a:lnTo>
                  <a:lnTo>
                    <a:pt x="3810" y="167640"/>
                  </a:lnTo>
                  <a:lnTo>
                    <a:pt x="4763" y="161925"/>
                  </a:lnTo>
                  <a:lnTo>
                    <a:pt x="8572" y="155257"/>
                  </a:lnTo>
                  <a:lnTo>
                    <a:pt x="9525" y="149543"/>
                  </a:lnTo>
                  <a:lnTo>
                    <a:pt x="8572" y="146685"/>
                  </a:lnTo>
                  <a:lnTo>
                    <a:pt x="9525" y="136207"/>
                  </a:lnTo>
                  <a:lnTo>
                    <a:pt x="8572" y="132397"/>
                  </a:lnTo>
                  <a:lnTo>
                    <a:pt x="7620" y="129540"/>
                  </a:lnTo>
                  <a:lnTo>
                    <a:pt x="953" y="124778"/>
                  </a:lnTo>
                  <a:lnTo>
                    <a:pt x="0" y="122872"/>
                  </a:lnTo>
                  <a:lnTo>
                    <a:pt x="953" y="120968"/>
                  </a:lnTo>
                  <a:lnTo>
                    <a:pt x="6667" y="115253"/>
                  </a:lnTo>
                  <a:lnTo>
                    <a:pt x="24765" y="107632"/>
                  </a:lnTo>
                  <a:lnTo>
                    <a:pt x="33338" y="108585"/>
                  </a:lnTo>
                  <a:lnTo>
                    <a:pt x="35242" y="107632"/>
                  </a:lnTo>
                  <a:lnTo>
                    <a:pt x="38100" y="103822"/>
                  </a:lnTo>
                  <a:lnTo>
                    <a:pt x="40005" y="101918"/>
                  </a:lnTo>
                  <a:lnTo>
                    <a:pt x="42863" y="101918"/>
                  </a:lnTo>
                  <a:lnTo>
                    <a:pt x="45720" y="101918"/>
                  </a:lnTo>
                  <a:lnTo>
                    <a:pt x="51435" y="103822"/>
                  </a:lnTo>
                  <a:lnTo>
                    <a:pt x="54292" y="102870"/>
                  </a:lnTo>
                  <a:lnTo>
                    <a:pt x="56197" y="100965"/>
                  </a:lnTo>
                  <a:lnTo>
                    <a:pt x="57150" y="97155"/>
                  </a:lnTo>
                  <a:lnTo>
                    <a:pt x="57150" y="93345"/>
                  </a:lnTo>
                  <a:lnTo>
                    <a:pt x="54292" y="90488"/>
                  </a:lnTo>
                  <a:lnTo>
                    <a:pt x="47625" y="86678"/>
                  </a:lnTo>
                  <a:lnTo>
                    <a:pt x="45720" y="84772"/>
                  </a:lnTo>
                  <a:lnTo>
                    <a:pt x="44767" y="80963"/>
                  </a:lnTo>
                  <a:lnTo>
                    <a:pt x="44767" y="66675"/>
                  </a:lnTo>
                  <a:lnTo>
                    <a:pt x="60007" y="67628"/>
                  </a:lnTo>
                  <a:lnTo>
                    <a:pt x="63817" y="66675"/>
                  </a:lnTo>
                  <a:lnTo>
                    <a:pt x="66675" y="61913"/>
                  </a:lnTo>
                  <a:lnTo>
                    <a:pt x="70485" y="47625"/>
                  </a:lnTo>
                  <a:lnTo>
                    <a:pt x="73342" y="44768"/>
                  </a:lnTo>
                  <a:lnTo>
                    <a:pt x="154305" y="44768"/>
                  </a:lnTo>
                  <a:lnTo>
                    <a:pt x="159067" y="45720"/>
                  </a:lnTo>
                  <a:lnTo>
                    <a:pt x="163830" y="45720"/>
                  </a:lnTo>
                  <a:lnTo>
                    <a:pt x="167640" y="46672"/>
                  </a:lnTo>
                  <a:lnTo>
                    <a:pt x="191453" y="55245"/>
                  </a:lnTo>
                  <a:lnTo>
                    <a:pt x="211455" y="60007"/>
                  </a:lnTo>
                  <a:lnTo>
                    <a:pt x="217170" y="60007"/>
                  </a:lnTo>
                  <a:lnTo>
                    <a:pt x="220028" y="58103"/>
                  </a:lnTo>
                  <a:lnTo>
                    <a:pt x="222885" y="54293"/>
                  </a:lnTo>
                  <a:lnTo>
                    <a:pt x="224790" y="47625"/>
                  </a:lnTo>
                  <a:lnTo>
                    <a:pt x="225742" y="45720"/>
                  </a:lnTo>
                  <a:lnTo>
                    <a:pt x="230505" y="42863"/>
                  </a:lnTo>
                  <a:lnTo>
                    <a:pt x="237172" y="39053"/>
                  </a:lnTo>
                  <a:lnTo>
                    <a:pt x="261938" y="30480"/>
                  </a:lnTo>
                  <a:lnTo>
                    <a:pt x="267653" y="29528"/>
                  </a:lnTo>
                  <a:lnTo>
                    <a:pt x="282892" y="32385"/>
                  </a:lnTo>
                  <a:lnTo>
                    <a:pt x="299085" y="32385"/>
                  </a:lnTo>
                  <a:lnTo>
                    <a:pt x="305753" y="33338"/>
                  </a:lnTo>
                  <a:lnTo>
                    <a:pt x="310515" y="35243"/>
                  </a:lnTo>
                  <a:lnTo>
                    <a:pt x="311467" y="40957"/>
                  </a:lnTo>
                  <a:lnTo>
                    <a:pt x="313372" y="43815"/>
                  </a:lnTo>
                  <a:lnTo>
                    <a:pt x="315278" y="46672"/>
                  </a:lnTo>
                  <a:lnTo>
                    <a:pt x="320992" y="48578"/>
                  </a:lnTo>
                  <a:lnTo>
                    <a:pt x="323850" y="48578"/>
                  </a:lnTo>
                  <a:lnTo>
                    <a:pt x="325755" y="46672"/>
                  </a:lnTo>
                  <a:lnTo>
                    <a:pt x="329565" y="36195"/>
                  </a:lnTo>
                  <a:lnTo>
                    <a:pt x="331470" y="33338"/>
                  </a:lnTo>
                  <a:lnTo>
                    <a:pt x="333375" y="31432"/>
                  </a:lnTo>
                  <a:lnTo>
                    <a:pt x="338138" y="27622"/>
                  </a:lnTo>
                  <a:lnTo>
                    <a:pt x="341947" y="26670"/>
                  </a:lnTo>
                  <a:lnTo>
                    <a:pt x="344805" y="27622"/>
                  </a:lnTo>
                  <a:lnTo>
                    <a:pt x="347663" y="28575"/>
                  </a:lnTo>
                  <a:lnTo>
                    <a:pt x="351472" y="32385"/>
                  </a:lnTo>
                  <a:lnTo>
                    <a:pt x="352425" y="35243"/>
                  </a:lnTo>
                  <a:lnTo>
                    <a:pt x="352425" y="40957"/>
                  </a:lnTo>
                  <a:lnTo>
                    <a:pt x="354330" y="43815"/>
                  </a:lnTo>
                  <a:lnTo>
                    <a:pt x="356235" y="46672"/>
                  </a:lnTo>
                  <a:lnTo>
                    <a:pt x="363855" y="49530"/>
                  </a:lnTo>
                  <a:lnTo>
                    <a:pt x="367665" y="50482"/>
                  </a:lnTo>
                  <a:lnTo>
                    <a:pt x="371475" y="49530"/>
                  </a:lnTo>
                  <a:lnTo>
                    <a:pt x="375285" y="46672"/>
                  </a:lnTo>
                  <a:lnTo>
                    <a:pt x="377190" y="44768"/>
                  </a:lnTo>
                  <a:lnTo>
                    <a:pt x="380047" y="40957"/>
                  </a:lnTo>
                  <a:lnTo>
                    <a:pt x="383857" y="38100"/>
                  </a:lnTo>
                  <a:lnTo>
                    <a:pt x="401003" y="32385"/>
                  </a:lnTo>
                  <a:lnTo>
                    <a:pt x="404813" y="30480"/>
                  </a:lnTo>
                  <a:lnTo>
                    <a:pt x="406717" y="28575"/>
                  </a:lnTo>
                  <a:lnTo>
                    <a:pt x="408622" y="22860"/>
                  </a:lnTo>
                  <a:lnTo>
                    <a:pt x="409575" y="16193"/>
                  </a:lnTo>
                  <a:lnTo>
                    <a:pt x="414338" y="11430"/>
                  </a:lnTo>
                  <a:lnTo>
                    <a:pt x="421005" y="7620"/>
                  </a:lnTo>
                  <a:lnTo>
                    <a:pt x="439103" y="953"/>
                  </a:lnTo>
                  <a:lnTo>
                    <a:pt x="450532" y="0"/>
                  </a:lnTo>
                  <a:lnTo>
                    <a:pt x="488632" y="2857"/>
                  </a:lnTo>
                  <a:lnTo>
                    <a:pt x="497205" y="5715"/>
                  </a:lnTo>
                  <a:lnTo>
                    <a:pt x="505778" y="6668"/>
                  </a:lnTo>
                  <a:lnTo>
                    <a:pt x="510540" y="8572"/>
                  </a:lnTo>
                  <a:lnTo>
                    <a:pt x="514350" y="9525"/>
                  </a:lnTo>
                  <a:lnTo>
                    <a:pt x="515303" y="15240"/>
                  </a:lnTo>
                  <a:lnTo>
                    <a:pt x="517207" y="36195"/>
                  </a:lnTo>
                  <a:lnTo>
                    <a:pt x="517207" y="39053"/>
                  </a:lnTo>
                  <a:lnTo>
                    <a:pt x="519113" y="40957"/>
                  </a:lnTo>
                  <a:lnTo>
                    <a:pt x="522922" y="43815"/>
                  </a:lnTo>
                  <a:lnTo>
                    <a:pt x="535305" y="46672"/>
                  </a:lnTo>
                  <a:lnTo>
                    <a:pt x="537210" y="48578"/>
                  </a:lnTo>
                  <a:lnTo>
                    <a:pt x="538163" y="52388"/>
                  </a:lnTo>
                  <a:lnTo>
                    <a:pt x="538163" y="64770"/>
                  </a:lnTo>
                  <a:lnTo>
                    <a:pt x="538163" y="67628"/>
                  </a:lnTo>
                  <a:lnTo>
                    <a:pt x="539115" y="70485"/>
                  </a:lnTo>
                  <a:lnTo>
                    <a:pt x="541020" y="74295"/>
                  </a:lnTo>
                  <a:lnTo>
                    <a:pt x="543878" y="76200"/>
                  </a:lnTo>
                  <a:lnTo>
                    <a:pt x="549592" y="79057"/>
                  </a:lnTo>
                  <a:lnTo>
                    <a:pt x="598170" y="85725"/>
                  </a:lnTo>
                  <a:lnTo>
                    <a:pt x="602932" y="85725"/>
                  </a:lnTo>
                  <a:lnTo>
                    <a:pt x="611505" y="79057"/>
                  </a:lnTo>
                  <a:lnTo>
                    <a:pt x="620078" y="75247"/>
                  </a:lnTo>
                  <a:lnTo>
                    <a:pt x="621983" y="76200"/>
                  </a:lnTo>
                  <a:lnTo>
                    <a:pt x="623887" y="78105"/>
                  </a:lnTo>
                  <a:lnTo>
                    <a:pt x="625792" y="83820"/>
                  </a:lnTo>
                  <a:lnTo>
                    <a:pt x="628650" y="85725"/>
                  </a:lnTo>
                  <a:lnTo>
                    <a:pt x="632460" y="88582"/>
                  </a:lnTo>
                  <a:lnTo>
                    <a:pt x="636270" y="89535"/>
                  </a:lnTo>
                  <a:lnTo>
                    <a:pt x="638175" y="88582"/>
                  </a:lnTo>
                  <a:lnTo>
                    <a:pt x="640080" y="86678"/>
                  </a:lnTo>
                  <a:lnTo>
                    <a:pt x="644842" y="84772"/>
                  </a:lnTo>
                  <a:lnTo>
                    <a:pt x="651510" y="82868"/>
                  </a:lnTo>
                  <a:lnTo>
                    <a:pt x="681037" y="80010"/>
                  </a:lnTo>
                  <a:lnTo>
                    <a:pt x="684847" y="82868"/>
                  </a:lnTo>
                  <a:lnTo>
                    <a:pt x="686753" y="86678"/>
                  </a:lnTo>
                  <a:lnTo>
                    <a:pt x="687705" y="92393"/>
                  </a:lnTo>
                  <a:lnTo>
                    <a:pt x="685800" y="109538"/>
                  </a:lnTo>
                  <a:lnTo>
                    <a:pt x="683895" y="115253"/>
                  </a:lnTo>
                  <a:lnTo>
                    <a:pt x="681037" y="121920"/>
                  </a:lnTo>
                  <a:lnTo>
                    <a:pt x="681037" y="126682"/>
                  </a:lnTo>
                  <a:lnTo>
                    <a:pt x="683895" y="129540"/>
                  </a:lnTo>
                  <a:lnTo>
                    <a:pt x="686753" y="130493"/>
                  </a:lnTo>
                  <a:lnTo>
                    <a:pt x="690562" y="130493"/>
                  </a:lnTo>
                  <a:lnTo>
                    <a:pt x="692467" y="129540"/>
                  </a:lnTo>
                  <a:lnTo>
                    <a:pt x="694372" y="127635"/>
                  </a:lnTo>
                  <a:lnTo>
                    <a:pt x="695325" y="121920"/>
                  </a:lnTo>
                  <a:lnTo>
                    <a:pt x="696278" y="112395"/>
                  </a:lnTo>
                  <a:lnTo>
                    <a:pt x="697230" y="108585"/>
                  </a:lnTo>
                  <a:lnTo>
                    <a:pt x="699135" y="105728"/>
                  </a:lnTo>
                  <a:lnTo>
                    <a:pt x="702945" y="102870"/>
                  </a:lnTo>
                  <a:lnTo>
                    <a:pt x="705803" y="102870"/>
                  </a:lnTo>
                  <a:lnTo>
                    <a:pt x="707708" y="104775"/>
                  </a:lnTo>
                  <a:lnTo>
                    <a:pt x="709612" y="107632"/>
                  </a:lnTo>
                  <a:lnTo>
                    <a:pt x="712470" y="108585"/>
                  </a:lnTo>
                  <a:lnTo>
                    <a:pt x="715328" y="108585"/>
                  </a:lnTo>
                  <a:lnTo>
                    <a:pt x="722947" y="107632"/>
                  </a:lnTo>
                  <a:lnTo>
                    <a:pt x="727710" y="104775"/>
                  </a:lnTo>
                  <a:lnTo>
                    <a:pt x="727710" y="101918"/>
                  </a:lnTo>
                  <a:lnTo>
                    <a:pt x="727710" y="93345"/>
                  </a:lnTo>
                  <a:lnTo>
                    <a:pt x="727710" y="90488"/>
                  </a:lnTo>
                  <a:lnTo>
                    <a:pt x="728662" y="87630"/>
                  </a:lnTo>
                  <a:lnTo>
                    <a:pt x="730567" y="85725"/>
                  </a:lnTo>
                  <a:lnTo>
                    <a:pt x="733425" y="83820"/>
                  </a:lnTo>
                  <a:lnTo>
                    <a:pt x="741997" y="80010"/>
                  </a:lnTo>
                  <a:lnTo>
                    <a:pt x="745808" y="80963"/>
                  </a:lnTo>
                  <a:lnTo>
                    <a:pt x="747712" y="81915"/>
                  </a:lnTo>
                  <a:lnTo>
                    <a:pt x="755333" y="90488"/>
                  </a:lnTo>
                  <a:lnTo>
                    <a:pt x="758190" y="92393"/>
                  </a:lnTo>
                  <a:lnTo>
                    <a:pt x="762953" y="94297"/>
                  </a:lnTo>
                  <a:lnTo>
                    <a:pt x="769620" y="93345"/>
                  </a:lnTo>
                  <a:lnTo>
                    <a:pt x="773430" y="94297"/>
                  </a:lnTo>
                  <a:lnTo>
                    <a:pt x="777240" y="95250"/>
                  </a:lnTo>
                  <a:lnTo>
                    <a:pt x="782003" y="99060"/>
                  </a:lnTo>
                  <a:lnTo>
                    <a:pt x="785812" y="100013"/>
                  </a:lnTo>
                  <a:lnTo>
                    <a:pt x="788670" y="100965"/>
                  </a:lnTo>
                  <a:lnTo>
                    <a:pt x="809625" y="96203"/>
                  </a:lnTo>
                  <a:lnTo>
                    <a:pt x="814387" y="97155"/>
                  </a:lnTo>
                  <a:lnTo>
                    <a:pt x="817245" y="99060"/>
                  </a:lnTo>
                  <a:lnTo>
                    <a:pt x="818197" y="100965"/>
                  </a:lnTo>
                  <a:lnTo>
                    <a:pt x="822008" y="114300"/>
                  </a:lnTo>
                  <a:lnTo>
                    <a:pt x="824865" y="121920"/>
                  </a:lnTo>
                  <a:lnTo>
                    <a:pt x="824865" y="127635"/>
                  </a:lnTo>
                  <a:lnTo>
                    <a:pt x="823912" y="134303"/>
                  </a:lnTo>
                  <a:lnTo>
                    <a:pt x="822960" y="137160"/>
                  </a:lnTo>
                  <a:lnTo>
                    <a:pt x="819150" y="140970"/>
                  </a:lnTo>
                  <a:lnTo>
                    <a:pt x="813435" y="145732"/>
                  </a:lnTo>
                  <a:lnTo>
                    <a:pt x="792480" y="155257"/>
                  </a:lnTo>
                  <a:lnTo>
                    <a:pt x="790575" y="156210"/>
                  </a:lnTo>
                  <a:lnTo>
                    <a:pt x="791528" y="160972"/>
                  </a:lnTo>
                  <a:lnTo>
                    <a:pt x="799147" y="174307"/>
                  </a:lnTo>
                  <a:lnTo>
                    <a:pt x="815340" y="202882"/>
                  </a:lnTo>
                  <a:lnTo>
                    <a:pt x="822008" y="211455"/>
                  </a:lnTo>
                  <a:lnTo>
                    <a:pt x="828675" y="217170"/>
                  </a:lnTo>
                  <a:lnTo>
                    <a:pt x="831533" y="218122"/>
                  </a:lnTo>
                  <a:lnTo>
                    <a:pt x="844867" y="215265"/>
                  </a:lnTo>
                  <a:lnTo>
                    <a:pt x="847725" y="216218"/>
                  </a:lnTo>
                  <a:lnTo>
                    <a:pt x="850583" y="217170"/>
                  </a:lnTo>
                  <a:lnTo>
                    <a:pt x="853440" y="220980"/>
                  </a:lnTo>
                  <a:lnTo>
                    <a:pt x="855345" y="225743"/>
                  </a:lnTo>
                  <a:lnTo>
                    <a:pt x="856297" y="234315"/>
                  </a:lnTo>
                  <a:lnTo>
                    <a:pt x="858203" y="239078"/>
                  </a:lnTo>
                  <a:lnTo>
                    <a:pt x="860108" y="240982"/>
                  </a:lnTo>
                  <a:lnTo>
                    <a:pt x="871537" y="255270"/>
                  </a:lnTo>
                  <a:lnTo>
                    <a:pt x="873442" y="260032"/>
                  </a:lnTo>
                  <a:lnTo>
                    <a:pt x="874395" y="265747"/>
                  </a:lnTo>
                  <a:lnTo>
                    <a:pt x="874395" y="268605"/>
                  </a:lnTo>
                  <a:lnTo>
                    <a:pt x="871537" y="273368"/>
                  </a:lnTo>
                  <a:lnTo>
                    <a:pt x="862965" y="287655"/>
                  </a:lnTo>
                  <a:lnTo>
                    <a:pt x="860108" y="292418"/>
                  </a:lnTo>
                  <a:lnTo>
                    <a:pt x="860108" y="295275"/>
                  </a:lnTo>
                  <a:lnTo>
                    <a:pt x="861060" y="300990"/>
                  </a:lnTo>
                  <a:lnTo>
                    <a:pt x="866775" y="309563"/>
                  </a:lnTo>
                  <a:lnTo>
                    <a:pt x="866775" y="315278"/>
                  </a:lnTo>
                  <a:lnTo>
                    <a:pt x="865822" y="321945"/>
                  </a:lnTo>
                  <a:lnTo>
                    <a:pt x="865822" y="325755"/>
                  </a:lnTo>
                  <a:lnTo>
                    <a:pt x="866775" y="329565"/>
                  </a:lnTo>
                  <a:lnTo>
                    <a:pt x="868680" y="333375"/>
                  </a:lnTo>
                  <a:lnTo>
                    <a:pt x="871537" y="335280"/>
                  </a:lnTo>
                  <a:lnTo>
                    <a:pt x="875347" y="335280"/>
                  </a:lnTo>
                  <a:lnTo>
                    <a:pt x="921067" y="335280"/>
                  </a:lnTo>
                  <a:lnTo>
                    <a:pt x="923925" y="334328"/>
                  </a:lnTo>
                  <a:lnTo>
                    <a:pt x="925830" y="332422"/>
                  </a:lnTo>
                  <a:lnTo>
                    <a:pt x="927735" y="323850"/>
                  </a:lnTo>
                  <a:lnTo>
                    <a:pt x="931545" y="321945"/>
                  </a:lnTo>
                  <a:lnTo>
                    <a:pt x="937260" y="320993"/>
                  </a:lnTo>
                  <a:lnTo>
                    <a:pt x="956310" y="323850"/>
                  </a:lnTo>
                  <a:lnTo>
                    <a:pt x="960120" y="325755"/>
                  </a:lnTo>
                  <a:lnTo>
                    <a:pt x="965835" y="331470"/>
                  </a:lnTo>
                  <a:lnTo>
                    <a:pt x="978217" y="338138"/>
                  </a:lnTo>
                  <a:lnTo>
                    <a:pt x="980122" y="339090"/>
                  </a:lnTo>
                  <a:lnTo>
                    <a:pt x="983933" y="343853"/>
                  </a:lnTo>
                  <a:lnTo>
                    <a:pt x="988695" y="352425"/>
                  </a:lnTo>
                  <a:lnTo>
                    <a:pt x="990600" y="357188"/>
                  </a:lnTo>
                  <a:lnTo>
                    <a:pt x="992505" y="360997"/>
                  </a:lnTo>
                  <a:lnTo>
                    <a:pt x="997267" y="363855"/>
                  </a:lnTo>
                  <a:lnTo>
                    <a:pt x="1007745" y="369570"/>
                  </a:lnTo>
                  <a:lnTo>
                    <a:pt x="1013460" y="371475"/>
                  </a:lnTo>
                  <a:lnTo>
                    <a:pt x="1017270" y="372428"/>
                  </a:lnTo>
                  <a:lnTo>
                    <a:pt x="1022985" y="371475"/>
                  </a:lnTo>
                  <a:lnTo>
                    <a:pt x="1027747" y="369570"/>
                  </a:lnTo>
                  <a:lnTo>
                    <a:pt x="1030605" y="368618"/>
                  </a:lnTo>
                  <a:lnTo>
                    <a:pt x="1033462" y="364807"/>
                  </a:lnTo>
                  <a:lnTo>
                    <a:pt x="1040130" y="356235"/>
                  </a:lnTo>
                  <a:lnTo>
                    <a:pt x="1046797" y="341947"/>
                  </a:lnTo>
                  <a:lnTo>
                    <a:pt x="1058228" y="322897"/>
                  </a:lnTo>
                  <a:lnTo>
                    <a:pt x="1061085" y="319088"/>
                  </a:lnTo>
                  <a:lnTo>
                    <a:pt x="1063942" y="317182"/>
                  </a:lnTo>
                  <a:lnTo>
                    <a:pt x="1067753" y="315278"/>
                  </a:lnTo>
                  <a:lnTo>
                    <a:pt x="1087755" y="312420"/>
                  </a:lnTo>
                  <a:lnTo>
                    <a:pt x="1096328" y="314325"/>
                  </a:lnTo>
                  <a:lnTo>
                    <a:pt x="1102042" y="316230"/>
                  </a:lnTo>
                  <a:lnTo>
                    <a:pt x="1116330" y="324803"/>
                  </a:lnTo>
                  <a:lnTo>
                    <a:pt x="1125855" y="334328"/>
                  </a:lnTo>
                  <a:lnTo>
                    <a:pt x="1127760" y="335280"/>
                  </a:lnTo>
                  <a:lnTo>
                    <a:pt x="1130617" y="334328"/>
                  </a:lnTo>
                  <a:lnTo>
                    <a:pt x="1136333" y="331470"/>
                  </a:lnTo>
                  <a:lnTo>
                    <a:pt x="1142048" y="330518"/>
                  </a:lnTo>
                  <a:lnTo>
                    <a:pt x="1148715" y="331470"/>
                  </a:lnTo>
                  <a:lnTo>
                    <a:pt x="1150620" y="333375"/>
                  </a:lnTo>
                  <a:lnTo>
                    <a:pt x="1185862" y="345757"/>
                  </a:lnTo>
                  <a:lnTo>
                    <a:pt x="1190625" y="346710"/>
                  </a:lnTo>
                  <a:lnTo>
                    <a:pt x="1282065" y="331470"/>
                  </a:lnTo>
                  <a:lnTo>
                    <a:pt x="1284923" y="331470"/>
                  </a:lnTo>
                  <a:lnTo>
                    <a:pt x="1285875" y="328613"/>
                  </a:lnTo>
                  <a:lnTo>
                    <a:pt x="1286828" y="326707"/>
                  </a:lnTo>
                  <a:lnTo>
                    <a:pt x="1286828" y="314325"/>
                  </a:lnTo>
                  <a:lnTo>
                    <a:pt x="1286828" y="311468"/>
                  </a:lnTo>
                  <a:lnTo>
                    <a:pt x="1287780" y="304800"/>
                  </a:lnTo>
                  <a:lnTo>
                    <a:pt x="1288733" y="301943"/>
                  </a:lnTo>
                  <a:lnTo>
                    <a:pt x="1290637" y="300990"/>
                  </a:lnTo>
                  <a:lnTo>
                    <a:pt x="1301115" y="299085"/>
                  </a:lnTo>
                  <a:lnTo>
                    <a:pt x="1303020" y="297180"/>
                  </a:lnTo>
                  <a:lnTo>
                    <a:pt x="1303973" y="295275"/>
                  </a:lnTo>
                  <a:lnTo>
                    <a:pt x="1303973" y="293370"/>
                  </a:lnTo>
                  <a:lnTo>
                    <a:pt x="1299210" y="287655"/>
                  </a:lnTo>
                  <a:lnTo>
                    <a:pt x="1298258" y="284797"/>
                  </a:lnTo>
                  <a:lnTo>
                    <a:pt x="1298258" y="281940"/>
                  </a:lnTo>
                  <a:lnTo>
                    <a:pt x="1299210" y="275272"/>
                  </a:lnTo>
                  <a:lnTo>
                    <a:pt x="1298258" y="269557"/>
                  </a:lnTo>
                  <a:lnTo>
                    <a:pt x="1294448" y="262890"/>
                  </a:lnTo>
                  <a:lnTo>
                    <a:pt x="1292542" y="258128"/>
                  </a:lnTo>
                  <a:lnTo>
                    <a:pt x="1293495" y="255270"/>
                  </a:lnTo>
                  <a:lnTo>
                    <a:pt x="1295400" y="250507"/>
                  </a:lnTo>
                  <a:lnTo>
                    <a:pt x="1297305" y="249555"/>
                  </a:lnTo>
                  <a:lnTo>
                    <a:pt x="1303020" y="247650"/>
                  </a:lnTo>
                  <a:lnTo>
                    <a:pt x="1317308" y="245745"/>
                  </a:lnTo>
                  <a:lnTo>
                    <a:pt x="1319212" y="245745"/>
                  </a:lnTo>
                  <a:lnTo>
                    <a:pt x="1321117" y="243840"/>
                  </a:lnTo>
                  <a:lnTo>
                    <a:pt x="1322070" y="238125"/>
                  </a:lnTo>
                  <a:lnTo>
                    <a:pt x="1322070" y="231457"/>
                  </a:lnTo>
                  <a:lnTo>
                    <a:pt x="1321117" y="229553"/>
                  </a:lnTo>
                  <a:lnTo>
                    <a:pt x="1319212" y="228600"/>
                  </a:lnTo>
                  <a:lnTo>
                    <a:pt x="1310640" y="226695"/>
                  </a:lnTo>
                  <a:lnTo>
                    <a:pt x="1307783" y="225743"/>
                  </a:lnTo>
                  <a:lnTo>
                    <a:pt x="1304925" y="221932"/>
                  </a:lnTo>
                  <a:lnTo>
                    <a:pt x="1303973" y="216218"/>
                  </a:lnTo>
                  <a:lnTo>
                    <a:pt x="1304925" y="209550"/>
                  </a:lnTo>
                  <a:lnTo>
                    <a:pt x="1306830" y="203835"/>
                  </a:lnTo>
                  <a:lnTo>
                    <a:pt x="1309687" y="199072"/>
                  </a:lnTo>
                  <a:lnTo>
                    <a:pt x="1311592" y="197168"/>
                  </a:lnTo>
                  <a:lnTo>
                    <a:pt x="1315403" y="194310"/>
                  </a:lnTo>
                  <a:lnTo>
                    <a:pt x="1322070" y="190500"/>
                  </a:lnTo>
                  <a:lnTo>
                    <a:pt x="1343978" y="186690"/>
                  </a:lnTo>
                  <a:lnTo>
                    <a:pt x="1354455" y="182880"/>
                  </a:lnTo>
                  <a:lnTo>
                    <a:pt x="1357312" y="182880"/>
                  </a:lnTo>
                  <a:lnTo>
                    <a:pt x="1359217" y="184785"/>
                  </a:lnTo>
                  <a:lnTo>
                    <a:pt x="1364933" y="193357"/>
                  </a:lnTo>
                  <a:lnTo>
                    <a:pt x="1366837" y="195263"/>
                  </a:lnTo>
                  <a:lnTo>
                    <a:pt x="1369695" y="198120"/>
                  </a:lnTo>
                  <a:lnTo>
                    <a:pt x="1375410" y="200978"/>
                  </a:lnTo>
                  <a:lnTo>
                    <a:pt x="1379220" y="200978"/>
                  </a:lnTo>
                  <a:lnTo>
                    <a:pt x="1382078" y="200025"/>
                  </a:lnTo>
                  <a:lnTo>
                    <a:pt x="1383030" y="198120"/>
                  </a:lnTo>
                  <a:lnTo>
                    <a:pt x="1386840" y="189547"/>
                  </a:lnTo>
                  <a:lnTo>
                    <a:pt x="1387792" y="186690"/>
                  </a:lnTo>
                  <a:lnTo>
                    <a:pt x="1389698" y="184785"/>
                  </a:lnTo>
                  <a:lnTo>
                    <a:pt x="1405890" y="181928"/>
                  </a:lnTo>
                  <a:lnTo>
                    <a:pt x="1409700" y="179070"/>
                  </a:lnTo>
                  <a:lnTo>
                    <a:pt x="1411605" y="177165"/>
                  </a:lnTo>
                  <a:lnTo>
                    <a:pt x="1411605" y="173355"/>
                  </a:lnTo>
                  <a:lnTo>
                    <a:pt x="1409700" y="165735"/>
                  </a:lnTo>
                  <a:lnTo>
                    <a:pt x="1408748" y="160020"/>
                  </a:lnTo>
                  <a:lnTo>
                    <a:pt x="1409700" y="154305"/>
                  </a:lnTo>
                  <a:lnTo>
                    <a:pt x="1410653" y="151447"/>
                  </a:lnTo>
                  <a:lnTo>
                    <a:pt x="1412558" y="148590"/>
                  </a:lnTo>
                  <a:lnTo>
                    <a:pt x="1416367" y="146685"/>
                  </a:lnTo>
                  <a:lnTo>
                    <a:pt x="1423035" y="144780"/>
                  </a:lnTo>
                  <a:lnTo>
                    <a:pt x="1428750" y="144780"/>
                  </a:lnTo>
                  <a:lnTo>
                    <a:pt x="1442085" y="147638"/>
                  </a:lnTo>
                  <a:lnTo>
                    <a:pt x="1444942" y="146685"/>
                  </a:lnTo>
                  <a:lnTo>
                    <a:pt x="1456373" y="139065"/>
                  </a:lnTo>
                  <a:lnTo>
                    <a:pt x="1459230" y="139065"/>
                  </a:lnTo>
                  <a:lnTo>
                    <a:pt x="1461135" y="140018"/>
                  </a:lnTo>
                  <a:lnTo>
                    <a:pt x="1463040" y="145732"/>
                  </a:lnTo>
                  <a:lnTo>
                    <a:pt x="1463992" y="150495"/>
                  </a:lnTo>
                  <a:lnTo>
                    <a:pt x="1465898" y="156210"/>
                  </a:lnTo>
                  <a:lnTo>
                    <a:pt x="1467803" y="160020"/>
                  </a:lnTo>
                  <a:lnTo>
                    <a:pt x="1477328" y="171450"/>
                  </a:lnTo>
                  <a:lnTo>
                    <a:pt x="1479233" y="175260"/>
                  </a:lnTo>
                  <a:lnTo>
                    <a:pt x="1480185" y="180022"/>
                  </a:lnTo>
                  <a:lnTo>
                    <a:pt x="1480185" y="189547"/>
                  </a:lnTo>
                  <a:lnTo>
                    <a:pt x="1480185" y="192405"/>
                  </a:lnTo>
                  <a:lnTo>
                    <a:pt x="1482090" y="194310"/>
                  </a:lnTo>
                  <a:lnTo>
                    <a:pt x="1490662" y="20097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" name="Полилиния: фигура 5">
              <a:extLst>
                <a:ext uri="{FF2B5EF4-FFF2-40B4-BE49-F238E27FC236}">
                  <a16:creationId xmlns:a16="http://schemas.microsoft.com/office/drawing/2014/main" id="{E7F508B9-C588-2529-AAC9-F960A0753A32}"/>
                </a:ext>
              </a:extLst>
            </p:cNvPr>
            <p:cNvSpPr/>
            <p:nvPr/>
          </p:nvSpPr>
          <p:spPr>
            <a:xfrm>
              <a:off x="5759768" y="247650"/>
              <a:ext cx="1562100" cy="1704975"/>
            </a:xfrm>
            <a:custGeom>
              <a:avLst/>
              <a:gdLst>
                <a:gd name="connsiteX0" fmla="*/ 1524952 w 1562100"/>
                <a:gd name="connsiteY0" fmla="*/ 20955 h 1704975"/>
                <a:gd name="connsiteX1" fmla="*/ 1523047 w 1562100"/>
                <a:gd name="connsiteY1" fmla="*/ 25718 h 1704975"/>
                <a:gd name="connsiteX2" fmla="*/ 1519238 w 1562100"/>
                <a:gd name="connsiteY2" fmla="*/ 40005 h 1704975"/>
                <a:gd name="connsiteX3" fmla="*/ 1517332 w 1562100"/>
                <a:gd name="connsiteY3" fmla="*/ 53340 h 1704975"/>
                <a:gd name="connsiteX4" fmla="*/ 1516380 w 1562100"/>
                <a:gd name="connsiteY4" fmla="*/ 59055 h 1704975"/>
                <a:gd name="connsiteX5" fmla="*/ 1509713 w 1562100"/>
                <a:gd name="connsiteY5" fmla="*/ 69533 h 1704975"/>
                <a:gd name="connsiteX6" fmla="*/ 1506855 w 1562100"/>
                <a:gd name="connsiteY6" fmla="*/ 75248 h 1704975"/>
                <a:gd name="connsiteX7" fmla="*/ 1505902 w 1562100"/>
                <a:gd name="connsiteY7" fmla="*/ 81915 h 1704975"/>
                <a:gd name="connsiteX8" fmla="*/ 1504950 w 1562100"/>
                <a:gd name="connsiteY8" fmla="*/ 98108 h 1704975"/>
                <a:gd name="connsiteX9" fmla="*/ 1503045 w 1562100"/>
                <a:gd name="connsiteY9" fmla="*/ 103823 h 1704975"/>
                <a:gd name="connsiteX10" fmla="*/ 1498282 w 1562100"/>
                <a:gd name="connsiteY10" fmla="*/ 112395 h 1704975"/>
                <a:gd name="connsiteX11" fmla="*/ 1483995 w 1562100"/>
                <a:gd name="connsiteY11" fmla="*/ 126683 h 1704975"/>
                <a:gd name="connsiteX12" fmla="*/ 1481138 w 1562100"/>
                <a:gd name="connsiteY12" fmla="*/ 137160 h 1704975"/>
                <a:gd name="connsiteX13" fmla="*/ 1483995 w 1562100"/>
                <a:gd name="connsiteY13" fmla="*/ 178118 h 1704975"/>
                <a:gd name="connsiteX14" fmla="*/ 1485900 w 1562100"/>
                <a:gd name="connsiteY14" fmla="*/ 185738 h 1704975"/>
                <a:gd name="connsiteX15" fmla="*/ 1487805 w 1562100"/>
                <a:gd name="connsiteY15" fmla="*/ 187643 h 1704975"/>
                <a:gd name="connsiteX16" fmla="*/ 1510665 w 1562100"/>
                <a:gd name="connsiteY16" fmla="*/ 195263 h 1704975"/>
                <a:gd name="connsiteX17" fmla="*/ 1513522 w 1562100"/>
                <a:gd name="connsiteY17" fmla="*/ 197168 h 1704975"/>
                <a:gd name="connsiteX18" fmla="*/ 1525905 w 1562100"/>
                <a:gd name="connsiteY18" fmla="*/ 209550 h 1704975"/>
                <a:gd name="connsiteX19" fmla="*/ 1535430 w 1562100"/>
                <a:gd name="connsiteY19" fmla="*/ 222885 h 1704975"/>
                <a:gd name="connsiteX20" fmla="*/ 1541145 w 1562100"/>
                <a:gd name="connsiteY20" fmla="*/ 229553 h 1704975"/>
                <a:gd name="connsiteX21" fmla="*/ 1543050 w 1562100"/>
                <a:gd name="connsiteY21" fmla="*/ 231458 h 1704975"/>
                <a:gd name="connsiteX22" fmla="*/ 1545907 w 1562100"/>
                <a:gd name="connsiteY22" fmla="*/ 239078 h 1704975"/>
                <a:gd name="connsiteX23" fmla="*/ 1547813 w 1562100"/>
                <a:gd name="connsiteY23" fmla="*/ 240983 h 1704975"/>
                <a:gd name="connsiteX24" fmla="*/ 1550670 w 1562100"/>
                <a:gd name="connsiteY24" fmla="*/ 241935 h 1704975"/>
                <a:gd name="connsiteX25" fmla="*/ 1566863 w 1562100"/>
                <a:gd name="connsiteY25" fmla="*/ 243840 h 1704975"/>
                <a:gd name="connsiteX26" fmla="*/ 1569720 w 1562100"/>
                <a:gd name="connsiteY26" fmla="*/ 244793 h 1704975"/>
                <a:gd name="connsiteX27" fmla="*/ 1570672 w 1562100"/>
                <a:gd name="connsiteY27" fmla="*/ 246698 h 1704975"/>
                <a:gd name="connsiteX28" fmla="*/ 1570672 w 1562100"/>
                <a:gd name="connsiteY28" fmla="*/ 250508 h 1704975"/>
                <a:gd name="connsiteX29" fmla="*/ 1569720 w 1562100"/>
                <a:gd name="connsiteY29" fmla="*/ 255270 h 1704975"/>
                <a:gd name="connsiteX30" fmla="*/ 1568768 w 1562100"/>
                <a:gd name="connsiteY30" fmla="*/ 260033 h 1704975"/>
                <a:gd name="connsiteX31" fmla="*/ 1564957 w 1562100"/>
                <a:gd name="connsiteY31" fmla="*/ 269558 h 1704975"/>
                <a:gd name="connsiteX32" fmla="*/ 1562100 w 1562100"/>
                <a:gd name="connsiteY32" fmla="*/ 273368 h 1704975"/>
                <a:gd name="connsiteX33" fmla="*/ 1559243 w 1562100"/>
                <a:gd name="connsiteY33" fmla="*/ 275273 h 1704975"/>
                <a:gd name="connsiteX34" fmla="*/ 1547813 w 1562100"/>
                <a:gd name="connsiteY34" fmla="*/ 278130 h 1704975"/>
                <a:gd name="connsiteX35" fmla="*/ 1535430 w 1562100"/>
                <a:gd name="connsiteY35" fmla="*/ 280035 h 1704975"/>
                <a:gd name="connsiteX36" fmla="*/ 1528763 w 1562100"/>
                <a:gd name="connsiteY36" fmla="*/ 279083 h 1704975"/>
                <a:gd name="connsiteX37" fmla="*/ 1525905 w 1562100"/>
                <a:gd name="connsiteY37" fmla="*/ 278130 h 1704975"/>
                <a:gd name="connsiteX38" fmla="*/ 1524000 w 1562100"/>
                <a:gd name="connsiteY38" fmla="*/ 277178 h 1704975"/>
                <a:gd name="connsiteX39" fmla="*/ 1521143 w 1562100"/>
                <a:gd name="connsiteY39" fmla="*/ 271463 h 1704975"/>
                <a:gd name="connsiteX40" fmla="*/ 1518285 w 1562100"/>
                <a:gd name="connsiteY40" fmla="*/ 267653 h 1704975"/>
                <a:gd name="connsiteX41" fmla="*/ 1516380 w 1562100"/>
                <a:gd name="connsiteY41" fmla="*/ 267653 h 1704975"/>
                <a:gd name="connsiteX42" fmla="*/ 1513522 w 1562100"/>
                <a:gd name="connsiteY42" fmla="*/ 268605 h 1704975"/>
                <a:gd name="connsiteX43" fmla="*/ 1511618 w 1562100"/>
                <a:gd name="connsiteY43" fmla="*/ 271463 h 1704975"/>
                <a:gd name="connsiteX44" fmla="*/ 1510665 w 1562100"/>
                <a:gd name="connsiteY44" fmla="*/ 277178 h 1704975"/>
                <a:gd name="connsiteX45" fmla="*/ 1510665 w 1562100"/>
                <a:gd name="connsiteY45" fmla="*/ 304800 h 1704975"/>
                <a:gd name="connsiteX46" fmla="*/ 1510665 w 1562100"/>
                <a:gd name="connsiteY46" fmla="*/ 308610 h 1704975"/>
                <a:gd name="connsiteX47" fmla="*/ 1509713 w 1562100"/>
                <a:gd name="connsiteY47" fmla="*/ 313373 h 1704975"/>
                <a:gd name="connsiteX48" fmla="*/ 1506855 w 1562100"/>
                <a:gd name="connsiteY48" fmla="*/ 318135 h 1704975"/>
                <a:gd name="connsiteX49" fmla="*/ 1500188 w 1562100"/>
                <a:gd name="connsiteY49" fmla="*/ 325755 h 1704975"/>
                <a:gd name="connsiteX50" fmla="*/ 1500188 w 1562100"/>
                <a:gd name="connsiteY50" fmla="*/ 327660 h 1704975"/>
                <a:gd name="connsiteX51" fmla="*/ 1503045 w 1562100"/>
                <a:gd name="connsiteY51" fmla="*/ 329565 h 1704975"/>
                <a:gd name="connsiteX52" fmla="*/ 1511618 w 1562100"/>
                <a:gd name="connsiteY52" fmla="*/ 343853 h 1704975"/>
                <a:gd name="connsiteX53" fmla="*/ 1512570 w 1562100"/>
                <a:gd name="connsiteY53" fmla="*/ 353378 h 1704975"/>
                <a:gd name="connsiteX54" fmla="*/ 1506855 w 1562100"/>
                <a:gd name="connsiteY54" fmla="*/ 362903 h 1704975"/>
                <a:gd name="connsiteX55" fmla="*/ 1477327 w 1562100"/>
                <a:gd name="connsiteY55" fmla="*/ 373380 h 1704975"/>
                <a:gd name="connsiteX56" fmla="*/ 1464945 w 1562100"/>
                <a:gd name="connsiteY56" fmla="*/ 375285 h 1704975"/>
                <a:gd name="connsiteX57" fmla="*/ 1457325 w 1562100"/>
                <a:gd name="connsiteY57" fmla="*/ 378143 h 1704975"/>
                <a:gd name="connsiteX58" fmla="*/ 1438275 w 1562100"/>
                <a:gd name="connsiteY58" fmla="*/ 394335 h 1704975"/>
                <a:gd name="connsiteX59" fmla="*/ 1432560 w 1562100"/>
                <a:gd name="connsiteY59" fmla="*/ 398145 h 1704975"/>
                <a:gd name="connsiteX60" fmla="*/ 1408747 w 1562100"/>
                <a:gd name="connsiteY60" fmla="*/ 396240 h 1704975"/>
                <a:gd name="connsiteX61" fmla="*/ 1398270 w 1562100"/>
                <a:gd name="connsiteY61" fmla="*/ 399098 h 1704975"/>
                <a:gd name="connsiteX62" fmla="*/ 1402080 w 1562100"/>
                <a:gd name="connsiteY62" fmla="*/ 409575 h 1704975"/>
                <a:gd name="connsiteX63" fmla="*/ 1402080 w 1562100"/>
                <a:gd name="connsiteY63" fmla="*/ 416243 h 1704975"/>
                <a:gd name="connsiteX64" fmla="*/ 1388745 w 1562100"/>
                <a:gd name="connsiteY64" fmla="*/ 420053 h 1704975"/>
                <a:gd name="connsiteX65" fmla="*/ 1383030 w 1562100"/>
                <a:gd name="connsiteY65" fmla="*/ 431483 h 1704975"/>
                <a:gd name="connsiteX66" fmla="*/ 1378268 w 1562100"/>
                <a:gd name="connsiteY66" fmla="*/ 444818 h 1704975"/>
                <a:gd name="connsiteX67" fmla="*/ 1367790 w 1562100"/>
                <a:gd name="connsiteY67" fmla="*/ 451485 h 1704975"/>
                <a:gd name="connsiteX68" fmla="*/ 1361122 w 1562100"/>
                <a:gd name="connsiteY68" fmla="*/ 458153 h 1704975"/>
                <a:gd name="connsiteX69" fmla="*/ 1351597 w 1562100"/>
                <a:gd name="connsiteY69" fmla="*/ 474345 h 1704975"/>
                <a:gd name="connsiteX70" fmla="*/ 1346835 w 1562100"/>
                <a:gd name="connsiteY70" fmla="*/ 494348 h 1704975"/>
                <a:gd name="connsiteX71" fmla="*/ 1349693 w 1562100"/>
                <a:gd name="connsiteY71" fmla="*/ 512445 h 1704975"/>
                <a:gd name="connsiteX72" fmla="*/ 1352550 w 1562100"/>
                <a:gd name="connsiteY72" fmla="*/ 519113 h 1704975"/>
                <a:gd name="connsiteX73" fmla="*/ 1358265 w 1562100"/>
                <a:gd name="connsiteY73" fmla="*/ 538163 h 1704975"/>
                <a:gd name="connsiteX74" fmla="*/ 1362075 w 1562100"/>
                <a:gd name="connsiteY74" fmla="*/ 544830 h 1704975"/>
                <a:gd name="connsiteX75" fmla="*/ 1365885 w 1562100"/>
                <a:gd name="connsiteY75" fmla="*/ 550545 h 1704975"/>
                <a:gd name="connsiteX76" fmla="*/ 1394460 w 1562100"/>
                <a:gd name="connsiteY76" fmla="*/ 579120 h 1704975"/>
                <a:gd name="connsiteX77" fmla="*/ 1394460 w 1562100"/>
                <a:gd name="connsiteY77" fmla="*/ 588645 h 1704975"/>
                <a:gd name="connsiteX78" fmla="*/ 1385888 w 1562100"/>
                <a:gd name="connsiteY78" fmla="*/ 600075 h 1704975"/>
                <a:gd name="connsiteX79" fmla="*/ 1384935 w 1562100"/>
                <a:gd name="connsiteY79" fmla="*/ 609600 h 1704975"/>
                <a:gd name="connsiteX80" fmla="*/ 1386840 w 1562100"/>
                <a:gd name="connsiteY80" fmla="*/ 617220 h 1704975"/>
                <a:gd name="connsiteX81" fmla="*/ 1388745 w 1562100"/>
                <a:gd name="connsiteY81" fmla="*/ 620078 h 1704975"/>
                <a:gd name="connsiteX82" fmla="*/ 1391602 w 1562100"/>
                <a:gd name="connsiteY82" fmla="*/ 621983 h 1704975"/>
                <a:gd name="connsiteX83" fmla="*/ 1394460 w 1562100"/>
                <a:gd name="connsiteY83" fmla="*/ 622935 h 1704975"/>
                <a:gd name="connsiteX84" fmla="*/ 1396365 w 1562100"/>
                <a:gd name="connsiteY84" fmla="*/ 625793 h 1704975"/>
                <a:gd name="connsiteX85" fmla="*/ 1397318 w 1562100"/>
                <a:gd name="connsiteY85" fmla="*/ 629603 h 1704975"/>
                <a:gd name="connsiteX86" fmla="*/ 1399222 w 1562100"/>
                <a:gd name="connsiteY86" fmla="*/ 663893 h 1704975"/>
                <a:gd name="connsiteX87" fmla="*/ 1401127 w 1562100"/>
                <a:gd name="connsiteY87" fmla="*/ 667703 h 1704975"/>
                <a:gd name="connsiteX88" fmla="*/ 1403985 w 1562100"/>
                <a:gd name="connsiteY88" fmla="*/ 669608 h 1704975"/>
                <a:gd name="connsiteX89" fmla="*/ 1407795 w 1562100"/>
                <a:gd name="connsiteY89" fmla="*/ 673418 h 1704975"/>
                <a:gd name="connsiteX90" fmla="*/ 1409700 w 1562100"/>
                <a:gd name="connsiteY90" fmla="*/ 676275 h 1704975"/>
                <a:gd name="connsiteX91" fmla="*/ 1409700 w 1562100"/>
                <a:gd name="connsiteY91" fmla="*/ 678180 h 1704975"/>
                <a:gd name="connsiteX92" fmla="*/ 1408747 w 1562100"/>
                <a:gd name="connsiteY92" fmla="*/ 681038 h 1704975"/>
                <a:gd name="connsiteX93" fmla="*/ 1405890 w 1562100"/>
                <a:gd name="connsiteY93" fmla="*/ 682943 h 1704975"/>
                <a:gd name="connsiteX94" fmla="*/ 1397318 w 1562100"/>
                <a:gd name="connsiteY94" fmla="*/ 685800 h 1704975"/>
                <a:gd name="connsiteX95" fmla="*/ 1394460 w 1562100"/>
                <a:gd name="connsiteY95" fmla="*/ 688658 h 1704975"/>
                <a:gd name="connsiteX96" fmla="*/ 1393507 w 1562100"/>
                <a:gd name="connsiteY96" fmla="*/ 693420 h 1704975"/>
                <a:gd name="connsiteX97" fmla="*/ 1394460 w 1562100"/>
                <a:gd name="connsiteY97" fmla="*/ 703898 h 1704975"/>
                <a:gd name="connsiteX98" fmla="*/ 1395413 w 1562100"/>
                <a:gd name="connsiteY98" fmla="*/ 709613 h 1704975"/>
                <a:gd name="connsiteX99" fmla="*/ 1398270 w 1562100"/>
                <a:gd name="connsiteY99" fmla="*/ 713423 h 1704975"/>
                <a:gd name="connsiteX100" fmla="*/ 1408747 w 1562100"/>
                <a:gd name="connsiteY100" fmla="*/ 722948 h 1704975"/>
                <a:gd name="connsiteX101" fmla="*/ 1410652 w 1562100"/>
                <a:gd name="connsiteY101" fmla="*/ 724853 h 1704975"/>
                <a:gd name="connsiteX102" fmla="*/ 1412557 w 1562100"/>
                <a:gd name="connsiteY102" fmla="*/ 729615 h 1704975"/>
                <a:gd name="connsiteX103" fmla="*/ 1410652 w 1562100"/>
                <a:gd name="connsiteY103" fmla="*/ 733425 h 1704975"/>
                <a:gd name="connsiteX104" fmla="*/ 1403032 w 1562100"/>
                <a:gd name="connsiteY104" fmla="*/ 743903 h 1704975"/>
                <a:gd name="connsiteX105" fmla="*/ 1401127 w 1562100"/>
                <a:gd name="connsiteY105" fmla="*/ 744855 h 1704975"/>
                <a:gd name="connsiteX106" fmla="*/ 1396365 w 1562100"/>
                <a:gd name="connsiteY106" fmla="*/ 742950 h 1704975"/>
                <a:gd name="connsiteX107" fmla="*/ 1380172 w 1562100"/>
                <a:gd name="connsiteY107" fmla="*/ 734378 h 1704975"/>
                <a:gd name="connsiteX108" fmla="*/ 1378268 w 1562100"/>
                <a:gd name="connsiteY108" fmla="*/ 734378 h 1704975"/>
                <a:gd name="connsiteX109" fmla="*/ 1378268 w 1562100"/>
                <a:gd name="connsiteY109" fmla="*/ 736283 h 1704975"/>
                <a:gd name="connsiteX110" fmla="*/ 1383030 w 1562100"/>
                <a:gd name="connsiteY110" fmla="*/ 753428 h 1704975"/>
                <a:gd name="connsiteX111" fmla="*/ 1383030 w 1562100"/>
                <a:gd name="connsiteY111" fmla="*/ 757238 h 1704975"/>
                <a:gd name="connsiteX112" fmla="*/ 1383030 w 1562100"/>
                <a:gd name="connsiteY112" fmla="*/ 761048 h 1704975"/>
                <a:gd name="connsiteX113" fmla="*/ 1380172 w 1562100"/>
                <a:gd name="connsiteY113" fmla="*/ 765810 h 1704975"/>
                <a:gd name="connsiteX114" fmla="*/ 1377315 w 1562100"/>
                <a:gd name="connsiteY114" fmla="*/ 767715 h 1704975"/>
                <a:gd name="connsiteX115" fmla="*/ 1372552 w 1562100"/>
                <a:gd name="connsiteY115" fmla="*/ 770573 h 1704975"/>
                <a:gd name="connsiteX116" fmla="*/ 1371600 w 1562100"/>
                <a:gd name="connsiteY116" fmla="*/ 774383 h 1704975"/>
                <a:gd name="connsiteX117" fmla="*/ 1370647 w 1562100"/>
                <a:gd name="connsiteY117" fmla="*/ 781050 h 1704975"/>
                <a:gd name="connsiteX118" fmla="*/ 1373505 w 1562100"/>
                <a:gd name="connsiteY118" fmla="*/ 794385 h 1704975"/>
                <a:gd name="connsiteX119" fmla="*/ 1375410 w 1562100"/>
                <a:gd name="connsiteY119" fmla="*/ 800100 h 1704975"/>
                <a:gd name="connsiteX120" fmla="*/ 1378268 w 1562100"/>
                <a:gd name="connsiteY120" fmla="*/ 803910 h 1704975"/>
                <a:gd name="connsiteX121" fmla="*/ 1382077 w 1562100"/>
                <a:gd name="connsiteY121" fmla="*/ 807720 h 1704975"/>
                <a:gd name="connsiteX122" fmla="*/ 1382077 w 1562100"/>
                <a:gd name="connsiteY122" fmla="*/ 811530 h 1704975"/>
                <a:gd name="connsiteX123" fmla="*/ 1378268 w 1562100"/>
                <a:gd name="connsiteY123" fmla="*/ 817245 h 1704975"/>
                <a:gd name="connsiteX124" fmla="*/ 1377315 w 1562100"/>
                <a:gd name="connsiteY124" fmla="*/ 821055 h 1704975"/>
                <a:gd name="connsiteX125" fmla="*/ 1377315 w 1562100"/>
                <a:gd name="connsiteY125" fmla="*/ 825818 h 1704975"/>
                <a:gd name="connsiteX126" fmla="*/ 1378268 w 1562100"/>
                <a:gd name="connsiteY126" fmla="*/ 832485 h 1704975"/>
                <a:gd name="connsiteX127" fmla="*/ 1378268 w 1562100"/>
                <a:gd name="connsiteY127" fmla="*/ 842010 h 1704975"/>
                <a:gd name="connsiteX128" fmla="*/ 1376363 w 1562100"/>
                <a:gd name="connsiteY128" fmla="*/ 846773 h 1704975"/>
                <a:gd name="connsiteX129" fmla="*/ 1374457 w 1562100"/>
                <a:gd name="connsiteY129" fmla="*/ 849630 h 1704975"/>
                <a:gd name="connsiteX130" fmla="*/ 1372552 w 1562100"/>
                <a:gd name="connsiteY130" fmla="*/ 851535 h 1704975"/>
                <a:gd name="connsiteX131" fmla="*/ 1366838 w 1562100"/>
                <a:gd name="connsiteY131" fmla="*/ 854393 h 1704975"/>
                <a:gd name="connsiteX132" fmla="*/ 1356360 w 1562100"/>
                <a:gd name="connsiteY132" fmla="*/ 856298 h 1704975"/>
                <a:gd name="connsiteX133" fmla="*/ 1349693 w 1562100"/>
                <a:gd name="connsiteY133" fmla="*/ 856298 h 1704975"/>
                <a:gd name="connsiteX134" fmla="*/ 1343025 w 1562100"/>
                <a:gd name="connsiteY134" fmla="*/ 854393 h 1704975"/>
                <a:gd name="connsiteX135" fmla="*/ 1341120 w 1562100"/>
                <a:gd name="connsiteY135" fmla="*/ 852488 h 1704975"/>
                <a:gd name="connsiteX136" fmla="*/ 1338263 w 1562100"/>
                <a:gd name="connsiteY136" fmla="*/ 847725 h 1704975"/>
                <a:gd name="connsiteX137" fmla="*/ 1334452 w 1562100"/>
                <a:gd name="connsiteY137" fmla="*/ 837248 h 1704975"/>
                <a:gd name="connsiteX138" fmla="*/ 1332547 w 1562100"/>
                <a:gd name="connsiteY138" fmla="*/ 834390 h 1704975"/>
                <a:gd name="connsiteX139" fmla="*/ 1330643 w 1562100"/>
                <a:gd name="connsiteY139" fmla="*/ 832485 h 1704975"/>
                <a:gd name="connsiteX140" fmla="*/ 1324927 w 1562100"/>
                <a:gd name="connsiteY140" fmla="*/ 830580 h 1704975"/>
                <a:gd name="connsiteX141" fmla="*/ 1322070 w 1562100"/>
                <a:gd name="connsiteY141" fmla="*/ 831533 h 1704975"/>
                <a:gd name="connsiteX142" fmla="*/ 1318260 w 1562100"/>
                <a:gd name="connsiteY142" fmla="*/ 836295 h 1704975"/>
                <a:gd name="connsiteX143" fmla="*/ 1314450 w 1562100"/>
                <a:gd name="connsiteY143" fmla="*/ 843915 h 1704975"/>
                <a:gd name="connsiteX144" fmla="*/ 1314450 w 1562100"/>
                <a:gd name="connsiteY144" fmla="*/ 846773 h 1704975"/>
                <a:gd name="connsiteX145" fmla="*/ 1314450 w 1562100"/>
                <a:gd name="connsiteY145" fmla="*/ 851535 h 1704975"/>
                <a:gd name="connsiteX146" fmla="*/ 1317307 w 1562100"/>
                <a:gd name="connsiteY146" fmla="*/ 856298 h 1704975"/>
                <a:gd name="connsiteX147" fmla="*/ 1322070 w 1562100"/>
                <a:gd name="connsiteY147" fmla="*/ 865823 h 1704975"/>
                <a:gd name="connsiteX148" fmla="*/ 1323975 w 1562100"/>
                <a:gd name="connsiteY148" fmla="*/ 871538 h 1704975"/>
                <a:gd name="connsiteX149" fmla="*/ 1325880 w 1562100"/>
                <a:gd name="connsiteY149" fmla="*/ 875348 h 1704975"/>
                <a:gd name="connsiteX150" fmla="*/ 1327785 w 1562100"/>
                <a:gd name="connsiteY150" fmla="*/ 877253 h 1704975"/>
                <a:gd name="connsiteX151" fmla="*/ 1330643 w 1562100"/>
                <a:gd name="connsiteY151" fmla="*/ 877253 h 1704975"/>
                <a:gd name="connsiteX152" fmla="*/ 1337310 w 1562100"/>
                <a:gd name="connsiteY152" fmla="*/ 877253 h 1704975"/>
                <a:gd name="connsiteX153" fmla="*/ 1339215 w 1562100"/>
                <a:gd name="connsiteY153" fmla="*/ 878205 h 1704975"/>
                <a:gd name="connsiteX154" fmla="*/ 1341120 w 1562100"/>
                <a:gd name="connsiteY154" fmla="*/ 880110 h 1704975"/>
                <a:gd name="connsiteX155" fmla="*/ 1343025 w 1562100"/>
                <a:gd name="connsiteY155" fmla="*/ 882015 h 1704975"/>
                <a:gd name="connsiteX156" fmla="*/ 1343025 w 1562100"/>
                <a:gd name="connsiteY156" fmla="*/ 885825 h 1704975"/>
                <a:gd name="connsiteX157" fmla="*/ 1343025 w 1562100"/>
                <a:gd name="connsiteY157" fmla="*/ 889635 h 1704975"/>
                <a:gd name="connsiteX158" fmla="*/ 1341120 w 1562100"/>
                <a:gd name="connsiteY158" fmla="*/ 897255 h 1704975"/>
                <a:gd name="connsiteX159" fmla="*/ 1340168 w 1562100"/>
                <a:gd name="connsiteY159" fmla="*/ 902018 h 1704975"/>
                <a:gd name="connsiteX160" fmla="*/ 1340168 w 1562100"/>
                <a:gd name="connsiteY160" fmla="*/ 906780 h 1704975"/>
                <a:gd name="connsiteX161" fmla="*/ 1342072 w 1562100"/>
                <a:gd name="connsiteY161" fmla="*/ 911543 h 1704975"/>
                <a:gd name="connsiteX162" fmla="*/ 1343977 w 1562100"/>
                <a:gd name="connsiteY162" fmla="*/ 914400 h 1704975"/>
                <a:gd name="connsiteX163" fmla="*/ 1350645 w 1562100"/>
                <a:gd name="connsiteY163" fmla="*/ 920115 h 1704975"/>
                <a:gd name="connsiteX164" fmla="*/ 1352550 w 1562100"/>
                <a:gd name="connsiteY164" fmla="*/ 922973 h 1704975"/>
                <a:gd name="connsiteX165" fmla="*/ 1352550 w 1562100"/>
                <a:gd name="connsiteY165" fmla="*/ 924878 h 1704975"/>
                <a:gd name="connsiteX166" fmla="*/ 1349693 w 1562100"/>
                <a:gd name="connsiteY166" fmla="*/ 931545 h 1704975"/>
                <a:gd name="connsiteX167" fmla="*/ 1347788 w 1562100"/>
                <a:gd name="connsiteY167" fmla="*/ 934403 h 1704975"/>
                <a:gd name="connsiteX168" fmla="*/ 1347788 w 1562100"/>
                <a:gd name="connsiteY168" fmla="*/ 939165 h 1704975"/>
                <a:gd name="connsiteX169" fmla="*/ 1350645 w 1562100"/>
                <a:gd name="connsiteY169" fmla="*/ 949643 h 1704975"/>
                <a:gd name="connsiteX170" fmla="*/ 1351597 w 1562100"/>
                <a:gd name="connsiteY170" fmla="*/ 952500 h 1704975"/>
                <a:gd name="connsiteX171" fmla="*/ 1350645 w 1562100"/>
                <a:gd name="connsiteY171" fmla="*/ 955358 h 1704975"/>
                <a:gd name="connsiteX172" fmla="*/ 1348740 w 1562100"/>
                <a:gd name="connsiteY172" fmla="*/ 959168 h 1704975"/>
                <a:gd name="connsiteX173" fmla="*/ 1345882 w 1562100"/>
                <a:gd name="connsiteY173" fmla="*/ 961073 h 1704975"/>
                <a:gd name="connsiteX174" fmla="*/ 1331595 w 1562100"/>
                <a:gd name="connsiteY174" fmla="*/ 968693 h 1704975"/>
                <a:gd name="connsiteX175" fmla="*/ 1329690 w 1562100"/>
                <a:gd name="connsiteY175" fmla="*/ 972503 h 1704975"/>
                <a:gd name="connsiteX176" fmla="*/ 1329690 w 1562100"/>
                <a:gd name="connsiteY176" fmla="*/ 977265 h 1704975"/>
                <a:gd name="connsiteX177" fmla="*/ 1330643 w 1562100"/>
                <a:gd name="connsiteY177" fmla="*/ 986790 h 1704975"/>
                <a:gd name="connsiteX178" fmla="*/ 1329690 w 1562100"/>
                <a:gd name="connsiteY178" fmla="*/ 992505 h 1704975"/>
                <a:gd name="connsiteX179" fmla="*/ 1328738 w 1562100"/>
                <a:gd name="connsiteY179" fmla="*/ 998220 h 1704975"/>
                <a:gd name="connsiteX180" fmla="*/ 1323975 w 1562100"/>
                <a:gd name="connsiteY180" fmla="*/ 1002983 h 1704975"/>
                <a:gd name="connsiteX181" fmla="*/ 1296352 w 1562100"/>
                <a:gd name="connsiteY181" fmla="*/ 1012508 h 1704975"/>
                <a:gd name="connsiteX182" fmla="*/ 1294447 w 1562100"/>
                <a:gd name="connsiteY182" fmla="*/ 1015365 h 1704975"/>
                <a:gd name="connsiteX183" fmla="*/ 1293495 w 1562100"/>
                <a:gd name="connsiteY183" fmla="*/ 1020128 h 1704975"/>
                <a:gd name="connsiteX184" fmla="*/ 1293495 w 1562100"/>
                <a:gd name="connsiteY184" fmla="*/ 1031558 h 1704975"/>
                <a:gd name="connsiteX185" fmla="*/ 1296352 w 1562100"/>
                <a:gd name="connsiteY185" fmla="*/ 1039178 h 1704975"/>
                <a:gd name="connsiteX186" fmla="*/ 1297305 w 1562100"/>
                <a:gd name="connsiteY186" fmla="*/ 1043940 h 1704975"/>
                <a:gd name="connsiteX187" fmla="*/ 1298257 w 1562100"/>
                <a:gd name="connsiteY187" fmla="*/ 1047750 h 1704975"/>
                <a:gd name="connsiteX188" fmla="*/ 1296352 w 1562100"/>
                <a:gd name="connsiteY188" fmla="*/ 1053465 h 1704975"/>
                <a:gd name="connsiteX189" fmla="*/ 1295400 w 1562100"/>
                <a:gd name="connsiteY189" fmla="*/ 1056323 h 1704975"/>
                <a:gd name="connsiteX190" fmla="*/ 1283018 w 1562100"/>
                <a:gd name="connsiteY190" fmla="*/ 1078230 h 1704975"/>
                <a:gd name="connsiteX191" fmla="*/ 1282065 w 1562100"/>
                <a:gd name="connsiteY191" fmla="*/ 1082993 h 1704975"/>
                <a:gd name="connsiteX192" fmla="*/ 1284922 w 1562100"/>
                <a:gd name="connsiteY192" fmla="*/ 1085850 h 1704975"/>
                <a:gd name="connsiteX193" fmla="*/ 1304925 w 1562100"/>
                <a:gd name="connsiteY193" fmla="*/ 1091565 h 1704975"/>
                <a:gd name="connsiteX194" fmla="*/ 1324927 w 1562100"/>
                <a:gd name="connsiteY194" fmla="*/ 1101090 h 1704975"/>
                <a:gd name="connsiteX195" fmla="*/ 1331595 w 1562100"/>
                <a:gd name="connsiteY195" fmla="*/ 1102043 h 1704975"/>
                <a:gd name="connsiteX196" fmla="*/ 1342072 w 1562100"/>
                <a:gd name="connsiteY196" fmla="*/ 1099185 h 1704975"/>
                <a:gd name="connsiteX197" fmla="*/ 1344930 w 1562100"/>
                <a:gd name="connsiteY197" fmla="*/ 1099185 h 1704975"/>
                <a:gd name="connsiteX198" fmla="*/ 1346835 w 1562100"/>
                <a:gd name="connsiteY198" fmla="*/ 1101090 h 1704975"/>
                <a:gd name="connsiteX199" fmla="*/ 1347788 w 1562100"/>
                <a:gd name="connsiteY199" fmla="*/ 1102995 h 1704975"/>
                <a:gd name="connsiteX200" fmla="*/ 1348740 w 1562100"/>
                <a:gd name="connsiteY200" fmla="*/ 1105853 h 1704975"/>
                <a:gd name="connsiteX201" fmla="*/ 1347788 w 1562100"/>
                <a:gd name="connsiteY201" fmla="*/ 1109663 h 1704975"/>
                <a:gd name="connsiteX202" fmla="*/ 1344930 w 1562100"/>
                <a:gd name="connsiteY202" fmla="*/ 1113473 h 1704975"/>
                <a:gd name="connsiteX203" fmla="*/ 1337310 w 1562100"/>
                <a:gd name="connsiteY203" fmla="*/ 1118235 h 1704975"/>
                <a:gd name="connsiteX204" fmla="*/ 1336357 w 1562100"/>
                <a:gd name="connsiteY204" fmla="*/ 1121093 h 1704975"/>
                <a:gd name="connsiteX205" fmla="*/ 1337310 w 1562100"/>
                <a:gd name="connsiteY205" fmla="*/ 1123950 h 1704975"/>
                <a:gd name="connsiteX206" fmla="*/ 1342072 w 1562100"/>
                <a:gd name="connsiteY206" fmla="*/ 1128713 h 1704975"/>
                <a:gd name="connsiteX207" fmla="*/ 1346835 w 1562100"/>
                <a:gd name="connsiteY207" fmla="*/ 1132523 h 1704975"/>
                <a:gd name="connsiteX208" fmla="*/ 1358265 w 1562100"/>
                <a:gd name="connsiteY208" fmla="*/ 1138238 h 1704975"/>
                <a:gd name="connsiteX209" fmla="*/ 1385888 w 1562100"/>
                <a:gd name="connsiteY209" fmla="*/ 1143953 h 1704975"/>
                <a:gd name="connsiteX210" fmla="*/ 1388745 w 1562100"/>
                <a:gd name="connsiteY210" fmla="*/ 1143953 h 1704975"/>
                <a:gd name="connsiteX211" fmla="*/ 1390650 w 1562100"/>
                <a:gd name="connsiteY211" fmla="*/ 1142048 h 1704975"/>
                <a:gd name="connsiteX212" fmla="*/ 1392555 w 1562100"/>
                <a:gd name="connsiteY212" fmla="*/ 1140143 h 1704975"/>
                <a:gd name="connsiteX213" fmla="*/ 1403032 w 1562100"/>
                <a:gd name="connsiteY213" fmla="*/ 1116330 h 1704975"/>
                <a:gd name="connsiteX214" fmla="*/ 1404938 w 1562100"/>
                <a:gd name="connsiteY214" fmla="*/ 1114425 h 1704975"/>
                <a:gd name="connsiteX215" fmla="*/ 1407795 w 1562100"/>
                <a:gd name="connsiteY215" fmla="*/ 1114425 h 1704975"/>
                <a:gd name="connsiteX216" fmla="*/ 1414463 w 1562100"/>
                <a:gd name="connsiteY216" fmla="*/ 1116330 h 1704975"/>
                <a:gd name="connsiteX217" fmla="*/ 1420177 w 1562100"/>
                <a:gd name="connsiteY217" fmla="*/ 1119188 h 1704975"/>
                <a:gd name="connsiteX218" fmla="*/ 1422082 w 1562100"/>
                <a:gd name="connsiteY218" fmla="*/ 1121093 h 1704975"/>
                <a:gd name="connsiteX219" fmla="*/ 1423035 w 1562100"/>
                <a:gd name="connsiteY219" fmla="*/ 1124903 h 1704975"/>
                <a:gd name="connsiteX220" fmla="*/ 1418272 w 1562100"/>
                <a:gd name="connsiteY220" fmla="*/ 1134428 h 1704975"/>
                <a:gd name="connsiteX221" fmla="*/ 1410652 w 1562100"/>
                <a:gd name="connsiteY221" fmla="*/ 1149668 h 1704975"/>
                <a:gd name="connsiteX222" fmla="*/ 1404938 w 1562100"/>
                <a:gd name="connsiteY222" fmla="*/ 1155383 h 1704975"/>
                <a:gd name="connsiteX223" fmla="*/ 1396365 w 1562100"/>
                <a:gd name="connsiteY223" fmla="*/ 1164908 h 1704975"/>
                <a:gd name="connsiteX224" fmla="*/ 1395413 w 1562100"/>
                <a:gd name="connsiteY224" fmla="*/ 1166813 h 1704975"/>
                <a:gd name="connsiteX225" fmla="*/ 1395413 w 1562100"/>
                <a:gd name="connsiteY225" fmla="*/ 1173480 h 1704975"/>
                <a:gd name="connsiteX226" fmla="*/ 1397318 w 1562100"/>
                <a:gd name="connsiteY226" fmla="*/ 1177290 h 1704975"/>
                <a:gd name="connsiteX227" fmla="*/ 1399222 w 1562100"/>
                <a:gd name="connsiteY227" fmla="*/ 1180148 h 1704975"/>
                <a:gd name="connsiteX228" fmla="*/ 1409700 w 1562100"/>
                <a:gd name="connsiteY228" fmla="*/ 1189673 h 1704975"/>
                <a:gd name="connsiteX229" fmla="*/ 1411605 w 1562100"/>
                <a:gd name="connsiteY229" fmla="*/ 1192530 h 1704975"/>
                <a:gd name="connsiteX230" fmla="*/ 1412557 w 1562100"/>
                <a:gd name="connsiteY230" fmla="*/ 1197293 h 1704975"/>
                <a:gd name="connsiteX231" fmla="*/ 1410652 w 1562100"/>
                <a:gd name="connsiteY231" fmla="*/ 1205865 h 1704975"/>
                <a:gd name="connsiteX232" fmla="*/ 1410652 w 1562100"/>
                <a:gd name="connsiteY232" fmla="*/ 1224915 h 1704975"/>
                <a:gd name="connsiteX233" fmla="*/ 1410652 w 1562100"/>
                <a:gd name="connsiteY233" fmla="*/ 1234440 h 1704975"/>
                <a:gd name="connsiteX234" fmla="*/ 1409700 w 1562100"/>
                <a:gd name="connsiteY234" fmla="*/ 1239203 h 1704975"/>
                <a:gd name="connsiteX235" fmla="*/ 1408747 w 1562100"/>
                <a:gd name="connsiteY235" fmla="*/ 1244918 h 1704975"/>
                <a:gd name="connsiteX236" fmla="*/ 1403985 w 1562100"/>
                <a:gd name="connsiteY236" fmla="*/ 1252538 h 1704975"/>
                <a:gd name="connsiteX237" fmla="*/ 1400175 w 1562100"/>
                <a:gd name="connsiteY237" fmla="*/ 1254443 h 1704975"/>
                <a:gd name="connsiteX238" fmla="*/ 1397318 w 1562100"/>
                <a:gd name="connsiteY238" fmla="*/ 1256348 h 1704975"/>
                <a:gd name="connsiteX239" fmla="*/ 1395413 w 1562100"/>
                <a:gd name="connsiteY239" fmla="*/ 1257300 h 1704975"/>
                <a:gd name="connsiteX240" fmla="*/ 1393507 w 1562100"/>
                <a:gd name="connsiteY240" fmla="*/ 1260158 h 1704975"/>
                <a:gd name="connsiteX241" fmla="*/ 1391602 w 1562100"/>
                <a:gd name="connsiteY241" fmla="*/ 1264920 h 1704975"/>
                <a:gd name="connsiteX242" fmla="*/ 1379220 w 1562100"/>
                <a:gd name="connsiteY242" fmla="*/ 1312545 h 1704975"/>
                <a:gd name="connsiteX243" fmla="*/ 1378268 w 1562100"/>
                <a:gd name="connsiteY243" fmla="*/ 1321118 h 1704975"/>
                <a:gd name="connsiteX244" fmla="*/ 1378268 w 1562100"/>
                <a:gd name="connsiteY244" fmla="*/ 1336358 h 1704975"/>
                <a:gd name="connsiteX245" fmla="*/ 1378268 w 1562100"/>
                <a:gd name="connsiteY245" fmla="*/ 1344930 h 1704975"/>
                <a:gd name="connsiteX246" fmla="*/ 1380172 w 1562100"/>
                <a:gd name="connsiteY246" fmla="*/ 1351598 h 1704975"/>
                <a:gd name="connsiteX247" fmla="*/ 1381125 w 1562100"/>
                <a:gd name="connsiteY247" fmla="*/ 1355408 h 1704975"/>
                <a:gd name="connsiteX248" fmla="*/ 1386840 w 1562100"/>
                <a:gd name="connsiteY248" fmla="*/ 1361123 h 1704975"/>
                <a:gd name="connsiteX249" fmla="*/ 1393507 w 1562100"/>
                <a:gd name="connsiteY249" fmla="*/ 1366838 h 1704975"/>
                <a:gd name="connsiteX250" fmla="*/ 1397318 w 1562100"/>
                <a:gd name="connsiteY250" fmla="*/ 1368743 h 1704975"/>
                <a:gd name="connsiteX251" fmla="*/ 1400175 w 1562100"/>
                <a:gd name="connsiteY251" fmla="*/ 1370648 h 1704975"/>
                <a:gd name="connsiteX252" fmla="*/ 1402080 w 1562100"/>
                <a:gd name="connsiteY252" fmla="*/ 1374458 h 1704975"/>
                <a:gd name="connsiteX253" fmla="*/ 1402080 w 1562100"/>
                <a:gd name="connsiteY253" fmla="*/ 1380173 h 1704975"/>
                <a:gd name="connsiteX254" fmla="*/ 1400175 w 1562100"/>
                <a:gd name="connsiteY254" fmla="*/ 1385888 h 1704975"/>
                <a:gd name="connsiteX255" fmla="*/ 1396365 w 1562100"/>
                <a:gd name="connsiteY255" fmla="*/ 1391603 h 1704975"/>
                <a:gd name="connsiteX256" fmla="*/ 1391602 w 1562100"/>
                <a:gd name="connsiteY256" fmla="*/ 1395413 h 1704975"/>
                <a:gd name="connsiteX257" fmla="*/ 1387793 w 1562100"/>
                <a:gd name="connsiteY257" fmla="*/ 1398270 h 1704975"/>
                <a:gd name="connsiteX258" fmla="*/ 1384935 w 1562100"/>
                <a:gd name="connsiteY258" fmla="*/ 1402080 h 1704975"/>
                <a:gd name="connsiteX259" fmla="*/ 1383030 w 1562100"/>
                <a:gd name="connsiteY259" fmla="*/ 1407795 h 1704975"/>
                <a:gd name="connsiteX260" fmla="*/ 1381125 w 1562100"/>
                <a:gd name="connsiteY260" fmla="*/ 1416368 h 1704975"/>
                <a:gd name="connsiteX261" fmla="*/ 1381125 w 1562100"/>
                <a:gd name="connsiteY261" fmla="*/ 1429703 h 1704975"/>
                <a:gd name="connsiteX262" fmla="*/ 1380172 w 1562100"/>
                <a:gd name="connsiteY262" fmla="*/ 1432560 h 1704975"/>
                <a:gd name="connsiteX263" fmla="*/ 1379220 w 1562100"/>
                <a:gd name="connsiteY263" fmla="*/ 1436370 h 1704975"/>
                <a:gd name="connsiteX264" fmla="*/ 1375410 w 1562100"/>
                <a:gd name="connsiteY264" fmla="*/ 1440180 h 1704975"/>
                <a:gd name="connsiteX265" fmla="*/ 1369695 w 1562100"/>
                <a:gd name="connsiteY265" fmla="*/ 1443038 h 1704975"/>
                <a:gd name="connsiteX266" fmla="*/ 1367790 w 1562100"/>
                <a:gd name="connsiteY266" fmla="*/ 1445895 h 1704975"/>
                <a:gd name="connsiteX267" fmla="*/ 1366838 w 1562100"/>
                <a:gd name="connsiteY267" fmla="*/ 1448753 h 1704975"/>
                <a:gd name="connsiteX268" fmla="*/ 1367790 w 1562100"/>
                <a:gd name="connsiteY268" fmla="*/ 1454468 h 1704975"/>
                <a:gd name="connsiteX269" fmla="*/ 1369695 w 1562100"/>
                <a:gd name="connsiteY269" fmla="*/ 1463993 h 1704975"/>
                <a:gd name="connsiteX270" fmla="*/ 1369695 w 1562100"/>
                <a:gd name="connsiteY270" fmla="*/ 1467803 h 1704975"/>
                <a:gd name="connsiteX271" fmla="*/ 1368743 w 1562100"/>
                <a:gd name="connsiteY271" fmla="*/ 1478280 h 1704975"/>
                <a:gd name="connsiteX272" fmla="*/ 1363980 w 1562100"/>
                <a:gd name="connsiteY272" fmla="*/ 1497330 h 1704975"/>
                <a:gd name="connsiteX273" fmla="*/ 1345882 w 1562100"/>
                <a:gd name="connsiteY273" fmla="*/ 1549718 h 1704975"/>
                <a:gd name="connsiteX274" fmla="*/ 1325880 w 1562100"/>
                <a:gd name="connsiteY274" fmla="*/ 1588770 h 1704975"/>
                <a:gd name="connsiteX275" fmla="*/ 1318260 w 1562100"/>
                <a:gd name="connsiteY275" fmla="*/ 1598295 h 1704975"/>
                <a:gd name="connsiteX276" fmla="*/ 1305877 w 1562100"/>
                <a:gd name="connsiteY276" fmla="*/ 1604010 h 1704975"/>
                <a:gd name="connsiteX277" fmla="*/ 1299210 w 1562100"/>
                <a:gd name="connsiteY277" fmla="*/ 1607820 h 1704975"/>
                <a:gd name="connsiteX278" fmla="*/ 1296352 w 1562100"/>
                <a:gd name="connsiteY278" fmla="*/ 1611630 h 1704975"/>
                <a:gd name="connsiteX279" fmla="*/ 1293495 w 1562100"/>
                <a:gd name="connsiteY279" fmla="*/ 1615440 h 1704975"/>
                <a:gd name="connsiteX280" fmla="*/ 1290638 w 1562100"/>
                <a:gd name="connsiteY280" fmla="*/ 1624965 h 1704975"/>
                <a:gd name="connsiteX281" fmla="*/ 1287780 w 1562100"/>
                <a:gd name="connsiteY281" fmla="*/ 1627823 h 1704975"/>
                <a:gd name="connsiteX282" fmla="*/ 1284922 w 1562100"/>
                <a:gd name="connsiteY282" fmla="*/ 1629728 h 1704975"/>
                <a:gd name="connsiteX283" fmla="*/ 1276350 w 1562100"/>
                <a:gd name="connsiteY283" fmla="*/ 1632585 h 1704975"/>
                <a:gd name="connsiteX284" fmla="*/ 1263968 w 1562100"/>
                <a:gd name="connsiteY284" fmla="*/ 1640205 h 1704975"/>
                <a:gd name="connsiteX285" fmla="*/ 1261110 w 1562100"/>
                <a:gd name="connsiteY285" fmla="*/ 1644015 h 1704975"/>
                <a:gd name="connsiteX286" fmla="*/ 1258252 w 1562100"/>
                <a:gd name="connsiteY286" fmla="*/ 1647825 h 1704975"/>
                <a:gd name="connsiteX287" fmla="*/ 1255395 w 1562100"/>
                <a:gd name="connsiteY287" fmla="*/ 1656398 h 1704975"/>
                <a:gd name="connsiteX288" fmla="*/ 1252538 w 1562100"/>
                <a:gd name="connsiteY288" fmla="*/ 1664018 h 1704975"/>
                <a:gd name="connsiteX289" fmla="*/ 1249680 w 1562100"/>
                <a:gd name="connsiteY289" fmla="*/ 1666875 h 1704975"/>
                <a:gd name="connsiteX290" fmla="*/ 1246822 w 1562100"/>
                <a:gd name="connsiteY290" fmla="*/ 1668780 h 1704975"/>
                <a:gd name="connsiteX291" fmla="*/ 1242060 w 1562100"/>
                <a:gd name="connsiteY291" fmla="*/ 1670685 h 1704975"/>
                <a:gd name="connsiteX292" fmla="*/ 1223010 w 1562100"/>
                <a:gd name="connsiteY292" fmla="*/ 1672590 h 1704975"/>
                <a:gd name="connsiteX293" fmla="*/ 1214438 w 1562100"/>
                <a:gd name="connsiteY293" fmla="*/ 1674495 h 1704975"/>
                <a:gd name="connsiteX294" fmla="*/ 1169670 w 1562100"/>
                <a:gd name="connsiteY294" fmla="*/ 1699260 h 1704975"/>
                <a:gd name="connsiteX295" fmla="*/ 1150620 w 1562100"/>
                <a:gd name="connsiteY295" fmla="*/ 1699260 h 1704975"/>
                <a:gd name="connsiteX296" fmla="*/ 1147763 w 1562100"/>
                <a:gd name="connsiteY296" fmla="*/ 1698308 h 1704975"/>
                <a:gd name="connsiteX297" fmla="*/ 1145857 w 1562100"/>
                <a:gd name="connsiteY297" fmla="*/ 1693545 h 1704975"/>
                <a:gd name="connsiteX298" fmla="*/ 1143000 w 1562100"/>
                <a:gd name="connsiteY298" fmla="*/ 1691640 h 1704975"/>
                <a:gd name="connsiteX299" fmla="*/ 1138238 w 1562100"/>
                <a:gd name="connsiteY299" fmla="*/ 1691640 h 1704975"/>
                <a:gd name="connsiteX300" fmla="*/ 1117282 w 1562100"/>
                <a:gd name="connsiteY300" fmla="*/ 1695450 h 1704975"/>
                <a:gd name="connsiteX301" fmla="*/ 1063943 w 1562100"/>
                <a:gd name="connsiteY301" fmla="*/ 1693545 h 1704975"/>
                <a:gd name="connsiteX302" fmla="*/ 1051560 w 1562100"/>
                <a:gd name="connsiteY302" fmla="*/ 1689735 h 1704975"/>
                <a:gd name="connsiteX303" fmla="*/ 1049655 w 1562100"/>
                <a:gd name="connsiteY303" fmla="*/ 1686878 h 1704975"/>
                <a:gd name="connsiteX304" fmla="*/ 1046797 w 1562100"/>
                <a:gd name="connsiteY304" fmla="*/ 1682115 h 1704975"/>
                <a:gd name="connsiteX305" fmla="*/ 1044893 w 1562100"/>
                <a:gd name="connsiteY305" fmla="*/ 1677353 h 1704975"/>
                <a:gd name="connsiteX306" fmla="*/ 1042988 w 1562100"/>
                <a:gd name="connsiteY306" fmla="*/ 1668780 h 1704975"/>
                <a:gd name="connsiteX307" fmla="*/ 1041082 w 1562100"/>
                <a:gd name="connsiteY307" fmla="*/ 1663065 h 1704975"/>
                <a:gd name="connsiteX308" fmla="*/ 1038225 w 1562100"/>
                <a:gd name="connsiteY308" fmla="*/ 1659255 h 1704975"/>
                <a:gd name="connsiteX309" fmla="*/ 1035368 w 1562100"/>
                <a:gd name="connsiteY309" fmla="*/ 1658303 h 1704975"/>
                <a:gd name="connsiteX310" fmla="*/ 1031557 w 1562100"/>
                <a:gd name="connsiteY310" fmla="*/ 1658303 h 1704975"/>
                <a:gd name="connsiteX311" fmla="*/ 1023938 w 1562100"/>
                <a:gd name="connsiteY311" fmla="*/ 1658303 h 1704975"/>
                <a:gd name="connsiteX312" fmla="*/ 1020127 w 1562100"/>
                <a:gd name="connsiteY312" fmla="*/ 1659255 h 1704975"/>
                <a:gd name="connsiteX313" fmla="*/ 1003935 w 1562100"/>
                <a:gd name="connsiteY313" fmla="*/ 1670685 h 1704975"/>
                <a:gd name="connsiteX314" fmla="*/ 1001077 w 1562100"/>
                <a:gd name="connsiteY314" fmla="*/ 1671638 h 1704975"/>
                <a:gd name="connsiteX315" fmla="*/ 999172 w 1562100"/>
                <a:gd name="connsiteY315" fmla="*/ 1670685 h 1704975"/>
                <a:gd name="connsiteX316" fmla="*/ 995363 w 1562100"/>
                <a:gd name="connsiteY316" fmla="*/ 1665923 h 1704975"/>
                <a:gd name="connsiteX317" fmla="*/ 990600 w 1562100"/>
                <a:gd name="connsiteY317" fmla="*/ 1660208 h 1704975"/>
                <a:gd name="connsiteX318" fmla="*/ 988695 w 1562100"/>
                <a:gd name="connsiteY318" fmla="*/ 1658303 h 1704975"/>
                <a:gd name="connsiteX319" fmla="*/ 984885 w 1562100"/>
                <a:gd name="connsiteY319" fmla="*/ 1657350 h 1704975"/>
                <a:gd name="connsiteX320" fmla="*/ 971550 w 1562100"/>
                <a:gd name="connsiteY320" fmla="*/ 1658303 h 1704975"/>
                <a:gd name="connsiteX321" fmla="*/ 938213 w 1562100"/>
                <a:gd name="connsiteY321" fmla="*/ 1673543 h 1704975"/>
                <a:gd name="connsiteX322" fmla="*/ 934402 w 1562100"/>
                <a:gd name="connsiteY322" fmla="*/ 1677353 h 1704975"/>
                <a:gd name="connsiteX323" fmla="*/ 930593 w 1562100"/>
                <a:gd name="connsiteY323" fmla="*/ 1681163 h 1704975"/>
                <a:gd name="connsiteX324" fmla="*/ 920115 w 1562100"/>
                <a:gd name="connsiteY324" fmla="*/ 1699260 h 1704975"/>
                <a:gd name="connsiteX325" fmla="*/ 914400 w 1562100"/>
                <a:gd name="connsiteY325" fmla="*/ 1705928 h 1704975"/>
                <a:gd name="connsiteX326" fmla="*/ 908685 w 1562100"/>
                <a:gd name="connsiteY326" fmla="*/ 1709738 h 1704975"/>
                <a:gd name="connsiteX327" fmla="*/ 903922 w 1562100"/>
                <a:gd name="connsiteY327" fmla="*/ 1711643 h 1704975"/>
                <a:gd name="connsiteX328" fmla="*/ 901065 w 1562100"/>
                <a:gd name="connsiteY328" fmla="*/ 1711643 h 1704975"/>
                <a:gd name="connsiteX329" fmla="*/ 898207 w 1562100"/>
                <a:gd name="connsiteY329" fmla="*/ 1710690 h 1704975"/>
                <a:gd name="connsiteX330" fmla="*/ 894397 w 1562100"/>
                <a:gd name="connsiteY330" fmla="*/ 1706880 h 1704975"/>
                <a:gd name="connsiteX331" fmla="*/ 891540 w 1562100"/>
                <a:gd name="connsiteY331" fmla="*/ 1705928 h 1704975"/>
                <a:gd name="connsiteX332" fmla="*/ 860107 w 1562100"/>
                <a:gd name="connsiteY332" fmla="*/ 1705928 h 1704975"/>
                <a:gd name="connsiteX333" fmla="*/ 827722 w 1562100"/>
                <a:gd name="connsiteY333" fmla="*/ 1686878 h 1704975"/>
                <a:gd name="connsiteX334" fmla="*/ 824865 w 1562100"/>
                <a:gd name="connsiteY334" fmla="*/ 1683068 h 1704975"/>
                <a:gd name="connsiteX335" fmla="*/ 822007 w 1562100"/>
                <a:gd name="connsiteY335" fmla="*/ 1678305 h 1704975"/>
                <a:gd name="connsiteX336" fmla="*/ 824865 w 1562100"/>
                <a:gd name="connsiteY336" fmla="*/ 1674495 h 1704975"/>
                <a:gd name="connsiteX337" fmla="*/ 832485 w 1562100"/>
                <a:gd name="connsiteY337" fmla="*/ 1666875 h 1704975"/>
                <a:gd name="connsiteX338" fmla="*/ 833438 w 1562100"/>
                <a:gd name="connsiteY338" fmla="*/ 1664018 h 1704975"/>
                <a:gd name="connsiteX339" fmla="*/ 833438 w 1562100"/>
                <a:gd name="connsiteY339" fmla="*/ 1660208 h 1704975"/>
                <a:gd name="connsiteX340" fmla="*/ 832485 w 1562100"/>
                <a:gd name="connsiteY340" fmla="*/ 1658303 h 1704975"/>
                <a:gd name="connsiteX341" fmla="*/ 829627 w 1562100"/>
                <a:gd name="connsiteY341" fmla="*/ 1656398 h 1704975"/>
                <a:gd name="connsiteX342" fmla="*/ 823913 w 1562100"/>
                <a:gd name="connsiteY342" fmla="*/ 1655445 h 1704975"/>
                <a:gd name="connsiteX343" fmla="*/ 817245 w 1562100"/>
                <a:gd name="connsiteY343" fmla="*/ 1656398 h 1704975"/>
                <a:gd name="connsiteX344" fmla="*/ 813435 w 1562100"/>
                <a:gd name="connsiteY344" fmla="*/ 1656398 h 1704975"/>
                <a:gd name="connsiteX345" fmla="*/ 808672 w 1562100"/>
                <a:gd name="connsiteY345" fmla="*/ 1655445 h 1704975"/>
                <a:gd name="connsiteX346" fmla="*/ 801052 w 1562100"/>
                <a:gd name="connsiteY346" fmla="*/ 1651635 h 1704975"/>
                <a:gd name="connsiteX347" fmla="*/ 797243 w 1562100"/>
                <a:gd name="connsiteY347" fmla="*/ 1648778 h 1704975"/>
                <a:gd name="connsiteX348" fmla="*/ 794385 w 1562100"/>
                <a:gd name="connsiteY348" fmla="*/ 1645920 h 1704975"/>
                <a:gd name="connsiteX349" fmla="*/ 792480 w 1562100"/>
                <a:gd name="connsiteY349" fmla="*/ 1641158 h 1704975"/>
                <a:gd name="connsiteX350" fmla="*/ 791527 w 1562100"/>
                <a:gd name="connsiteY350" fmla="*/ 1635443 h 1704975"/>
                <a:gd name="connsiteX351" fmla="*/ 791527 w 1562100"/>
                <a:gd name="connsiteY351" fmla="*/ 1627823 h 1704975"/>
                <a:gd name="connsiteX352" fmla="*/ 790575 w 1562100"/>
                <a:gd name="connsiteY352" fmla="*/ 1622108 h 1704975"/>
                <a:gd name="connsiteX353" fmla="*/ 788670 w 1562100"/>
                <a:gd name="connsiteY353" fmla="*/ 1619250 h 1704975"/>
                <a:gd name="connsiteX354" fmla="*/ 786765 w 1562100"/>
                <a:gd name="connsiteY354" fmla="*/ 1617345 h 1704975"/>
                <a:gd name="connsiteX355" fmla="*/ 774382 w 1562100"/>
                <a:gd name="connsiteY355" fmla="*/ 1606868 h 1704975"/>
                <a:gd name="connsiteX356" fmla="*/ 772477 w 1562100"/>
                <a:gd name="connsiteY356" fmla="*/ 1602105 h 1704975"/>
                <a:gd name="connsiteX357" fmla="*/ 772477 w 1562100"/>
                <a:gd name="connsiteY357" fmla="*/ 1598295 h 1704975"/>
                <a:gd name="connsiteX358" fmla="*/ 773430 w 1562100"/>
                <a:gd name="connsiteY358" fmla="*/ 1595438 h 1704975"/>
                <a:gd name="connsiteX359" fmla="*/ 776288 w 1562100"/>
                <a:gd name="connsiteY359" fmla="*/ 1590675 h 1704975"/>
                <a:gd name="connsiteX360" fmla="*/ 782002 w 1562100"/>
                <a:gd name="connsiteY360" fmla="*/ 1582103 h 1704975"/>
                <a:gd name="connsiteX361" fmla="*/ 783907 w 1562100"/>
                <a:gd name="connsiteY361" fmla="*/ 1581150 h 1704975"/>
                <a:gd name="connsiteX362" fmla="*/ 786765 w 1562100"/>
                <a:gd name="connsiteY362" fmla="*/ 1580198 h 1704975"/>
                <a:gd name="connsiteX363" fmla="*/ 798195 w 1562100"/>
                <a:gd name="connsiteY363" fmla="*/ 1582103 h 1704975"/>
                <a:gd name="connsiteX364" fmla="*/ 801052 w 1562100"/>
                <a:gd name="connsiteY364" fmla="*/ 1580198 h 1704975"/>
                <a:gd name="connsiteX365" fmla="*/ 802957 w 1562100"/>
                <a:gd name="connsiteY365" fmla="*/ 1578293 h 1704975"/>
                <a:gd name="connsiteX366" fmla="*/ 803910 w 1562100"/>
                <a:gd name="connsiteY366" fmla="*/ 1572578 h 1704975"/>
                <a:gd name="connsiteX367" fmla="*/ 804863 w 1562100"/>
                <a:gd name="connsiteY367" fmla="*/ 1561148 h 1704975"/>
                <a:gd name="connsiteX368" fmla="*/ 803910 w 1562100"/>
                <a:gd name="connsiteY368" fmla="*/ 1549718 h 1704975"/>
                <a:gd name="connsiteX369" fmla="*/ 801052 w 1562100"/>
                <a:gd name="connsiteY369" fmla="*/ 1544955 h 1704975"/>
                <a:gd name="connsiteX370" fmla="*/ 798195 w 1562100"/>
                <a:gd name="connsiteY370" fmla="*/ 1542098 h 1704975"/>
                <a:gd name="connsiteX371" fmla="*/ 776288 w 1562100"/>
                <a:gd name="connsiteY371" fmla="*/ 1542098 h 1704975"/>
                <a:gd name="connsiteX372" fmla="*/ 769620 w 1562100"/>
                <a:gd name="connsiteY372" fmla="*/ 1541145 h 1704975"/>
                <a:gd name="connsiteX373" fmla="*/ 766763 w 1562100"/>
                <a:gd name="connsiteY373" fmla="*/ 1540193 h 1704975"/>
                <a:gd name="connsiteX374" fmla="*/ 762000 w 1562100"/>
                <a:gd name="connsiteY374" fmla="*/ 1536383 h 1704975"/>
                <a:gd name="connsiteX375" fmla="*/ 757238 w 1562100"/>
                <a:gd name="connsiteY375" fmla="*/ 1530668 h 1704975"/>
                <a:gd name="connsiteX376" fmla="*/ 738188 w 1562100"/>
                <a:gd name="connsiteY376" fmla="*/ 1504950 h 1704975"/>
                <a:gd name="connsiteX377" fmla="*/ 731520 w 1562100"/>
                <a:gd name="connsiteY377" fmla="*/ 1500188 h 1704975"/>
                <a:gd name="connsiteX378" fmla="*/ 716280 w 1562100"/>
                <a:gd name="connsiteY378" fmla="*/ 1484948 h 1704975"/>
                <a:gd name="connsiteX379" fmla="*/ 710565 w 1562100"/>
                <a:gd name="connsiteY379" fmla="*/ 1481138 h 1704975"/>
                <a:gd name="connsiteX380" fmla="*/ 705802 w 1562100"/>
                <a:gd name="connsiteY380" fmla="*/ 1479233 h 1704975"/>
                <a:gd name="connsiteX381" fmla="*/ 694372 w 1562100"/>
                <a:gd name="connsiteY381" fmla="*/ 1480185 h 1704975"/>
                <a:gd name="connsiteX382" fmla="*/ 683895 w 1562100"/>
                <a:gd name="connsiteY382" fmla="*/ 1483995 h 1704975"/>
                <a:gd name="connsiteX383" fmla="*/ 679132 w 1562100"/>
                <a:gd name="connsiteY383" fmla="*/ 1486853 h 1704975"/>
                <a:gd name="connsiteX384" fmla="*/ 678180 w 1562100"/>
                <a:gd name="connsiteY384" fmla="*/ 1489710 h 1704975"/>
                <a:gd name="connsiteX385" fmla="*/ 677227 w 1562100"/>
                <a:gd name="connsiteY385" fmla="*/ 1498283 h 1704975"/>
                <a:gd name="connsiteX386" fmla="*/ 676275 w 1562100"/>
                <a:gd name="connsiteY386" fmla="*/ 1501140 h 1704975"/>
                <a:gd name="connsiteX387" fmla="*/ 673418 w 1562100"/>
                <a:gd name="connsiteY387" fmla="*/ 1504950 h 1704975"/>
                <a:gd name="connsiteX388" fmla="*/ 672465 w 1562100"/>
                <a:gd name="connsiteY388" fmla="*/ 1507808 h 1704975"/>
                <a:gd name="connsiteX389" fmla="*/ 672465 w 1562100"/>
                <a:gd name="connsiteY389" fmla="*/ 1510665 h 1704975"/>
                <a:gd name="connsiteX390" fmla="*/ 672465 w 1562100"/>
                <a:gd name="connsiteY390" fmla="*/ 1516380 h 1704975"/>
                <a:gd name="connsiteX391" fmla="*/ 672465 w 1562100"/>
                <a:gd name="connsiteY391" fmla="*/ 1518285 h 1704975"/>
                <a:gd name="connsiteX392" fmla="*/ 670560 w 1562100"/>
                <a:gd name="connsiteY392" fmla="*/ 1520190 h 1704975"/>
                <a:gd name="connsiteX393" fmla="*/ 665797 w 1562100"/>
                <a:gd name="connsiteY393" fmla="*/ 1522095 h 1704975"/>
                <a:gd name="connsiteX394" fmla="*/ 663893 w 1562100"/>
                <a:gd name="connsiteY394" fmla="*/ 1524000 h 1704975"/>
                <a:gd name="connsiteX395" fmla="*/ 657225 w 1562100"/>
                <a:gd name="connsiteY395" fmla="*/ 1533525 h 1704975"/>
                <a:gd name="connsiteX396" fmla="*/ 653415 w 1562100"/>
                <a:gd name="connsiteY396" fmla="*/ 1538288 h 1704975"/>
                <a:gd name="connsiteX397" fmla="*/ 651510 w 1562100"/>
                <a:gd name="connsiteY397" fmla="*/ 1539240 h 1704975"/>
                <a:gd name="connsiteX398" fmla="*/ 647700 w 1562100"/>
                <a:gd name="connsiteY398" fmla="*/ 1539240 h 1704975"/>
                <a:gd name="connsiteX399" fmla="*/ 626745 w 1562100"/>
                <a:gd name="connsiteY399" fmla="*/ 1537335 h 1704975"/>
                <a:gd name="connsiteX400" fmla="*/ 621030 w 1562100"/>
                <a:gd name="connsiteY400" fmla="*/ 1538288 h 1704975"/>
                <a:gd name="connsiteX401" fmla="*/ 616268 w 1562100"/>
                <a:gd name="connsiteY401" fmla="*/ 1541145 h 1704975"/>
                <a:gd name="connsiteX402" fmla="*/ 612457 w 1562100"/>
                <a:gd name="connsiteY402" fmla="*/ 1544955 h 1704975"/>
                <a:gd name="connsiteX403" fmla="*/ 609600 w 1562100"/>
                <a:gd name="connsiteY403" fmla="*/ 1549718 h 1704975"/>
                <a:gd name="connsiteX404" fmla="*/ 607695 w 1562100"/>
                <a:gd name="connsiteY404" fmla="*/ 1551623 h 1704975"/>
                <a:gd name="connsiteX405" fmla="*/ 604838 w 1562100"/>
                <a:gd name="connsiteY405" fmla="*/ 1552575 h 1704975"/>
                <a:gd name="connsiteX406" fmla="*/ 599122 w 1562100"/>
                <a:gd name="connsiteY406" fmla="*/ 1553528 h 1704975"/>
                <a:gd name="connsiteX407" fmla="*/ 596265 w 1562100"/>
                <a:gd name="connsiteY407" fmla="*/ 1554480 h 1704975"/>
                <a:gd name="connsiteX408" fmla="*/ 592455 w 1562100"/>
                <a:gd name="connsiteY408" fmla="*/ 1557338 h 1704975"/>
                <a:gd name="connsiteX409" fmla="*/ 586740 w 1562100"/>
                <a:gd name="connsiteY409" fmla="*/ 1564005 h 1704975"/>
                <a:gd name="connsiteX410" fmla="*/ 584835 w 1562100"/>
                <a:gd name="connsiteY410" fmla="*/ 1565910 h 1704975"/>
                <a:gd name="connsiteX411" fmla="*/ 582930 w 1562100"/>
                <a:gd name="connsiteY411" fmla="*/ 1567815 h 1704975"/>
                <a:gd name="connsiteX412" fmla="*/ 580072 w 1562100"/>
                <a:gd name="connsiteY412" fmla="*/ 1567815 h 1704975"/>
                <a:gd name="connsiteX413" fmla="*/ 572452 w 1562100"/>
                <a:gd name="connsiteY413" fmla="*/ 1566863 h 1704975"/>
                <a:gd name="connsiteX414" fmla="*/ 569595 w 1562100"/>
                <a:gd name="connsiteY414" fmla="*/ 1567815 h 1704975"/>
                <a:gd name="connsiteX415" fmla="*/ 567690 w 1562100"/>
                <a:gd name="connsiteY415" fmla="*/ 1568768 h 1704975"/>
                <a:gd name="connsiteX416" fmla="*/ 562927 w 1562100"/>
                <a:gd name="connsiteY416" fmla="*/ 1572578 h 1704975"/>
                <a:gd name="connsiteX417" fmla="*/ 558165 w 1562100"/>
                <a:gd name="connsiteY417" fmla="*/ 1574483 h 1704975"/>
                <a:gd name="connsiteX418" fmla="*/ 555307 w 1562100"/>
                <a:gd name="connsiteY418" fmla="*/ 1574483 h 1704975"/>
                <a:gd name="connsiteX419" fmla="*/ 522922 w 1562100"/>
                <a:gd name="connsiteY419" fmla="*/ 1566863 h 1704975"/>
                <a:gd name="connsiteX420" fmla="*/ 518160 w 1562100"/>
                <a:gd name="connsiteY420" fmla="*/ 1567815 h 1704975"/>
                <a:gd name="connsiteX421" fmla="*/ 514350 w 1562100"/>
                <a:gd name="connsiteY421" fmla="*/ 1570673 h 1704975"/>
                <a:gd name="connsiteX422" fmla="*/ 508635 w 1562100"/>
                <a:gd name="connsiteY422" fmla="*/ 1577340 h 1704975"/>
                <a:gd name="connsiteX423" fmla="*/ 502920 w 1562100"/>
                <a:gd name="connsiteY423" fmla="*/ 1582103 h 1704975"/>
                <a:gd name="connsiteX424" fmla="*/ 461963 w 1562100"/>
                <a:gd name="connsiteY424" fmla="*/ 1571625 h 1704975"/>
                <a:gd name="connsiteX425" fmla="*/ 451485 w 1562100"/>
                <a:gd name="connsiteY425" fmla="*/ 1570673 h 1704975"/>
                <a:gd name="connsiteX426" fmla="*/ 443865 w 1562100"/>
                <a:gd name="connsiteY426" fmla="*/ 1570673 h 1704975"/>
                <a:gd name="connsiteX427" fmla="*/ 441007 w 1562100"/>
                <a:gd name="connsiteY427" fmla="*/ 1572578 h 1704975"/>
                <a:gd name="connsiteX428" fmla="*/ 438150 w 1562100"/>
                <a:gd name="connsiteY428" fmla="*/ 1573530 h 1704975"/>
                <a:gd name="connsiteX429" fmla="*/ 432435 w 1562100"/>
                <a:gd name="connsiteY429" fmla="*/ 1575435 h 1704975"/>
                <a:gd name="connsiteX430" fmla="*/ 428625 w 1562100"/>
                <a:gd name="connsiteY430" fmla="*/ 1573530 h 1704975"/>
                <a:gd name="connsiteX431" fmla="*/ 425767 w 1562100"/>
                <a:gd name="connsiteY431" fmla="*/ 1572578 h 1704975"/>
                <a:gd name="connsiteX432" fmla="*/ 421005 w 1562100"/>
                <a:gd name="connsiteY432" fmla="*/ 1568768 h 1704975"/>
                <a:gd name="connsiteX433" fmla="*/ 416242 w 1562100"/>
                <a:gd name="connsiteY433" fmla="*/ 1566863 h 1704975"/>
                <a:gd name="connsiteX434" fmla="*/ 410527 w 1562100"/>
                <a:gd name="connsiteY434" fmla="*/ 1566863 h 1704975"/>
                <a:gd name="connsiteX435" fmla="*/ 406717 w 1562100"/>
                <a:gd name="connsiteY435" fmla="*/ 1565910 h 1704975"/>
                <a:gd name="connsiteX436" fmla="*/ 403860 w 1562100"/>
                <a:gd name="connsiteY436" fmla="*/ 1564958 h 1704975"/>
                <a:gd name="connsiteX437" fmla="*/ 401955 w 1562100"/>
                <a:gd name="connsiteY437" fmla="*/ 1563053 h 1704975"/>
                <a:gd name="connsiteX438" fmla="*/ 399097 w 1562100"/>
                <a:gd name="connsiteY438" fmla="*/ 1558290 h 1704975"/>
                <a:gd name="connsiteX439" fmla="*/ 397192 w 1562100"/>
                <a:gd name="connsiteY439" fmla="*/ 1553528 h 1704975"/>
                <a:gd name="connsiteX440" fmla="*/ 398145 w 1562100"/>
                <a:gd name="connsiteY440" fmla="*/ 1542098 h 1704975"/>
                <a:gd name="connsiteX441" fmla="*/ 397192 w 1562100"/>
                <a:gd name="connsiteY441" fmla="*/ 1538288 h 1704975"/>
                <a:gd name="connsiteX442" fmla="*/ 395288 w 1562100"/>
                <a:gd name="connsiteY442" fmla="*/ 1534478 h 1704975"/>
                <a:gd name="connsiteX443" fmla="*/ 392430 w 1562100"/>
                <a:gd name="connsiteY443" fmla="*/ 1532573 h 1704975"/>
                <a:gd name="connsiteX444" fmla="*/ 388620 w 1562100"/>
                <a:gd name="connsiteY444" fmla="*/ 1531620 h 1704975"/>
                <a:gd name="connsiteX445" fmla="*/ 378142 w 1562100"/>
                <a:gd name="connsiteY445" fmla="*/ 1532573 h 1704975"/>
                <a:gd name="connsiteX446" fmla="*/ 375285 w 1562100"/>
                <a:gd name="connsiteY446" fmla="*/ 1530668 h 1704975"/>
                <a:gd name="connsiteX447" fmla="*/ 372427 w 1562100"/>
                <a:gd name="connsiteY447" fmla="*/ 1528763 h 1704975"/>
                <a:gd name="connsiteX448" fmla="*/ 357188 w 1562100"/>
                <a:gd name="connsiteY448" fmla="*/ 1513523 h 1704975"/>
                <a:gd name="connsiteX449" fmla="*/ 354330 w 1562100"/>
                <a:gd name="connsiteY449" fmla="*/ 1508760 h 1704975"/>
                <a:gd name="connsiteX450" fmla="*/ 353377 w 1562100"/>
                <a:gd name="connsiteY450" fmla="*/ 1505903 h 1704975"/>
                <a:gd name="connsiteX451" fmla="*/ 354330 w 1562100"/>
                <a:gd name="connsiteY451" fmla="*/ 1503045 h 1704975"/>
                <a:gd name="connsiteX452" fmla="*/ 355282 w 1562100"/>
                <a:gd name="connsiteY452" fmla="*/ 1496378 h 1704975"/>
                <a:gd name="connsiteX453" fmla="*/ 357188 w 1562100"/>
                <a:gd name="connsiteY453" fmla="*/ 1493520 h 1704975"/>
                <a:gd name="connsiteX454" fmla="*/ 359092 w 1562100"/>
                <a:gd name="connsiteY454" fmla="*/ 1492568 h 1704975"/>
                <a:gd name="connsiteX455" fmla="*/ 364807 w 1562100"/>
                <a:gd name="connsiteY455" fmla="*/ 1493520 h 1704975"/>
                <a:gd name="connsiteX456" fmla="*/ 366713 w 1562100"/>
                <a:gd name="connsiteY456" fmla="*/ 1492568 h 1704975"/>
                <a:gd name="connsiteX457" fmla="*/ 368617 w 1562100"/>
                <a:gd name="connsiteY457" fmla="*/ 1490663 h 1704975"/>
                <a:gd name="connsiteX458" fmla="*/ 372427 w 1562100"/>
                <a:gd name="connsiteY458" fmla="*/ 1485900 h 1704975"/>
                <a:gd name="connsiteX459" fmla="*/ 374332 w 1562100"/>
                <a:gd name="connsiteY459" fmla="*/ 1480185 h 1704975"/>
                <a:gd name="connsiteX460" fmla="*/ 375285 w 1562100"/>
                <a:gd name="connsiteY460" fmla="*/ 1476375 h 1704975"/>
                <a:gd name="connsiteX461" fmla="*/ 375285 w 1562100"/>
                <a:gd name="connsiteY461" fmla="*/ 1469708 h 1704975"/>
                <a:gd name="connsiteX462" fmla="*/ 374332 w 1562100"/>
                <a:gd name="connsiteY462" fmla="*/ 1461135 h 1704975"/>
                <a:gd name="connsiteX463" fmla="*/ 371475 w 1562100"/>
                <a:gd name="connsiteY463" fmla="*/ 1449705 h 1704975"/>
                <a:gd name="connsiteX464" fmla="*/ 369570 w 1562100"/>
                <a:gd name="connsiteY464" fmla="*/ 1444943 h 1704975"/>
                <a:gd name="connsiteX465" fmla="*/ 367665 w 1562100"/>
                <a:gd name="connsiteY465" fmla="*/ 1440180 h 1704975"/>
                <a:gd name="connsiteX466" fmla="*/ 363855 w 1562100"/>
                <a:gd name="connsiteY466" fmla="*/ 1435418 h 1704975"/>
                <a:gd name="connsiteX467" fmla="*/ 357188 w 1562100"/>
                <a:gd name="connsiteY467" fmla="*/ 1427798 h 1704975"/>
                <a:gd name="connsiteX468" fmla="*/ 344805 w 1562100"/>
                <a:gd name="connsiteY468" fmla="*/ 1417320 h 1704975"/>
                <a:gd name="connsiteX469" fmla="*/ 342900 w 1562100"/>
                <a:gd name="connsiteY469" fmla="*/ 1414463 h 1704975"/>
                <a:gd name="connsiteX470" fmla="*/ 342900 w 1562100"/>
                <a:gd name="connsiteY470" fmla="*/ 1406843 h 1704975"/>
                <a:gd name="connsiteX471" fmla="*/ 342900 w 1562100"/>
                <a:gd name="connsiteY471" fmla="*/ 1403033 h 1704975"/>
                <a:gd name="connsiteX472" fmla="*/ 340995 w 1562100"/>
                <a:gd name="connsiteY472" fmla="*/ 1401128 h 1704975"/>
                <a:gd name="connsiteX473" fmla="*/ 337185 w 1562100"/>
                <a:gd name="connsiteY473" fmla="*/ 1400175 h 1704975"/>
                <a:gd name="connsiteX474" fmla="*/ 329565 w 1562100"/>
                <a:gd name="connsiteY474" fmla="*/ 1399223 h 1704975"/>
                <a:gd name="connsiteX475" fmla="*/ 321945 w 1562100"/>
                <a:gd name="connsiteY475" fmla="*/ 1398270 h 1704975"/>
                <a:gd name="connsiteX476" fmla="*/ 319088 w 1562100"/>
                <a:gd name="connsiteY476" fmla="*/ 1396365 h 1704975"/>
                <a:gd name="connsiteX477" fmla="*/ 317182 w 1562100"/>
                <a:gd name="connsiteY477" fmla="*/ 1393508 h 1704975"/>
                <a:gd name="connsiteX478" fmla="*/ 317182 w 1562100"/>
                <a:gd name="connsiteY478" fmla="*/ 1390650 h 1704975"/>
                <a:gd name="connsiteX479" fmla="*/ 319088 w 1562100"/>
                <a:gd name="connsiteY479" fmla="*/ 1383983 h 1704975"/>
                <a:gd name="connsiteX480" fmla="*/ 320040 w 1562100"/>
                <a:gd name="connsiteY480" fmla="*/ 1381125 h 1704975"/>
                <a:gd name="connsiteX481" fmla="*/ 319088 w 1562100"/>
                <a:gd name="connsiteY481" fmla="*/ 1378268 h 1704975"/>
                <a:gd name="connsiteX482" fmla="*/ 315277 w 1562100"/>
                <a:gd name="connsiteY482" fmla="*/ 1373505 h 1704975"/>
                <a:gd name="connsiteX483" fmla="*/ 310515 w 1562100"/>
                <a:gd name="connsiteY483" fmla="*/ 1366838 h 1704975"/>
                <a:gd name="connsiteX484" fmla="*/ 308610 w 1562100"/>
                <a:gd name="connsiteY484" fmla="*/ 1362075 h 1704975"/>
                <a:gd name="connsiteX485" fmla="*/ 306705 w 1562100"/>
                <a:gd name="connsiteY485" fmla="*/ 1359218 h 1704975"/>
                <a:gd name="connsiteX486" fmla="*/ 302895 w 1562100"/>
                <a:gd name="connsiteY486" fmla="*/ 1358265 h 1704975"/>
                <a:gd name="connsiteX487" fmla="*/ 300038 w 1562100"/>
                <a:gd name="connsiteY487" fmla="*/ 1358265 h 1704975"/>
                <a:gd name="connsiteX488" fmla="*/ 295275 w 1562100"/>
                <a:gd name="connsiteY488" fmla="*/ 1361123 h 1704975"/>
                <a:gd name="connsiteX489" fmla="*/ 289560 w 1562100"/>
                <a:gd name="connsiteY489" fmla="*/ 1365885 h 1704975"/>
                <a:gd name="connsiteX490" fmla="*/ 286702 w 1562100"/>
                <a:gd name="connsiteY490" fmla="*/ 1366838 h 1704975"/>
                <a:gd name="connsiteX491" fmla="*/ 280988 w 1562100"/>
                <a:gd name="connsiteY491" fmla="*/ 1368743 h 1704975"/>
                <a:gd name="connsiteX492" fmla="*/ 275272 w 1562100"/>
                <a:gd name="connsiteY492" fmla="*/ 1368743 h 1704975"/>
                <a:gd name="connsiteX493" fmla="*/ 246697 w 1562100"/>
                <a:gd name="connsiteY493" fmla="*/ 1366838 h 1704975"/>
                <a:gd name="connsiteX494" fmla="*/ 240030 w 1562100"/>
                <a:gd name="connsiteY494" fmla="*/ 1366838 h 1704975"/>
                <a:gd name="connsiteX495" fmla="*/ 234315 w 1562100"/>
                <a:gd name="connsiteY495" fmla="*/ 1368743 h 1704975"/>
                <a:gd name="connsiteX496" fmla="*/ 226695 w 1562100"/>
                <a:gd name="connsiteY496" fmla="*/ 1376363 h 1704975"/>
                <a:gd name="connsiteX497" fmla="*/ 222885 w 1562100"/>
                <a:gd name="connsiteY497" fmla="*/ 1377315 h 1704975"/>
                <a:gd name="connsiteX498" fmla="*/ 216217 w 1562100"/>
                <a:gd name="connsiteY498" fmla="*/ 1376363 h 1704975"/>
                <a:gd name="connsiteX499" fmla="*/ 191452 w 1562100"/>
                <a:gd name="connsiteY499" fmla="*/ 1369695 h 1704975"/>
                <a:gd name="connsiteX500" fmla="*/ 188595 w 1562100"/>
                <a:gd name="connsiteY500" fmla="*/ 1370648 h 1704975"/>
                <a:gd name="connsiteX501" fmla="*/ 186690 w 1562100"/>
                <a:gd name="connsiteY501" fmla="*/ 1371600 h 1704975"/>
                <a:gd name="connsiteX502" fmla="*/ 182880 w 1562100"/>
                <a:gd name="connsiteY502" fmla="*/ 1380173 h 1704975"/>
                <a:gd name="connsiteX503" fmla="*/ 180022 w 1562100"/>
                <a:gd name="connsiteY503" fmla="*/ 1382078 h 1704975"/>
                <a:gd name="connsiteX504" fmla="*/ 177165 w 1562100"/>
                <a:gd name="connsiteY504" fmla="*/ 1383983 h 1704975"/>
                <a:gd name="connsiteX505" fmla="*/ 172402 w 1562100"/>
                <a:gd name="connsiteY505" fmla="*/ 1384935 h 1704975"/>
                <a:gd name="connsiteX506" fmla="*/ 169545 w 1562100"/>
                <a:gd name="connsiteY506" fmla="*/ 1383983 h 1704975"/>
                <a:gd name="connsiteX507" fmla="*/ 167640 w 1562100"/>
                <a:gd name="connsiteY507" fmla="*/ 1382078 h 1704975"/>
                <a:gd name="connsiteX508" fmla="*/ 163830 w 1562100"/>
                <a:gd name="connsiteY508" fmla="*/ 1377315 h 1704975"/>
                <a:gd name="connsiteX509" fmla="*/ 160972 w 1562100"/>
                <a:gd name="connsiteY509" fmla="*/ 1373505 h 1704975"/>
                <a:gd name="connsiteX510" fmla="*/ 155257 w 1562100"/>
                <a:gd name="connsiteY510" fmla="*/ 1367790 h 1704975"/>
                <a:gd name="connsiteX511" fmla="*/ 150495 w 1562100"/>
                <a:gd name="connsiteY511" fmla="*/ 1365885 h 1704975"/>
                <a:gd name="connsiteX512" fmla="*/ 146685 w 1562100"/>
                <a:gd name="connsiteY512" fmla="*/ 1364933 h 1704975"/>
                <a:gd name="connsiteX513" fmla="*/ 131445 w 1562100"/>
                <a:gd name="connsiteY513" fmla="*/ 1369695 h 1704975"/>
                <a:gd name="connsiteX514" fmla="*/ 125730 w 1562100"/>
                <a:gd name="connsiteY514" fmla="*/ 1369695 h 1704975"/>
                <a:gd name="connsiteX515" fmla="*/ 122872 w 1562100"/>
                <a:gd name="connsiteY515" fmla="*/ 1367790 h 1704975"/>
                <a:gd name="connsiteX516" fmla="*/ 120967 w 1562100"/>
                <a:gd name="connsiteY516" fmla="*/ 1365885 h 1704975"/>
                <a:gd name="connsiteX517" fmla="*/ 120967 w 1562100"/>
                <a:gd name="connsiteY517" fmla="*/ 1362075 h 1704975"/>
                <a:gd name="connsiteX518" fmla="*/ 122872 w 1562100"/>
                <a:gd name="connsiteY518" fmla="*/ 1357313 h 1704975"/>
                <a:gd name="connsiteX519" fmla="*/ 130492 w 1562100"/>
                <a:gd name="connsiteY519" fmla="*/ 1343978 h 1704975"/>
                <a:gd name="connsiteX520" fmla="*/ 135255 w 1562100"/>
                <a:gd name="connsiteY520" fmla="*/ 1332548 h 1704975"/>
                <a:gd name="connsiteX521" fmla="*/ 139065 w 1562100"/>
                <a:gd name="connsiteY521" fmla="*/ 1323023 h 1704975"/>
                <a:gd name="connsiteX522" fmla="*/ 140017 w 1562100"/>
                <a:gd name="connsiteY522" fmla="*/ 1316355 h 1704975"/>
                <a:gd name="connsiteX523" fmla="*/ 142875 w 1562100"/>
                <a:gd name="connsiteY523" fmla="*/ 1298258 h 1704975"/>
                <a:gd name="connsiteX524" fmla="*/ 142875 w 1562100"/>
                <a:gd name="connsiteY524" fmla="*/ 1296353 h 1704975"/>
                <a:gd name="connsiteX525" fmla="*/ 140970 w 1562100"/>
                <a:gd name="connsiteY525" fmla="*/ 1292543 h 1704975"/>
                <a:gd name="connsiteX526" fmla="*/ 136207 w 1562100"/>
                <a:gd name="connsiteY526" fmla="*/ 1287780 h 1704975"/>
                <a:gd name="connsiteX527" fmla="*/ 119063 w 1562100"/>
                <a:gd name="connsiteY527" fmla="*/ 1274445 h 1704975"/>
                <a:gd name="connsiteX528" fmla="*/ 114300 w 1562100"/>
                <a:gd name="connsiteY528" fmla="*/ 1271588 h 1704975"/>
                <a:gd name="connsiteX529" fmla="*/ 85725 w 1562100"/>
                <a:gd name="connsiteY529" fmla="*/ 1261110 h 1704975"/>
                <a:gd name="connsiteX530" fmla="*/ 80963 w 1562100"/>
                <a:gd name="connsiteY530" fmla="*/ 1258253 h 1704975"/>
                <a:gd name="connsiteX531" fmla="*/ 77152 w 1562100"/>
                <a:gd name="connsiteY531" fmla="*/ 1255395 h 1704975"/>
                <a:gd name="connsiteX532" fmla="*/ 76200 w 1562100"/>
                <a:gd name="connsiteY532" fmla="*/ 1252538 h 1704975"/>
                <a:gd name="connsiteX533" fmla="*/ 75247 w 1562100"/>
                <a:gd name="connsiteY533" fmla="*/ 1246823 h 1704975"/>
                <a:gd name="connsiteX534" fmla="*/ 75247 w 1562100"/>
                <a:gd name="connsiteY534" fmla="*/ 1240155 h 1704975"/>
                <a:gd name="connsiteX535" fmla="*/ 76200 w 1562100"/>
                <a:gd name="connsiteY535" fmla="*/ 1236345 h 1704975"/>
                <a:gd name="connsiteX536" fmla="*/ 79057 w 1562100"/>
                <a:gd name="connsiteY536" fmla="*/ 1222058 h 1704975"/>
                <a:gd name="connsiteX537" fmla="*/ 81915 w 1562100"/>
                <a:gd name="connsiteY537" fmla="*/ 1207770 h 1704975"/>
                <a:gd name="connsiteX538" fmla="*/ 81915 w 1562100"/>
                <a:gd name="connsiteY538" fmla="*/ 1201103 h 1704975"/>
                <a:gd name="connsiteX539" fmla="*/ 80963 w 1562100"/>
                <a:gd name="connsiteY539" fmla="*/ 1194435 h 1704975"/>
                <a:gd name="connsiteX540" fmla="*/ 79057 w 1562100"/>
                <a:gd name="connsiteY540" fmla="*/ 1185863 h 1704975"/>
                <a:gd name="connsiteX541" fmla="*/ 77152 w 1562100"/>
                <a:gd name="connsiteY541" fmla="*/ 1181100 h 1704975"/>
                <a:gd name="connsiteX542" fmla="*/ 74295 w 1562100"/>
                <a:gd name="connsiteY542" fmla="*/ 1177290 h 1704975"/>
                <a:gd name="connsiteX543" fmla="*/ 60960 w 1562100"/>
                <a:gd name="connsiteY543" fmla="*/ 1164908 h 1704975"/>
                <a:gd name="connsiteX544" fmla="*/ 56197 w 1562100"/>
                <a:gd name="connsiteY544" fmla="*/ 1162050 h 1704975"/>
                <a:gd name="connsiteX545" fmla="*/ 51435 w 1562100"/>
                <a:gd name="connsiteY545" fmla="*/ 1161098 h 1704975"/>
                <a:gd name="connsiteX546" fmla="*/ 48577 w 1562100"/>
                <a:gd name="connsiteY546" fmla="*/ 1161098 h 1704975"/>
                <a:gd name="connsiteX547" fmla="*/ 43815 w 1562100"/>
                <a:gd name="connsiteY547" fmla="*/ 1161098 h 1704975"/>
                <a:gd name="connsiteX548" fmla="*/ 37147 w 1562100"/>
                <a:gd name="connsiteY548" fmla="*/ 1159193 h 1704975"/>
                <a:gd name="connsiteX549" fmla="*/ 31432 w 1562100"/>
                <a:gd name="connsiteY549" fmla="*/ 1154430 h 1704975"/>
                <a:gd name="connsiteX550" fmla="*/ 24765 w 1562100"/>
                <a:gd name="connsiteY550" fmla="*/ 1150620 h 1704975"/>
                <a:gd name="connsiteX551" fmla="*/ 21907 w 1562100"/>
                <a:gd name="connsiteY551" fmla="*/ 1150620 h 1704975"/>
                <a:gd name="connsiteX552" fmla="*/ 20002 w 1562100"/>
                <a:gd name="connsiteY552" fmla="*/ 1152525 h 1704975"/>
                <a:gd name="connsiteX553" fmla="*/ 15240 w 1562100"/>
                <a:gd name="connsiteY553" fmla="*/ 1156335 h 1704975"/>
                <a:gd name="connsiteX554" fmla="*/ 12382 w 1562100"/>
                <a:gd name="connsiteY554" fmla="*/ 1158240 h 1704975"/>
                <a:gd name="connsiteX555" fmla="*/ 6667 w 1562100"/>
                <a:gd name="connsiteY555" fmla="*/ 1158240 h 1704975"/>
                <a:gd name="connsiteX556" fmla="*/ 3810 w 1562100"/>
                <a:gd name="connsiteY556" fmla="*/ 1156335 h 1704975"/>
                <a:gd name="connsiteX557" fmla="*/ 2857 w 1562100"/>
                <a:gd name="connsiteY557" fmla="*/ 1154430 h 1704975"/>
                <a:gd name="connsiteX558" fmla="*/ 1905 w 1562100"/>
                <a:gd name="connsiteY558" fmla="*/ 1150620 h 1704975"/>
                <a:gd name="connsiteX559" fmla="*/ 0 w 1562100"/>
                <a:gd name="connsiteY559" fmla="*/ 1125855 h 1704975"/>
                <a:gd name="connsiteX560" fmla="*/ 952 w 1562100"/>
                <a:gd name="connsiteY560" fmla="*/ 1074420 h 1704975"/>
                <a:gd name="connsiteX561" fmla="*/ 1905 w 1562100"/>
                <a:gd name="connsiteY561" fmla="*/ 1066800 h 1704975"/>
                <a:gd name="connsiteX562" fmla="*/ 11430 w 1562100"/>
                <a:gd name="connsiteY562" fmla="*/ 1020128 h 1704975"/>
                <a:gd name="connsiteX563" fmla="*/ 12382 w 1562100"/>
                <a:gd name="connsiteY563" fmla="*/ 1013460 h 1704975"/>
                <a:gd name="connsiteX564" fmla="*/ 11430 w 1562100"/>
                <a:gd name="connsiteY564" fmla="*/ 1006793 h 1704975"/>
                <a:gd name="connsiteX565" fmla="*/ 10477 w 1562100"/>
                <a:gd name="connsiteY565" fmla="*/ 1001078 h 1704975"/>
                <a:gd name="connsiteX566" fmla="*/ 3810 w 1562100"/>
                <a:gd name="connsiteY566" fmla="*/ 984885 h 1704975"/>
                <a:gd name="connsiteX567" fmla="*/ 2857 w 1562100"/>
                <a:gd name="connsiteY567" fmla="*/ 980123 h 1704975"/>
                <a:gd name="connsiteX568" fmla="*/ 3810 w 1562100"/>
                <a:gd name="connsiteY568" fmla="*/ 976313 h 1704975"/>
                <a:gd name="connsiteX569" fmla="*/ 5715 w 1562100"/>
                <a:gd name="connsiteY569" fmla="*/ 974408 h 1704975"/>
                <a:gd name="connsiteX570" fmla="*/ 8572 w 1562100"/>
                <a:gd name="connsiteY570" fmla="*/ 973455 h 1704975"/>
                <a:gd name="connsiteX571" fmla="*/ 19050 w 1562100"/>
                <a:gd name="connsiteY571" fmla="*/ 974408 h 1704975"/>
                <a:gd name="connsiteX572" fmla="*/ 21907 w 1562100"/>
                <a:gd name="connsiteY572" fmla="*/ 974408 h 1704975"/>
                <a:gd name="connsiteX573" fmla="*/ 23813 w 1562100"/>
                <a:gd name="connsiteY573" fmla="*/ 972503 h 1704975"/>
                <a:gd name="connsiteX574" fmla="*/ 24765 w 1562100"/>
                <a:gd name="connsiteY574" fmla="*/ 970598 h 1704975"/>
                <a:gd name="connsiteX575" fmla="*/ 25717 w 1562100"/>
                <a:gd name="connsiteY575" fmla="*/ 967740 h 1704975"/>
                <a:gd name="connsiteX576" fmla="*/ 24765 w 1562100"/>
                <a:gd name="connsiteY576" fmla="*/ 961073 h 1704975"/>
                <a:gd name="connsiteX577" fmla="*/ 24765 w 1562100"/>
                <a:gd name="connsiteY577" fmla="*/ 960120 h 1704975"/>
                <a:gd name="connsiteX578" fmla="*/ 25717 w 1562100"/>
                <a:gd name="connsiteY578" fmla="*/ 940118 h 1704975"/>
                <a:gd name="connsiteX579" fmla="*/ 26670 w 1562100"/>
                <a:gd name="connsiteY579" fmla="*/ 938213 h 1704975"/>
                <a:gd name="connsiteX580" fmla="*/ 36195 w 1562100"/>
                <a:gd name="connsiteY580" fmla="*/ 922020 h 1704975"/>
                <a:gd name="connsiteX581" fmla="*/ 37147 w 1562100"/>
                <a:gd name="connsiteY581" fmla="*/ 909638 h 1704975"/>
                <a:gd name="connsiteX582" fmla="*/ 53340 w 1562100"/>
                <a:gd name="connsiteY582" fmla="*/ 898208 h 1704975"/>
                <a:gd name="connsiteX583" fmla="*/ 68580 w 1562100"/>
                <a:gd name="connsiteY583" fmla="*/ 882015 h 1704975"/>
                <a:gd name="connsiteX584" fmla="*/ 65722 w 1562100"/>
                <a:gd name="connsiteY584" fmla="*/ 858203 h 1704975"/>
                <a:gd name="connsiteX585" fmla="*/ 72390 w 1562100"/>
                <a:gd name="connsiteY585" fmla="*/ 855345 h 1704975"/>
                <a:gd name="connsiteX586" fmla="*/ 71438 w 1562100"/>
                <a:gd name="connsiteY586" fmla="*/ 851535 h 1704975"/>
                <a:gd name="connsiteX587" fmla="*/ 67627 w 1562100"/>
                <a:gd name="connsiteY587" fmla="*/ 846773 h 1704975"/>
                <a:gd name="connsiteX588" fmla="*/ 65722 w 1562100"/>
                <a:gd name="connsiteY588" fmla="*/ 842010 h 1704975"/>
                <a:gd name="connsiteX589" fmla="*/ 60007 w 1562100"/>
                <a:gd name="connsiteY589" fmla="*/ 818198 h 1704975"/>
                <a:gd name="connsiteX590" fmla="*/ 58102 w 1562100"/>
                <a:gd name="connsiteY590" fmla="*/ 812483 h 1704975"/>
                <a:gd name="connsiteX591" fmla="*/ 51435 w 1562100"/>
                <a:gd name="connsiteY591" fmla="*/ 807720 h 1704975"/>
                <a:gd name="connsiteX592" fmla="*/ 45720 w 1562100"/>
                <a:gd name="connsiteY592" fmla="*/ 806768 h 1704975"/>
                <a:gd name="connsiteX593" fmla="*/ 41910 w 1562100"/>
                <a:gd name="connsiteY593" fmla="*/ 804863 h 1704975"/>
                <a:gd name="connsiteX594" fmla="*/ 40005 w 1562100"/>
                <a:gd name="connsiteY594" fmla="*/ 795338 h 1704975"/>
                <a:gd name="connsiteX595" fmla="*/ 40957 w 1562100"/>
                <a:gd name="connsiteY595" fmla="*/ 783908 h 1704975"/>
                <a:gd name="connsiteX596" fmla="*/ 44767 w 1562100"/>
                <a:gd name="connsiteY596" fmla="*/ 778193 h 1704975"/>
                <a:gd name="connsiteX597" fmla="*/ 50482 w 1562100"/>
                <a:gd name="connsiteY597" fmla="*/ 776288 h 1704975"/>
                <a:gd name="connsiteX598" fmla="*/ 58102 w 1562100"/>
                <a:gd name="connsiteY598" fmla="*/ 778193 h 1704975"/>
                <a:gd name="connsiteX599" fmla="*/ 58102 w 1562100"/>
                <a:gd name="connsiteY599" fmla="*/ 771525 h 1704975"/>
                <a:gd name="connsiteX600" fmla="*/ 52388 w 1562100"/>
                <a:gd name="connsiteY600" fmla="*/ 769620 h 1704975"/>
                <a:gd name="connsiteX601" fmla="*/ 46672 w 1562100"/>
                <a:gd name="connsiteY601" fmla="*/ 765810 h 1704975"/>
                <a:gd name="connsiteX602" fmla="*/ 41910 w 1562100"/>
                <a:gd name="connsiteY602" fmla="*/ 759143 h 1704975"/>
                <a:gd name="connsiteX603" fmla="*/ 40005 w 1562100"/>
                <a:gd name="connsiteY603" fmla="*/ 748665 h 1704975"/>
                <a:gd name="connsiteX604" fmla="*/ 42863 w 1562100"/>
                <a:gd name="connsiteY604" fmla="*/ 741998 h 1704975"/>
                <a:gd name="connsiteX605" fmla="*/ 40957 w 1562100"/>
                <a:gd name="connsiteY605" fmla="*/ 735330 h 1704975"/>
                <a:gd name="connsiteX606" fmla="*/ 35242 w 1562100"/>
                <a:gd name="connsiteY606" fmla="*/ 729615 h 1704975"/>
                <a:gd name="connsiteX607" fmla="*/ 28575 w 1562100"/>
                <a:gd name="connsiteY607" fmla="*/ 724853 h 1704975"/>
                <a:gd name="connsiteX608" fmla="*/ 33338 w 1562100"/>
                <a:gd name="connsiteY608" fmla="*/ 721043 h 1704975"/>
                <a:gd name="connsiteX609" fmla="*/ 36195 w 1562100"/>
                <a:gd name="connsiteY609" fmla="*/ 717233 h 1704975"/>
                <a:gd name="connsiteX610" fmla="*/ 40005 w 1562100"/>
                <a:gd name="connsiteY610" fmla="*/ 707708 h 1704975"/>
                <a:gd name="connsiteX611" fmla="*/ 31432 w 1562100"/>
                <a:gd name="connsiteY611" fmla="*/ 703898 h 1704975"/>
                <a:gd name="connsiteX612" fmla="*/ 13335 w 1562100"/>
                <a:gd name="connsiteY612" fmla="*/ 698183 h 1704975"/>
                <a:gd name="connsiteX613" fmla="*/ 7620 w 1562100"/>
                <a:gd name="connsiteY613" fmla="*/ 690563 h 1704975"/>
                <a:gd name="connsiteX614" fmla="*/ 7620 w 1562100"/>
                <a:gd name="connsiteY614" fmla="*/ 684848 h 1704975"/>
                <a:gd name="connsiteX615" fmla="*/ 14288 w 1562100"/>
                <a:gd name="connsiteY615" fmla="*/ 680085 h 1704975"/>
                <a:gd name="connsiteX616" fmla="*/ 18097 w 1562100"/>
                <a:gd name="connsiteY616" fmla="*/ 679133 h 1704975"/>
                <a:gd name="connsiteX617" fmla="*/ 18097 w 1562100"/>
                <a:gd name="connsiteY617" fmla="*/ 673418 h 1704975"/>
                <a:gd name="connsiteX618" fmla="*/ 13335 w 1562100"/>
                <a:gd name="connsiteY618" fmla="*/ 670560 h 1704975"/>
                <a:gd name="connsiteX619" fmla="*/ 3810 w 1562100"/>
                <a:gd name="connsiteY619" fmla="*/ 661988 h 1704975"/>
                <a:gd name="connsiteX620" fmla="*/ 3810 w 1562100"/>
                <a:gd name="connsiteY620" fmla="*/ 655320 h 1704975"/>
                <a:gd name="connsiteX621" fmla="*/ 19050 w 1562100"/>
                <a:gd name="connsiteY621" fmla="*/ 641985 h 1704975"/>
                <a:gd name="connsiteX622" fmla="*/ 25717 w 1562100"/>
                <a:gd name="connsiteY622" fmla="*/ 639128 h 1704975"/>
                <a:gd name="connsiteX623" fmla="*/ 23813 w 1562100"/>
                <a:gd name="connsiteY623" fmla="*/ 630555 h 1704975"/>
                <a:gd name="connsiteX624" fmla="*/ 21907 w 1562100"/>
                <a:gd name="connsiteY624" fmla="*/ 626745 h 1704975"/>
                <a:gd name="connsiteX625" fmla="*/ 24765 w 1562100"/>
                <a:gd name="connsiteY625" fmla="*/ 624840 h 1704975"/>
                <a:gd name="connsiteX626" fmla="*/ 28575 w 1562100"/>
                <a:gd name="connsiteY626" fmla="*/ 618173 h 1704975"/>
                <a:gd name="connsiteX627" fmla="*/ 32385 w 1562100"/>
                <a:gd name="connsiteY627" fmla="*/ 615315 h 1704975"/>
                <a:gd name="connsiteX628" fmla="*/ 29527 w 1562100"/>
                <a:gd name="connsiteY628" fmla="*/ 602933 h 1704975"/>
                <a:gd name="connsiteX629" fmla="*/ 35242 w 1562100"/>
                <a:gd name="connsiteY629" fmla="*/ 584835 h 1704975"/>
                <a:gd name="connsiteX630" fmla="*/ 32385 w 1562100"/>
                <a:gd name="connsiteY630" fmla="*/ 573405 h 1704975"/>
                <a:gd name="connsiteX631" fmla="*/ 39052 w 1562100"/>
                <a:gd name="connsiteY631" fmla="*/ 571500 h 1704975"/>
                <a:gd name="connsiteX632" fmla="*/ 55245 w 1562100"/>
                <a:gd name="connsiteY632" fmla="*/ 571500 h 1704975"/>
                <a:gd name="connsiteX633" fmla="*/ 60960 w 1562100"/>
                <a:gd name="connsiteY633" fmla="*/ 568643 h 1704975"/>
                <a:gd name="connsiteX634" fmla="*/ 64770 w 1562100"/>
                <a:gd name="connsiteY634" fmla="*/ 560070 h 1704975"/>
                <a:gd name="connsiteX635" fmla="*/ 64770 w 1562100"/>
                <a:gd name="connsiteY635" fmla="*/ 549593 h 1704975"/>
                <a:gd name="connsiteX636" fmla="*/ 66675 w 1562100"/>
                <a:gd name="connsiteY636" fmla="*/ 540068 h 1704975"/>
                <a:gd name="connsiteX637" fmla="*/ 72390 w 1562100"/>
                <a:gd name="connsiteY637" fmla="*/ 533400 h 1704975"/>
                <a:gd name="connsiteX638" fmla="*/ 72390 w 1562100"/>
                <a:gd name="connsiteY638" fmla="*/ 527685 h 1704975"/>
                <a:gd name="connsiteX639" fmla="*/ 68580 w 1562100"/>
                <a:gd name="connsiteY639" fmla="*/ 526733 h 1704975"/>
                <a:gd name="connsiteX640" fmla="*/ 58102 w 1562100"/>
                <a:gd name="connsiteY640" fmla="*/ 521018 h 1704975"/>
                <a:gd name="connsiteX641" fmla="*/ 63817 w 1562100"/>
                <a:gd name="connsiteY641" fmla="*/ 514350 h 1704975"/>
                <a:gd name="connsiteX642" fmla="*/ 76200 w 1562100"/>
                <a:gd name="connsiteY642" fmla="*/ 506730 h 1704975"/>
                <a:gd name="connsiteX643" fmla="*/ 85725 w 1562100"/>
                <a:gd name="connsiteY643" fmla="*/ 496253 h 1704975"/>
                <a:gd name="connsiteX644" fmla="*/ 84772 w 1562100"/>
                <a:gd name="connsiteY644" fmla="*/ 482918 h 1704975"/>
                <a:gd name="connsiteX645" fmla="*/ 80963 w 1562100"/>
                <a:gd name="connsiteY645" fmla="*/ 475298 h 1704975"/>
                <a:gd name="connsiteX646" fmla="*/ 80963 w 1562100"/>
                <a:gd name="connsiteY646" fmla="*/ 471488 h 1704975"/>
                <a:gd name="connsiteX647" fmla="*/ 82867 w 1562100"/>
                <a:gd name="connsiteY647" fmla="*/ 469583 h 1704975"/>
                <a:gd name="connsiteX648" fmla="*/ 86677 w 1562100"/>
                <a:gd name="connsiteY648" fmla="*/ 462915 h 1704975"/>
                <a:gd name="connsiteX649" fmla="*/ 98107 w 1562100"/>
                <a:gd name="connsiteY649" fmla="*/ 447675 h 1704975"/>
                <a:gd name="connsiteX650" fmla="*/ 99060 w 1562100"/>
                <a:gd name="connsiteY650" fmla="*/ 444818 h 1704975"/>
                <a:gd name="connsiteX651" fmla="*/ 102870 w 1562100"/>
                <a:gd name="connsiteY651" fmla="*/ 442913 h 1704975"/>
                <a:gd name="connsiteX652" fmla="*/ 104775 w 1562100"/>
                <a:gd name="connsiteY652" fmla="*/ 437198 h 1704975"/>
                <a:gd name="connsiteX653" fmla="*/ 108585 w 1562100"/>
                <a:gd name="connsiteY653" fmla="*/ 431483 h 1704975"/>
                <a:gd name="connsiteX654" fmla="*/ 119063 w 1562100"/>
                <a:gd name="connsiteY654" fmla="*/ 425768 h 1704975"/>
                <a:gd name="connsiteX655" fmla="*/ 120967 w 1562100"/>
                <a:gd name="connsiteY655" fmla="*/ 418148 h 1704975"/>
                <a:gd name="connsiteX656" fmla="*/ 120967 w 1562100"/>
                <a:gd name="connsiteY656" fmla="*/ 410528 h 1704975"/>
                <a:gd name="connsiteX657" fmla="*/ 122872 w 1562100"/>
                <a:gd name="connsiteY657" fmla="*/ 404813 h 1704975"/>
                <a:gd name="connsiteX658" fmla="*/ 127635 w 1562100"/>
                <a:gd name="connsiteY658" fmla="*/ 403860 h 1704975"/>
                <a:gd name="connsiteX659" fmla="*/ 142875 w 1562100"/>
                <a:gd name="connsiteY659" fmla="*/ 404813 h 1704975"/>
                <a:gd name="connsiteX660" fmla="*/ 147638 w 1562100"/>
                <a:gd name="connsiteY660" fmla="*/ 402908 h 1704975"/>
                <a:gd name="connsiteX661" fmla="*/ 152400 w 1562100"/>
                <a:gd name="connsiteY661" fmla="*/ 397193 h 1704975"/>
                <a:gd name="connsiteX662" fmla="*/ 159067 w 1562100"/>
                <a:gd name="connsiteY662" fmla="*/ 387668 h 1704975"/>
                <a:gd name="connsiteX663" fmla="*/ 159067 w 1562100"/>
                <a:gd name="connsiteY663" fmla="*/ 381953 h 1704975"/>
                <a:gd name="connsiteX664" fmla="*/ 156210 w 1562100"/>
                <a:gd name="connsiteY664" fmla="*/ 378143 h 1704975"/>
                <a:gd name="connsiteX665" fmla="*/ 155257 w 1562100"/>
                <a:gd name="connsiteY665" fmla="*/ 372428 h 1704975"/>
                <a:gd name="connsiteX666" fmla="*/ 155257 w 1562100"/>
                <a:gd name="connsiteY666" fmla="*/ 369570 h 1704975"/>
                <a:gd name="connsiteX667" fmla="*/ 170497 w 1562100"/>
                <a:gd name="connsiteY667" fmla="*/ 363855 h 1704975"/>
                <a:gd name="connsiteX668" fmla="*/ 178117 w 1562100"/>
                <a:gd name="connsiteY668" fmla="*/ 359093 h 1704975"/>
                <a:gd name="connsiteX669" fmla="*/ 183832 w 1562100"/>
                <a:gd name="connsiteY669" fmla="*/ 353378 h 1704975"/>
                <a:gd name="connsiteX670" fmla="*/ 190500 w 1562100"/>
                <a:gd name="connsiteY670" fmla="*/ 347663 h 1704975"/>
                <a:gd name="connsiteX671" fmla="*/ 195263 w 1562100"/>
                <a:gd name="connsiteY671" fmla="*/ 340043 h 1704975"/>
                <a:gd name="connsiteX672" fmla="*/ 195263 w 1562100"/>
                <a:gd name="connsiteY672" fmla="*/ 332423 h 1704975"/>
                <a:gd name="connsiteX673" fmla="*/ 196215 w 1562100"/>
                <a:gd name="connsiteY673" fmla="*/ 327660 h 1704975"/>
                <a:gd name="connsiteX674" fmla="*/ 200025 w 1562100"/>
                <a:gd name="connsiteY674" fmla="*/ 321945 h 1704975"/>
                <a:gd name="connsiteX675" fmla="*/ 204788 w 1562100"/>
                <a:gd name="connsiteY675" fmla="*/ 319088 h 1704975"/>
                <a:gd name="connsiteX676" fmla="*/ 207645 w 1562100"/>
                <a:gd name="connsiteY676" fmla="*/ 317183 h 1704975"/>
                <a:gd name="connsiteX677" fmla="*/ 210502 w 1562100"/>
                <a:gd name="connsiteY677" fmla="*/ 319088 h 1704975"/>
                <a:gd name="connsiteX678" fmla="*/ 214313 w 1562100"/>
                <a:gd name="connsiteY678" fmla="*/ 323850 h 1704975"/>
                <a:gd name="connsiteX679" fmla="*/ 228600 w 1562100"/>
                <a:gd name="connsiteY679" fmla="*/ 322898 h 1704975"/>
                <a:gd name="connsiteX680" fmla="*/ 232410 w 1562100"/>
                <a:gd name="connsiteY680" fmla="*/ 311468 h 1704975"/>
                <a:gd name="connsiteX681" fmla="*/ 227647 w 1562100"/>
                <a:gd name="connsiteY681" fmla="*/ 300038 h 1704975"/>
                <a:gd name="connsiteX682" fmla="*/ 212407 w 1562100"/>
                <a:gd name="connsiteY682" fmla="*/ 298133 h 1704975"/>
                <a:gd name="connsiteX683" fmla="*/ 214313 w 1562100"/>
                <a:gd name="connsiteY683" fmla="*/ 294323 h 1704975"/>
                <a:gd name="connsiteX684" fmla="*/ 217170 w 1562100"/>
                <a:gd name="connsiteY684" fmla="*/ 285750 h 1704975"/>
                <a:gd name="connsiteX685" fmla="*/ 219075 w 1562100"/>
                <a:gd name="connsiteY685" fmla="*/ 280988 h 1704975"/>
                <a:gd name="connsiteX686" fmla="*/ 216217 w 1562100"/>
                <a:gd name="connsiteY686" fmla="*/ 266700 h 1704975"/>
                <a:gd name="connsiteX687" fmla="*/ 224790 w 1562100"/>
                <a:gd name="connsiteY687" fmla="*/ 258128 h 1704975"/>
                <a:gd name="connsiteX688" fmla="*/ 238125 w 1562100"/>
                <a:gd name="connsiteY688" fmla="*/ 253365 h 1704975"/>
                <a:gd name="connsiteX689" fmla="*/ 309563 w 1562100"/>
                <a:gd name="connsiteY689" fmla="*/ 249555 h 1704975"/>
                <a:gd name="connsiteX690" fmla="*/ 330517 w 1562100"/>
                <a:gd name="connsiteY690" fmla="*/ 251460 h 1704975"/>
                <a:gd name="connsiteX691" fmla="*/ 342900 w 1562100"/>
                <a:gd name="connsiteY691" fmla="*/ 259080 h 1704975"/>
                <a:gd name="connsiteX692" fmla="*/ 367665 w 1562100"/>
                <a:gd name="connsiteY692" fmla="*/ 280035 h 1704975"/>
                <a:gd name="connsiteX693" fmla="*/ 380047 w 1562100"/>
                <a:gd name="connsiteY693" fmla="*/ 284798 h 1704975"/>
                <a:gd name="connsiteX694" fmla="*/ 392430 w 1562100"/>
                <a:gd name="connsiteY694" fmla="*/ 279083 h 1704975"/>
                <a:gd name="connsiteX695" fmla="*/ 401002 w 1562100"/>
                <a:gd name="connsiteY695" fmla="*/ 264795 h 1704975"/>
                <a:gd name="connsiteX696" fmla="*/ 408622 w 1562100"/>
                <a:gd name="connsiteY696" fmla="*/ 247650 h 1704975"/>
                <a:gd name="connsiteX697" fmla="*/ 420052 w 1562100"/>
                <a:gd name="connsiteY697" fmla="*/ 234315 h 1704975"/>
                <a:gd name="connsiteX698" fmla="*/ 461010 w 1562100"/>
                <a:gd name="connsiteY698" fmla="*/ 216218 h 1704975"/>
                <a:gd name="connsiteX699" fmla="*/ 509588 w 1562100"/>
                <a:gd name="connsiteY699" fmla="*/ 216218 h 1704975"/>
                <a:gd name="connsiteX700" fmla="*/ 601980 w 1562100"/>
                <a:gd name="connsiteY700" fmla="*/ 234315 h 1704975"/>
                <a:gd name="connsiteX701" fmla="*/ 661988 w 1562100"/>
                <a:gd name="connsiteY701" fmla="*/ 231458 h 1704975"/>
                <a:gd name="connsiteX702" fmla="*/ 694372 w 1562100"/>
                <a:gd name="connsiteY702" fmla="*/ 228600 h 1704975"/>
                <a:gd name="connsiteX703" fmla="*/ 711518 w 1562100"/>
                <a:gd name="connsiteY703" fmla="*/ 231458 h 1704975"/>
                <a:gd name="connsiteX704" fmla="*/ 723900 w 1562100"/>
                <a:gd name="connsiteY704" fmla="*/ 243840 h 1704975"/>
                <a:gd name="connsiteX705" fmla="*/ 726757 w 1562100"/>
                <a:gd name="connsiteY705" fmla="*/ 257175 h 1704975"/>
                <a:gd name="connsiteX706" fmla="*/ 727710 w 1562100"/>
                <a:gd name="connsiteY706" fmla="*/ 273368 h 1704975"/>
                <a:gd name="connsiteX707" fmla="*/ 729615 w 1562100"/>
                <a:gd name="connsiteY707" fmla="*/ 286703 h 1704975"/>
                <a:gd name="connsiteX708" fmla="*/ 739140 w 1562100"/>
                <a:gd name="connsiteY708" fmla="*/ 292418 h 1704975"/>
                <a:gd name="connsiteX709" fmla="*/ 747713 w 1562100"/>
                <a:gd name="connsiteY709" fmla="*/ 290513 h 1704975"/>
                <a:gd name="connsiteX710" fmla="*/ 776288 w 1562100"/>
                <a:gd name="connsiteY710" fmla="*/ 276225 h 1704975"/>
                <a:gd name="connsiteX711" fmla="*/ 795338 w 1562100"/>
                <a:gd name="connsiteY711" fmla="*/ 274320 h 1704975"/>
                <a:gd name="connsiteX712" fmla="*/ 826770 w 1562100"/>
                <a:gd name="connsiteY712" fmla="*/ 282893 h 1704975"/>
                <a:gd name="connsiteX713" fmla="*/ 837247 w 1562100"/>
                <a:gd name="connsiteY713" fmla="*/ 282893 h 1704975"/>
                <a:gd name="connsiteX714" fmla="*/ 909638 w 1562100"/>
                <a:gd name="connsiteY714" fmla="*/ 248603 h 1704975"/>
                <a:gd name="connsiteX715" fmla="*/ 932497 w 1562100"/>
                <a:gd name="connsiteY715" fmla="*/ 229553 h 1704975"/>
                <a:gd name="connsiteX716" fmla="*/ 948690 w 1562100"/>
                <a:gd name="connsiteY716" fmla="*/ 196215 h 1704975"/>
                <a:gd name="connsiteX717" fmla="*/ 954405 w 1562100"/>
                <a:gd name="connsiteY717" fmla="*/ 144780 h 1704975"/>
                <a:gd name="connsiteX718" fmla="*/ 959168 w 1562100"/>
                <a:gd name="connsiteY718" fmla="*/ 129540 h 1704975"/>
                <a:gd name="connsiteX719" fmla="*/ 964882 w 1562100"/>
                <a:gd name="connsiteY719" fmla="*/ 123825 h 1704975"/>
                <a:gd name="connsiteX720" fmla="*/ 971550 w 1562100"/>
                <a:gd name="connsiteY720" fmla="*/ 120015 h 1704975"/>
                <a:gd name="connsiteX721" fmla="*/ 977265 w 1562100"/>
                <a:gd name="connsiteY721" fmla="*/ 115253 h 1704975"/>
                <a:gd name="connsiteX722" fmla="*/ 980122 w 1562100"/>
                <a:gd name="connsiteY722" fmla="*/ 104775 h 1704975"/>
                <a:gd name="connsiteX723" fmla="*/ 978218 w 1562100"/>
                <a:gd name="connsiteY723" fmla="*/ 98108 h 1704975"/>
                <a:gd name="connsiteX724" fmla="*/ 967740 w 1562100"/>
                <a:gd name="connsiteY724" fmla="*/ 80010 h 1704975"/>
                <a:gd name="connsiteX725" fmla="*/ 965835 w 1562100"/>
                <a:gd name="connsiteY725" fmla="*/ 70485 h 1704975"/>
                <a:gd name="connsiteX726" fmla="*/ 972502 w 1562100"/>
                <a:gd name="connsiteY726" fmla="*/ 40958 h 1704975"/>
                <a:gd name="connsiteX727" fmla="*/ 994410 w 1562100"/>
                <a:gd name="connsiteY727" fmla="*/ 36195 h 1704975"/>
                <a:gd name="connsiteX728" fmla="*/ 1040130 w 1562100"/>
                <a:gd name="connsiteY728" fmla="*/ 53340 h 1704975"/>
                <a:gd name="connsiteX729" fmla="*/ 1064895 w 1562100"/>
                <a:gd name="connsiteY729" fmla="*/ 45720 h 1704975"/>
                <a:gd name="connsiteX730" fmla="*/ 1168718 w 1562100"/>
                <a:gd name="connsiteY730" fmla="*/ 100965 h 1704975"/>
                <a:gd name="connsiteX731" fmla="*/ 1184910 w 1562100"/>
                <a:gd name="connsiteY731" fmla="*/ 100965 h 1704975"/>
                <a:gd name="connsiteX732" fmla="*/ 1216343 w 1562100"/>
                <a:gd name="connsiteY732" fmla="*/ 92393 h 1704975"/>
                <a:gd name="connsiteX733" fmla="*/ 1231582 w 1562100"/>
                <a:gd name="connsiteY733" fmla="*/ 92393 h 1704975"/>
                <a:gd name="connsiteX734" fmla="*/ 1240155 w 1562100"/>
                <a:gd name="connsiteY734" fmla="*/ 96203 h 1704975"/>
                <a:gd name="connsiteX735" fmla="*/ 1256347 w 1562100"/>
                <a:gd name="connsiteY735" fmla="*/ 109538 h 1704975"/>
                <a:gd name="connsiteX736" fmla="*/ 1265872 w 1562100"/>
                <a:gd name="connsiteY736" fmla="*/ 110490 h 1704975"/>
                <a:gd name="connsiteX737" fmla="*/ 1275397 w 1562100"/>
                <a:gd name="connsiteY737" fmla="*/ 105728 h 1704975"/>
                <a:gd name="connsiteX738" fmla="*/ 1329690 w 1562100"/>
                <a:gd name="connsiteY738" fmla="*/ 56198 h 1704975"/>
                <a:gd name="connsiteX739" fmla="*/ 1339215 w 1562100"/>
                <a:gd name="connsiteY739" fmla="*/ 51435 h 1704975"/>
                <a:gd name="connsiteX740" fmla="*/ 1343977 w 1562100"/>
                <a:gd name="connsiteY740" fmla="*/ 52388 h 1704975"/>
                <a:gd name="connsiteX741" fmla="*/ 1350645 w 1562100"/>
                <a:gd name="connsiteY741" fmla="*/ 56198 h 1704975"/>
                <a:gd name="connsiteX742" fmla="*/ 1355407 w 1562100"/>
                <a:gd name="connsiteY742" fmla="*/ 54293 h 1704975"/>
                <a:gd name="connsiteX743" fmla="*/ 1360170 w 1562100"/>
                <a:gd name="connsiteY743" fmla="*/ 50483 h 1704975"/>
                <a:gd name="connsiteX744" fmla="*/ 1365885 w 1562100"/>
                <a:gd name="connsiteY744" fmla="*/ 38100 h 1704975"/>
                <a:gd name="connsiteX745" fmla="*/ 1371600 w 1562100"/>
                <a:gd name="connsiteY745" fmla="*/ 35243 h 1704975"/>
                <a:gd name="connsiteX746" fmla="*/ 1381125 w 1562100"/>
                <a:gd name="connsiteY746" fmla="*/ 31433 h 1704975"/>
                <a:gd name="connsiteX747" fmla="*/ 1387793 w 1562100"/>
                <a:gd name="connsiteY747" fmla="*/ 24765 h 1704975"/>
                <a:gd name="connsiteX748" fmla="*/ 1402080 w 1562100"/>
                <a:gd name="connsiteY748" fmla="*/ 7620 h 1704975"/>
                <a:gd name="connsiteX749" fmla="*/ 1410652 w 1562100"/>
                <a:gd name="connsiteY749" fmla="*/ 1905 h 1704975"/>
                <a:gd name="connsiteX750" fmla="*/ 1417320 w 1562100"/>
                <a:gd name="connsiteY750" fmla="*/ 0 h 1704975"/>
                <a:gd name="connsiteX751" fmla="*/ 1468755 w 1562100"/>
                <a:gd name="connsiteY751" fmla="*/ 10477 h 1704975"/>
                <a:gd name="connsiteX752" fmla="*/ 1503045 w 1562100"/>
                <a:gd name="connsiteY752" fmla="*/ 9525 h 1704975"/>
                <a:gd name="connsiteX753" fmla="*/ 1512570 w 1562100"/>
                <a:gd name="connsiteY753" fmla="*/ 11430 h 1704975"/>
                <a:gd name="connsiteX754" fmla="*/ 1524952 w 1562100"/>
                <a:gd name="connsiteY754" fmla="*/ 20955 h 170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</a:cxnLst>
              <a:rect l="l" t="t" r="r" b="b"/>
              <a:pathLst>
                <a:path w="1562100" h="1704975">
                  <a:moveTo>
                    <a:pt x="1524952" y="20955"/>
                  </a:moveTo>
                  <a:lnTo>
                    <a:pt x="1523047" y="25718"/>
                  </a:lnTo>
                  <a:lnTo>
                    <a:pt x="1519238" y="40005"/>
                  </a:lnTo>
                  <a:lnTo>
                    <a:pt x="1517332" y="53340"/>
                  </a:lnTo>
                  <a:lnTo>
                    <a:pt x="1516380" y="59055"/>
                  </a:lnTo>
                  <a:lnTo>
                    <a:pt x="1509713" y="69533"/>
                  </a:lnTo>
                  <a:lnTo>
                    <a:pt x="1506855" y="75248"/>
                  </a:lnTo>
                  <a:lnTo>
                    <a:pt x="1505902" y="81915"/>
                  </a:lnTo>
                  <a:lnTo>
                    <a:pt x="1504950" y="98108"/>
                  </a:lnTo>
                  <a:lnTo>
                    <a:pt x="1503045" y="103823"/>
                  </a:lnTo>
                  <a:lnTo>
                    <a:pt x="1498282" y="112395"/>
                  </a:lnTo>
                  <a:lnTo>
                    <a:pt x="1483995" y="126683"/>
                  </a:lnTo>
                  <a:lnTo>
                    <a:pt x="1481138" y="137160"/>
                  </a:lnTo>
                  <a:lnTo>
                    <a:pt x="1483995" y="178118"/>
                  </a:lnTo>
                  <a:lnTo>
                    <a:pt x="1485900" y="185738"/>
                  </a:lnTo>
                  <a:lnTo>
                    <a:pt x="1487805" y="187643"/>
                  </a:lnTo>
                  <a:lnTo>
                    <a:pt x="1510665" y="195263"/>
                  </a:lnTo>
                  <a:lnTo>
                    <a:pt x="1513522" y="197168"/>
                  </a:lnTo>
                  <a:lnTo>
                    <a:pt x="1525905" y="209550"/>
                  </a:lnTo>
                  <a:lnTo>
                    <a:pt x="1535430" y="222885"/>
                  </a:lnTo>
                  <a:lnTo>
                    <a:pt x="1541145" y="229553"/>
                  </a:lnTo>
                  <a:lnTo>
                    <a:pt x="1543050" y="231458"/>
                  </a:lnTo>
                  <a:lnTo>
                    <a:pt x="1545907" y="239078"/>
                  </a:lnTo>
                  <a:lnTo>
                    <a:pt x="1547813" y="240983"/>
                  </a:lnTo>
                  <a:lnTo>
                    <a:pt x="1550670" y="241935"/>
                  </a:lnTo>
                  <a:lnTo>
                    <a:pt x="1566863" y="243840"/>
                  </a:lnTo>
                  <a:lnTo>
                    <a:pt x="1569720" y="244793"/>
                  </a:lnTo>
                  <a:lnTo>
                    <a:pt x="1570672" y="246698"/>
                  </a:lnTo>
                  <a:lnTo>
                    <a:pt x="1570672" y="250508"/>
                  </a:lnTo>
                  <a:lnTo>
                    <a:pt x="1569720" y="255270"/>
                  </a:lnTo>
                  <a:lnTo>
                    <a:pt x="1568768" y="260033"/>
                  </a:lnTo>
                  <a:lnTo>
                    <a:pt x="1564957" y="269558"/>
                  </a:lnTo>
                  <a:lnTo>
                    <a:pt x="1562100" y="273368"/>
                  </a:lnTo>
                  <a:lnTo>
                    <a:pt x="1559243" y="275273"/>
                  </a:lnTo>
                  <a:lnTo>
                    <a:pt x="1547813" y="278130"/>
                  </a:lnTo>
                  <a:lnTo>
                    <a:pt x="1535430" y="280035"/>
                  </a:lnTo>
                  <a:lnTo>
                    <a:pt x="1528763" y="279083"/>
                  </a:lnTo>
                  <a:lnTo>
                    <a:pt x="1525905" y="278130"/>
                  </a:lnTo>
                  <a:lnTo>
                    <a:pt x="1524000" y="277178"/>
                  </a:lnTo>
                  <a:lnTo>
                    <a:pt x="1521143" y="271463"/>
                  </a:lnTo>
                  <a:lnTo>
                    <a:pt x="1518285" y="267653"/>
                  </a:lnTo>
                  <a:lnTo>
                    <a:pt x="1516380" y="267653"/>
                  </a:lnTo>
                  <a:lnTo>
                    <a:pt x="1513522" y="268605"/>
                  </a:lnTo>
                  <a:lnTo>
                    <a:pt x="1511618" y="271463"/>
                  </a:lnTo>
                  <a:lnTo>
                    <a:pt x="1510665" y="277178"/>
                  </a:lnTo>
                  <a:lnTo>
                    <a:pt x="1510665" y="304800"/>
                  </a:lnTo>
                  <a:lnTo>
                    <a:pt x="1510665" y="308610"/>
                  </a:lnTo>
                  <a:lnTo>
                    <a:pt x="1509713" y="313373"/>
                  </a:lnTo>
                  <a:lnTo>
                    <a:pt x="1506855" y="318135"/>
                  </a:lnTo>
                  <a:lnTo>
                    <a:pt x="1500188" y="325755"/>
                  </a:lnTo>
                  <a:lnTo>
                    <a:pt x="1500188" y="327660"/>
                  </a:lnTo>
                  <a:lnTo>
                    <a:pt x="1503045" y="329565"/>
                  </a:lnTo>
                  <a:lnTo>
                    <a:pt x="1511618" y="343853"/>
                  </a:lnTo>
                  <a:lnTo>
                    <a:pt x="1512570" y="353378"/>
                  </a:lnTo>
                  <a:lnTo>
                    <a:pt x="1506855" y="362903"/>
                  </a:lnTo>
                  <a:lnTo>
                    <a:pt x="1477327" y="373380"/>
                  </a:lnTo>
                  <a:lnTo>
                    <a:pt x="1464945" y="375285"/>
                  </a:lnTo>
                  <a:lnTo>
                    <a:pt x="1457325" y="378143"/>
                  </a:lnTo>
                  <a:lnTo>
                    <a:pt x="1438275" y="394335"/>
                  </a:lnTo>
                  <a:lnTo>
                    <a:pt x="1432560" y="398145"/>
                  </a:lnTo>
                  <a:lnTo>
                    <a:pt x="1408747" y="396240"/>
                  </a:lnTo>
                  <a:lnTo>
                    <a:pt x="1398270" y="399098"/>
                  </a:lnTo>
                  <a:lnTo>
                    <a:pt x="1402080" y="409575"/>
                  </a:lnTo>
                  <a:lnTo>
                    <a:pt x="1402080" y="416243"/>
                  </a:lnTo>
                  <a:lnTo>
                    <a:pt x="1388745" y="420053"/>
                  </a:lnTo>
                  <a:lnTo>
                    <a:pt x="1383030" y="431483"/>
                  </a:lnTo>
                  <a:lnTo>
                    <a:pt x="1378268" y="444818"/>
                  </a:lnTo>
                  <a:lnTo>
                    <a:pt x="1367790" y="451485"/>
                  </a:lnTo>
                  <a:lnTo>
                    <a:pt x="1361122" y="458153"/>
                  </a:lnTo>
                  <a:lnTo>
                    <a:pt x="1351597" y="474345"/>
                  </a:lnTo>
                  <a:lnTo>
                    <a:pt x="1346835" y="494348"/>
                  </a:lnTo>
                  <a:lnTo>
                    <a:pt x="1349693" y="512445"/>
                  </a:lnTo>
                  <a:lnTo>
                    <a:pt x="1352550" y="519113"/>
                  </a:lnTo>
                  <a:lnTo>
                    <a:pt x="1358265" y="538163"/>
                  </a:lnTo>
                  <a:lnTo>
                    <a:pt x="1362075" y="544830"/>
                  </a:lnTo>
                  <a:lnTo>
                    <a:pt x="1365885" y="550545"/>
                  </a:lnTo>
                  <a:lnTo>
                    <a:pt x="1394460" y="579120"/>
                  </a:lnTo>
                  <a:lnTo>
                    <a:pt x="1394460" y="588645"/>
                  </a:lnTo>
                  <a:lnTo>
                    <a:pt x="1385888" y="600075"/>
                  </a:lnTo>
                  <a:lnTo>
                    <a:pt x="1384935" y="609600"/>
                  </a:lnTo>
                  <a:lnTo>
                    <a:pt x="1386840" y="617220"/>
                  </a:lnTo>
                  <a:lnTo>
                    <a:pt x="1388745" y="620078"/>
                  </a:lnTo>
                  <a:lnTo>
                    <a:pt x="1391602" y="621983"/>
                  </a:lnTo>
                  <a:lnTo>
                    <a:pt x="1394460" y="622935"/>
                  </a:lnTo>
                  <a:lnTo>
                    <a:pt x="1396365" y="625793"/>
                  </a:lnTo>
                  <a:lnTo>
                    <a:pt x="1397318" y="629603"/>
                  </a:lnTo>
                  <a:lnTo>
                    <a:pt x="1399222" y="663893"/>
                  </a:lnTo>
                  <a:lnTo>
                    <a:pt x="1401127" y="667703"/>
                  </a:lnTo>
                  <a:lnTo>
                    <a:pt x="1403985" y="669608"/>
                  </a:lnTo>
                  <a:lnTo>
                    <a:pt x="1407795" y="673418"/>
                  </a:lnTo>
                  <a:lnTo>
                    <a:pt x="1409700" y="676275"/>
                  </a:lnTo>
                  <a:lnTo>
                    <a:pt x="1409700" y="678180"/>
                  </a:lnTo>
                  <a:lnTo>
                    <a:pt x="1408747" y="681038"/>
                  </a:lnTo>
                  <a:lnTo>
                    <a:pt x="1405890" y="682943"/>
                  </a:lnTo>
                  <a:lnTo>
                    <a:pt x="1397318" y="685800"/>
                  </a:lnTo>
                  <a:lnTo>
                    <a:pt x="1394460" y="688658"/>
                  </a:lnTo>
                  <a:lnTo>
                    <a:pt x="1393507" y="693420"/>
                  </a:lnTo>
                  <a:lnTo>
                    <a:pt x="1394460" y="703898"/>
                  </a:lnTo>
                  <a:lnTo>
                    <a:pt x="1395413" y="709613"/>
                  </a:lnTo>
                  <a:lnTo>
                    <a:pt x="1398270" y="713423"/>
                  </a:lnTo>
                  <a:lnTo>
                    <a:pt x="1408747" y="722948"/>
                  </a:lnTo>
                  <a:lnTo>
                    <a:pt x="1410652" y="724853"/>
                  </a:lnTo>
                  <a:lnTo>
                    <a:pt x="1412557" y="729615"/>
                  </a:lnTo>
                  <a:lnTo>
                    <a:pt x="1410652" y="733425"/>
                  </a:lnTo>
                  <a:lnTo>
                    <a:pt x="1403032" y="743903"/>
                  </a:lnTo>
                  <a:lnTo>
                    <a:pt x="1401127" y="744855"/>
                  </a:lnTo>
                  <a:lnTo>
                    <a:pt x="1396365" y="742950"/>
                  </a:lnTo>
                  <a:lnTo>
                    <a:pt x="1380172" y="734378"/>
                  </a:lnTo>
                  <a:lnTo>
                    <a:pt x="1378268" y="734378"/>
                  </a:lnTo>
                  <a:lnTo>
                    <a:pt x="1378268" y="736283"/>
                  </a:lnTo>
                  <a:lnTo>
                    <a:pt x="1383030" y="753428"/>
                  </a:lnTo>
                  <a:lnTo>
                    <a:pt x="1383030" y="757238"/>
                  </a:lnTo>
                  <a:lnTo>
                    <a:pt x="1383030" y="761048"/>
                  </a:lnTo>
                  <a:lnTo>
                    <a:pt x="1380172" y="765810"/>
                  </a:lnTo>
                  <a:lnTo>
                    <a:pt x="1377315" y="767715"/>
                  </a:lnTo>
                  <a:lnTo>
                    <a:pt x="1372552" y="770573"/>
                  </a:lnTo>
                  <a:lnTo>
                    <a:pt x="1371600" y="774383"/>
                  </a:lnTo>
                  <a:lnTo>
                    <a:pt x="1370647" y="781050"/>
                  </a:lnTo>
                  <a:lnTo>
                    <a:pt x="1373505" y="794385"/>
                  </a:lnTo>
                  <a:lnTo>
                    <a:pt x="1375410" y="800100"/>
                  </a:lnTo>
                  <a:lnTo>
                    <a:pt x="1378268" y="803910"/>
                  </a:lnTo>
                  <a:lnTo>
                    <a:pt x="1382077" y="807720"/>
                  </a:lnTo>
                  <a:lnTo>
                    <a:pt x="1382077" y="811530"/>
                  </a:lnTo>
                  <a:lnTo>
                    <a:pt x="1378268" y="817245"/>
                  </a:lnTo>
                  <a:lnTo>
                    <a:pt x="1377315" y="821055"/>
                  </a:lnTo>
                  <a:lnTo>
                    <a:pt x="1377315" y="825818"/>
                  </a:lnTo>
                  <a:lnTo>
                    <a:pt x="1378268" y="832485"/>
                  </a:lnTo>
                  <a:lnTo>
                    <a:pt x="1378268" y="842010"/>
                  </a:lnTo>
                  <a:lnTo>
                    <a:pt x="1376363" y="846773"/>
                  </a:lnTo>
                  <a:lnTo>
                    <a:pt x="1374457" y="849630"/>
                  </a:lnTo>
                  <a:lnTo>
                    <a:pt x="1372552" y="851535"/>
                  </a:lnTo>
                  <a:lnTo>
                    <a:pt x="1366838" y="854393"/>
                  </a:lnTo>
                  <a:lnTo>
                    <a:pt x="1356360" y="856298"/>
                  </a:lnTo>
                  <a:lnTo>
                    <a:pt x="1349693" y="856298"/>
                  </a:lnTo>
                  <a:lnTo>
                    <a:pt x="1343025" y="854393"/>
                  </a:lnTo>
                  <a:lnTo>
                    <a:pt x="1341120" y="852488"/>
                  </a:lnTo>
                  <a:lnTo>
                    <a:pt x="1338263" y="847725"/>
                  </a:lnTo>
                  <a:lnTo>
                    <a:pt x="1334452" y="837248"/>
                  </a:lnTo>
                  <a:lnTo>
                    <a:pt x="1332547" y="834390"/>
                  </a:lnTo>
                  <a:lnTo>
                    <a:pt x="1330643" y="832485"/>
                  </a:lnTo>
                  <a:lnTo>
                    <a:pt x="1324927" y="830580"/>
                  </a:lnTo>
                  <a:lnTo>
                    <a:pt x="1322070" y="831533"/>
                  </a:lnTo>
                  <a:lnTo>
                    <a:pt x="1318260" y="836295"/>
                  </a:lnTo>
                  <a:lnTo>
                    <a:pt x="1314450" y="843915"/>
                  </a:lnTo>
                  <a:lnTo>
                    <a:pt x="1314450" y="846773"/>
                  </a:lnTo>
                  <a:lnTo>
                    <a:pt x="1314450" y="851535"/>
                  </a:lnTo>
                  <a:lnTo>
                    <a:pt x="1317307" y="856298"/>
                  </a:lnTo>
                  <a:lnTo>
                    <a:pt x="1322070" y="865823"/>
                  </a:lnTo>
                  <a:lnTo>
                    <a:pt x="1323975" y="871538"/>
                  </a:lnTo>
                  <a:lnTo>
                    <a:pt x="1325880" y="875348"/>
                  </a:lnTo>
                  <a:lnTo>
                    <a:pt x="1327785" y="877253"/>
                  </a:lnTo>
                  <a:lnTo>
                    <a:pt x="1330643" y="877253"/>
                  </a:lnTo>
                  <a:lnTo>
                    <a:pt x="1337310" y="877253"/>
                  </a:lnTo>
                  <a:lnTo>
                    <a:pt x="1339215" y="878205"/>
                  </a:lnTo>
                  <a:lnTo>
                    <a:pt x="1341120" y="880110"/>
                  </a:lnTo>
                  <a:lnTo>
                    <a:pt x="1343025" y="882015"/>
                  </a:lnTo>
                  <a:lnTo>
                    <a:pt x="1343025" y="885825"/>
                  </a:lnTo>
                  <a:lnTo>
                    <a:pt x="1343025" y="889635"/>
                  </a:lnTo>
                  <a:lnTo>
                    <a:pt x="1341120" y="897255"/>
                  </a:lnTo>
                  <a:lnTo>
                    <a:pt x="1340168" y="902018"/>
                  </a:lnTo>
                  <a:lnTo>
                    <a:pt x="1340168" y="906780"/>
                  </a:lnTo>
                  <a:lnTo>
                    <a:pt x="1342072" y="911543"/>
                  </a:lnTo>
                  <a:lnTo>
                    <a:pt x="1343977" y="914400"/>
                  </a:lnTo>
                  <a:lnTo>
                    <a:pt x="1350645" y="920115"/>
                  </a:lnTo>
                  <a:lnTo>
                    <a:pt x="1352550" y="922973"/>
                  </a:lnTo>
                  <a:lnTo>
                    <a:pt x="1352550" y="924878"/>
                  </a:lnTo>
                  <a:lnTo>
                    <a:pt x="1349693" y="931545"/>
                  </a:lnTo>
                  <a:lnTo>
                    <a:pt x="1347788" y="934403"/>
                  </a:lnTo>
                  <a:lnTo>
                    <a:pt x="1347788" y="939165"/>
                  </a:lnTo>
                  <a:lnTo>
                    <a:pt x="1350645" y="949643"/>
                  </a:lnTo>
                  <a:lnTo>
                    <a:pt x="1351597" y="952500"/>
                  </a:lnTo>
                  <a:lnTo>
                    <a:pt x="1350645" y="955358"/>
                  </a:lnTo>
                  <a:lnTo>
                    <a:pt x="1348740" y="959168"/>
                  </a:lnTo>
                  <a:lnTo>
                    <a:pt x="1345882" y="961073"/>
                  </a:lnTo>
                  <a:lnTo>
                    <a:pt x="1331595" y="968693"/>
                  </a:lnTo>
                  <a:lnTo>
                    <a:pt x="1329690" y="972503"/>
                  </a:lnTo>
                  <a:lnTo>
                    <a:pt x="1329690" y="977265"/>
                  </a:lnTo>
                  <a:lnTo>
                    <a:pt x="1330643" y="986790"/>
                  </a:lnTo>
                  <a:lnTo>
                    <a:pt x="1329690" y="992505"/>
                  </a:lnTo>
                  <a:lnTo>
                    <a:pt x="1328738" y="998220"/>
                  </a:lnTo>
                  <a:lnTo>
                    <a:pt x="1323975" y="1002983"/>
                  </a:lnTo>
                  <a:lnTo>
                    <a:pt x="1296352" y="1012508"/>
                  </a:lnTo>
                  <a:lnTo>
                    <a:pt x="1294447" y="1015365"/>
                  </a:lnTo>
                  <a:lnTo>
                    <a:pt x="1293495" y="1020128"/>
                  </a:lnTo>
                  <a:lnTo>
                    <a:pt x="1293495" y="1031558"/>
                  </a:lnTo>
                  <a:lnTo>
                    <a:pt x="1296352" y="1039178"/>
                  </a:lnTo>
                  <a:lnTo>
                    <a:pt x="1297305" y="1043940"/>
                  </a:lnTo>
                  <a:lnTo>
                    <a:pt x="1298257" y="1047750"/>
                  </a:lnTo>
                  <a:lnTo>
                    <a:pt x="1296352" y="1053465"/>
                  </a:lnTo>
                  <a:lnTo>
                    <a:pt x="1295400" y="1056323"/>
                  </a:lnTo>
                  <a:lnTo>
                    <a:pt x="1283018" y="1078230"/>
                  </a:lnTo>
                  <a:lnTo>
                    <a:pt x="1282065" y="1082993"/>
                  </a:lnTo>
                  <a:lnTo>
                    <a:pt x="1284922" y="1085850"/>
                  </a:lnTo>
                  <a:lnTo>
                    <a:pt x="1304925" y="1091565"/>
                  </a:lnTo>
                  <a:lnTo>
                    <a:pt x="1324927" y="1101090"/>
                  </a:lnTo>
                  <a:lnTo>
                    <a:pt x="1331595" y="1102043"/>
                  </a:lnTo>
                  <a:lnTo>
                    <a:pt x="1342072" y="1099185"/>
                  </a:lnTo>
                  <a:lnTo>
                    <a:pt x="1344930" y="1099185"/>
                  </a:lnTo>
                  <a:lnTo>
                    <a:pt x="1346835" y="1101090"/>
                  </a:lnTo>
                  <a:lnTo>
                    <a:pt x="1347788" y="1102995"/>
                  </a:lnTo>
                  <a:lnTo>
                    <a:pt x="1348740" y="1105853"/>
                  </a:lnTo>
                  <a:lnTo>
                    <a:pt x="1347788" y="1109663"/>
                  </a:lnTo>
                  <a:lnTo>
                    <a:pt x="1344930" y="1113473"/>
                  </a:lnTo>
                  <a:lnTo>
                    <a:pt x="1337310" y="1118235"/>
                  </a:lnTo>
                  <a:lnTo>
                    <a:pt x="1336357" y="1121093"/>
                  </a:lnTo>
                  <a:lnTo>
                    <a:pt x="1337310" y="1123950"/>
                  </a:lnTo>
                  <a:lnTo>
                    <a:pt x="1342072" y="1128713"/>
                  </a:lnTo>
                  <a:lnTo>
                    <a:pt x="1346835" y="1132523"/>
                  </a:lnTo>
                  <a:lnTo>
                    <a:pt x="1358265" y="1138238"/>
                  </a:lnTo>
                  <a:lnTo>
                    <a:pt x="1385888" y="1143953"/>
                  </a:lnTo>
                  <a:lnTo>
                    <a:pt x="1388745" y="1143953"/>
                  </a:lnTo>
                  <a:lnTo>
                    <a:pt x="1390650" y="1142048"/>
                  </a:lnTo>
                  <a:lnTo>
                    <a:pt x="1392555" y="1140143"/>
                  </a:lnTo>
                  <a:lnTo>
                    <a:pt x="1403032" y="1116330"/>
                  </a:lnTo>
                  <a:lnTo>
                    <a:pt x="1404938" y="1114425"/>
                  </a:lnTo>
                  <a:lnTo>
                    <a:pt x="1407795" y="1114425"/>
                  </a:lnTo>
                  <a:lnTo>
                    <a:pt x="1414463" y="1116330"/>
                  </a:lnTo>
                  <a:lnTo>
                    <a:pt x="1420177" y="1119188"/>
                  </a:lnTo>
                  <a:lnTo>
                    <a:pt x="1422082" y="1121093"/>
                  </a:lnTo>
                  <a:lnTo>
                    <a:pt x="1423035" y="1124903"/>
                  </a:lnTo>
                  <a:lnTo>
                    <a:pt x="1418272" y="1134428"/>
                  </a:lnTo>
                  <a:lnTo>
                    <a:pt x="1410652" y="1149668"/>
                  </a:lnTo>
                  <a:lnTo>
                    <a:pt x="1404938" y="1155383"/>
                  </a:lnTo>
                  <a:lnTo>
                    <a:pt x="1396365" y="1164908"/>
                  </a:lnTo>
                  <a:lnTo>
                    <a:pt x="1395413" y="1166813"/>
                  </a:lnTo>
                  <a:lnTo>
                    <a:pt x="1395413" y="1173480"/>
                  </a:lnTo>
                  <a:lnTo>
                    <a:pt x="1397318" y="1177290"/>
                  </a:lnTo>
                  <a:lnTo>
                    <a:pt x="1399222" y="1180148"/>
                  </a:lnTo>
                  <a:lnTo>
                    <a:pt x="1409700" y="1189673"/>
                  </a:lnTo>
                  <a:lnTo>
                    <a:pt x="1411605" y="1192530"/>
                  </a:lnTo>
                  <a:lnTo>
                    <a:pt x="1412557" y="1197293"/>
                  </a:lnTo>
                  <a:lnTo>
                    <a:pt x="1410652" y="1205865"/>
                  </a:lnTo>
                  <a:lnTo>
                    <a:pt x="1410652" y="1224915"/>
                  </a:lnTo>
                  <a:lnTo>
                    <a:pt x="1410652" y="1234440"/>
                  </a:lnTo>
                  <a:lnTo>
                    <a:pt x="1409700" y="1239203"/>
                  </a:lnTo>
                  <a:lnTo>
                    <a:pt x="1408747" y="1244918"/>
                  </a:lnTo>
                  <a:lnTo>
                    <a:pt x="1403985" y="1252538"/>
                  </a:lnTo>
                  <a:lnTo>
                    <a:pt x="1400175" y="1254443"/>
                  </a:lnTo>
                  <a:lnTo>
                    <a:pt x="1397318" y="1256348"/>
                  </a:lnTo>
                  <a:lnTo>
                    <a:pt x="1395413" y="1257300"/>
                  </a:lnTo>
                  <a:lnTo>
                    <a:pt x="1393507" y="1260158"/>
                  </a:lnTo>
                  <a:lnTo>
                    <a:pt x="1391602" y="1264920"/>
                  </a:lnTo>
                  <a:lnTo>
                    <a:pt x="1379220" y="1312545"/>
                  </a:lnTo>
                  <a:lnTo>
                    <a:pt x="1378268" y="1321118"/>
                  </a:lnTo>
                  <a:lnTo>
                    <a:pt x="1378268" y="1336358"/>
                  </a:lnTo>
                  <a:lnTo>
                    <a:pt x="1378268" y="1344930"/>
                  </a:lnTo>
                  <a:lnTo>
                    <a:pt x="1380172" y="1351598"/>
                  </a:lnTo>
                  <a:lnTo>
                    <a:pt x="1381125" y="1355408"/>
                  </a:lnTo>
                  <a:lnTo>
                    <a:pt x="1386840" y="1361123"/>
                  </a:lnTo>
                  <a:lnTo>
                    <a:pt x="1393507" y="1366838"/>
                  </a:lnTo>
                  <a:lnTo>
                    <a:pt x="1397318" y="1368743"/>
                  </a:lnTo>
                  <a:lnTo>
                    <a:pt x="1400175" y="1370648"/>
                  </a:lnTo>
                  <a:lnTo>
                    <a:pt x="1402080" y="1374458"/>
                  </a:lnTo>
                  <a:lnTo>
                    <a:pt x="1402080" y="1380173"/>
                  </a:lnTo>
                  <a:lnTo>
                    <a:pt x="1400175" y="1385888"/>
                  </a:lnTo>
                  <a:lnTo>
                    <a:pt x="1396365" y="1391603"/>
                  </a:lnTo>
                  <a:lnTo>
                    <a:pt x="1391602" y="1395413"/>
                  </a:lnTo>
                  <a:lnTo>
                    <a:pt x="1387793" y="1398270"/>
                  </a:lnTo>
                  <a:lnTo>
                    <a:pt x="1384935" y="1402080"/>
                  </a:lnTo>
                  <a:lnTo>
                    <a:pt x="1383030" y="1407795"/>
                  </a:lnTo>
                  <a:lnTo>
                    <a:pt x="1381125" y="1416368"/>
                  </a:lnTo>
                  <a:lnTo>
                    <a:pt x="1381125" y="1429703"/>
                  </a:lnTo>
                  <a:lnTo>
                    <a:pt x="1380172" y="1432560"/>
                  </a:lnTo>
                  <a:lnTo>
                    <a:pt x="1379220" y="1436370"/>
                  </a:lnTo>
                  <a:lnTo>
                    <a:pt x="1375410" y="1440180"/>
                  </a:lnTo>
                  <a:lnTo>
                    <a:pt x="1369695" y="1443038"/>
                  </a:lnTo>
                  <a:lnTo>
                    <a:pt x="1367790" y="1445895"/>
                  </a:lnTo>
                  <a:lnTo>
                    <a:pt x="1366838" y="1448753"/>
                  </a:lnTo>
                  <a:lnTo>
                    <a:pt x="1367790" y="1454468"/>
                  </a:lnTo>
                  <a:lnTo>
                    <a:pt x="1369695" y="1463993"/>
                  </a:lnTo>
                  <a:lnTo>
                    <a:pt x="1369695" y="1467803"/>
                  </a:lnTo>
                  <a:lnTo>
                    <a:pt x="1368743" y="1478280"/>
                  </a:lnTo>
                  <a:lnTo>
                    <a:pt x="1363980" y="1497330"/>
                  </a:lnTo>
                  <a:lnTo>
                    <a:pt x="1345882" y="1549718"/>
                  </a:lnTo>
                  <a:lnTo>
                    <a:pt x="1325880" y="1588770"/>
                  </a:lnTo>
                  <a:lnTo>
                    <a:pt x="1318260" y="1598295"/>
                  </a:lnTo>
                  <a:lnTo>
                    <a:pt x="1305877" y="1604010"/>
                  </a:lnTo>
                  <a:lnTo>
                    <a:pt x="1299210" y="1607820"/>
                  </a:lnTo>
                  <a:lnTo>
                    <a:pt x="1296352" y="1611630"/>
                  </a:lnTo>
                  <a:lnTo>
                    <a:pt x="1293495" y="1615440"/>
                  </a:lnTo>
                  <a:lnTo>
                    <a:pt x="1290638" y="1624965"/>
                  </a:lnTo>
                  <a:lnTo>
                    <a:pt x="1287780" y="1627823"/>
                  </a:lnTo>
                  <a:lnTo>
                    <a:pt x="1284922" y="1629728"/>
                  </a:lnTo>
                  <a:lnTo>
                    <a:pt x="1276350" y="1632585"/>
                  </a:lnTo>
                  <a:lnTo>
                    <a:pt x="1263968" y="1640205"/>
                  </a:lnTo>
                  <a:lnTo>
                    <a:pt x="1261110" y="1644015"/>
                  </a:lnTo>
                  <a:lnTo>
                    <a:pt x="1258252" y="1647825"/>
                  </a:lnTo>
                  <a:lnTo>
                    <a:pt x="1255395" y="1656398"/>
                  </a:lnTo>
                  <a:lnTo>
                    <a:pt x="1252538" y="1664018"/>
                  </a:lnTo>
                  <a:lnTo>
                    <a:pt x="1249680" y="1666875"/>
                  </a:lnTo>
                  <a:lnTo>
                    <a:pt x="1246822" y="1668780"/>
                  </a:lnTo>
                  <a:lnTo>
                    <a:pt x="1242060" y="1670685"/>
                  </a:lnTo>
                  <a:lnTo>
                    <a:pt x="1223010" y="1672590"/>
                  </a:lnTo>
                  <a:lnTo>
                    <a:pt x="1214438" y="1674495"/>
                  </a:lnTo>
                  <a:lnTo>
                    <a:pt x="1169670" y="1699260"/>
                  </a:lnTo>
                  <a:lnTo>
                    <a:pt x="1150620" y="1699260"/>
                  </a:lnTo>
                  <a:lnTo>
                    <a:pt x="1147763" y="1698308"/>
                  </a:lnTo>
                  <a:lnTo>
                    <a:pt x="1145857" y="1693545"/>
                  </a:lnTo>
                  <a:lnTo>
                    <a:pt x="1143000" y="1691640"/>
                  </a:lnTo>
                  <a:lnTo>
                    <a:pt x="1138238" y="1691640"/>
                  </a:lnTo>
                  <a:lnTo>
                    <a:pt x="1117282" y="1695450"/>
                  </a:lnTo>
                  <a:lnTo>
                    <a:pt x="1063943" y="1693545"/>
                  </a:lnTo>
                  <a:lnTo>
                    <a:pt x="1051560" y="1689735"/>
                  </a:lnTo>
                  <a:lnTo>
                    <a:pt x="1049655" y="1686878"/>
                  </a:lnTo>
                  <a:lnTo>
                    <a:pt x="1046797" y="1682115"/>
                  </a:lnTo>
                  <a:lnTo>
                    <a:pt x="1044893" y="1677353"/>
                  </a:lnTo>
                  <a:lnTo>
                    <a:pt x="1042988" y="1668780"/>
                  </a:lnTo>
                  <a:lnTo>
                    <a:pt x="1041082" y="1663065"/>
                  </a:lnTo>
                  <a:lnTo>
                    <a:pt x="1038225" y="1659255"/>
                  </a:lnTo>
                  <a:lnTo>
                    <a:pt x="1035368" y="1658303"/>
                  </a:lnTo>
                  <a:lnTo>
                    <a:pt x="1031557" y="1658303"/>
                  </a:lnTo>
                  <a:lnTo>
                    <a:pt x="1023938" y="1658303"/>
                  </a:lnTo>
                  <a:lnTo>
                    <a:pt x="1020127" y="1659255"/>
                  </a:lnTo>
                  <a:lnTo>
                    <a:pt x="1003935" y="1670685"/>
                  </a:lnTo>
                  <a:lnTo>
                    <a:pt x="1001077" y="1671638"/>
                  </a:lnTo>
                  <a:lnTo>
                    <a:pt x="999172" y="1670685"/>
                  </a:lnTo>
                  <a:lnTo>
                    <a:pt x="995363" y="1665923"/>
                  </a:lnTo>
                  <a:lnTo>
                    <a:pt x="990600" y="1660208"/>
                  </a:lnTo>
                  <a:lnTo>
                    <a:pt x="988695" y="1658303"/>
                  </a:lnTo>
                  <a:lnTo>
                    <a:pt x="984885" y="1657350"/>
                  </a:lnTo>
                  <a:lnTo>
                    <a:pt x="971550" y="1658303"/>
                  </a:lnTo>
                  <a:lnTo>
                    <a:pt x="938213" y="1673543"/>
                  </a:lnTo>
                  <a:lnTo>
                    <a:pt x="934402" y="1677353"/>
                  </a:lnTo>
                  <a:lnTo>
                    <a:pt x="930593" y="1681163"/>
                  </a:lnTo>
                  <a:lnTo>
                    <a:pt x="920115" y="1699260"/>
                  </a:lnTo>
                  <a:lnTo>
                    <a:pt x="914400" y="1705928"/>
                  </a:lnTo>
                  <a:lnTo>
                    <a:pt x="908685" y="1709738"/>
                  </a:lnTo>
                  <a:lnTo>
                    <a:pt x="903922" y="1711643"/>
                  </a:lnTo>
                  <a:lnTo>
                    <a:pt x="901065" y="1711643"/>
                  </a:lnTo>
                  <a:lnTo>
                    <a:pt x="898207" y="1710690"/>
                  </a:lnTo>
                  <a:lnTo>
                    <a:pt x="894397" y="1706880"/>
                  </a:lnTo>
                  <a:lnTo>
                    <a:pt x="891540" y="1705928"/>
                  </a:lnTo>
                  <a:lnTo>
                    <a:pt x="860107" y="1705928"/>
                  </a:lnTo>
                  <a:lnTo>
                    <a:pt x="827722" y="1686878"/>
                  </a:lnTo>
                  <a:lnTo>
                    <a:pt x="824865" y="1683068"/>
                  </a:lnTo>
                  <a:lnTo>
                    <a:pt x="822007" y="1678305"/>
                  </a:lnTo>
                  <a:lnTo>
                    <a:pt x="824865" y="1674495"/>
                  </a:lnTo>
                  <a:lnTo>
                    <a:pt x="832485" y="1666875"/>
                  </a:lnTo>
                  <a:lnTo>
                    <a:pt x="833438" y="1664018"/>
                  </a:lnTo>
                  <a:lnTo>
                    <a:pt x="833438" y="1660208"/>
                  </a:lnTo>
                  <a:lnTo>
                    <a:pt x="832485" y="1658303"/>
                  </a:lnTo>
                  <a:lnTo>
                    <a:pt x="829627" y="1656398"/>
                  </a:lnTo>
                  <a:lnTo>
                    <a:pt x="823913" y="1655445"/>
                  </a:lnTo>
                  <a:lnTo>
                    <a:pt x="817245" y="1656398"/>
                  </a:lnTo>
                  <a:lnTo>
                    <a:pt x="813435" y="1656398"/>
                  </a:lnTo>
                  <a:lnTo>
                    <a:pt x="808672" y="1655445"/>
                  </a:lnTo>
                  <a:lnTo>
                    <a:pt x="801052" y="1651635"/>
                  </a:lnTo>
                  <a:lnTo>
                    <a:pt x="797243" y="1648778"/>
                  </a:lnTo>
                  <a:lnTo>
                    <a:pt x="794385" y="1645920"/>
                  </a:lnTo>
                  <a:lnTo>
                    <a:pt x="792480" y="1641158"/>
                  </a:lnTo>
                  <a:lnTo>
                    <a:pt x="791527" y="1635443"/>
                  </a:lnTo>
                  <a:lnTo>
                    <a:pt x="791527" y="1627823"/>
                  </a:lnTo>
                  <a:lnTo>
                    <a:pt x="790575" y="1622108"/>
                  </a:lnTo>
                  <a:lnTo>
                    <a:pt x="788670" y="1619250"/>
                  </a:lnTo>
                  <a:lnTo>
                    <a:pt x="786765" y="1617345"/>
                  </a:lnTo>
                  <a:lnTo>
                    <a:pt x="774382" y="1606868"/>
                  </a:lnTo>
                  <a:lnTo>
                    <a:pt x="772477" y="1602105"/>
                  </a:lnTo>
                  <a:lnTo>
                    <a:pt x="772477" y="1598295"/>
                  </a:lnTo>
                  <a:lnTo>
                    <a:pt x="773430" y="1595438"/>
                  </a:lnTo>
                  <a:lnTo>
                    <a:pt x="776288" y="1590675"/>
                  </a:lnTo>
                  <a:lnTo>
                    <a:pt x="782002" y="1582103"/>
                  </a:lnTo>
                  <a:lnTo>
                    <a:pt x="783907" y="1581150"/>
                  </a:lnTo>
                  <a:lnTo>
                    <a:pt x="786765" y="1580198"/>
                  </a:lnTo>
                  <a:lnTo>
                    <a:pt x="798195" y="1582103"/>
                  </a:lnTo>
                  <a:lnTo>
                    <a:pt x="801052" y="1580198"/>
                  </a:lnTo>
                  <a:lnTo>
                    <a:pt x="802957" y="1578293"/>
                  </a:lnTo>
                  <a:lnTo>
                    <a:pt x="803910" y="1572578"/>
                  </a:lnTo>
                  <a:lnTo>
                    <a:pt x="804863" y="1561148"/>
                  </a:lnTo>
                  <a:lnTo>
                    <a:pt x="803910" y="1549718"/>
                  </a:lnTo>
                  <a:lnTo>
                    <a:pt x="801052" y="1544955"/>
                  </a:lnTo>
                  <a:lnTo>
                    <a:pt x="798195" y="1542098"/>
                  </a:lnTo>
                  <a:lnTo>
                    <a:pt x="776288" y="1542098"/>
                  </a:lnTo>
                  <a:lnTo>
                    <a:pt x="769620" y="1541145"/>
                  </a:lnTo>
                  <a:lnTo>
                    <a:pt x="766763" y="1540193"/>
                  </a:lnTo>
                  <a:lnTo>
                    <a:pt x="762000" y="1536383"/>
                  </a:lnTo>
                  <a:lnTo>
                    <a:pt x="757238" y="1530668"/>
                  </a:lnTo>
                  <a:lnTo>
                    <a:pt x="738188" y="1504950"/>
                  </a:lnTo>
                  <a:lnTo>
                    <a:pt x="731520" y="1500188"/>
                  </a:lnTo>
                  <a:lnTo>
                    <a:pt x="716280" y="1484948"/>
                  </a:lnTo>
                  <a:lnTo>
                    <a:pt x="710565" y="1481138"/>
                  </a:lnTo>
                  <a:lnTo>
                    <a:pt x="705802" y="1479233"/>
                  </a:lnTo>
                  <a:lnTo>
                    <a:pt x="694372" y="1480185"/>
                  </a:lnTo>
                  <a:lnTo>
                    <a:pt x="683895" y="1483995"/>
                  </a:lnTo>
                  <a:lnTo>
                    <a:pt x="679132" y="1486853"/>
                  </a:lnTo>
                  <a:lnTo>
                    <a:pt x="678180" y="1489710"/>
                  </a:lnTo>
                  <a:lnTo>
                    <a:pt x="677227" y="1498283"/>
                  </a:lnTo>
                  <a:lnTo>
                    <a:pt x="676275" y="1501140"/>
                  </a:lnTo>
                  <a:lnTo>
                    <a:pt x="673418" y="1504950"/>
                  </a:lnTo>
                  <a:lnTo>
                    <a:pt x="672465" y="1507808"/>
                  </a:lnTo>
                  <a:lnTo>
                    <a:pt x="672465" y="1510665"/>
                  </a:lnTo>
                  <a:lnTo>
                    <a:pt x="672465" y="1516380"/>
                  </a:lnTo>
                  <a:lnTo>
                    <a:pt x="672465" y="1518285"/>
                  </a:lnTo>
                  <a:lnTo>
                    <a:pt x="670560" y="1520190"/>
                  </a:lnTo>
                  <a:lnTo>
                    <a:pt x="665797" y="1522095"/>
                  </a:lnTo>
                  <a:lnTo>
                    <a:pt x="663893" y="1524000"/>
                  </a:lnTo>
                  <a:lnTo>
                    <a:pt x="657225" y="1533525"/>
                  </a:lnTo>
                  <a:lnTo>
                    <a:pt x="653415" y="1538288"/>
                  </a:lnTo>
                  <a:lnTo>
                    <a:pt x="651510" y="1539240"/>
                  </a:lnTo>
                  <a:lnTo>
                    <a:pt x="647700" y="1539240"/>
                  </a:lnTo>
                  <a:lnTo>
                    <a:pt x="626745" y="1537335"/>
                  </a:lnTo>
                  <a:lnTo>
                    <a:pt x="621030" y="1538288"/>
                  </a:lnTo>
                  <a:lnTo>
                    <a:pt x="616268" y="1541145"/>
                  </a:lnTo>
                  <a:lnTo>
                    <a:pt x="612457" y="1544955"/>
                  </a:lnTo>
                  <a:lnTo>
                    <a:pt x="609600" y="1549718"/>
                  </a:lnTo>
                  <a:lnTo>
                    <a:pt x="607695" y="1551623"/>
                  </a:lnTo>
                  <a:lnTo>
                    <a:pt x="604838" y="1552575"/>
                  </a:lnTo>
                  <a:lnTo>
                    <a:pt x="599122" y="1553528"/>
                  </a:lnTo>
                  <a:lnTo>
                    <a:pt x="596265" y="1554480"/>
                  </a:lnTo>
                  <a:lnTo>
                    <a:pt x="592455" y="1557338"/>
                  </a:lnTo>
                  <a:lnTo>
                    <a:pt x="586740" y="1564005"/>
                  </a:lnTo>
                  <a:lnTo>
                    <a:pt x="584835" y="1565910"/>
                  </a:lnTo>
                  <a:lnTo>
                    <a:pt x="582930" y="1567815"/>
                  </a:lnTo>
                  <a:lnTo>
                    <a:pt x="580072" y="1567815"/>
                  </a:lnTo>
                  <a:lnTo>
                    <a:pt x="572452" y="1566863"/>
                  </a:lnTo>
                  <a:lnTo>
                    <a:pt x="569595" y="1567815"/>
                  </a:lnTo>
                  <a:lnTo>
                    <a:pt x="567690" y="1568768"/>
                  </a:lnTo>
                  <a:lnTo>
                    <a:pt x="562927" y="1572578"/>
                  </a:lnTo>
                  <a:lnTo>
                    <a:pt x="558165" y="1574483"/>
                  </a:lnTo>
                  <a:lnTo>
                    <a:pt x="555307" y="1574483"/>
                  </a:lnTo>
                  <a:lnTo>
                    <a:pt x="522922" y="1566863"/>
                  </a:lnTo>
                  <a:lnTo>
                    <a:pt x="518160" y="1567815"/>
                  </a:lnTo>
                  <a:lnTo>
                    <a:pt x="514350" y="1570673"/>
                  </a:lnTo>
                  <a:lnTo>
                    <a:pt x="508635" y="1577340"/>
                  </a:lnTo>
                  <a:lnTo>
                    <a:pt x="502920" y="1582103"/>
                  </a:lnTo>
                  <a:lnTo>
                    <a:pt x="461963" y="1571625"/>
                  </a:lnTo>
                  <a:lnTo>
                    <a:pt x="451485" y="1570673"/>
                  </a:lnTo>
                  <a:lnTo>
                    <a:pt x="443865" y="1570673"/>
                  </a:lnTo>
                  <a:lnTo>
                    <a:pt x="441007" y="1572578"/>
                  </a:lnTo>
                  <a:lnTo>
                    <a:pt x="438150" y="1573530"/>
                  </a:lnTo>
                  <a:lnTo>
                    <a:pt x="432435" y="1575435"/>
                  </a:lnTo>
                  <a:lnTo>
                    <a:pt x="428625" y="1573530"/>
                  </a:lnTo>
                  <a:lnTo>
                    <a:pt x="425767" y="1572578"/>
                  </a:lnTo>
                  <a:lnTo>
                    <a:pt x="421005" y="1568768"/>
                  </a:lnTo>
                  <a:lnTo>
                    <a:pt x="416242" y="1566863"/>
                  </a:lnTo>
                  <a:lnTo>
                    <a:pt x="410527" y="1566863"/>
                  </a:lnTo>
                  <a:lnTo>
                    <a:pt x="406717" y="1565910"/>
                  </a:lnTo>
                  <a:lnTo>
                    <a:pt x="403860" y="1564958"/>
                  </a:lnTo>
                  <a:lnTo>
                    <a:pt x="401955" y="1563053"/>
                  </a:lnTo>
                  <a:lnTo>
                    <a:pt x="399097" y="1558290"/>
                  </a:lnTo>
                  <a:lnTo>
                    <a:pt x="397192" y="1553528"/>
                  </a:lnTo>
                  <a:lnTo>
                    <a:pt x="398145" y="1542098"/>
                  </a:lnTo>
                  <a:lnTo>
                    <a:pt x="397192" y="1538288"/>
                  </a:lnTo>
                  <a:lnTo>
                    <a:pt x="395288" y="1534478"/>
                  </a:lnTo>
                  <a:lnTo>
                    <a:pt x="392430" y="1532573"/>
                  </a:lnTo>
                  <a:lnTo>
                    <a:pt x="388620" y="1531620"/>
                  </a:lnTo>
                  <a:lnTo>
                    <a:pt x="378142" y="1532573"/>
                  </a:lnTo>
                  <a:lnTo>
                    <a:pt x="375285" y="1530668"/>
                  </a:lnTo>
                  <a:lnTo>
                    <a:pt x="372427" y="1528763"/>
                  </a:lnTo>
                  <a:lnTo>
                    <a:pt x="357188" y="1513523"/>
                  </a:lnTo>
                  <a:lnTo>
                    <a:pt x="354330" y="1508760"/>
                  </a:lnTo>
                  <a:lnTo>
                    <a:pt x="353377" y="1505903"/>
                  </a:lnTo>
                  <a:lnTo>
                    <a:pt x="354330" y="1503045"/>
                  </a:lnTo>
                  <a:lnTo>
                    <a:pt x="355282" y="1496378"/>
                  </a:lnTo>
                  <a:lnTo>
                    <a:pt x="357188" y="1493520"/>
                  </a:lnTo>
                  <a:lnTo>
                    <a:pt x="359092" y="1492568"/>
                  </a:lnTo>
                  <a:lnTo>
                    <a:pt x="364807" y="1493520"/>
                  </a:lnTo>
                  <a:lnTo>
                    <a:pt x="366713" y="1492568"/>
                  </a:lnTo>
                  <a:lnTo>
                    <a:pt x="368617" y="1490663"/>
                  </a:lnTo>
                  <a:lnTo>
                    <a:pt x="372427" y="1485900"/>
                  </a:lnTo>
                  <a:lnTo>
                    <a:pt x="374332" y="1480185"/>
                  </a:lnTo>
                  <a:lnTo>
                    <a:pt x="375285" y="1476375"/>
                  </a:lnTo>
                  <a:lnTo>
                    <a:pt x="375285" y="1469708"/>
                  </a:lnTo>
                  <a:lnTo>
                    <a:pt x="374332" y="1461135"/>
                  </a:lnTo>
                  <a:lnTo>
                    <a:pt x="371475" y="1449705"/>
                  </a:lnTo>
                  <a:lnTo>
                    <a:pt x="369570" y="1444943"/>
                  </a:lnTo>
                  <a:lnTo>
                    <a:pt x="367665" y="1440180"/>
                  </a:lnTo>
                  <a:lnTo>
                    <a:pt x="363855" y="1435418"/>
                  </a:lnTo>
                  <a:lnTo>
                    <a:pt x="357188" y="1427798"/>
                  </a:lnTo>
                  <a:lnTo>
                    <a:pt x="344805" y="1417320"/>
                  </a:lnTo>
                  <a:lnTo>
                    <a:pt x="342900" y="1414463"/>
                  </a:lnTo>
                  <a:lnTo>
                    <a:pt x="342900" y="1406843"/>
                  </a:lnTo>
                  <a:lnTo>
                    <a:pt x="342900" y="1403033"/>
                  </a:lnTo>
                  <a:lnTo>
                    <a:pt x="340995" y="1401128"/>
                  </a:lnTo>
                  <a:lnTo>
                    <a:pt x="337185" y="1400175"/>
                  </a:lnTo>
                  <a:lnTo>
                    <a:pt x="329565" y="1399223"/>
                  </a:lnTo>
                  <a:lnTo>
                    <a:pt x="321945" y="1398270"/>
                  </a:lnTo>
                  <a:lnTo>
                    <a:pt x="319088" y="1396365"/>
                  </a:lnTo>
                  <a:lnTo>
                    <a:pt x="317182" y="1393508"/>
                  </a:lnTo>
                  <a:lnTo>
                    <a:pt x="317182" y="1390650"/>
                  </a:lnTo>
                  <a:lnTo>
                    <a:pt x="319088" y="1383983"/>
                  </a:lnTo>
                  <a:lnTo>
                    <a:pt x="320040" y="1381125"/>
                  </a:lnTo>
                  <a:lnTo>
                    <a:pt x="319088" y="1378268"/>
                  </a:lnTo>
                  <a:lnTo>
                    <a:pt x="315277" y="1373505"/>
                  </a:lnTo>
                  <a:lnTo>
                    <a:pt x="310515" y="1366838"/>
                  </a:lnTo>
                  <a:lnTo>
                    <a:pt x="308610" y="1362075"/>
                  </a:lnTo>
                  <a:lnTo>
                    <a:pt x="306705" y="1359218"/>
                  </a:lnTo>
                  <a:lnTo>
                    <a:pt x="302895" y="1358265"/>
                  </a:lnTo>
                  <a:lnTo>
                    <a:pt x="300038" y="1358265"/>
                  </a:lnTo>
                  <a:lnTo>
                    <a:pt x="295275" y="1361123"/>
                  </a:lnTo>
                  <a:lnTo>
                    <a:pt x="289560" y="1365885"/>
                  </a:lnTo>
                  <a:lnTo>
                    <a:pt x="286702" y="1366838"/>
                  </a:lnTo>
                  <a:lnTo>
                    <a:pt x="280988" y="1368743"/>
                  </a:lnTo>
                  <a:lnTo>
                    <a:pt x="275272" y="1368743"/>
                  </a:lnTo>
                  <a:lnTo>
                    <a:pt x="246697" y="1366838"/>
                  </a:lnTo>
                  <a:lnTo>
                    <a:pt x="240030" y="1366838"/>
                  </a:lnTo>
                  <a:lnTo>
                    <a:pt x="234315" y="1368743"/>
                  </a:lnTo>
                  <a:lnTo>
                    <a:pt x="226695" y="1376363"/>
                  </a:lnTo>
                  <a:lnTo>
                    <a:pt x="222885" y="1377315"/>
                  </a:lnTo>
                  <a:lnTo>
                    <a:pt x="216217" y="1376363"/>
                  </a:lnTo>
                  <a:lnTo>
                    <a:pt x="191452" y="1369695"/>
                  </a:lnTo>
                  <a:lnTo>
                    <a:pt x="188595" y="1370648"/>
                  </a:lnTo>
                  <a:lnTo>
                    <a:pt x="186690" y="1371600"/>
                  </a:lnTo>
                  <a:lnTo>
                    <a:pt x="182880" y="1380173"/>
                  </a:lnTo>
                  <a:lnTo>
                    <a:pt x="180022" y="1382078"/>
                  </a:lnTo>
                  <a:lnTo>
                    <a:pt x="177165" y="1383983"/>
                  </a:lnTo>
                  <a:lnTo>
                    <a:pt x="172402" y="1384935"/>
                  </a:lnTo>
                  <a:lnTo>
                    <a:pt x="169545" y="1383983"/>
                  </a:lnTo>
                  <a:lnTo>
                    <a:pt x="167640" y="1382078"/>
                  </a:lnTo>
                  <a:lnTo>
                    <a:pt x="163830" y="1377315"/>
                  </a:lnTo>
                  <a:lnTo>
                    <a:pt x="160972" y="1373505"/>
                  </a:lnTo>
                  <a:lnTo>
                    <a:pt x="155257" y="1367790"/>
                  </a:lnTo>
                  <a:lnTo>
                    <a:pt x="150495" y="1365885"/>
                  </a:lnTo>
                  <a:lnTo>
                    <a:pt x="146685" y="1364933"/>
                  </a:lnTo>
                  <a:lnTo>
                    <a:pt x="131445" y="1369695"/>
                  </a:lnTo>
                  <a:lnTo>
                    <a:pt x="125730" y="1369695"/>
                  </a:lnTo>
                  <a:lnTo>
                    <a:pt x="122872" y="1367790"/>
                  </a:lnTo>
                  <a:lnTo>
                    <a:pt x="120967" y="1365885"/>
                  </a:lnTo>
                  <a:lnTo>
                    <a:pt x="120967" y="1362075"/>
                  </a:lnTo>
                  <a:lnTo>
                    <a:pt x="122872" y="1357313"/>
                  </a:lnTo>
                  <a:lnTo>
                    <a:pt x="130492" y="1343978"/>
                  </a:lnTo>
                  <a:lnTo>
                    <a:pt x="135255" y="1332548"/>
                  </a:lnTo>
                  <a:lnTo>
                    <a:pt x="139065" y="1323023"/>
                  </a:lnTo>
                  <a:lnTo>
                    <a:pt x="140017" y="1316355"/>
                  </a:lnTo>
                  <a:lnTo>
                    <a:pt x="142875" y="1298258"/>
                  </a:lnTo>
                  <a:lnTo>
                    <a:pt x="142875" y="1296353"/>
                  </a:lnTo>
                  <a:lnTo>
                    <a:pt x="140970" y="1292543"/>
                  </a:lnTo>
                  <a:lnTo>
                    <a:pt x="136207" y="1287780"/>
                  </a:lnTo>
                  <a:lnTo>
                    <a:pt x="119063" y="1274445"/>
                  </a:lnTo>
                  <a:lnTo>
                    <a:pt x="114300" y="1271588"/>
                  </a:lnTo>
                  <a:lnTo>
                    <a:pt x="85725" y="1261110"/>
                  </a:lnTo>
                  <a:lnTo>
                    <a:pt x="80963" y="1258253"/>
                  </a:lnTo>
                  <a:lnTo>
                    <a:pt x="77152" y="1255395"/>
                  </a:lnTo>
                  <a:lnTo>
                    <a:pt x="76200" y="1252538"/>
                  </a:lnTo>
                  <a:lnTo>
                    <a:pt x="75247" y="1246823"/>
                  </a:lnTo>
                  <a:lnTo>
                    <a:pt x="75247" y="1240155"/>
                  </a:lnTo>
                  <a:lnTo>
                    <a:pt x="76200" y="1236345"/>
                  </a:lnTo>
                  <a:lnTo>
                    <a:pt x="79057" y="1222058"/>
                  </a:lnTo>
                  <a:lnTo>
                    <a:pt x="81915" y="1207770"/>
                  </a:lnTo>
                  <a:lnTo>
                    <a:pt x="81915" y="1201103"/>
                  </a:lnTo>
                  <a:lnTo>
                    <a:pt x="80963" y="1194435"/>
                  </a:lnTo>
                  <a:lnTo>
                    <a:pt x="79057" y="1185863"/>
                  </a:lnTo>
                  <a:lnTo>
                    <a:pt x="77152" y="1181100"/>
                  </a:lnTo>
                  <a:lnTo>
                    <a:pt x="74295" y="1177290"/>
                  </a:lnTo>
                  <a:lnTo>
                    <a:pt x="60960" y="1164908"/>
                  </a:lnTo>
                  <a:lnTo>
                    <a:pt x="56197" y="1162050"/>
                  </a:lnTo>
                  <a:lnTo>
                    <a:pt x="51435" y="1161098"/>
                  </a:lnTo>
                  <a:lnTo>
                    <a:pt x="48577" y="1161098"/>
                  </a:lnTo>
                  <a:lnTo>
                    <a:pt x="43815" y="1161098"/>
                  </a:lnTo>
                  <a:lnTo>
                    <a:pt x="37147" y="1159193"/>
                  </a:lnTo>
                  <a:lnTo>
                    <a:pt x="31432" y="1154430"/>
                  </a:lnTo>
                  <a:lnTo>
                    <a:pt x="24765" y="1150620"/>
                  </a:lnTo>
                  <a:lnTo>
                    <a:pt x="21907" y="1150620"/>
                  </a:lnTo>
                  <a:lnTo>
                    <a:pt x="20002" y="1152525"/>
                  </a:lnTo>
                  <a:lnTo>
                    <a:pt x="15240" y="1156335"/>
                  </a:lnTo>
                  <a:lnTo>
                    <a:pt x="12382" y="1158240"/>
                  </a:lnTo>
                  <a:lnTo>
                    <a:pt x="6667" y="1158240"/>
                  </a:lnTo>
                  <a:lnTo>
                    <a:pt x="3810" y="1156335"/>
                  </a:lnTo>
                  <a:lnTo>
                    <a:pt x="2857" y="1154430"/>
                  </a:lnTo>
                  <a:lnTo>
                    <a:pt x="1905" y="1150620"/>
                  </a:lnTo>
                  <a:lnTo>
                    <a:pt x="0" y="1125855"/>
                  </a:lnTo>
                  <a:lnTo>
                    <a:pt x="952" y="1074420"/>
                  </a:lnTo>
                  <a:lnTo>
                    <a:pt x="1905" y="1066800"/>
                  </a:lnTo>
                  <a:lnTo>
                    <a:pt x="11430" y="1020128"/>
                  </a:lnTo>
                  <a:lnTo>
                    <a:pt x="12382" y="1013460"/>
                  </a:lnTo>
                  <a:lnTo>
                    <a:pt x="11430" y="1006793"/>
                  </a:lnTo>
                  <a:lnTo>
                    <a:pt x="10477" y="1001078"/>
                  </a:lnTo>
                  <a:lnTo>
                    <a:pt x="3810" y="984885"/>
                  </a:lnTo>
                  <a:lnTo>
                    <a:pt x="2857" y="980123"/>
                  </a:lnTo>
                  <a:lnTo>
                    <a:pt x="3810" y="976313"/>
                  </a:lnTo>
                  <a:lnTo>
                    <a:pt x="5715" y="974408"/>
                  </a:lnTo>
                  <a:lnTo>
                    <a:pt x="8572" y="973455"/>
                  </a:lnTo>
                  <a:lnTo>
                    <a:pt x="19050" y="974408"/>
                  </a:lnTo>
                  <a:lnTo>
                    <a:pt x="21907" y="974408"/>
                  </a:lnTo>
                  <a:lnTo>
                    <a:pt x="23813" y="972503"/>
                  </a:lnTo>
                  <a:lnTo>
                    <a:pt x="24765" y="970598"/>
                  </a:lnTo>
                  <a:lnTo>
                    <a:pt x="25717" y="967740"/>
                  </a:lnTo>
                  <a:lnTo>
                    <a:pt x="24765" y="961073"/>
                  </a:lnTo>
                  <a:lnTo>
                    <a:pt x="24765" y="960120"/>
                  </a:lnTo>
                  <a:lnTo>
                    <a:pt x="25717" y="940118"/>
                  </a:lnTo>
                  <a:lnTo>
                    <a:pt x="26670" y="938213"/>
                  </a:lnTo>
                  <a:lnTo>
                    <a:pt x="36195" y="922020"/>
                  </a:lnTo>
                  <a:lnTo>
                    <a:pt x="37147" y="909638"/>
                  </a:lnTo>
                  <a:lnTo>
                    <a:pt x="53340" y="898208"/>
                  </a:lnTo>
                  <a:lnTo>
                    <a:pt x="68580" y="882015"/>
                  </a:lnTo>
                  <a:lnTo>
                    <a:pt x="65722" y="858203"/>
                  </a:lnTo>
                  <a:lnTo>
                    <a:pt x="72390" y="855345"/>
                  </a:lnTo>
                  <a:lnTo>
                    <a:pt x="71438" y="851535"/>
                  </a:lnTo>
                  <a:lnTo>
                    <a:pt x="67627" y="846773"/>
                  </a:lnTo>
                  <a:lnTo>
                    <a:pt x="65722" y="842010"/>
                  </a:lnTo>
                  <a:lnTo>
                    <a:pt x="60007" y="818198"/>
                  </a:lnTo>
                  <a:lnTo>
                    <a:pt x="58102" y="812483"/>
                  </a:lnTo>
                  <a:lnTo>
                    <a:pt x="51435" y="807720"/>
                  </a:lnTo>
                  <a:lnTo>
                    <a:pt x="45720" y="806768"/>
                  </a:lnTo>
                  <a:lnTo>
                    <a:pt x="41910" y="804863"/>
                  </a:lnTo>
                  <a:lnTo>
                    <a:pt x="40005" y="795338"/>
                  </a:lnTo>
                  <a:lnTo>
                    <a:pt x="40957" y="783908"/>
                  </a:lnTo>
                  <a:lnTo>
                    <a:pt x="44767" y="778193"/>
                  </a:lnTo>
                  <a:lnTo>
                    <a:pt x="50482" y="776288"/>
                  </a:lnTo>
                  <a:lnTo>
                    <a:pt x="58102" y="778193"/>
                  </a:lnTo>
                  <a:lnTo>
                    <a:pt x="58102" y="771525"/>
                  </a:lnTo>
                  <a:lnTo>
                    <a:pt x="52388" y="769620"/>
                  </a:lnTo>
                  <a:lnTo>
                    <a:pt x="46672" y="765810"/>
                  </a:lnTo>
                  <a:lnTo>
                    <a:pt x="41910" y="759143"/>
                  </a:lnTo>
                  <a:lnTo>
                    <a:pt x="40005" y="748665"/>
                  </a:lnTo>
                  <a:lnTo>
                    <a:pt x="42863" y="741998"/>
                  </a:lnTo>
                  <a:lnTo>
                    <a:pt x="40957" y="735330"/>
                  </a:lnTo>
                  <a:lnTo>
                    <a:pt x="35242" y="729615"/>
                  </a:lnTo>
                  <a:lnTo>
                    <a:pt x="28575" y="724853"/>
                  </a:lnTo>
                  <a:lnTo>
                    <a:pt x="33338" y="721043"/>
                  </a:lnTo>
                  <a:lnTo>
                    <a:pt x="36195" y="717233"/>
                  </a:lnTo>
                  <a:lnTo>
                    <a:pt x="40005" y="707708"/>
                  </a:lnTo>
                  <a:lnTo>
                    <a:pt x="31432" y="703898"/>
                  </a:lnTo>
                  <a:lnTo>
                    <a:pt x="13335" y="698183"/>
                  </a:lnTo>
                  <a:lnTo>
                    <a:pt x="7620" y="690563"/>
                  </a:lnTo>
                  <a:lnTo>
                    <a:pt x="7620" y="684848"/>
                  </a:lnTo>
                  <a:lnTo>
                    <a:pt x="14288" y="680085"/>
                  </a:lnTo>
                  <a:lnTo>
                    <a:pt x="18097" y="679133"/>
                  </a:lnTo>
                  <a:lnTo>
                    <a:pt x="18097" y="673418"/>
                  </a:lnTo>
                  <a:lnTo>
                    <a:pt x="13335" y="670560"/>
                  </a:lnTo>
                  <a:lnTo>
                    <a:pt x="3810" y="661988"/>
                  </a:lnTo>
                  <a:lnTo>
                    <a:pt x="3810" y="655320"/>
                  </a:lnTo>
                  <a:lnTo>
                    <a:pt x="19050" y="641985"/>
                  </a:lnTo>
                  <a:lnTo>
                    <a:pt x="25717" y="639128"/>
                  </a:lnTo>
                  <a:lnTo>
                    <a:pt x="23813" y="630555"/>
                  </a:lnTo>
                  <a:lnTo>
                    <a:pt x="21907" y="626745"/>
                  </a:lnTo>
                  <a:lnTo>
                    <a:pt x="24765" y="624840"/>
                  </a:lnTo>
                  <a:lnTo>
                    <a:pt x="28575" y="618173"/>
                  </a:lnTo>
                  <a:lnTo>
                    <a:pt x="32385" y="615315"/>
                  </a:lnTo>
                  <a:lnTo>
                    <a:pt x="29527" y="602933"/>
                  </a:lnTo>
                  <a:lnTo>
                    <a:pt x="35242" y="584835"/>
                  </a:lnTo>
                  <a:lnTo>
                    <a:pt x="32385" y="573405"/>
                  </a:lnTo>
                  <a:lnTo>
                    <a:pt x="39052" y="571500"/>
                  </a:lnTo>
                  <a:lnTo>
                    <a:pt x="55245" y="571500"/>
                  </a:lnTo>
                  <a:lnTo>
                    <a:pt x="60960" y="568643"/>
                  </a:lnTo>
                  <a:lnTo>
                    <a:pt x="64770" y="560070"/>
                  </a:lnTo>
                  <a:lnTo>
                    <a:pt x="64770" y="549593"/>
                  </a:lnTo>
                  <a:lnTo>
                    <a:pt x="66675" y="540068"/>
                  </a:lnTo>
                  <a:lnTo>
                    <a:pt x="72390" y="533400"/>
                  </a:lnTo>
                  <a:lnTo>
                    <a:pt x="72390" y="527685"/>
                  </a:lnTo>
                  <a:lnTo>
                    <a:pt x="68580" y="526733"/>
                  </a:lnTo>
                  <a:lnTo>
                    <a:pt x="58102" y="521018"/>
                  </a:lnTo>
                  <a:lnTo>
                    <a:pt x="63817" y="514350"/>
                  </a:lnTo>
                  <a:lnTo>
                    <a:pt x="76200" y="506730"/>
                  </a:lnTo>
                  <a:lnTo>
                    <a:pt x="85725" y="496253"/>
                  </a:lnTo>
                  <a:lnTo>
                    <a:pt x="84772" y="482918"/>
                  </a:lnTo>
                  <a:lnTo>
                    <a:pt x="80963" y="475298"/>
                  </a:lnTo>
                  <a:lnTo>
                    <a:pt x="80963" y="471488"/>
                  </a:lnTo>
                  <a:lnTo>
                    <a:pt x="82867" y="469583"/>
                  </a:lnTo>
                  <a:lnTo>
                    <a:pt x="86677" y="462915"/>
                  </a:lnTo>
                  <a:lnTo>
                    <a:pt x="98107" y="447675"/>
                  </a:lnTo>
                  <a:lnTo>
                    <a:pt x="99060" y="444818"/>
                  </a:lnTo>
                  <a:lnTo>
                    <a:pt x="102870" y="442913"/>
                  </a:lnTo>
                  <a:lnTo>
                    <a:pt x="104775" y="437198"/>
                  </a:lnTo>
                  <a:lnTo>
                    <a:pt x="108585" y="431483"/>
                  </a:lnTo>
                  <a:lnTo>
                    <a:pt x="119063" y="425768"/>
                  </a:lnTo>
                  <a:lnTo>
                    <a:pt x="120967" y="418148"/>
                  </a:lnTo>
                  <a:lnTo>
                    <a:pt x="120967" y="410528"/>
                  </a:lnTo>
                  <a:lnTo>
                    <a:pt x="122872" y="404813"/>
                  </a:lnTo>
                  <a:lnTo>
                    <a:pt x="127635" y="403860"/>
                  </a:lnTo>
                  <a:lnTo>
                    <a:pt x="142875" y="404813"/>
                  </a:lnTo>
                  <a:lnTo>
                    <a:pt x="147638" y="402908"/>
                  </a:lnTo>
                  <a:lnTo>
                    <a:pt x="152400" y="397193"/>
                  </a:lnTo>
                  <a:lnTo>
                    <a:pt x="159067" y="387668"/>
                  </a:lnTo>
                  <a:lnTo>
                    <a:pt x="159067" y="381953"/>
                  </a:lnTo>
                  <a:lnTo>
                    <a:pt x="156210" y="378143"/>
                  </a:lnTo>
                  <a:lnTo>
                    <a:pt x="155257" y="372428"/>
                  </a:lnTo>
                  <a:lnTo>
                    <a:pt x="155257" y="369570"/>
                  </a:lnTo>
                  <a:lnTo>
                    <a:pt x="170497" y="363855"/>
                  </a:lnTo>
                  <a:lnTo>
                    <a:pt x="178117" y="359093"/>
                  </a:lnTo>
                  <a:lnTo>
                    <a:pt x="183832" y="353378"/>
                  </a:lnTo>
                  <a:lnTo>
                    <a:pt x="190500" y="347663"/>
                  </a:lnTo>
                  <a:lnTo>
                    <a:pt x="195263" y="340043"/>
                  </a:lnTo>
                  <a:lnTo>
                    <a:pt x="195263" y="332423"/>
                  </a:lnTo>
                  <a:lnTo>
                    <a:pt x="196215" y="327660"/>
                  </a:lnTo>
                  <a:lnTo>
                    <a:pt x="200025" y="321945"/>
                  </a:lnTo>
                  <a:lnTo>
                    <a:pt x="204788" y="319088"/>
                  </a:lnTo>
                  <a:lnTo>
                    <a:pt x="207645" y="317183"/>
                  </a:lnTo>
                  <a:lnTo>
                    <a:pt x="210502" y="319088"/>
                  </a:lnTo>
                  <a:lnTo>
                    <a:pt x="214313" y="323850"/>
                  </a:lnTo>
                  <a:lnTo>
                    <a:pt x="228600" y="322898"/>
                  </a:lnTo>
                  <a:lnTo>
                    <a:pt x="232410" y="311468"/>
                  </a:lnTo>
                  <a:lnTo>
                    <a:pt x="227647" y="300038"/>
                  </a:lnTo>
                  <a:lnTo>
                    <a:pt x="212407" y="298133"/>
                  </a:lnTo>
                  <a:lnTo>
                    <a:pt x="214313" y="294323"/>
                  </a:lnTo>
                  <a:lnTo>
                    <a:pt x="217170" y="285750"/>
                  </a:lnTo>
                  <a:lnTo>
                    <a:pt x="219075" y="280988"/>
                  </a:lnTo>
                  <a:lnTo>
                    <a:pt x="216217" y="266700"/>
                  </a:lnTo>
                  <a:lnTo>
                    <a:pt x="224790" y="258128"/>
                  </a:lnTo>
                  <a:lnTo>
                    <a:pt x="238125" y="253365"/>
                  </a:lnTo>
                  <a:lnTo>
                    <a:pt x="309563" y="249555"/>
                  </a:lnTo>
                  <a:lnTo>
                    <a:pt x="330517" y="251460"/>
                  </a:lnTo>
                  <a:lnTo>
                    <a:pt x="342900" y="259080"/>
                  </a:lnTo>
                  <a:lnTo>
                    <a:pt x="367665" y="280035"/>
                  </a:lnTo>
                  <a:lnTo>
                    <a:pt x="380047" y="284798"/>
                  </a:lnTo>
                  <a:lnTo>
                    <a:pt x="392430" y="279083"/>
                  </a:lnTo>
                  <a:lnTo>
                    <a:pt x="401002" y="264795"/>
                  </a:lnTo>
                  <a:lnTo>
                    <a:pt x="408622" y="247650"/>
                  </a:lnTo>
                  <a:lnTo>
                    <a:pt x="420052" y="234315"/>
                  </a:lnTo>
                  <a:lnTo>
                    <a:pt x="461010" y="216218"/>
                  </a:lnTo>
                  <a:lnTo>
                    <a:pt x="509588" y="216218"/>
                  </a:lnTo>
                  <a:lnTo>
                    <a:pt x="601980" y="234315"/>
                  </a:lnTo>
                  <a:lnTo>
                    <a:pt x="661988" y="231458"/>
                  </a:lnTo>
                  <a:lnTo>
                    <a:pt x="694372" y="228600"/>
                  </a:lnTo>
                  <a:lnTo>
                    <a:pt x="711518" y="231458"/>
                  </a:lnTo>
                  <a:lnTo>
                    <a:pt x="723900" y="243840"/>
                  </a:lnTo>
                  <a:lnTo>
                    <a:pt x="726757" y="257175"/>
                  </a:lnTo>
                  <a:lnTo>
                    <a:pt x="727710" y="273368"/>
                  </a:lnTo>
                  <a:lnTo>
                    <a:pt x="729615" y="286703"/>
                  </a:lnTo>
                  <a:lnTo>
                    <a:pt x="739140" y="292418"/>
                  </a:lnTo>
                  <a:lnTo>
                    <a:pt x="747713" y="290513"/>
                  </a:lnTo>
                  <a:lnTo>
                    <a:pt x="776288" y="276225"/>
                  </a:lnTo>
                  <a:lnTo>
                    <a:pt x="795338" y="274320"/>
                  </a:lnTo>
                  <a:lnTo>
                    <a:pt x="826770" y="282893"/>
                  </a:lnTo>
                  <a:lnTo>
                    <a:pt x="837247" y="282893"/>
                  </a:lnTo>
                  <a:lnTo>
                    <a:pt x="909638" y="248603"/>
                  </a:lnTo>
                  <a:lnTo>
                    <a:pt x="932497" y="229553"/>
                  </a:lnTo>
                  <a:lnTo>
                    <a:pt x="948690" y="196215"/>
                  </a:lnTo>
                  <a:lnTo>
                    <a:pt x="954405" y="144780"/>
                  </a:lnTo>
                  <a:lnTo>
                    <a:pt x="959168" y="129540"/>
                  </a:lnTo>
                  <a:lnTo>
                    <a:pt x="964882" y="123825"/>
                  </a:lnTo>
                  <a:lnTo>
                    <a:pt x="971550" y="120015"/>
                  </a:lnTo>
                  <a:lnTo>
                    <a:pt x="977265" y="115253"/>
                  </a:lnTo>
                  <a:lnTo>
                    <a:pt x="980122" y="104775"/>
                  </a:lnTo>
                  <a:lnTo>
                    <a:pt x="978218" y="98108"/>
                  </a:lnTo>
                  <a:lnTo>
                    <a:pt x="967740" y="80010"/>
                  </a:lnTo>
                  <a:lnTo>
                    <a:pt x="965835" y="70485"/>
                  </a:lnTo>
                  <a:lnTo>
                    <a:pt x="972502" y="40958"/>
                  </a:lnTo>
                  <a:lnTo>
                    <a:pt x="994410" y="36195"/>
                  </a:lnTo>
                  <a:lnTo>
                    <a:pt x="1040130" y="53340"/>
                  </a:lnTo>
                  <a:lnTo>
                    <a:pt x="1064895" y="45720"/>
                  </a:lnTo>
                  <a:lnTo>
                    <a:pt x="1168718" y="100965"/>
                  </a:lnTo>
                  <a:lnTo>
                    <a:pt x="1184910" y="100965"/>
                  </a:lnTo>
                  <a:lnTo>
                    <a:pt x="1216343" y="92393"/>
                  </a:lnTo>
                  <a:lnTo>
                    <a:pt x="1231582" y="92393"/>
                  </a:lnTo>
                  <a:lnTo>
                    <a:pt x="1240155" y="96203"/>
                  </a:lnTo>
                  <a:lnTo>
                    <a:pt x="1256347" y="109538"/>
                  </a:lnTo>
                  <a:lnTo>
                    <a:pt x="1265872" y="110490"/>
                  </a:lnTo>
                  <a:lnTo>
                    <a:pt x="1275397" y="105728"/>
                  </a:lnTo>
                  <a:lnTo>
                    <a:pt x="1329690" y="56198"/>
                  </a:lnTo>
                  <a:lnTo>
                    <a:pt x="1339215" y="51435"/>
                  </a:lnTo>
                  <a:lnTo>
                    <a:pt x="1343977" y="52388"/>
                  </a:lnTo>
                  <a:lnTo>
                    <a:pt x="1350645" y="56198"/>
                  </a:lnTo>
                  <a:lnTo>
                    <a:pt x="1355407" y="54293"/>
                  </a:lnTo>
                  <a:lnTo>
                    <a:pt x="1360170" y="50483"/>
                  </a:lnTo>
                  <a:lnTo>
                    <a:pt x="1365885" y="38100"/>
                  </a:lnTo>
                  <a:lnTo>
                    <a:pt x="1371600" y="35243"/>
                  </a:lnTo>
                  <a:lnTo>
                    <a:pt x="1381125" y="31433"/>
                  </a:lnTo>
                  <a:lnTo>
                    <a:pt x="1387793" y="24765"/>
                  </a:lnTo>
                  <a:lnTo>
                    <a:pt x="1402080" y="7620"/>
                  </a:lnTo>
                  <a:lnTo>
                    <a:pt x="1410652" y="1905"/>
                  </a:lnTo>
                  <a:lnTo>
                    <a:pt x="1417320" y="0"/>
                  </a:lnTo>
                  <a:lnTo>
                    <a:pt x="1468755" y="10477"/>
                  </a:lnTo>
                  <a:lnTo>
                    <a:pt x="1503045" y="9525"/>
                  </a:lnTo>
                  <a:lnTo>
                    <a:pt x="1512570" y="11430"/>
                  </a:lnTo>
                  <a:lnTo>
                    <a:pt x="1524952" y="2095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6" name="Полилиния: фигура 6">
              <a:extLst>
                <a:ext uri="{FF2B5EF4-FFF2-40B4-BE49-F238E27FC236}">
                  <a16:creationId xmlns:a16="http://schemas.microsoft.com/office/drawing/2014/main" id="{54920075-1C6E-5E25-AAF5-8AC9DF2EC2F5}"/>
                </a:ext>
              </a:extLst>
            </p:cNvPr>
            <p:cNvSpPr/>
            <p:nvPr/>
          </p:nvSpPr>
          <p:spPr>
            <a:xfrm>
              <a:off x="2887980" y="626745"/>
              <a:ext cx="1390650" cy="1600200"/>
            </a:xfrm>
            <a:custGeom>
              <a:avLst/>
              <a:gdLst>
                <a:gd name="connsiteX0" fmla="*/ 1372552 w 1390650"/>
                <a:gd name="connsiteY0" fmla="*/ 372428 h 1600200"/>
                <a:gd name="connsiteX1" fmla="*/ 1355408 w 1390650"/>
                <a:gd name="connsiteY1" fmla="*/ 375285 h 1600200"/>
                <a:gd name="connsiteX2" fmla="*/ 1343025 w 1390650"/>
                <a:gd name="connsiteY2" fmla="*/ 381953 h 1600200"/>
                <a:gd name="connsiteX3" fmla="*/ 1337310 w 1390650"/>
                <a:gd name="connsiteY3" fmla="*/ 383858 h 1600200"/>
                <a:gd name="connsiteX4" fmla="*/ 1332548 w 1390650"/>
                <a:gd name="connsiteY4" fmla="*/ 386715 h 1600200"/>
                <a:gd name="connsiteX5" fmla="*/ 1330643 w 1390650"/>
                <a:gd name="connsiteY5" fmla="*/ 387668 h 1600200"/>
                <a:gd name="connsiteX6" fmla="*/ 1328738 w 1390650"/>
                <a:gd name="connsiteY6" fmla="*/ 393383 h 1600200"/>
                <a:gd name="connsiteX7" fmla="*/ 1326833 w 1390650"/>
                <a:gd name="connsiteY7" fmla="*/ 401003 h 1600200"/>
                <a:gd name="connsiteX8" fmla="*/ 1324927 w 1390650"/>
                <a:gd name="connsiteY8" fmla="*/ 417195 h 1600200"/>
                <a:gd name="connsiteX9" fmla="*/ 1325880 w 1390650"/>
                <a:gd name="connsiteY9" fmla="*/ 423863 h 1600200"/>
                <a:gd name="connsiteX10" fmla="*/ 1326833 w 1390650"/>
                <a:gd name="connsiteY10" fmla="*/ 428625 h 1600200"/>
                <a:gd name="connsiteX11" fmla="*/ 1335405 w 1390650"/>
                <a:gd name="connsiteY11" fmla="*/ 437197 h 1600200"/>
                <a:gd name="connsiteX12" fmla="*/ 1338263 w 1390650"/>
                <a:gd name="connsiteY12" fmla="*/ 441960 h 1600200"/>
                <a:gd name="connsiteX13" fmla="*/ 1340168 w 1390650"/>
                <a:gd name="connsiteY13" fmla="*/ 446722 h 1600200"/>
                <a:gd name="connsiteX14" fmla="*/ 1340168 w 1390650"/>
                <a:gd name="connsiteY14" fmla="*/ 450533 h 1600200"/>
                <a:gd name="connsiteX15" fmla="*/ 1339215 w 1390650"/>
                <a:gd name="connsiteY15" fmla="*/ 453390 h 1600200"/>
                <a:gd name="connsiteX16" fmla="*/ 1338263 w 1390650"/>
                <a:gd name="connsiteY16" fmla="*/ 456247 h 1600200"/>
                <a:gd name="connsiteX17" fmla="*/ 1334452 w 1390650"/>
                <a:gd name="connsiteY17" fmla="*/ 456247 h 1600200"/>
                <a:gd name="connsiteX18" fmla="*/ 1331595 w 1390650"/>
                <a:gd name="connsiteY18" fmla="*/ 456247 h 1600200"/>
                <a:gd name="connsiteX19" fmla="*/ 1329690 w 1390650"/>
                <a:gd name="connsiteY19" fmla="*/ 454343 h 1600200"/>
                <a:gd name="connsiteX20" fmla="*/ 1308735 w 1390650"/>
                <a:gd name="connsiteY20" fmla="*/ 436245 h 1600200"/>
                <a:gd name="connsiteX21" fmla="*/ 1304925 w 1390650"/>
                <a:gd name="connsiteY21" fmla="*/ 431483 h 1600200"/>
                <a:gd name="connsiteX22" fmla="*/ 1302068 w 1390650"/>
                <a:gd name="connsiteY22" fmla="*/ 422910 h 1600200"/>
                <a:gd name="connsiteX23" fmla="*/ 1299210 w 1390650"/>
                <a:gd name="connsiteY23" fmla="*/ 418147 h 1600200"/>
                <a:gd name="connsiteX24" fmla="*/ 1295400 w 1390650"/>
                <a:gd name="connsiteY24" fmla="*/ 414338 h 1600200"/>
                <a:gd name="connsiteX25" fmla="*/ 1293495 w 1390650"/>
                <a:gd name="connsiteY25" fmla="*/ 413385 h 1600200"/>
                <a:gd name="connsiteX26" fmla="*/ 1290638 w 1390650"/>
                <a:gd name="connsiteY26" fmla="*/ 412433 h 1600200"/>
                <a:gd name="connsiteX27" fmla="*/ 1287780 w 1390650"/>
                <a:gd name="connsiteY27" fmla="*/ 413385 h 1600200"/>
                <a:gd name="connsiteX28" fmla="*/ 1286827 w 1390650"/>
                <a:gd name="connsiteY28" fmla="*/ 415290 h 1600200"/>
                <a:gd name="connsiteX29" fmla="*/ 1284923 w 1390650"/>
                <a:gd name="connsiteY29" fmla="*/ 421958 h 1600200"/>
                <a:gd name="connsiteX30" fmla="*/ 1279208 w 1390650"/>
                <a:gd name="connsiteY30" fmla="*/ 459105 h 1600200"/>
                <a:gd name="connsiteX31" fmla="*/ 1279208 w 1390650"/>
                <a:gd name="connsiteY31" fmla="*/ 469583 h 1600200"/>
                <a:gd name="connsiteX32" fmla="*/ 1280160 w 1390650"/>
                <a:gd name="connsiteY32" fmla="*/ 477203 h 1600200"/>
                <a:gd name="connsiteX33" fmla="*/ 1288733 w 1390650"/>
                <a:gd name="connsiteY33" fmla="*/ 484822 h 1600200"/>
                <a:gd name="connsiteX34" fmla="*/ 1291590 w 1390650"/>
                <a:gd name="connsiteY34" fmla="*/ 489585 h 1600200"/>
                <a:gd name="connsiteX35" fmla="*/ 1291590 w 1390650"/>
                <a:gd name="connsiteY35" fmla="*/ 493395 h 1600200"/>
                <a:gd name="connsiteX36" fmla="*/ 1290638 w 1390650"/>
                <a:gd name="connsiteY36" fmla="*/ 498158 h 1600200"/>
                <a:gd name="connsiteX37" fmla="*/ 1286827 w 1390650"/>
                <a:gd name="connsiteY37" fmla="*/ 505778 h 1600200"/>
                <a:gd name="connsiteX38" fmla="*/ 1283970 w 1390650"/>
                <a:gd name="connsiteY38" fmla="*/ 512445 h 1600200"/>
                <a:gd name="connsiteX39" fmla="*/ 1278255 w 1390650"/>
                <a:gd name="connsiteY39" fmla="*/ 518160 h 1600200"/>
                <a:gd name="connsiteX40" fmla="*/ 1273493 w 1390650"/>
                <a:gd name="connsiteY40" fmla="*/ 521018 h 1600200"/>
                <a:gd name="connsiteX41" fmla="*/ 1243965 w 1390650"/>
                <a:gd name="connsiteY41" fmla="*/ 527685 h 1600200"/>
                <a:gd name="connsiteX42" fmla="*/ 1242060 w 1390650"/>
                <a:gd name="connsiteY42" fmla="*/ 529590 h 1600200"/>
                <a:gd name="connsiteX43" fmla="*/ 1241108 w 1390650"/>
                <a:gd name="connsiteY43" fmla="*/ 531495 h 1600200"/>
                <a:gd name="connsiteX44" fmla="*/ 1242060 w 1390650"/>
                <a:gd name="connsiteY44" fmla="*/ 535305 h 1600200"/>
                <a:gd name="connsiteX45" fmla="*/ 1259205 w 1390650"/>
                <a:gd name="connsiteY45" fmla="*/ 571500 h 1600200"/>
                <a:gd name="connsiteX46" fmla="*/ 1260158 w 1390650"/>
                <a:gd name="connsiteY46" fmla="*/ 575310 h 1600200"/>
                <a:gd name="connsiteX47" fmla="*/ 1261110 w 1390650"/>
                <a:gd name="connsiteY47" fmla="*/ 580073 h 1600200"/>
                <a:gd name="connsiteX48" fmla="*/ 1261110 w 1390650"/>
                <a:gd name="connsiteY48" fmla="*/ 583883 h 1600200"/>
                <a:gd name="connsiteX49" fmla="*/ 1260158 w 1390650"/>
                <a:gd name="connsiteY49" fmla="*/ 588645 h 1600200"/>
                <a:gd name="connsiteX50" fmla="*/ 1258252 w 1390650"/>
                <a:gd name="connsiteY50" fmla="*/ 594360 h 1600200"/>
                <a:gd name="connsiteX51" fmla="*/ 1254443 w 1390650"/>
                <a:gd name="connsiteY51" fmla="*/ 603885 h 1600200"/>
                <a:gd name="connsiteX52" fmla="*/ 1251585 w 1390650"/>
                <a:gd name="connsiteY52" fmla="*/ 607695 h 1600200"/>
                <a:gd name="connsiteX53" fmla="*/ 1248727 w 1390650"/>
                <a:gd name="connsiteY53" fmla="*/ 610553 h 1600200"/>
                <a:gd name="connsiteX54" fmla="*/ 1236345 w 1390650"/>
                <a:gd name="connsiteY54" fmla="*/ 618173 h 1600200"/>
                <a:gd name="connsiteX55" fmla="*/ 1234440 w 1390650"/>
                <a:gd name="connsiteY55" fmla="*/ 620078 h 1600200"/>
                <a:gd name="connsiteX56" fmla="*/ 1231583 w 1390650"/>
                <a:gd name="connsiteY56" fmla="*/ 624840 h 1600200"/>
                <a:gd name="connsiteX57" fmla="*/ 1224915 w 1390650"/>
                <a:gd name="connsiteY57" fmla="*/ 645795 h 1600200"/>
                <a:gd name="connsiteX58" fmla="*/ 1222058 w 1390650"/>
                <a:gd name="connsiteY58" fmla="*/ 650558 h 1600200"/>
                <a:gd name="connsiteX59" fmla="*/ 1220152 w 1390650"/>
                <a:gd name="connsiteY59" fmla="*/ 654368 h 1600200"/>
                <a:gd name="connsiteX60" fmla="*/ 1216343 w 1390650"/>
                <a:gd name="connsiteY60" fmla="*/ 658178 h 1600200"/>
                <a:gd name="connsiteX61" fmla="*/ 1211580 w 1390650"/>
                <a:gd name="connsiteY61" fmla="*/ 663893 h 1600200"/>
                <a:gd name="connsiteX62" fmla="*/ 1210627 w 1390650"/>
                <a:gd name="connsiteY62" fmla="*/ 666750 h 1600200"/>
                <a:gd name="connsiteX63" fmla="*/ 1209675 w 1390650"/>
                <a:gd name="connsiteY63" fmla="*/ 671513 h 1600200"/>
                <a:gd name="connsiteX64" fmla="*/ 1208723 w 1390650"/>
                <a:gd name="connsiteY64" fmla="*/ 677228 h 1600200"/>
                <a:gd name="connsiteX65" fmla="*/ 1207770 w 1390650"/>
                <a:gd name="connsiteY65" fmla="*/ 696278 h 1600200"/>
                <a:gd name="connsiteX66" fmla="*/ 1205865 w 1390650"/>
                <a:gd name="connsiteY66" fmla="*/ 701993 h 1600200"/>
                <a:gd name="connsiteX67" fmla="*/ 1203008 w 1390650"/>
                <a:gd name="connsiteY67" fmla="*/ 708660 h 1600200"/>
                <a:gd name="connsiteX68" fmla="*/ 1198245 w 1390650"/>
                <a:gd name="connsiteY68" fmla="*/ 715328 h 1600200"/>
                <a:gd name="connsiteX69" fmla="*/ 1192530 w 1390650"/>
                <a:gd name="connsiteY69" fmla="*/ 721043 h 1600200"/>
                <a:gd name="connsiteX70" fmla="*/ 1190625 w 1390650"/>
                <a:gd name="connsiteY70" fmla="*/ 722948 h 1600200"/>
                <a:gd name="connsiteX71" fmla="*/ 1188720 w 1390650"/>
                <a:gd name="connsiteY71" fmla="*/ 726758 h 1600200"/>
                <a:gd name="connsiteX72" fmla="*/ 1182052 w 1390650"/>
                <a:gd name="connsiteY72" fmla="*/ 741998 h 1600200"/>
                <a:gd name="connsiteX73" fmla="*/ 1179195 w 1390650"/>
                <a:gd name="connsiteY73" fmla="*/ 746760 h 1600200"/>
                <a:gd name="connsiteX74" fmla="*/ 1177290 w 1390650"/>
                <a:gd name="connsiteY74" fmla="*/ 749618 h 1600200"/>
                <a:gd name="connsiteX75" fmla="*/ 1164908 w 1390650"/>
                <a:gd name="connsiteY75" fmla="*/ 755333 h 1600200"/>
                <a:gd name="connsiteX76" fmla="*/ 1143952 w 1390650"/>
                <a:gd name="connsiteY76" fmla="*/ 760095 h 1600200"/>
                <a:gd name="connsiteX77" fmla="*/ 1139190 w 1390650"/>
                <a:gd name="connsiteY77" fmla="*/ 762953 h 1600200"/>
                <a:gd name="connsiteX78" fmla="*/ 1137285 w 1390650"/>
                <a:gd name="connsiteY78" fmla="*/ 764858 h 1600200"/>
                <a:gd name="connsiteX79" fmla="*/ 1135380 w 1390650"/>
                <a:gd name="connsiteY79" fmla="*/ 768668 h 1600200"/>
                <a:gd name="connsiteX80" fmla="*/ 1130618 w 1390650"/>
                <a:gd name="connsiteY80" fmla="*/ 785813 h 1600200"/>
                <a:gd name="connsiteX81" fmla="*/ 1126808 w 1390650"/>
                <a:gd name="connsiteY81" fmla="*/ 789623 h 1600200"/>
                <a:gd name="connsiteX82" fmla="*/ 1125855 w 1390650"/>
                <a:gd name="connsiteY82" fmla="*/ 793433 h 1600200"/>
                <a:gd name="connsiteX83" fmla="*/ 1129665 w 1390650"/>
                <a:gd name="connsiteY83" fmla="*/ 801053 h 1600200"/>
                <a:gd name="connsiteX84" fmla="*/ 1135380 w 1390650"/>
                <a:gd name="connsiteY84" fmla="*/ 811530 h 1600200"/>
                <a:gd name="connsiteX85" fmla="*/ 1136333 w 1390650"/>
                <a:gd name="connsiteY85" fmla="*/ 815340 h 1600200"/>
                <a:gd name="connsiteX86" fmla="*/ 1136333 w 1390650"/>
                <a:gd name="connsiteY86" fmla="*/ 820103 h 1600200"/>
                <a:gd name="connsiteX87" fmla="*/ 1137285 w 1390650"/>
                <a:gd name="connsiteY87" fmla="*/ 827723 h 1600200"/>
                <a:gd name="connsiteX88" fmla="*/ 1139190 w 1390650"/>
                <a:gd name="connsiteY88" fmla="*/ 831533 h 1600200"/>
                <a:gd name="connsiteX89" fmla="*/ 1141095 w 1390650"/>
                <a:gd name="connsiteY89" fmla="*/ 834390 h 1600200"/>
                <a:gd name="connsiteX90" fmla="*/ 1144905 w 1390650"/>
                <a:gd name="connsiteY90" fmla="*/ 838200 h 1600200"/>
                <a:gd name="connsiteX91" fmla="*/ 1145858 w 1390650"/>
                <a:gd name="connsiteY91" fmla="*/ 841058 h 1600200"/>
                <a:gd name="connsiteX92" fmla="*/ 1146810 w 1390650"/>
                <a:gd name="connsiteY92" fmla="*/ 843915 h 1600200"/>
                <a:gd name="connsiteX93" fmla="*/ 1143952 w 1390650"/>
                <a:gd name="connsiteY93" fmla="*/ 848677 h 1600200"/>
                <a:gd name="connsiteX94" fmla="*/ 1142048 w 1390650"/>
                <a:gd name="connsiteY94" fmla="*/ 851535 h 1600200"/>
                <a:gd name="connsiteX95" fmla="*/ 1136333 w 1390650"/>
                <a:gd name="connsiteY95" fmla="*/ 853440 h 1600200"/>
                <a:gd name="connsiteX96" fmla="*/ 1135380 w 1390650"/>
                <a:gd name="connsiteY96" fmla="*/ 856298 h 1600200"/>
                <a:gd name="connsiteX97" fmla="*/ 1137285 w 1390650"/>
                <a:gd name="connsiteY97" fmla="*/ 861060 h 1600200"/>
                <a:gd name="connsiteX98" fmla="*/ 1139190 w 1390650"/>
                <a:gd name="connsiteY98" fmla="*/ 863918 h 1600200"/>
                <a:gd name="connsiteX99" fmla="*/ 1145858 w 1390650"/>
                <a:gd name="connsiteY99" fmla="*/ 872490 h 1600200"/>
                <a:gd name="connsiteX100" fmla="*/ 1147763 w 1390650"/>
                <a:gd name="connsiteY100" fmla="*/ 878205 h 1600200"/>
                <a:gd name="connsiteX101" fmla="*/ 1148715 w 1390650"/>
                <a:gd name="connsiteY101" fmla="*/ 883920 h 1600200"/>
                <a:gd name="connsiteX102" fmla="*/ 1147763 w 1390650"/>
                <a:gd name="connsiteY102" fmla="*/ 892493 h 1600200"/>
                <a:gd name="connsiteX103" fmla="*/ 1140143 w 1390650"/>
                <a:gd name="connsiteY103" fmla="*/ 932498 h 1600200"/>
                <a:gd name="connsiteX104" fmla="*/ 1139190 w 1390650"/>
                <a:gd name="connsiteY104" fmla="*/ 937260 h 1600200"/>
                <a:gd name="connsiteX105" fmla="*/ 1139190 w 1390650"/>
                <a:gd name="connsiteY105" fmla="*/ 942975 h 1600200"/>
                <a:gd name="connsiteX106" fmla="*/ 1140143 w 1390650"/>
                <a:gd name="connsiteY106" fmla="*/ 952500 h 1600200"/>
                <a:gd name="connsiteX107" fmla="*/ 1141095 w 1390650"/>
                <a:gd name="connsiteY107" fmla="*/ 957263 h 1600200"/>
                <a:gd name="connsiteX108" fmla="*/ 1143952 w 1390650"/>
                <a:gd name="connsiteY108" fmla="*/ 963930 h 1600200"/>
                <a:gd name="connsiteX109" fmla="*/ 1148715 w 1390650"/>
                <a:gd name="connsiteY109" fmla="*/ 973455 h 1600200"/>
                <a:gd name="connsiteX110" fmla="*/ 1159193 w 1390650"/>
                <a:gd name="connsiteY110" fmla="*/ 989648 h 1600200"/>
                <a:gd name="connsiteX111" fmla="*/ 1163002 w 1390650"/>
                <a:gd name="connsiteY111" fmla="*/ 997268 h 1600200"/>
                <a:gd name="connsiteX112" fmla="*/ 1164908 w 1390650"/>
                <a:gd name="connsiteY112" fmla="*/ 1005840 h 1600200"/>
                <a:gd name="connsiteX113" fmla="*/ 1163955 w 1390650"/>
                <a:gd name="connsiteY113" fmla="*/ 1011555 h 1600200"/>
                <a:gd name="connsiteX114" fmla="*/ 1162050 w 1390650"/>
                <a:gd name="connsiteY114" fmla="*/ 1020127 h 1600200"/>
                <a:gd name="connsiteX115" fmla="*/ 1149668 w 1390650"/>
                <a:gd name="connsiteY115" fmla="*/ 1051560 h 1600200"/>
                <a:gd name="connsiteX116" fmla="*/ 1145858 w 1390650"/>
                <a:gd name="connsiteY116" fmla="*/ 1059180 h 1600200"/>
                <a:gd name="connsiteX117" fmla="*/ 1135380 w 1390650"/>
                <a:gd name="connsiteY117" fmla="*/ 1072515 h 1600200"/>
                <a:gd name="connsiteX118" fmla="*/ 1133475 w 1390650"/>
                <a:gd name="connsiteY118" fmla="*/ 1076325 h 1600200"/>
                <a:gd name="connsiteX119" fmla="*/ 1127760 w 1390650"/>
                <a:gd name="connsiteY119" fmla="*/ 1091565 h 1600200"/>
                <a:gd name="connsiteX120" fmla="*/ 1124902 w 1390650"/>
                <a:gd name="connsiteY120" fmla="*/ 1100138 h 1600200"/>
                <a:gd name="connsiteX121" fmla="*/ 1122998 w 1390650"/>
                <a:gd name="connsiteY121" fmla="*/ 1104900 h 1600200"/>
                <a:gd name="connsiteX122" fmla="*/ 1122998 w 1390650"/>
                <a:gd name="connsiteY122" fmla="*/ 1108710 h 1600200"/>
                <a:gd name="connsiteX123" fmla="*/ 1125855 w 1390650"/>
                <a:gd name="connsiteY123" fmla="*/ 1115378 h 1600200"/>
                <a:gd name="connsiteX124" fmla="*/ 1127760 w 1390650"/>
                <a:gd name="connsiteY124" fmla="*/ 1119188 h 1600200"/>
                <a:gd name="connsiteX125" fmla="*/ 1130618 w 1390650"/>
                <a:gd name="connsiteY125" fmla="*/ 1121093 h 1600200"/>
                <a:gd name="connsiteX126" fmla="*/ 1141095 w 1390650"/>
                <a:gd name="connsiteY126" fmla="*/ 1126808 h 1600200"/>
                <a:gd name="connsiteX127" fmla="*/ 1144905 w 1390650"/>
                <a:gd name="connsiteY127" fmla="*/ 1130618 h 1600200"/>
                <a:gd name="connsiteX128" fmla="*/ 1145858 w 1390650"/>
                <a:gd name="connsiteY128" fmla="*/ 1134428 h 1600200"/>
                <a:gd name="connsiteX129" fmla="*/ 1142048 w 1390650"/>
                <a:gd name="connsiteY129" fmla="*/ 1146810 h 1600200"/>
                <a:gd name="connsiteX130" fmla="*/ 1122998 w 1390650"/>
                <a:gd name="connsiteY130" fmla="*/ 1168718 h 1600200"/>
                <a:gd name="connsiteX131" fmla="*/ 1097280 w 1390650"/>
                <a:gd name="connsiteY131" fmla="*/ 1163003 h 1600200"/>
                <a:gd name="connsiteX132" fmla="*/ 1094423 w 1390650"/>
                <a:gd name="connsiteY132" fmla="*/ 1160145 h 1600200"/>
                <a:gd name="connsiteX133" fmla="*/ 1091565 w 1390650"/>
                <a:gd name="connsiteY133" fmla="*/ 1157288 h 1600200"/>
                <a:gd name="connsiteX134" fmla="*/ 1091565 w 1390650"/>
                <a:gd name="connsiteY134" fmla="*/ 1149668 h 1600200"/>
                <a:gd name="connsiteX135" fmla="*/ 1091565 w 1390650"/>
                <a:gd name="connsiteY135" fmla="*/ 1145858 h 1600200"/>
                <a:gd name="connsiteX136" fmla="*/ 1090613 w 1390650"/>
                <a:gd name="connsiteY136" fmla="*/ 1141095 h 1600200"/>
                <a:gd name="connsiteX137" fmla="*/ 1087755 w 1390650"/>
                <a:gd name="connsiteY137" fmla="*/ 1134428 h 1600200"/>
                <a:gd name="connsiteX138" fmla="*/ 1084898 w 1390650"/>
                <a:gd name="connsiteY138" fmla="*/ 1132523 h 1600200"/>
                <a:gd name="connsiteX139" fmla="*/ 1081088 w 1390650"/>
                <a:gd name="connsiteY139" fmla="*/ 1130618 h 1600200"/>
                <a:gd name="connsiteX140" fmla="*/ 1073468 w 1390650"/>
                <a:gd name="connsiteY140" fmla="*/ 1130618 h 1600200"/>
                <a:gd name="connsiteX141" fmla="*/ 1069658 w 1390650"/>
                <a:gd name="connsiteY141" fmla="*/ 1132523 h 1600200"/>
                <a:gd name="connsiteX142" fmla="*/ 1065848 w 1390650"/>
                <a:gd name="connsiteY142" fmla="*/ 1136333 h 1600200"/>
                <a:gd name="connsiteX143" fmla="*/ 1063943 w 1390650"/>
                <a:gd name="connsiteY143" fmla="*/ 1142048 h 1600200"/>
                <a:gd name="connsiteX144" fmla="*/ 1061085 w 1390650"/>
                <a:gd name="connsiteY144" fmla="*/ 1151573 h 1600200"/>
                <a:gd name="connsiteX145" fmla="*/ 1060133 w 1390650"/>
                <a:gd name="connsiteY145" fmla="*/ 1154430 h 1600200"/>
                <a:gd name="connsiteX146" fmla="*/ 1055370 w 1390650"/>
                <a:gd name="connsiteY146" fmla="*/ 1157288 h 1600200"/>
                <a:gd name="connsiteX147" fmla="*/ 1043940 w 1390650"/>
                <a:gd name="connsiteY147" fmla="*/ 1160145 h 1600200"/>
                <a:gd name="connsiteX148" fmla="*/ 1033463 w 1390650"/>
                <a:gd name="connsiteY148" fmla="*/ 1164908 h 1600200"/>
                <a:gd name="connsiteX149" fmla="*/ 1029652 w 1390650"/>
                <a:gd name="connsiteY149" fmla="*/ 1167765 h 1600200"/>
                <a:gd name="connsiteX150" fmla="*/ 1021080 w 1390650"/>
                <a:gd name="connsiteY150" fmla="*/ 1175385 h 1600200"/>
                <a:gd name="connsiteX151" fmla="*/ 1017270 w 1390650"/>
                <a:gd name="connsiteY151" fmla="*/ 1180148 h 1600200"/>
                <a:gd name="connsiteX152" fmla="*/ 1014413 w 1390650"/>
                <a:gd name="connsiteY152" fmla="*/ 1183005 h 1600200"/>
                <a:gd name="connsiteX153" fmla="*/ 1009650 w 1390650"/>
                <a:gd name="connsiteY153" fmla="*/ 1186815 h 1600200"/>
                <a:gd name="connsiteX154" fmla="*/ 1004888 w 1390650"/>
                <a:gd name="connsiteY154" fmla="*/ 1188720 h 1600200"/>
                <a:gd name="connsiteX155" fmla="*/ 1001077 w 1390650"/>
                <a:gd name="connsiteY155" fmla="*/ 1188720 h 1600200"/>
                <a:gd name="connsiteX156" fmla="*/ 994410 w 1390650"/>
                <a:gd name="connsiteY156" fmla="*/ 1186815 h 1600200"/>
                <a:gd name="connsiteX157" fmla="*/ 983933 w 1390650"/>
                <a:gd name="connsiteY157" fmla="*/ 1181100 h 1600200"/>
                <a:gd name="connsiteX158" fmla="*/ 973455 w 1390650"/>
                <a:gd name="connsiteY158" fmla="*/ 1176338 h 1600200"/>
                <a:gd name="connsiteX159" fmla="*/ 969645 w 1390650"/>
                <a:gd name="connsiteY159" fmla="*/ 1176338 h 1600200"/>
                <a:gd name="connsiteX160" fmla="*/ 966788 w 1390650"/>
                <a:gd name="connsiteY160" fmla="*/ 1177290 h 1600200"/>
                <a:gd name="connsiteX161" fmla="*/ 956310 w 1390650"/>
                <a:gd name="connsiteY161" fmla="*/ 1186815 h 1600200"/>
                <a:gd name="connsiteX162" fmla="*/ 920115 w 1390650"/>
                <a:gd name="connsiteY162" fmla="*/ 1202055 h 1600200"/>
                <a:gd name="connsiteX163" fmla="*/ 917258 w 1390650"/>
                <a:gd name="connsiteY163" fmla="*/ 1205865 h 1600200"/>
                <a:gd name="connsiteX164" fmla="*/ 915352 w 1390650"/>
                <a:gd name="connsiteY164" fmla="*/ 1211580 h 1600200"/>
                <a:gd name="connsiteX165" fmla="*/ 915352 w 1390650"/>
                <a:gd name="connsiteY165" fmla="*/ 1218248 h 1600200"/>
                <a:gd name="connsiteX166" fmla="*/ 916305 w 1390650"/>
                <a:gd name="connsiteY166" fmla="*/ 1227773 h 1600200"/>
                <a:gd name="connsiteX167" fmla="*/ 916305 w 1390650"/>
                <a:gd name="connsiteY167" fmla="*/ 1231583 h 1600200"/>
                <a:gd name="connsiteX168" fmla="*/ 914400 w 1390650"/>
                <a:gd name="connsiteY168" fmla="*/ 1234440 h 1600200"/>
                <a:gd name="connsiteX169" fmla="*/ 911543 w 1390650"/>
                <a:gd name="connsiteY169" fmla="*/ 1236345 h 1600200"/>
                <a:gd name="connsiteX170" fmla="*/ 908685 w 1390650"/>
                <a:gd name="connsiteY170" fmla="*/ 1237298 h 1600200"/>
                <a:gd name="connsiteX171" fmla="*/ 905827 w 1390650"/>
                <a:gd name="connsiteY171" fmla="*/ 1236345 h 1600200"/>
                <a:gd name="connsiteX172" fmla="*/ 893445 w 1390650"/>
                <a:gd name="connsiteY172" fmla="*/ 1231583 h 1600200"/>
                <a:gd name="connsiteX173" fmla="*/ 887730 w 1390650"/>
                <a:gd name="connsiteY173" fmla="*/ 1230630 h 1600200"/>
                <a:gd name="connsiteX174" fmla="*/ 884873 w 1390650"/>
                <a:gd name="connsiteY174" fmla="*/ 1231583 h 1600200"/>
                <a:gd name="connsiteX175" fmla="*/ 882968 w 1390650"/>
                <a:gd name="connsiteY175" fmla="*/ 1234440 h 1600200"/>
                <a:gd name="connsiteX176" fmla="*/ 882015 w 1390650"/>
                <a:gd name="connsiteY176" fmla="*/ 1238250 h 1600200"/>
                <a:gd name="connsiteX177" fmla="*/ 882015 w 1390650"/>
                <a:gd name="connsiteY177" fmla="*/ 1244918 h 1600200"/>
                <a:gd name="connsiteX178" fmla="*/ 880110 w 1390650"/>
                <a:gd name="connsiteY178" fmla="*/ 1249680 h 1600200"/>
                <a:gd name="connsiteX179" fmla="*/ 878205 w 1390650"/>
                <a:gd name="connsiteY179" fmla="*/ 1253490 h 1600200"/>
                <a:gd name="connsiteX180" fmla="*/ 872490 w 1390650"/>
                <a:gd name="connsiteY180" fmla="*/ 1258253 h 1600200"/>
                <a:gd name="connsiteX181" fmla="*/ 869633 w 1390650"/>
                <a:gd name="connsiteY181" fmla="*/ 1262063 h 1600200"/>
                <a:gd name="connsiteX182" fmla="*/ 867728 w 1390650"/>
                <a:gd name="connsiteY182" fmla="*/ 1265873 h 1600200"/>
                <a:gd name="connsiteX183" fmla="*/ 867728 w 1390650"/>
                <a:gd name="connsiteY183" fmla="*/ 1268730 h 1600200"/>
                <a:gd name="connsiteX184" fmla="*/ 864870 w 1390650"/>
                <a:gd name="connsiteY184" fmla="*/ 1274445 h 1600200"/>
                <a:gd name="connsiteX185" fmla="*/ 860108 w 1390650"/>
                <a:gd name="connsiteY185" fmla="*/ 1280160 h 1600200"/>
                <a:gd name="connsiteX186" fmla="*/ 837248 w 1390650"/>
                <a:gd name="connsiteY186" fmla="*/ 1298258 h 1600200"/>
                <a:gd name="connsiteX187" fmla="*/ 836295 w 1390650"/>
                <a:gd name="connsiteY187" fmla="*/ 1301115 h 1600200"/>
                <a:gd name="connsiteX188" fmla="*/ 836295 w 1390650"/>
                <a:gd name="connsiteY188" fmla="*/ 1303973 h 1600200"/>
                <a:gd name="connsiteX189" fmla="*/ 836295 w 1390650"/>
                <a:gd name="connsiteY189" fmla="*/ 1309688 h 1600200"/>
                <a:gd name="connsiteX190" fmla="*/ 835343 w 1390650"/>
                <a:gd name="connsiteY190" fmla="*/ 1314450 h 1600200"/>
                <a:gd name="connsiteX191" fmla="*/ 833438 w 1390650"/>
                <a:gd name="connsiteY191" fmla="*/ 1319213 h 1600200"/>
                <a:gd name="connsiteX192" fmla="*/ 830580 w 1390650"/>
                <a:gd name="connsiteY192" fmla="*/ 1322070 h 1600200"/>
                <a:gd name="connsiteX193" fmla="*/ 805815 w 1390650"/>
                <a:gd name="connsiteY193" fmla="*/ 1340168 h 1600200"/>
                <a:gd name="connsiteX194" fmla="*/ 802958 w 1390650"/>
                <a:gd name="connsiteY194" fmla="*/ 1343978 h 1600200"/>
                <a:gd name="connsiteX195" fmla="*/ 798195 w 1390650"/>
                <a:gd name="connsiteY195" fmla="*/ 1351598 h 1600200"/>
                <a:gd name="connsiteX196" fmla="*/ 794385 w 1390650"/>
                <a:gd name="connsiteY196" fmla="*/ 1360170 h 1600200"/>
                <a:gd name="connsiteX197" fmla="*/ 791528 w 1390650"/>
                <a:gd name="connsiteY197" fmla="*/ 1363980 h 1600200"/>
                <a:gd name="connsiteX198" fmla="*/ 786765 w 1390650"/>
                <a:gd name="connsiteY198" fmla="*/ 1367790 h 1600200"/>
                <a:gd name="connsiteX199" fmla="*/ 767715 w 1390650"/>
                <a:gd name="connsiteY199" fmla="*/ 1382078 h 1600200"/>
                <a:gd name="connsiteX200" fmla="*/ 765810 w 1390650"/>
                <a:gd name="connsiteY200" fmla="*/ 1383983 h 1600200"/>
                <a:gd name="connsiteX201" fmla="*/ 760095 w 1390650"/>
                <a:gd name="connsiteY201" fmla="*/ 1393508 h 1600200"/>
                <a:gd name="connsiteX202" fmla="*/ 756285 w 1390650"/>
                <a:gd name="connsiteY202" fmla="*/ 1397318 h 1600200"/>
                <a:gd name="connsiteX203" fmla="*/ 747713 w 1390650"/>
                <a:gd name="connsiteY203" fmla="*/ 1406843 h 1600200"/>
                <a:gd name="connsiteX204" fmla="*/ 742950 w 1390650"/>
                <a:gd name="connsiteY204" fmla="*/ 1409700 h 1600200"/>
                <a:gd name="connsiteX205" fmla="*/ 739140 w 1390650"/>
                <a:gd name="connsiteY205" fmla="*/ 1410653 h 1600200"/>
                <a:gd name="connsiteX206" fmla="*/ 726758 w 1390650"/>
                <a:gd name="connsiteY206" fmla="*/ 1412558 h 1600200"/>
                <a:gd name="connsiteX207" fmla="*/ 722948 w 1390650"/>
                <a:gd name="connsiteY207" fmla="*/ 1411605 h 1600200"/>
                <a:gd name="connsiteX208" fmla="*/ 716280 w 1390650"/>
                <a:gd name="connsiteY208" fmla="*/ 1409700 h 1600200"/>
                <a:gd name="connsiteX209" fmla="*/ 711518 w 1390650"/>
                <a:gd name="connsiteY209" fmla="*/ 1409700 h 1600200"/>
                <a:gd name="connsiteX210" fmla="*/ 704850 w 1390650"/>
                <a:gd name="connsiteY210" fmla="*/ 1410653 h 1600200"/>
                <a:gd name="connsiteX211" fmla="*/ 700088 w 1390650"/>
                <a:gd name="connsiteY211" fmla="*/ 1412558 h 1600200"/>
                <a:gd name="connsiteX212" fmla="*/ 696278 w 1390650"/>
                <a:gd name="connsiteY212" fmla="*/ 1414463 h 1600200"/>
                <a:gd name="connsiteX213" fmla="*/ 688658 w 1390650"/>
                <a:gd name="connsiteY213" fmla="*/ 1422083 h 1600200"/>
                <a:gd name="connsiteX214" fmla="*/ 684848 w 1390650"/>
                <a:gd name="connsiteY214" fmla="*/ 1425893 h 1600200"/>
                <a:gd name="connsiteX215" fmla="*/ 662940 w 1390650"/>
                <a:gd name="connsiteY215" fmla="*/ 1460183 h 1600200"/>
                <a:gd name="connsiteX216" fmla="*/ 654368 w 1390650"/>
                <a:gd name="connsiteY216" fmla="*/ 1470660 h 1600200"/>
                <a:gd name="connsiteX217" fmla="*/ 642938 w 1390650"/>
                <a:gd name="connsiteY217" fmla="*/ 1478280 h 1600200"/>
                <a:gd name="connsiteX218" fmla="*/ 617220 w 1390650"/>
                <a:gd name="connsiteY218" fmla="*/ 1490663 h 1600200"/>
                <a:gd name="connsiteX219" fmla="*/ 615315 w 1390650"/>
                <a:gd name="connsiteY219" fmla="*/ 1465898 h 1600200"/>
                <a:gd name="connsiteX220" fmla="*/ 614363 w 1390650"/>
                <a:gd name="connsiteY220" fmla="*/ 1462088 h 1600200"/>
                <a:gd name="connsiteX221" fmla="*/ 610553 w 1390650"/>
                <a:gd name="connsiteY221" fmla="*/ 1458278 h 1600200"/>
                <a:gd name="connsiteX222" fmla="*/ 606743 w 1390650"/>
                <a:gd name="connsiteY222" fmla="*/ 1455420 h 1600200"/>
                <a:gd name="connsiteX223" fmla="*/ 601980 w 1390650"/>
                <a:gd name="connsiteY223" fmla="*/ 1451610 h 1600200"/>
                <a:gd name="connsiteX224" fmla="*/ 601028 w 1390650"/>
                <a:gd name="connsiteY224" fmla="*/ 1447800 h 1600200"/>
                <a:gd name="connsiteX225" fmla="*/ 601028 w 1390650"/>
                <a:gd name="connsiteY225" fmla="*/ 1443038 h 1600200"/>
                <a:gd name="connsiteX226" fmla="*/ 601980 w 1390650"/>
                <a:gd name="connsiteY226" fmla="*/ 1437323 h 1600200"/>
                <a:gd name="connsiteX227" fmla="*/ 604838 w 1390650"/>
                <a:gd name="connsiteY227" fmla="*/ 1431608 h 1600200"/>
                <a:gd name="connsiteX228" fmla="*/ 606743 w 1390650"/>
                <a:gd name="connsiteY228" fmla="*/ 1425893 h 1600200"/>
                <a:gd name="connsiteX229" fmla="*/ 612458 w 1390650"/>
                <a:gd name="connsiteY229" fmla="*/ 1419225 h 1600200"/>
                <a:gd name="connsiteX230" fmla="*/ 614363 w 1390650"/>
                <a:gd name="connsiteY230" fmla="*/ 1416368 h 1600200"/>
                <a:gd name="connsiteX231" fmla="*/ 616268 w 1390650"/>
                <a:gd name="connsiteY231" fmla="*/ 1410653 h 1600200"/>
                <a:gd name="connsiteX232" fmla="*/ 615315 w 1390650"/>
                <a:gd name="connsiteY232" fmla="*/ 1406843 h 1600200"/>
                <a:gd name="connsiteX233" fmla="*/ 614363 w 1390650"/>
                <a:gd name="connsiteY233" fmla="*/ 1403985 h 1600200"/>
                <a:gd name="connsiteX234" fmla="*/ 611505 w 1390650"/>
                <a:gd name="connsiteY234" fmla="*/ 1400175 h 1600200"/>
                <a:gd name="connsiteX235" fmla="*/ 608648 w 1390650"/>
                <a:gd name="connsiteY235" fmla="*/ 1399223 h 1600200"/>
                <a:gd name="connsiteX236" fmla="*/ 606743 w 1390650"/>
                <a:gd name="connsiteY236" fmla="*/ 1400175 h 1600200"/>
                <a:gd name="connsiteX237" fmla="*/ 601028 w 1390650"/>
                <a:gd name="connsiteY237" fmla="*/ 1406843 h 1600200"/>
                <a:gd name="connsiteX238" fmla="*/ 597218 w 1390650"/>
                <a:gd name="connsiteY238" fmla="*/ 1409700 h 1600200"/>
                <a:gd name="connsiteX239" fmla="*/ 581978 w 1390650"/>
                <a:gd name="connsiteY239" fmla="*/ 1416368 h 1600200"/>
                <a:gd name="connsiteX240" fmla="*/ 579120 w 1390650"/>
                <a:gd name="connsiteY240" fmla="*/ 1416368 h 1600200"/>
                <a:gd name="connsiteX241" fmla="*/ 575310 w 1390650"/>
                <a:gd name="connsiteY241" fmla="*/ 1416368 h 1600200"/>
                <a:gd name="connsiteX242" fmla="*/ 571500 w 1390650"/>
                <a:gd name="connsiteY242" fmla="*/ 1415415 h 1600200"/>
                <a:gd name="connsiteX243" fmla="*/ 538163 w 1390650"/>
                <a:gd name="connsiteY243" fmla="*/ 1399223 h 1600200"/>
                <a:gd name="connsiteX244" fmla="*/ 531495 w 1390650"/>
                <a:gd name="connsiteY244" fmla="*/ 1397318 h 1600200"/>
                <a:gd name="connsiteX245" fmla="*/ 525780 w 1390650"/>
                <a:gd name="connsiteY245" fmla="*/ 1397318 h 1600200"/>
                <a:gd name="connsiteX246" fmla="*/ 520065 w 1390650"/>
                <a:gd name="connsiteY246" fmla="*/ 1399223 h 1600200"/>
                <a:gd name="connsiteX247" fmla="*/ 505778 w 1390650"/>
                <a:gd name="connsiteY247" fmla="*/ 1406843 h 1600200"/>
                <a:gd name="connsiteX248" fmla="*/ 501015 w 1390650"/>
                <a:gd name="connsiteY248" fmla="*/ 1406843 h 1600200"/>
                <a:gd name="connsiteX249" fmla="*/ 493395 w 1390650"/>
                <a:gd name="connsiteY249" fmla="*/ 1404938 h 1600200"/>
                <a:gd name="connsiteX250" fmla="*/ 478155 w 1390650"/>
                <a:gd name="connsiteY250" fmla="*/ 1399223 h 1600200"/>
                <a:gd name="connsiteX251" fmla="*/ 471488 w 1390650"/>
                <a:gd name="connsiteY251" fmla="*/ 1398270 h 1600200"/>
                <a:gd name="connsiteX252" fmla="*/ 466725 w 1390650"/>
                <a:gd name="connsiteY252" fmla="*/ 1397318 h 1600200"/>
                <a:gd name="connsiteX253" fmla="*/ 453390 w 1390650"/>
                <a:gd name="connsiteY253" fmla="*/ 1407795 h 1600200"/>
                <a:gd name="connsiteX254" fmla="*/ 404813 w 1390650"/>
                <a:gd name="connsiteY254" fmla="*/ 1461135 h 1600200"/>
                <a:gd name="connsiteX255" fmla="*/ 401003 w 1390650"/>
                <a:gd name="connsiteY255" fmla="*/ 1463993 h 1600200"/>
                <a:gd name="connsiteX256" fmla="*/ 393383 w 1390650"/>
                <a:gd name="connsiteY256" fmla="*/ 1467803 h 1600200"/>
                <a:gd name="connsiteX257" fmla="*/ 332423 w 1390650"/>
                <a:gd name="connsiteY257" fmla="*/ 1473518 h 1600200"/>
                <a:gd name="connsiteX258" fmla="*/ 322898 w 1390650"/>
                <a:gd name="connsiteY258" fmla="*/ 1475423 h 1600200"/>
                <a:gd name="connsiteX259" fmla="*/ 318135 w 1390650"/>
                <a:gd name="connsiteY259" fmla="*/ 1478280 h 1600200"/>
                <a:gd name="connsiteX260" fmla="*/ 310515 w 1390650"/>
                <a:gd name="connsiteY260" fmla="*/ 1485900 h 1600200"/>
                <a:gd name="connsiteX261" fmla="*/ 307658 w 1390650"/>
                <a:gd name="connsiteY261" fmla="*/ 1488758 h 1600200"/>
                <a:gd name="connsiteX262" fmla="*/ 301942 w 1390650"/>
                <a:gd name="connsiteY262" fmla="*/ 1491615 h 1600200"/>
                <a:gd name="connsiteX263" fmla="*/ 299085 w 1390650"/>
                <a:gd name="connsiteY263" fmla="*/ 1491615 h 1600200"/>
                <a:gd name="connsiteX264" fmla="*/ 296228 w 1390650"/>
                <a:gd name="connsiteY264" fmla="*/ 1490663 h 1600200"/>
                <a:gd name="connsiteX265" fmla="*/ 292417 w 1390650"/>
                <a:gd name="connsiteY265" fmla="*/ 1484948 h 1600200"/>
                <a:gd name="connsiteX266" fmla="*/ 289560 w 1390650"/>
                <a:gd name="connsiteY266" fmla="*/ 1483043 h 1600200"/>
                <a:gd name="connsiteX267" fmla="*/ 286703 w 1390650"/>
                <a:gd name="connsiteY267" fmla="*/ 1483043 h 1600200"/>
                <a:gd name="connsiteX268" fmla="*/ 284798 w 1390650"/>
                <a:gd name="connsiteY268" fmla="*/ 1483995 h 1600200"/>
                <a:gd name="connsiteX269" fmla="*/ 273367 w 1390650"/>
                <a:gd name="connsiteY269" fmla="*/ 1495425 h 1600200"/>
                <a:gd name="connsiteX270" fmla="*/ 270510 w 1390650"/>
                <a:gd name="connsiteY270" fmla="*/ 1497330 h 1600200"/>
                <a:gd name="connsiteX271" fmla="*/ 265748 w 1390650"/>
                <a:gd name="connsiteY271" fmla="*/ 1500188 h 1600200"/>
                <a:gd name="connsiteX272" fmla="*/ 262890 w 1390650"/>
                <a:gd name="connsiteY272" fmla="*/ 1499235 h 1600200"/>
                <a:gd name="connsiteX273" fmla="*/ 254317 w 1390650"/>
                <a:gd name="connsiteY273" fmla="*/ 1493520 h 1600200"/>
                <a:gd name="connsiteX274" fmla="*/ 240983 w 1390650"/>
                <a:gd name="connsiteY274" fmla="*/ 1489710 h 1600200"/>
                <a:gd name="connsiteX275" fmla="*/ 229553 w 1390650"/>
                <a:gd name="connsiteY275" fmla="*/ 1484948 h 1600200"/>
                <a:gd name="connsiteX276" fmla="*/ 216217 w 1390650"/>
                <a:gd name="connsiteY276" fmla="*/ 1481138 h 1600200"/>
                <a:gd name="connsiteX277" fmla="*/ 210503 w 1390650"/>
                <a:gd name="connsiteY277" fmla="*/ 1480185 h 1600200"/>
                <a:gd name="connsiteX278" fmla="*/ 205740 w 1390650"/>
                <a:gd name="connsiteY278" fmla="*/ 1482090 h 1600200"/>
                <a:gd name="connsiteX279" fmla="*/ 203835 w 1390650"/>
                <a:gd name="connsiteY279" fmla="*/ 1486853 h 1600200"/>
                <a:gd name="connsiteX280" fmla="*/ 200978 w 1390650"/>
                <a:gd name="connsiteY280" fmla="*/ 1500188 h 1600200"/>
                <a:gd name="connsiteX281" fmla="*/ 200025 w 1390650"/>
                <a:gd name="connsiteY281" fmla="*/ 1506855 h 1600200"/>
                <a:gd name="connsiteX282" fmla="*/ 200978 w 1390650"/>
                <a:gd name="connsiteY282" fmla="*/ 1512570 h 1600200"/>
                <a:gd name="connsiteX283" fmla="*/ 204788 w 1390650"/>
                <a:gd name="connsiteY283" fmla="*/ 1516380 h 1600200"/>
                <a:gd name="connsiteX284" fmla="*/ 210503 w 1390650"/>
                <a:gd name="connsiteY284" fmla="*/ 1522095 h 1600200"/>
                <a:gd name="connsiteX285" fmla="*/ 212408 w 1390650"/>
                <a:gd name="connsiteY285" fmla="*/ 1524000 h 1600200"/>
                <a:gd name="connsiteX286" fmla="*/ 213360 w 1390650"/>
                <a:gd name="connsiteY286" fmla="*/ 1525905 h 1600200"/>
                <a:gd name="connsiteX287" fmla="*/ 213360 w 1390650"/>
                <a:gd name="connsiteY287" fmla="*/ 1528763 h 1600200"/>
                <a:gd name="connsiteX288" fmla="*/ 209550 w 1390650"/>
                <a:gd name="connsiteY288" fmla="*/ 1536383 h 1600200"/>
                <a:gd name="connsiteX289" fmla="*/ 208598 w 1390650"/>
                <a:gd name="connsiteY289" fmla="*/ 1539240 h 1600200"/>
                <a:gd name="connsiteX290" fmla="*/ 206692 w 1390650"/>
                <a:gd name="connsiteY290" fmla="*/ 1543050 h 1600200"/>
                <a:gd name="connsiteX291" fmla="*/ 203835 w 1390650"/>
                <a:gd name="connsiteY291" fmla="*/ 1546860 h 1600200"/>
                <a:gd name="connsiteX292" fmla="*/ 188595 w 1390650"/>
                <a:gd name="connsiteY292" fmla="*/ 1556385 h 1600200"/>
                <a:gd name="connsiteX293" fmla="*/ 186690 w 1390650"/>
                <a:gd name="connsiteY293" fmla="*/ 1558290 h 1600200"/>
                <a:gd name="connsiteX294" fmla="*/ 184785 w 1390650"/>
                <a:gd name="connsiteY294" fmla="*/ 1564958 h 1600200"/>
                <a:gd name="connsiteX295" fmla="*/ 185738 w 1390650"/>
                <a:gd name="connsiteY295" fmla="*/ 1574483 h 1600200"/>
                <a:gd name="connsiteX296" fmla="*/ 185738 w 1390650"/>
                <a:gd name="connsiteY296" fmla="*/ 1577340 h 1600200"/>
                <a:gd name="connsiteX297" fmla="*/ 185738 w 1390650"/>
                <a:gd name="connsiteY297" fmla="*/ 1584960 h 1600200"/>
                <a:gd name="connsiteX298" fmla="*/ 183833 w 1390650"/>
                <a:gd name="connsiteY298" fmla="*/ 1592580 h 1600200"/>
                <a:gd name="connsiteX299" fmla="*/ 181928 w 1390650"/>
                <a:gd name="connsiteY299" fmla="*/ 1592580 h 1600200"/>
                <a:gd name="connsiteX300" fmla="*/ 178117 w 1390650"/>
                <a:gd name="connsiteY300" fmla="*/ 1588770 h 1600200"/>
                <a:gd name="connsiteX301" fmla="*/ 175260 w 1390650"/>
                <a:gd name="connsiteY301" fmla="*/ 1586865 h 1600200"/>
                <a:gd name="connsiteX302" fmla="*/ 167640 w 1390650"/>
                <a:gd name="connsiteY302" fmla="*/ 1584960 h 1600200"/>
                <a:gd name="connsiteX303" fmla="*/ 164783 w 1390650"/>
                <a:gd name="connsiteY303" fmla="*/ 1585913 h 1600200"/>
                <a:gd name="connsiteX304" fmla="*/ 162878 w 1390650"/>
                <a:gd name="connsiteY304" fmla="*/ 1588770 h 1600200"/>
                <a:gd name="connsiteX305" fmla="*/ 161925 w 1390650"/>
                <a:gd name="connsiteY305" fmla="*/ 1592580 h 1600200"/>
                <a:gd name="connsiteX306" fmla="*/ 160973 w 1390650"/>
                <a:gd name="connsiteY306" fmla="*/ 1604963 h 1600200"/>
                <a:gd name="connsiteX307" fmla="*/ 122873 w 1390650"/>
                <a:gd name="connsiteY307" fmla="*/ 1581150 h 1600200"/>
                <a:gd name="connsiteX308" fmla="*/ 73342 w 1390650"/>
                <a:gd name="connsiteY308" fmla="*/ 1537335 h 1600200"/>
                <a:gd name="connsiteX309" fmla="*/ 68580 w 1390650"/>
                <a:gd name="connsiteY309" fmla="*/ 1530668 h 1600200"/>
                <a:gd name="connsiteX310" fmla="*/ 64770 w 1390650"/>
                <a:gd name="connsiteY310" fmla="*/ 1510665 h 1600200"/>
                <a:gd name="connsiteX311" fmla="*/ 63817 w 1390650"/>
                <a:gd name="connsiteY311" fmla="*/ 1500188 h 1600200"/>
                <a:gd name="connsiteX312" fmla="*/ 64770 w 1390650"/>
                <a:gd name="connsiteY312" fmla="*/ 1485900 h 1600200"/>
                <a:gd name="connsiteX313" fmla="*/ 68580 w 1390650"/>
                <a:gd name="connsiteY313" fmla="*/ 1465898 h 1600200"/>
                <a:gd name="connsiteX314" fmla="*/ 68580 w 1390650"/>
                <a:gd name="connsiteY314" fmla="*/ 1462088 h 1600200"/>
                <a:gd name="connsiteX315" fmla="*/ 66675 w 1390650"/>
                <a:gd name="connsiteY315" fmla="*/ 1457325 h 1600200"/>
                <a:gd name="connsiteX316" fmla="*/ 56198 w 1390650"/>
                <a:gd name="connsiteY316" fmla="*/ 1445895 h 1600200"/>
                <a:gd name="connsiteX317" fmla="*/ 54292 w 1390650"/>
                <a:gd name="connsiteY317" fmla="*/ 1440180 h 1600200"/>
                <a:gd name="connsiteX318" fmla="*/ 54292 w 1390650"/>
                <a:gd name="connsiteY318" fmla="*/ 1436370 h 1600200"/>
                <a:gd name="connsiteX319" fmla="*/ 55245 w 1390650"/>
                <a:gd name="connsiteY319" fmla="*/ 1434465 h 1600200"/>
                <a:gd name="connsiteX320" fmla="*/ 70485 w 1390650"/>
                <a:gd name="connsiteY320" fmla="*/ 1419225 h 1600200"/>
                <a:gd name="connsiteX321" fmla="*/ 74295 w 1390650"/>
                <a:gd name="connsiteY321" fmla="*/ 1414463 h 1600200"/>
                <a:gd name="connsiteX322" fmla="*/ 76200 w 1390650"/>
                <a:gd name="connsiteY322" fmla="*/ 1409700 h 1600200"/>
                <a:gd name="connsiteX323" fmla="*/ 77153 w 1390650"/>
                <a:gd name="connsiteY323" fmla="*/ 1404938 h 1600200"/>
                <a:gd name="connsiteX324" fmla="*/ 76200 w 1390650"/>
                <a:gd name="connsiteY324" fmla="*/ 1398270 h 1600200"/>
                <a:gd name="connsiteX325" fmla="*/ 74295 w 1390650"/>
                <a:gd name="connsiteY325" fmla="*/ 1387793 h 1600200"/>
                <a:gd name="connsiteX326" fmla="*/ 72390 w 1390650"/>
                <a:gd name="connsiteY326" fmla="*/ 1382078 h 1600200"/>
                <a:gd name="connsiteX327" fmla="*/ 70485 w 1390650"/>
                <a:gd name="connsiteY327" fmla="*/ 1378268 h 1600200"/>
                <a:gd name="connsiteX328" fmla="*/ 65723 w 1390650"/>
                <a:gd name="connsiteY328" fmla="*/ 1375410 h 1600200"/>
                <a:gd name="connsiteX329" fmla="*/ 60008 w 1390650"/>
                <a:gd name="connsiteY329" fmla="*/ 1373505 h 1600200"/>
                <a:gd name="connsiteX330" fmla="*/ 56198 w 1390650"/>
                <a:gd name="connsiteY330" fmla="*/ 1372553 h 1600200"/>
                <a:gd name="connsiteX331" fmla="*/ 53340 w 1390650"/>
                <a:gd name="connsiteY331" fmla="*/ 1373505 h 1600200"/>
                <a:gd name="connsiteX332" fmla="*/ 47625 w 1390650"/>
                <a:gd name="connsiteY332" fmla="*/ 1374458 h 1600200"/>
                <a:gd name="connsiteX333" fmla="*/ 33338 w 1390650"/>
                <a:gd name="connsiteY333" fmla="*/ 1383030 h 1600200"/>
                <a:gd name="connsiteX334" fmla="*/ 28575 w 1390650"/>
                <a:gd name="connsiteY334" fmla="*/ 1384935 h 1600200"/>
                <a:gd name="connsiteX335" fmla="*/ 21908 w 1390650"/>
                <a:gd name="connsiteY335" fmla="*/ 1385888 h 1600200"/>
                <a:gd name="connsiteX336" fmla="*/ 11430 w 1390650"/>
                <a:gd name="connsiteY336" fmla="*/ 1384935 h 1600200"/>
                <a:gd name="connsiteX337" fmla="*/ 3810 w 1390650"/>
                <a:gd name="connsiteY337" fmla="*/ 1381125 h 1600200"/>
                <a:gd name="connsiteX338" fmla="*/ 0 w 1390650"/>
                <a:gd name="connsiteY338" fmla="*/ 1372553 h 1600200"/>
                <a:gd name="connsiteX339" fmla="*/ 31433 w 1390650"/>
                <a:gd name="connsiteY339" fmla="*/ 1343025 h 1600200"/>
                <a:gd name="connsiteX340" fmla="*/ 42863 w 1390650"/>
                <a:gd name="connsiteY340" fmla="*/ 1329690 h 1600200"/>
                <a:gd name="connsiteX341" fmla="*/ 48578 w 1390650"/>
                <a:gd name="connsiteY341" fmla="*/ 1320165 h 1600200"/>
                <a:gd name="connsiteX342" fmla="*/ 53340 w 1390650"/>
                <a:gd name="connsiteY342" fmla="*/ 1317308 h 1600200"/>
                <a:gd name="connsiteX343" fmla="*/ 58103 w 1390650"/>
                <a:gd name="connsiteY343" fmla="*/ 1315403 h 1600200"/>
                <a:gd name="connsiteX344" fmla="*/ 62865 w 1390650"/>
                <a:gd name="connsiteY344" fmla="*/ 1314450 h 1600200"/>
                <a:gd name="connsiteX345" fmla="*/ 69533 w 1390650"/>
                <a:gd name="connsiteY345" fmla="*/ 1310640 h 1600200"/>
                <a:gd name="connsiteX346" fmla="*/ 73342 w 1390650"/>
                <a:gd name="connsiteY346" fmla="*/ 1305878 h 1600200"/>
                <a:gd name="connsiteX347" fmla="*/ 74295 w 1390650"/>
                <a:gd name="connsiteY347" fmla="*/ 1302068 h 1600200"/>
                <a:gd name="connsiteX348" fmla="*/ 74295 w 1390650"/>
                <a:gd name="connsiteY348" fmla="*/ 1298258 h 1600200"/>
                <a:gd name="connsiteX349" fmla="*/ 73342 w 1390650"/>
                <a:gd name="connsiteY349" fmla="*/ 1295400 h 1600200"/>
                <a:gd name="connsiteX350" fmla="*/ 72390 w 1390650"/>
                <a:gd name="connsiteY350" fmla="*/ 1292543 h 1600200"/>
                <a:gd name="connsiteX351" fmla="*/ 69533 w 1390650"/>
                <a:gd name="connsiteY351" fmla="*/ 1291590 h 1600200"/>
                <a:gd name="connsiteX352" fmla="*/ 60008 w 1390650"/>
                <a:gd name="connsiteY352" fmla="*/ 1289685 h 1600200"/>
                <a:gd name="connsiteX353" fmla="*/ 57150 w 1390650"/>
                <a:gd name="connsiteY353" fmla="*/ 1288733 h 1600200"/>
                <a:gd name="connsiteX354" fmla="*/ 55245 w 1390650"/>
                <a:gd name="connsiteY354" fmla="*/ 1286828 h 1600200"/>
                <a:gd name="connsiteX355" fmla="*/ 41910 w 1390650"/>
                <a:gd name="connsiteY355" fmla="*/ 1263015 h 1600200"/>
                <a:gd name="connsiteX356" fmla="*/ 37148 w 1390650"/>
                <a:gd name="connsiteY356" fmla="*/ 1256348 h 1600200"/>
                <a:gd name="connsiteX357" fmla="*/ 29528 w 1390650"/>
                <a:gd name="connsiteY357" fmla="*/ 1248728 h 1600200"/>
                <a:gd name="connsiteX358" fmla="*/ 20003 w 1390650"/>
                <a:gd name="connsiteY358" fmla="*/ 1243013 h 1600200"/>
                <a:gd name="connsiteX359" fmla="*/ 18098 w 1390650"/>
                <a:gd name="connsiteY359" fmla="*/ 1240155 h 1600200"/>
                <a:gd name="connsiteX360" fmla="*/ 16192 w 1390650"/>
                <a:gd name="connsiteY360" fmla="*/ 1238250 h 1600200"/>
                <a:gd name="connsiteX361" fmla="*/ 15240 w 1390650"/>
                <a:gd name="connsiteY361" fmla="*/ 1234440 h 1600200"/>
                <a:gd name="connsiteX362" fmla="*/ 16192 w 1390650"/>
                <a:gd name="connsiteY362" fmla="*/ 1231583 h 1600200"/>
                <a:gd name="connsiteX363" fmla="*/ 18098 w 1390650"/>
                <a:gd name="connsiteY363" fmla="*/ 1230630 h 1600200"/>
                <a:gd name="connsiteX364" fmla="*/ 20955 w 1390650"/>
                <a:gd name="connsiteY364" fmla="*/ 1230630 h 1600200"/>
                <a:gd name="connsiteX365" fmla="*/ 31433 w 1390650"/>
                <a:gd name="connsiteY365" fmla="*/ 1231583 h 1600200"/>
                <a:gd name="connsiteX366" fmla="*/ 34290 w 1390650"/>
                <a:gd name="connsiteY366" fmla="*/ 1231583 h 1600200"/>
                <a:gd name="connsiteX367" fmla="*/ 37148 w 1390650"/>
                <a:gd name="connsiteY367" fmla="*/ 1230630 h 1600200"/>
                <a:gd name="connsiteX368" fmla="*/ 39053 w 1390650"/>
                <a:gd name="connsiteY368" fmla="*/ 1229678 h 1600200"/>
                <a:gd name="connsiteX369" fmla="*/ 42863 w 1390650"/>
                <a:gd name="connsiteY369" fmla="*/ 1225868 h 1600200"/>
                <a:gd name="connsiteX370" fmla="*/ 46673 w 1390650"/>
                <a:gd name="connsiteY370" fmla="*/ 1220153 h 1600200"/>
                <a:gd name="connsiteX371" fmla="*/ 55245 w 1390650"/>
                <a:gd name="connsiteY371" fmla="*/ 1203960 h 1600200"/>
                <a:gd name="connsiteX372" fmla="*/ 56198 w 1390650"/>
                <a:gd name="connsiteY372" fmla="*/ 1202055 h 1600200"/>
                <a:gd name="connsiteX373" fmla="*/ 55245 w 1390650"/>
                <a:gd name="connsiteY373" fmla="*/ 1200150 h 1600200"/>
                <a:gd name="connsiteX374" fmla="*/ 49530 w 1390650"/>
                <a:gd name="connsiteY374" fmla="*/ 1194435 h 1600200"/>
                <a:gd name="connsiteX375" fmla="*/ 34290 w 1390650"/>
                <a:gd name="connsiteY375" fmla="*/ 1183005 h 1600200"/>
                <a:gd name="connsiteX376" fmla="*/ 32385 w 1390650"/>
                <a:gd name="connsiteY376" fmla="*/ 1180148 h 1600200"/>
                <a:gd name="connsiteX377" fmla="*/ 29528 w 1390650"/>
                <a:gd name="connsiteY377" fmla="*/ 1176338 h 1600200"/>
                <a:gd name="connsiteX378" fmla="*/ 30480 w 1390650"/>
                <a:gd name="connsiteY378" fmla="*/ 1172528 h 1600200"/>
                <a:gd name="connsiteX379" fmla="*/ 31433 w 1390650"/>
                <a:gd name="connsiteY379" fmla="*/ 1169670 h 1600200"/>
                <a:gd name="connsiteX380" fmla="*/ 37148 w 1390650"/>
                <a:gd name="connsiteY380" fmla="*/ 1162050 h 1600200"/>
                <a:gd name="connsiteX381" fmla="*/ 40005 w 1390650"/>
                <a:gd name="connsiteY381" fmla="*/ 1160145 h 1600200"/>
                <a:gd name="connsiteX382" fmla="*/ 42863 w 1390650"/>
                <a:gd name="connsiteY382" fmla="*/ 1159193 h 1600200"/>
                <a:gd name="connsiteX383" fmla="*/ 44767 w 1390650"/>
                <a:gd name="connsiteY383" fmla="*/ 1159193 h 1600200"/>
                <a:gd name="connsiteX384" fmla="*/ 69533 w 1390650"/>
                <a:gd name="connsiteY384" fmla="*/ 1165860 h 1600200"/>
                <a:gd name="connsiteX385" fmla="*/ 109538 w 1390650"/>
                <a:gd name="connsiteY385" fmla="*/ 1169670 h 1600200"/>
                <a:gd name="connsiteX386" fmla="*/ 114300 w 1390650"/>
                <a:gd name="connsiteY386" fmla="*/ 1168718 h 1600200"/>
                <a:gd name="connsiteX387" fmla="*/ 118110 w 1390650"/>
                <a:gd name="connsiteY387" fmla="*/ 1166813 h 1600200"/>
                <a:gd name="connsiteX388" fmla="*/ 123825 w 1390650"/>
                <a:gd name="connsiteY388" fmla="*/ 1162050 h 1600200"/>
                <a:gd name="connsiteX389" fmla="*/ 126683 w 1390650"/>
                <a:gd name="connsiteY389" fmla="*/ 1158240 h 1600200"/>
                <a:gd name="connsiteX390" fmla="*/ 127635 w 1390650"/>
                <a:gd name="connsiteY390" fmla="*/ 1153478 h 1600200"/>
                <a:gd name="connsiteX391" fmla="*/ 127635 w 1390650"/>
                <a:gd name="connsiteY391" fmla="*/ 1150620 h 1600200"/>
                <a:gd name="connsiteX392" fmla="*/ 127635 w 1390650"/>
                <a:gd name="connsiteY392" fmla="*/ 1143953 h 1600200"/>
                <a:gd name="connsiteX393" fmla="*/ 127635 w 1390650"/>
                <a:gd name="connsiteY393" fmla="*/ 1140143 h 1600200"/>
                <a:gd name="connsiteX394" fmla="*/ 124778 w 1390650"/>
                <a:gd name="connsiteY394" fmla="*/ 1132523 h 1600200"/>
                <a:gd name="connsiteX395" fmla="*/ 118110 w 1390650"/>
                <a:gd name="connsiteY395" fmla="*/ 1120140 h 1600200"/>
                <a:gd name="connsiteX396" fmla="*/ 117158 w 1390650"/>
                <a:gd name="connsiteY396" fmla="*/ 1116330 h 1600200"/>
                <a:gd name="connsiteX397" fmla="*/ 118110 w 1390650"/>
                <a:gd name="connsiteY397" fmla="*/ 1110615 h 1600200"/>
                <a:gd name="connsiteX398" fmla="*/ 120015 w 1390650"/>
                <a:gd name="connsiteY398" fmla="*/ 1108710 h 1600200"/>
                <a:gd name="connsiteX399" fmla="*/ 122873 w 1390650"/>
                <a:gd name="connsiteY399" fmla="*/ 1106805 h 1600200"/>
                <a:gd name="connsiteX400" fmla="*/ 160020 w 1390650"/>
                <a:gd name="connsiteY400" fmla="*/ 1112520 h 1600200"/>
                <a:gd name="connsiteX401" fmla="*/ 163830 w 1390650"/>
                <a:gd name="connsiteY401" fmla="*/ 1111568 h 1600200"/>
                <a:gd name="connsiteX402" fmla="*/ 168592 w 1390650"/>
                <a:gd name="connsiteY402" fmla="*/ 1109663 h 1600200"/>
                <a:gd name="connsiteX403" fmla="*/ 169545 w 1390650"/>
                <a:gd name="connsiteY403" fmla="*/ 1107758 h 1600200"/>
                <a:gd name="connsiteX404" fmla="*/ 168592 w 1390650"/>
                <a:gd name="connsiteY404" fmla="*/ 1104900 h 1600200"/>
                <a:gd name="connsiteX405" fmla="*/ 166688 w 1390650"/>
                <a:gd name="connsiteY405" fmla="*/ 1102995 h 1600200"/>
                <a:gd name="connsiteX406" fmla="*/ 155258 w 1390650"/>
                <a:gd name="connsiteY406" fmla="*/ 1095375 h 1600200"/>
                <a:gd name="connsiteX407" fmla="*/ 153353 w 1390650"/>
                <a:gd name="connsiteY407" fmla="*/ 1093470 h 1600200"/>
                <a:gd name="connsiteX408" fmla="*/ 152400 w 1390650"/>
                <a:gd name="connsiteY408" fmla="*/ 1089660 h 1600200"/>
                <a:gd name="connsiteX409" fmla="*/ 153353 w 1390650"/>
                <a:gd name="connsiteY409" fmla="*/ 1083945 h 1600200"/>
                <a:gd name="connsiteX410" fmla="*/ 157163 w 1390650"/>
                <a:gd name="connsiteY410" fmla="*/ 1078230 h 1600200"/>
                <a:gd name="connsiteX411" fmla="*/ 159067 w 1390650"/>
                <a:gd name="connsiteY411" fmla="*/ 1074420 h 1600200"/>
                <a:gd name="connsiteX412" fmla="*/ 159067 w 1390650"/>
                <a:gd name="connsiteY412" fmla="*/ 1070610 h 1600200"/>
                <a:gd name="connsiteX413" fmla="*/ 156210 w 1390650"/>
                <a:gd name="connsiteY413" fmla="*/ 1062038 h 1600200"/>
                <a:gd name="connsiteX414" fmla="*/ 156210 w 1390650"/>
                <a:gd name="connsiteY414" fmla="*/ 1059180 h 1600200"/>
                <a:gd name="connsiteX415" fmla="*/ 156210 w 1390650"/>
                <a:gd name="connsiteY415" fmla="*/ 1055370 h 1600200"/>
                <a:gd name="connsiteX416" fmla="*/ 159067 w 1390650"/>
                <a:gd name="connsiteY416" fmla="*/ 1054418 h 1600200"/>
                <a:gd name="connsiteX417" fmla="*/ 160020 w 1390650"/>
                <a:gd name="connsiteY417" fmla="*/ 1055370 h 1600200"/>
                <a:gd name="connsiteX418" fmla="*/ 168592 w 1390650"/>
                <a:gd name="connsiteY418" fmla="*/ 1062990 h 1600200"/>
                <a:gd name="connsiteX419" fmla="*/ 175260 w 1390650"/>
                <a:gd name="connsiteY419" fmla="*/ 1066800 h 1600200"/>
                <a:gd name="connsiteX420" fmla="*/ 185738 w 1390650"/>
                <a:gd name="connsiteY420" fmla="*/ 1071563 h 1600200"/>
                <a:gd name="connsiteX421" fmla="*/ 199073 w 1390650"/>
                <a:gd name="connsiteY421" fmla="*/ 1074420 h 1600200"/>
                <a:gd name="connsiteX422" fmla="*/ 203835 w 1390650"/>
                <a:gd name="connsiteY422" fmla="*/ 1074420 h 1600200"/>
                <a:gd name="connsiteX423" fmla="*/ 208598 w 1390650"/>
                <a:gd name="connsiteY423" fmla="*/ 1072515 h 1600200"/>
                <a:gd name="connsiteX424" fmla="*/ 224790 w 1390650"/>
                <a:gd name="connsiteY424" fmla="*/ 1062990 h 1600200"/>
                <a:gd name="connsiteX425" fmla="*/ 242888 w 1390650"/>
                <a:gd name="connsiteY425" fmla="*/ 1056323 h 1600200"/>
                <a:gd name="connsiteX426" fmla="*/ 262890 w 1390650"/>
                <a:gd name="connsiteY426" fmla="*/ 1044893 h 1600200"/>
                <a:gd name="connsiteX427" fmla="*/ 274320 w 1390650"/>
                <a:gd name="connsiteY427" fmla="*/ 1036320 h 1600200"/>
                <a:gd name="connsiteX428" fmla="*/ 284798 w 1390650"/>
                <a:gd name="connsiteY428" fmla="*/ 1030605 h 1600200"/>
                <a:gd name="connsiteX429" fmla="*/ 312420 w 1390650"/>
                <a:gd name="connsiteY429" fmla="*/ 1030605 h 1600200"/>
                <a:gd name="connsiteX430" fmla="*/ 319088 w 1390650"/>
                <a:gd name="connsiteY430" fmla="*/ 1032510 h 1600200"/>
                <a:gd name="connsiteX431" fmla="*/ 321945 w 1390650"/>
                <a:gd name="connsiteY431" fmla="*/ 1033463 h 1600200"/>
                <a:gd name="connsiteX432" fmla="*/ 329565 w 1390650"/>
                <a:gd name="connsiteY432" fmla="*/ 1041083 h 1600200"/>
                <a:gd name="connsiteX433" fmla="*/ 340042 w 1390650"/>
                <a:gd name="connsiteY433" fmla="*/ 1053465 h 1600200"/>
                <a:gd name="connsiteX434" fmla="*/ 341948 w 1390650"/>
                <a:gd name="connsiteY434" fmla="*/ 1056323 h 1600200"/>
                <a:gd name="connsiteX435" fmla="*/ 341948 w 1390650"/>
                <a:gd name="connsiteY435" fmla="*/ 1059180 h 1600200"/>
                <a:gd name="connsiteX436" fmla="*/ 340995 w 1390650"/>
                <a:gd name="connsiteY436" fmla="*/ 1063943 h 1600200"/>
                <a:gd name="connsiteX437" fmla="*/ 342900 w 1390650"/>
                <a:gd name="connsiteY437" fmla="*/ 1065848 h 1600200"/>
                <a:gd name="connsiteX438" fmla="*/ 344805 w 1390650"/>
                <a:gd name="connsiteY438" fmla="*/ 1067753 h 1600200"/>
                <a:gd name="connsiteX439" fmla="*/ 365760 w 1390650"/>
                <a:gd name="connsiteY439" fmla="*/ 1070610 h 1600200"/>
                <a:gd name="connsiteX440" fmla="*/ 371475 w 1390650"/>
                <a:gd name="connsiteY440" fmla="*/ 1073468 h 1600200"/>
                <a:gd name="connsiteX441" fmla="*/ 375285 w 1390650"/>
                <a:gd name="connsiteY441" fmla="*/ 1077278 h 1600200"/>
                <a:gd name="connsiteX442" fmla="*/ 386715 w 1390650"/>
                <a:gd name="connsiteY442" fmla="*/ 1088708 h 1600200"/>
                <a:gd name="connsiteX443" fmla="*/ 390525 w 1390650"/>
                <a:gd name="connsiteY443" fmla="*/ 1092518 h 1600200"/>
                <a:gd name="connsiteX444" fmla="*/ 394335 w 1390650"/>
                <a:gd name="connsiteY444" fmla="*/ 1093470 h 1600200"/>
                <a:gd name="connsiteX445" fmla="*/ 398145 w 1390650"/>
                <a:gd name="connsiteY445" fmla="*/ 1094423 h 1600200"/>
                <a:gd name="connsiteX446" fmla="*/ 402908 w 1390650"/>
                <a:gd name="connsiteY446" fmla="*/ 1093470 h 1600200"/>
                <a:gd name="connsiteX447" fmla="*/ 405765 w 1390650"/>
                <a:gd name="connsiteY447" fmla="*/ 1092518 h 1600200"/>
                <a:gd name="connsiteX448" fmla="*/ 407670 w 1390650"/>
                <a:gd name="connsiteY448" fmla="*/ 1089660 h 1600200"/>
                <a:gd name="connsiteX449" fmla="*/ 412433 w 1390650"/>
                <a:gd name="connsiteY449" fmla="*/ 1062038 h 1600200"/>
                <a:gd name="connsiteX450" fmla="*/ 414338 w 1390650"/>
                <a:gd name="connsiteY450" fmla="*/ 1059180 h 1600200"/>
                <a:gd name="connsiteX451" fmla="*/ 417195 w 1390650"/>
                <a:gd name="connsiteY451" fmla="*/ 1052513 h 1600200"/>
                <a:gd name="connsiteX452" fmla="*/ 421005 w 1390650"/>
                <a:gd name="connsiteY452" fmla="*/ 1048703 h 1600200"/>
                <a:gd name="connsiteX453" fmla="*/ 424815 w 1390650"/>
                <a:gd name="connsiteY453" fmla="*/ 1042035 h 1600200"/>
                <a:gd name="connsiteX454" fmla="*/ 425767 w 1390650"/>
                <a:gd name="connsiteY454" fmla="*/ 1036320 h 1600200"/>
                <a:gd name="connsiteX455" fmla="*/ 425767 w 1390650"/>
                <a:gd name="connsiteY455" fmla="*/ 1029652 h 1600200"/>
                <a:gd name="connsiteX456" fmla="*/ 425767 w 1390650"/>
                <a:gd name="connsiteY456" fmla="*/ 1022985 h 1600200"/>
                <a:gd name="connsiteX457" fmla="*/ 422910 w 1390650"/>
                <a:gd name="connsiteY457" fmla="*/ 1006793 h 1600200"/>
                <a:gd name="connsiteX458" fmla="*/ 424815 w 1390650"/>
                <a:gd name="connsiteY458" fmla="*/ 968693 h 1600200"/>
                <a:gd name="connsiteX459" fmla="*/ 425767 w 1390650"/>
                <a:gd name="connsiteY459" fmla="*/ 965835 h 1600200"/>
                <a:gd name="connsiteX460" fmla="*/ 428625 w 1390650"/>
                <a:gd name="connsiteY460" fmla="*/ 959168 h 1600200"/>
                <a:gd name="connsiteX461" fmla="*/ 431483 w 1390650"/>
                <a:gd name="connsiteY461" fmla="*/ 956310 h 1600200"/>
                <a:gd name="connsiteX462" fmla="*/ 434340 w 1390650"/>
                <a:gd name="connsiteY462" fmla="*/ 954405 h 1600200"/>
                <a:gd name="connsiteX463" fmla="*/ 436245 w 1390650"/>
                <a:gd name="connsiteY463" fmla="*/ 953452 h 1600200"/>
                <a:gd name="connsiteX464" fmla="*/ 460058 w 1390650"/>
                <a:gd name="connsiteY464" fmla="*/ 934402 h 1600200"/>
                <a:gd name="connsiteX465" fmla="*/ 463867 w 1390650"/>
                <a:gd name="connsiteY465" fmla="*/ 931545 h 1600200"/>
                <a:gd name="connsiteX466" fmla="*/ 466725 w 1390650"/>
                <a:gd name="connsiteY466" fmla="*/ 930593 h 1600200"/>
                <a:gd name="connsiteX467" fmla="*/ 473392 w 1390650"/>
                <a:gd name="connsiteY467" fmla="*/ 930593 h 1600200"/>
                <a:gd name="connsiteX468" fmla="*/ 482917 w 1390650"/>
                <a:gd name="connsiteY468" fmla="*/ 933450 h 1600200"/>
                <a:gd name="connsiteX469" fmla="*/ 487680 w 1390650"/>
                <a:gd name="connsiteY469" fmla="*/ 932498 h 1600200"/>
                <a:gd name="connsiteX470" fmla="*/ 490538 w 1390650"/>
                <a:gd name="connsiteY470" fmla="*/ 931545 h 1600200"/>
                <a:gd name="connsiteX471" fmla="*/ 492442 w 1390650"/>
                <a:gd name="connsiteY471" fmla="*/ 929640 h 1600200"/>
                <a:gd name="connsiteX472" fmla="*/ 496253 w 1390650"/>
                <a:gd name="connsiteY472" fmla="*/ 923925 h 1600200"/>
                <a:gd name="connsiteX473" fmla="*/ 496253 w 1390650"/>
                <a:gd name="connsiteY473" fmla="*/ 922020 h 1600200"/>
                <a:gd name="connsiteX474" fmla="*/ 494348 w 1390650"/>
                <a:gd name="connsiteY474" fmla="*/ 918210 h 1600200"/>
                <a:gd name="connsiteX475" fmla="*/ 491490 w 1390650"/>
                <a:gd name="connsiteY475" fmla="*/ 916305 h 1600200"/>
                <a:gd name="connsiteX476" fmla="*/ 479108 w 1390650"/>
                <a:gd name="connsiteY476" fmla="*/ 909638 h 1600200"/>
                <a:gd name="connsiteX477" fmla="*/ 477203 w 1390650"/>
                <a:gd name="connsiteY477" fmla="*/ 908685 h 1600200"/>
                <a:gd name="connsiteX478" fmla="*/ 476250 w 1390650"/>
                <a:gd name="connsiteY478" fmla="*/ 904875 h 1600200"/>
                <a:gd name="connsiteX479" fmla="*/ 478155 w 1390650"/>
                <a:gd name="connsiteY479" fmla="*/ 899160 h 1600200"/>
                <a:gd name="connsiteX480" fmla="*/ 484823 w 1390650"/>
                <a:gd name="connsiteY480" fmla="*/ 888683 h 1600200"/>
                <a:gd name="connsiteX481" fmla="*/ 498158 w 1390650"/>
                <a:gd name="connsiteY481" fmla="*/ 876300 h 1600200"/>
                <a:gd name="connsiteX482" fmla="*/ 500063 w 1390650"/>
                <a:gd name="connsiteY482" fmla="*/ 873443 h 1600200"/>
                <a:gd name="connsiteX483" fmla="*/ 501967 w 1390650"/>
                <a:gd name="connsiteY483" fmla="*/ 866775 h 1600200"/>
                <a:gd name="connsiteX484" fmla="*/ 501967 w 1390650"/>
                <a:gd name="connsiteY484" fmla="*/ 860108 h 1600200"/>
                <a:gd name="connsiteX485" fmla="*/ 501015 w 1390650"/>
                <a:gd name="connsiteY485" fmla="*/ 857250 h 1600200"/>
                <a:gd name="connsiteX486" fmla="*/ 500063 w 1390650"/>
                <a:gd name="connsiteY486" fmla="*/ 855345 h 1600200"/>
                <a:gd name="connsiteX487" fmla="*/ 497205 w 1390650"/>
                <a:gd name="connsiteY487" fmla="*/ 852488 h 1600200"/>
                <a:gd name="connsiteX488" fmla="*/ 495300 w 1390650"/>
                <a:gd name="connsiteY488" fmla="*/ 849630 h 1600200"/>
                <a:gd name="connsiteX489" fmla="*/ 493395 w 1390650"/>
                <a:gd name="connsiteY489" fmla="*/ 846773 h 1600200"/>
                <a:gd name="connsiteX490" fmla="*/ 484823 w 1390650"/>
                <a:gd name="connsiteY490" fmla="*/ 840105 h 1600200"/>
                <a:gd name="connsiteX491" fmla="*/ 482917 w 1390650"/>
                <a:gd name="connsiteY491" fmla="*/ 838200 h 1600200"/>
                <a:gd name="connsiteX492" fmla="*/ 481013 w 1390650"/>
                <a:gd name="connsiteY492" fmla="*/ 835343 h 1600200"/>
                <a:gd name="connsiteX493" fmla="*/ 481013 w 1390650"/>
                <a:gd name="connsiteY493" fmla="*/ 831533 h 1600200"/>
                <a:gd name="connsiteX494" fmla="*/ 482917 w 1390650"/>
                <a:gd name="connsiteY494" fmla="*/ 825818 h 1600200"/>
                <a:gd name="connsiteX495" fmla="*/ 485775 w 1390650"/>
                <a:gd name="connsiteY495" fmla="*/ 822960 h 1600200"/>
                <a:gd name="connsiteX496" fmla="*/ 488633 w 1390650"/>
                <a:gd name="connsiteY496" fmla="*/ 820103 h 1600200"/>
                <a:gd name="connsiteX497" fmla="*/ 525780 w 1390650"/>
                <a:gd name="connsiteY497" fmla="*/ 815340 h 1600200"/>
                <a:gd name="connsiteX498" fmla="*/ 530543 w 1390650"/>
                <a:gd name="connsiteY498" fmla="*/ 813435 h 1600200"/>
                <a:gd name="connsiteX499" fmla="*/ 534353 w 1390650"/>
                <a:gd name="connsiteY499" fmla="*/ 811530 h 1600200"/>
                <a:gd name="connsiteX500" fmla="*/ 541973 w 1390650"/>
                <a:gd name="connsiteY500" fmla="*/ 805815 h 1600200"/>
                <a:gd name="connsiteX501" fmla="*/ 543878 w 1390650"/>
                <a:gd name="connsiteY501" fmla="*/ 802005 h 1600200"/>
                <a:gd name="connsiteX502" fmla="*/ 544830 w 1390650"/>
                <a:gd name="connsiteY502" fmla="*/ 798195 h 1600200"/>
                <a:gd name="connsiteX503" fmla="*/ 543878 w 1390650"/>
                <a:gd name="connsiteY503" fmla="*/ 792480 h 1600200"/>
                <a:gd name="connsiteX504" fmla="*/ 542925 w 1390650"/>
                <a:gd name="connsiteY504" fmla="*/ 782003 h 1600200"/>
                <a:gd name="connsiteX505" fmla="*/ 541020 w 1390650"/>
                <a:gd name="connsiteY505" fmla="*/ 776288 h 1600200"/>
                <a:gd name="connsiteX506" fmla="*/ 536258 w 1390650"/>
                <a:gd name="connsiteY506" fmla="*/ 769620 h 1600200"/>
                <a:gd name="connsiteX507" fmla="*/ 536258 w 1390650"/>
                <a:gd name="connsiteY507" fmla="*/ 766763 h 1600200"/>
                <a:gd name="connsiteX508" fmla="*/ 535305 w 1390650"/>
                <a:gd name="connsiteY508" fmla="*/ 760095 h 1600200"/>
                <a:gd name="connsiteX509" fmla="*/ 533400 w 1390650"/>
                <a:gd name="connsiteY509" fmla="*/ 755333 h 1600200"/>
                <a:gd name="connsiteX510" fmla="*/ 524828 w 1390650"/>
                <a:gd name="connsiteY510" fmla="*/ 740093 h 1600200"/>
                <a:gd name="connsiteX511" fmla="*/ 516255 w 1390650"/>
                <a:gd name="connsiteY511" fmla="*/ 730568 h 1600200"/>
                <a:gd name="connsiteX512" fmla="*/ 511492 w 1390650"/>
                <a:gd name="connsiteY512" fmla="*/ 726758 h 1600200"/>
                <a:gd name="connsiteX513" fmla="*/ 506730 w 1390650"/>
                <a:gd name="connsiteY513" fmla="*/ 723900 h 1600200"/>
                <a:gd name="connsiteX514" fmla="*/ 501015 w 1390650"/>
                <a:gd name="connsiteY514" fmla="*/ 724853 h 1600200"/>
                <a:gd name="connsiteX515" fmla="*/ 495300 w 1390650"/>
                <a:gd name="connsiteY515" fmla="*/ 725805 h 1600200"/>
                <a:gd name="connsiteX516" fmla="*/ 494348 w 1390650"/>
                <a:gd name="connsiteY516" fmla="*/ 726758 h 1600200"/>
                <a:gd name="connsiteX517" fmla="*/ 488633 w 1390650"/>
                <a:gd name="connsiteY517" fmla="*/ 731520 h 1600200"/>
                <a:gd name="connsiteX518" fmla="*/ 486728 w 1390650"/>
                <a:gd name="connsiteY518" fmla="*/ 732473 h 1600200"/>
                <a:gd name="connsiteX519" fmla="*/ 483870 w 1390650"/>
                <a:gd name="connsiteY519" fmla="*/ 732473 h 1600200"/>
                <a:gd name="connsiteX520" fmla="*/ 470535 w 1390650"/>
                <a:gd name="connsiteY520" fmla="*/ 726758 h 1600200"/>
                <a:gd name="connsiteX521" fmla="*/ 467678 w 1390650"/>
                <a:gd name="connsiteY521" fmla="*/ 724853 h 1600200"/>
                <a:gd name="connsiteX522" fmla="*/ 465773 w 1390650"/>
                <a:gd name="connsiteY522" fmla="*/ 722948 h 1600200"/>
                <a:gd name="connsiteX523" fmla="*/ 465773 w 1390650"/>
                <a:gd name="connsiteY523" fmla="*/ 718185 h 1600200"/>
                <a:gd name="connsiteX524" fmla="*/ 468630 w 1390650"/>
                <a:gd name="connsiteY524" fmla="*/ 695325 h 1600200"/>
                <a:gd name="connsiteX525" fmla="*/ 469583 w 1390650"/>
                <a:gd name="connsiteY525" fmla="*/ 690563 h 1600200"/>
                <a:gd name="connsiteX526" fmla="*/ 471488 w 1390650"/>
                <a:gd name="connsiteY526" fmla="*/ 688658 h 1600200"/>
                <a:gd name="connsiteX527" fmla="*/ 508635 w 1390650"/>
                <a:gd name="connsiteY527" fmla="*/ 681038 h 1600200"/>
                <a:gd name="connsiteX528" fmla="*/ 513398 w 1390650"/>
                <a:gd name="connsiteY528" fmla="*/ 677228 h 1600200"/>
                <a:gd name="connsiteX529" fmla="*/ 519113 w 1390650"/>
                <a:gd name="connsiteY529" fmla="*/ 671513 h 1600200"/>
                <a:gd name="connsiteX530" fmla="*/ 523875 w 1390650"/>
                <a:gd name="connsiteY530" fmla="*/ 662940 h 1600200"/>
                <a:gd name="connsiteX531" fmla="*/ 526733 w 1390650"/>
                <a:gd name="connsiteY531" fmla="*/ 657225 h 1600200"/>
                <a:gd name="connsiteX532" fmla="*/ 526733 w 1390650"/>
                <a:gd name="connsiteY532" fmla="*/ 652463 h 1600200"/>
                <a:gd name="connsiteX533" fmla="*/ 527685 w 1390650"/>
                <a:gd name="connsiteY533" fmla="*/ 642938 h 1600200"/>
                <a:gd name="connsiteX534" fmla="*/ 527685 w 1390650"/>
                <a:gd name="connsiteY534" fmla="*/ 639128 h 1600200"/>
                <a:gd name="connsiteX535" fmla="*/ 525780 w 1390650"/>
                <a:gd name="connsiteY535" fmla="*/ 633413 h 1600200"/>
                <a:gd name="connsiteX536" fmla="*/ 523875 w 1390650"/>
                <a:gd name="connsiteY536" fmla="*/ 631508 h 1600200"/>
                <a:gd name="connsiteX537" fmla="*/ 497205 w 1390650"/>
                <a:gd name="connsiteY537" fmla="*/ 604838 h 1600200"/>
                <a:gd name="connsiteX538" fmla="*/ 457200 w 1390650"/>
                <a:gd name="connsiteY538" fmla="*/ 584835 h 1600200"/>
                <a:gd name="connsiteX539" fmla="*/ 453390 w 1390650"/>
                <a:gd name="connsiteY539" fmla="*/ 580073 h 1600200"/>
                <a:gd name="connsiteX540" fmla="*/ 450533 w 1390650"/>
                <a:gd name="connsiteY540" fmla="*/ 575310 h 1600200"/>
                <a:gd name="connsiteX541" fmla="*/ 440055 w 1390650"/>
                <a:gd name="connsiteY541" fmla="*/ 562928 h 1600200"/>
                <a:gd name="connsiteX542" fmla="*/ 424815 w 1390650"/>
                <a:gd name="connsiteY542" fmla="*/ 550545 h 1600200"/>
                <a:gd name="connsiteX543" fmla="*/ 421005 w 1390650"/>
                <a:gd name="connsiteY543" fmla="*/ 546735 h 1600200"/>
                <a:gd name="connsiteX544" fmla="*/ 420053 w 1390650"/>
                <a:gd name="connsiteY544" fmla="*/ 543878 h 1600200"/>
                <a:gd name="connsiteX545" fmla="*/ 420053 w 1390650"/>
                <a:gd name="connsiteY545" fmla="*/ 541020 h 1600200"/>
                <a:gd name="connsiteX546" fmla="*/ 419100 w 1390650"/>
                <a:gd name="connsiteY546" fmla="*/ 534353 h 1600200"/>
                <a:gd name="connsiteX547" fmla="*/ 417195 w 1390650"/>
                <a:gd name="connsiteY547" fmla="*/ 529590 h 1600200"/>
                <a:gd name="connsiteX548" fmla="*/ 414338 w 1390650"/>
                <a:gd name="connsiteY548" fmla="*/ 526733 h 1600200"/>
                <a:gd name="connsiteX549" fmla="*/ 404813 w 1390650"/>
                <a:gd name="connsiteY549" fmla="*/ 521970 h 1600200"/>
                <a:gd name="connsiteX550" fmla="*/ 399098 w 1390650"/>
                <a:gd name="connsiteY550" fmla="*/ 519113 h 1600200"/>
                <a:gd name="connsiteX551" fmla="*/ 396240 w 1390650"/>
                <a:gd name="connsiteY551" fmla="*/ 514350 h 1600200"/>
                <a:gd name="connsiteX552" fmla="*/ 393383 w 1390650"/>
                <a:gd name="connsiteY552" fmla="*/ 509588 h 1600200"/>
                <a:gd name="connsiteX553" fmla="*/ 392430 w 1390650"/>
                <a:gd name="connsiteY553" fmla="*/ 506730 h 1600200"/>
                <a:gd name="connsiteX554" fmla="*/ 393383 w 1390650"/>
                <a:gd name="connsiteY554" fmla="*/ 500063 h 1600200"/>
                <a:gd name="connsiteX555" fmla="*/ 395288 w 1390650"/>
                <a:gd name="connsiteY555" fmla="*/ 491490 h 1600200"/>
                <a:gd name="connsiteX556" fmla="*/ 400050 w 1390650"/>
                <a:gd name="connsiteY556" fmla="*/ 472440 h 1600200"/>
                <a:gd name="connsiteX557" fmla="*/ 400050 w 1390650"/>
                <a:gd name="connsiteY557" fmla="*/ 464820 h 1600200"/>
                <a:gd name="connsiteX558" fmla="*/ 399098 w 1390650"/>
                <a:gd name="connsiteY558" fmla="*/ 462915 h 1600200"/>
                <a:gd name="connsiteX559" fmla="*/ 397192 w 1390650"/>
                <a:gd name="connsiteY559" fmla="*/ 463868 h 1600200"/>
                <a:gd name="connsiteX560" fmla="*/ 389573 w 1390650"/>
                <a:gd name="connsiteY560" fmla="*/ 471488 h 1600200"/>
                <a:gd name="connsiteX561" fmla="*/ 384810 w 1390650"/>
                <a:gd name="connsiteY561" fmla="*/ 473393 h 1600200"/>
                <a:gd name="connsiteX562" fmla="*/ 381000 w 1390650"/>
                <a:gd name="connsiteY562" fmla="*/ 474345 h 1600200"/>
                <a:gd name="connsiteX563" fmla="*/ 374333 w 1390650"/>
                <a:gd name="connsiteY563" fmla="*/ 474345 h 1600200"/>
                <a:gd name="connsiteX564" fmla="*/ 371475 w 1390650"/>
                <a:gd name="connsiteY564" fmla="*/ 473393 h 1600200"/>
                <a:gd name="connsiteX565" fmla="*/ 365760 w 1390650"/>
                <a:gd name="connsiteY565" fmla="*/ 470535 h 1600200"/>
                <a:gd name="connsiteX566" fmla="*/ 362903 w 1390650"/>
                <a:gd name="connsiteY566" fmla="*/ 465772 h 1600200"/>
                <a:gd name="connsiteX567" fmla="*/ 360998 w 1390650"/>
                <a:gd name="connsiteY567" fmla="*/ 461010 h 1600200"/>
                <a:gd name="connsiteX568" fmla="*/ 359092 w 1390650"/>
                <a:gd name="connsiteY568" fmla="*/ 459105 h 1600200"/>
                <a:gd name="connsiteX569" fmla="*/ 356235 w 1390650"/>
                <a:gd name="connsiteY569" fmla="*/ 459105 h 1600200"/>
                <a:gd name="connsiteX570" fmla="*/ 354330 w 1390650"/>
                <a:gd name="connsiteY570" fmla="*/ 460058 h 1600200"/>
                <a:gd name="connsiteX571" fmla="*/ 352425 w 1390650"/>
                <a:gd name="connsiteY571" fmla="*/ 461963 h 1600200"/>
                <a:gd name="connsiteX572" fmla="*/ 350520 w 1390650"/>
                <a:gd name="connsiteY572" fmla="*/ 464820 h 1600200"/>
                <a:gd name="connsiteX573" fmla="*/ 346710 w 1390650"/>
                <a:gd name="connsiteY573" fmla="*/ 471488 h 1600200"/>
                <a:gd name="connsiteX574" fmla="*/ 344805 w 1390650"/>
                <a:gd name="connsiteY574" fmla="*/ 474345 h 1600200"/>
                <a:gd name="connsiteX575" fmla="*/ 340995 w 1390650"/>
                <a:gd name="connsiteY575" fmla="*/ 478155 h 1600200"/>
                <a:gd name="connsiteX576" fmla="*/ 339090 w 1390650"/>
                <a:gd name="connsiteY576" fmla="*/ 480060 h 1600200"/>
                <a:gd name="connsiteX577" fmla="*/ 336233 w 1390650"/>
                <a:gd name="connsiteY577" fmla="*/ 481013 h 1600200"/>
                <a:gd name="connsiteX578" fmla="*/ 333375 w 1390650"/>
                <a:gd name="connsiteY578" fmla="*/ 481013 h 1600200"/>
                <a:gd name="connsiteX579" fmla="*/ 330517 w 1390650"/>
                <a:gd name="connsiteY579" fmla="*/ 481013 h 1600200"/>
                <a:gd name="connsiteX580" fmla="*/ 319088 w 1390650"/>
                <a:gd name="connsiteY580" fmla="*/ 476250 h 1600200"/>
                <a:gd name="connsiteX581" fmla="*/ 312420 w 1390650"/>
                <a:gd name="connsiteY581" fmla="*/ 475297 h 1600200"/>
                <a:gd name="connsiteX582" fmla="*/ 305753 w 1390650"/>
                <a:gd name="connsiteY582" fmla="*/ 476250 h 1600200"/>
                <a:gd name="connsiteX583" fmla="*/ 300038 w 1390650"/>
                <a:gd name="connsiteY583" fmla="*/ 477203 h 1600200"/>
                <a:gd name="connsiteX584" fmla="*/ 294323 w 1390650"/>
                <a:gd name="connsiteY584" fmla="*/ 479108 h 1600200"/>
                <a:gd name="connsiteX585" fmla="*/ 287655 w 1390650"/>
                <a:gd name="connsiteY585" fmla="*/ 483870 h 1600200"/>
                <a:gd name="connsiteX586" fmla="*/ 285750 w 1390650"/>
                <a:gd name="connsiteY586" fmla="*/ 485775 h 1600200"/>
                <a:gd name="connsiteX587" fmla="*/ 282892 w 1390650"/>
                <a:gd name="connsiteY587" fmla="*/ 491490 h 1600200"/>
                <a:gd name="connsiteX588" fmla="*/ 280035 w 1390650"/>
                <a:gd name="connsiteY588" fmla="*/ 500063 h 1600200"/>
                <a:gd name="connsiteX589" fmla="*/ 278130 w 1390650"/>
                <a:gd name="connsiteY589" fmla="*/ 502920 h 1600200"/>
                <a:gd name="connsiteX590" fmla="*/ 276225 w 1390650"/>
                <a:gd name="connsiteY590" fmla="*/ 504825 h 1600200"/>
                <a:gd name="connsiteX591" fmla="*/ 274320 w 1390650"/>
                <a:gd name="connsiteY591" fmla="*/ 505778 h 1600200"/>
                <a:gd name="connsiteX592" fmla="*/ 269558 w 1390650"/>
                <a:gd name="connsiteY592" fmla="*/ 504825 h 1600200"/>
                <a:gd name="connsiteX593" fmla="*/ 267653 w 1390650"/>
                <a:gd name="connsiteY593" fmla="*/ 503872 h 1600200"/>
                <a:gd name="connsiteX594" fmla="*/ 263842 w 1390650"/>
                <a:gd name="connsiteY594" fmla="*/ 499110 h 1600200"/>
                <a:gd name="connsiteX595" fmla="*/ 260985 w 1390650"/>
                <a:gd name="connsiteY595" fmla="*/ 494347 h 1600200"/>
                <a:gd name="connsiteX596" fmla="*/ 260033 w 1390650"/>
                <a:gd name="connsiteY596" fmla="*/ 491490 h 1600200"/>
                <a:gd name="connsiteX597" fmla="*/ 259080 w 1390650"/>
                <a:gd name="connsiteY597" fmla="*/ 484822 h 1600200"/>
                <a:gd name="connsiteX598" fmla="*/ 262890 w 1390650"/>
                <a:gd name="connsiteY598" fmla="*/ 453390 h 1600200"/>
                <a:gd name="connsiteX599" fmla="*/ 262890 w 1390650"/>
                <a:gd name="connsiteY599" fmla="*/ 450533 h 1600200"/>
                <a:gd name="connsiteX600" fmla="*/ 261938 w 1390650"/>
                <a:gd name="connsiteY600" fmla="*/ 440055 h 1600200"/>
                <a:gd name="connsiteX601" fmla="*/ 261938 w 1390650"/>
                <a:gd name="connsiteY601" fmla="*/ 433388 h 1600200"/>
                <a:gd name="connsiteX602" fmla="*/ 262890 w 1390650"/>
                <a:gd name="connsiteY602" fmla="*/ 421958 h 1600200"/>
                <a:gd name="connsiteX603" fmla="*/ 264795 w 1390650"/>
                <a:gd name="connsiteY603" fmla="*/ 407670 h 1600200"/>
                <a:gd name="connsiteX604" fmla="*/ 265748 w 1390650"/>
                <a:gd name="connsiteY604" fmla="*/ 400050 h 1600200"/>
                <a:gd name="connsiteX605" fmla="*/ 265748 w 1390650"/>
                <a:gd name="connsiteY605" fmla="*/ 397193 h 1600200"/>
                <a:gd name="connsiteX606" fmla="*/ 264795 w 1390650"/>
                <a:gd name="connsiteY606" fmla="*/ 390525 h 1600200"/>
                <a:gd name="connsiteX607" fmla="*/ 259080 w 1390650"/>
                <a:gd name="connsiteY607" fmla="*/ 367665 h 1600200"/>
                <a:gd name="connsiteX608" fmla="*/ 257175 w 1390650"/>
                <a:gd name="connsiteY608" fmla="*/ 360045 h 1600200"/>
                <a:gd name="connsiteX609" fmla="*/ 257175 w 1390650"/>
                <a:gd name="connsiteY609" fmla="*/ 356235 h 1600200"/>
                <a:gd name="connsiteX610" fmla="*/ 258128 w 1390650"/>
                <a:gd name="connsiteY610" fmla="*/ 342900 h 1600200"/>
                <a:gd name="connsiteX611" fmla="*/ 259080 w 1390650"/>
                <a:gd name="connsiteY611" fmla="*/ 338138 h 1600200"/>
                <a:gd name="connsiteX612" fmla="*/ 260033 w 1390650"/>
                <a:gd name="connsiteY612" fmla="*/ 334328 h 1600200"/>
                <a:gd name="connsiteX613" fmla="*/ 262890 w 1390650"/>
                <a:gd name="connsiteY613" fmla="*/ 329565 h 1600200"/>
                <a:gd name="connsiteX614" fmla="*/ 266700 w 1390650"/>
                <a:gd name="connsiteY614" fmla="*/ 325755 h 1600200"/>
                <a:gd name="connsiteX615" fmla="*/ 276225 w 1390650"/>
                <a:gd name="connsiteY615" fmla="*/ 317183 h 1600200"/>
                <a:gd name="connsiteX616" fmla="*/ 279083 w 1390650"/>
                <a:gd name="connsiteY616" fmla="*/ 313372 h 1600200"/>
                <a:gd name="connsiteX617" fmla="*/ 283845 w 1390650"/>
                <a:gd name="connsiteY617" fmla="*/ 304800 h 1600200"/>
                <a:gd name="connsiteX618" fmla="*/ 284798 w 1390650"/>
                <a:gd name="connsiteY618" fmla="*/ 299085 h 1600200"/>
                <a:gd name="connsiteX619" fmla="*/ 284798 w 1390650"/>
                <a:gd name="connsiteY619" fmla="*/ 295275 h 1600200"/>
                <a:gd name="connsiteX620" fmla="*/ 281940 w 1390650"/>
                <a:gd name="connsiteY620" fmla="*/ 289560 h 1600200"/>
                <a:gd name="connsiteX621" fmla="*/ 278130 w 1390650"/>
                <a:gd name="connsiteY621" fmla="*/ 286703 h 1600200"/>
                <a:gd name="connsiteX622" fmla="*/ 268605 w 1390650"/>
                <a:gd name="connsiteY622" fmla="*/ 283845 h 1600200"/>
                <a:gd name="connsiteX623" fmla="*/ 265748 w 1390650"/>
                <a:gd name="connsiteY623" fmla="*/ 281940 h 1600200"/>
                <a:gd name="connsiteX624" fmla="*/ 264795 w 1390650"/>
                <a:gd name="connsiteY624" fmla="*/ 280035 h 1600200"/>
                <a:gd name="connsiteX625" fmla="*/ 262890 w 1390650"/>
                <a:gd name="connsiteY625" fmla="*/ 270510 h 1600200"/>
                <a:gd name="connsiteX626" fmla="*/ 260985 w 1390650"/>
                <a:gd name="connsiteY626" fmla="*/ 268605 h 1600200"/>
                <a:gd name="connsiteX627" fmla="*/ 259080 w 1390650"/>
                <a:gd name="connsiteY627" fmla="*/ 269558 h 1600200"/>
                <a:gd name="connsiteX628" fmla="*/ 253365 w 1390650"/>
                <a:gd name="connsiteY628" fmla="*/ 270510 h 1600200"/>
                <a:gd name="connsiteX629" fmla="*/ 249555 w 1390650"/>
                <a:gd name="connsiteY629" fmla="*/ 270510 h 1600200"/>
                <a:gd name="connsiteX630" fmla="*/ 242888 w 1390650"/>
                <a:gd name="connsiteY630" fmla="*/ 269558 h 1600200"/>
                <a:gd name="connsiteX631" fmla="*/ 238125 w 1390650"/>
                <a:gd name="connsiteY631" fmla="*/ 266700 h 1600200"/>
                <a:gd name="connsiteX632" fmla="*/ 235267 w 1390650"/>
                <a:gd name="connsiteY632" fmla="*/ 261938 h 1600200"/>
                <a:gd name="connsiteX633" fmla="*/ 234315 w 1390650"/>
                <a:gd name="connsiteY633" fmla="*/ 255270 h 1600200"/>
                <a:gd name="connsiteX634" fmla="*/ 234315 w 1390650"/>
                <a:gd name="connsiteY634" fmla="*/ 244793 h 1600200"/>
                <a:gd name="connsiteX635" fmla="*/ 233363 w 1390650"/>
                <a:gd name="connsiteY635" fmla="*/ 227647 h 1600200"/>
                <a:gd name="connsiteX636" fmla="*/ 233363 w 1390650"/>
                <a:gd name="connsiteY636" fmla="*/ 213360 h 1600200"/>
                <a:gd name="connsiteX637" fmla="*/ 236220 w 1390650"/>
                <a:gd name="connsiteY637" fmla="*/ 196215 h 1600200"/>
                <a:gd name="connsiteX638" fmla="*/ 237173 w 1390650"/>
                <a:gd name="connsiteY638" fmla="*/ 187643 h 1600200"/>
                <a:gd name="connsiteX639" fmla="*/ 239078 w 1390650"/>
                <a:gd name="connsiteY639" fmla="*/ 181928 h 1600200"/>
                <a:gd name="connsiteX640" fmla="*/ 242888 w 1390650"/>
                <a:gd name="connsiteY640" fmla="*/ 173355 h 1600200"/>
                <a:gd name="connsiteX641" fmla="*/ 268605 w 1390650"/>
                <a:gd name="connsiteY641" fmla="*/ 136208 h 1600200"/>
                <a:gd name="connsiteX642" fmla="*/ 287655 w 1390650"/>
                <a:gd name="connsiteY642" fmla="*/ 120015 h 1600200"/>
                <a:gd name="connsiteX643" fmla="*/ 291465 w 1390650"/>
                <a:gd name="connsiteY643" fmla="*/ 116205 h 1600200"/>
                <a:gd name="connsiteX644" fmla="*/ 298133 w 1390650"/>
                <a:gd name="connsiteY644" fmla="*/ 105728 h 1600200"/>
                <a:gd name="connsiteX645" fmla="*/ 303848 w 1390650"/>
                <a:gd name="connsiteY645" fmla="*/ 95250 h 1600200"/>
                <a:gd name="connsiteX646" fmla="*/ 304800 w 1390650"/>
                <a:gd name="connsiteY646" fmla="*/ 90488 h 1600200"/>
                <a:gd name="connsiteX647" fmla="*/ 305753 w 1390650"/>
                <a:gd name="connsiteY647" fmla="*/ 86678 h 1600200"/>
                <a:gd name="connsiteX648" fmla="*/ 305753 w 1390650"/>
                <a:gd name="connsiteY648" fmla="*/ 82868 h 1600200"/>
                <a:gd name="connsiteX649" fmla="*/ 304800 w 1390650"/>
                <a:gd name="connsiteY649" fmla="*/ 77153 h 1600200"/>
                <a:gd name="connsiteX650" fmla="*/ 300990 w 1390650"/>
                <a:gd name="connsiteY650" fmla="*/ 68580 h 1600200"/>
                <a:gd name="connsiteX651" fmla="*/ 300038 w 1390650"/>
                <a:gd name="connsiteY651" fmla="*/ 63818 h 1600200"/>
                <a:gd name="connsiteX652" fmla="*/ 299085 w 1390650"/>
                <a:gd name="connsiteY652" fmla="*/ 58103 h 1600200"/>
                <a:gd name="connsiteX653" fmla="*/ 299085 w 1390650"/>
                <a:gd name="connsiteY653" fmla="*/ 52388 h 1600200"/>
                <a:gd name="connsiteX654" fmla="*/ 300038 w 1390650"/>
                <a:gd name="connsiteY654" fmla="*/ 47625 h 1600200"/>
                <a:gd name="connsiteX655" fmla="*/ 300990 w 1390650"/>
                <a:gd name="connsiteY655" fmla="*/ 44768 h 1600200"/>
                <a:gd name="connsiteX656" fmla="*/ 302895 w 1390650"/>
                <a:gd name="connsiteY656" fmla="*/ 41910 h 1600200"/>
                <a:gd name="connsiteX657" fmla="*/ 306705 w 1390650"/>
                <a:gd name="connsiteY657" fmla="*/ 39053 h 1600200"/>
                <a:gd name="connsiteX658" fmla="*/ 314325 w 1390650"/>
                <a:gd name="connsiteY658" fmla="*/ 34290 h 1600200"/>
                <a:gd name="connsiteX659" fmla="*/ 316230 w 1390650"/>
                <a:gd name="connsiteY659" fmla="*/ 32385 h 1600200"/>
                <a:gd name="connsiteX660" fmla="*/ 315278 w 1390650"/>
                <a:gd name="connsiteY660" fmla="*/ 30480 h 1600200"/>
                <a:gd name="connsiteX661" fmla="*/ 312420 w 1390650"/>
                <a:gd name="connsiteY661" fmla="*/ 29528 h 1600200"/>
                <a:gd name="connsiteX662" fmla="*/ 264795 w 1390650"/>
                <a:gd name="connsiteY662" fmla="*/ 26670 h 1600200"/>
                <a:gd name="connsiteX663" fmla="*/ 258128 w 1390650"/>
                <a:gd name="connsiteY663" fmla="*/ 22860 h 1600200"/>
                <a:gd name="connsiteX664" fmla="*/ 255270 w 1390650"/>
                <a:gd name="connsiteY664" fmla="*/ 7620 h 1600200"/>
                <a:gd name="connsiteX665" fmla="*/ 327660 w 1390650"/>
                <a:gd name="connsiteY665" fmla="*/ 8573 h 1600200"/>
                <a:gd name="connsiteX666" fmla="*/ 371475 w 1390650"/>
                <a:gd name="connsiteY666" fmla="*/ 0 h 1600200"/>
                <a:gd name="connsiteX667" fmla="*/ 484823 w 1390650"/>
                <a:gd name="connsiteY667" fmla="*/ 20955 h 1600200"/>
                <a:gd name="connsiteX668" fmla="*/ 521017 w 1390650"/>
                <a:gd name="connsiteY668" fmla="*/ 20003 h 1600200"/>
                <a:gd name="connsiteX669" fmla="*/ 537210 w 1390650"/>
                <a:gd name="connsiteY669" fmla="*/ 23813 h 1600200"/>
                <a:gd name="connsiteX670" fmla="*/ 570548 w 1390650"/>
                <a:gd name="connsiteY670" fmla="*/ 54293 h 1600200"/>
                <a:gd name="connsiteX671" fmla="*/ 586740 w 1390650"/>
                <a:gd name="connsiteY671" fmla="*/ 60960 h 1600200"/>
                <a:gd name="connsiteX672" fmla="*/ 709613 w 1390650"/>
                <a:gd name="connsiteY672" fmla="*/ 65723 h 1600200"/>
                <a:gd name="connsiteX673" fmla="*/ 715328 w 1390650"/>
                <a:gd name="connsiteY673" fmla="*/ 69532 h 1600200"/>
                <a:gd name="connsiteX674" fmla="*/ 715328 w 1390650"/>
                <a:gd name="connsiteY674" fmla="*/ 75248 h 1600200"/>
                <a:gd name="connsiteX675" fmla="*/ 714375 w 1390650"/>
                <a:gd name="connsiteY675" fmla="*/ 82868 h 1600200"/>
                <a:gd name="connsiteX676" fmla="*/ 715328 w 1390650"/>
                <a:gd name="connsiteY676" fmla="*/ 91440 h 1600200"/>
                <a:gd name="connsiteX677" fmla="*/ 721995 w 1390650"/>
                <a:gd name="connsiteY677" fmla="*/ 100965 h 1600200"/>
                <a:gd name="connsiteX678" fmla="*/ 729615 w 1390650"/>
                <a:gd name="connsiteY678" fmla="*/ 104775 h 1600200"/>
                <a:gd name="connsiteX679" fmla="*/ 845820 w 1390650"/>
                <a:gd name="connsiteY679" fmla="*/ 108585 h 1600200"/>
                <a:gd name="connsiteX680" fmla="*/ 944880 w 1390650"/>
                <a:gd name="connsiteY680" fmla="*/ 152400 h 1600200"/>
                <a:gd name="connsiteX681" fmla="*/ 980123 w 1390650"/>
                <a:gd name="connsiteY681" fmla="*/ 158115 h 1600200"/>
                <a:gd name="connsiteX682" fmla="*/ 1033463 w 1390650"/>
                <a:gd name="connsiteY682" fmla="*/ 140018 h 1600200"/>
                <a:gd name="connsiteX683" fmla="*/ 1079183 w 1390650"/>
                <a:gd name="connsiteY683" fmla="*/ 140970 h 1600200"/>
                <a:gd name="connsiteX684" fmla="*/ 1101090 w 1390650"/>
                <a:gd name="connsiteY684" fmla="*/ 146685 h 1600200"/>
                <a:gd name="connsiteX685" fmla="*/ 1115377 w 1390650"/>
                <a:gd name="connsiteY685" fmla="*/ 154305 h 1600200"/>
                <a:gd name="connsiteX686" fmla="*/ 1119188 w 1390650"/>
                <a:gd name="connsiteY686" fmla="*/ 167640 h 1600200"/>
                <a:gd name="connsiteX687" fmla="*/ 1117283 w 1390650"/>
                <a:gd name="connsiteY687" fmla="*/ 185738 h 1600200"/>
                <a:gd name="connsiteX688" fmla="*/ 1117283 w 1390650"/>
                <a:gd name="connsiteY688" fmla="*/ 208598 h 1600200"/>
                <a:gd name="connsiteX689" fmla="*/ 1121093 w 1390650"/>
                <a:gd name="connsiteY689" fmla="*/ 225743 h 1600200"/>
                <a:gd name="connsiteX690" fmla="*/ 1128713 w 1390650"/>
                <a:gd name="connsiteY690" fmla="*/ 232410 h 1600200"/>
                <a:gd name="connsiteX691" fmla="*/ 1139190 w 1390650"/>
                <a:gd name="connsiteY691" fmla="*/ 234315 h 1600200"/>
                <a:gd name="connsiteX692" fmla="*/ 1152525 w 1390650"/>
                <a:gd name="connsiteY692" fmla="*/ 232410 h 1600200"/>
                <a:gd name="connsiteX693" fmla="*/ 1167765 w 1390650"/>
                <a:gd name="connsiteY693" fmla="*/ 236220 h 1600200"/>
                <a:gd name="connsiteX694" fmla="*/ 1166813 w 1390650"/>
                <a:gd name="connsiteY694" fmla="*/ 250508 h 1600200"/>
                <a:gd name="connsiteX695" fmla="*/ 1158240 w 1390650"/>
                <a:gd name="connsiteY695" fmla="*/ 269558 h 1600200"/>
                <a:gd name="connsiteX696" fmla="*/ 1155383 w 1390650"/>
                <a:gd name="connsiteY696" fmla="*/ 283845 h 1600200"/>
                <a:gd name="connsiteX697" fmla="*/ 1163002 w 1390650"/>
                <a:gd name="connsiteY697" fmla="*/ 290513 h 1600200"/>
                <a:gd name="connsiteX698" fmla="*/ 1174433 w 1390650"/>
                <a:gd name="connsiteY698" fmla="*/ 288608 h 1600200"/>
                <a:gd name="connsiteX699" fmla="*/ 1195388 w 1390650"/>
                <a:gd name="connsiteY699" fmla="*/ 281940 h 1600200"/>
                <a:gd name="connsiteX700" fmla="*/ 1226820 w 1390650"/>
                <a:gd name="connsiteY700" fmla="*/ 287655 h 1600200"/>
                <a:gd name="connsiteX701" fmla="*/ 1237298 w 1390650"/>
                <a:gd name="connsiteY701" fmla="*/ 286703 h 1600200"/>
                <a:gd name="connsiteX702" fmla="*/ 1248727 w 1390650"/>
                <a:gd name="connsiteY702" fmla="*/ 280988 h 1600200"/>
                <a:gd name="connsiteX703" fmla="*/ 1263968 w 1390650"/>
                <a:gd name="connsiteY703" fmla="*/ 264795 h 1600200"/>
                <a:gd name="connsiteX704" fmla="*/ 1273493 w 1390650"/>
                <a:gd name="connsiteY704" fmla="*/ 259080 h 1600200"/>
                <a:gd name="connsiteX705" fmla="*/ 1291590 w 1390650"/>
                <a:gd name="connsiteY705" fmla="*/ 260033 h 1600200"/>
                <a:gd name="connsiteX706" fmla="*/ 1348740 w 1390650"/>
                <a:gd name="connsiteY706" fmla="*/ 282893 h 1600200"/>
                <a:gd name="connsiteX707" fmla="*/ 1378268 w 1390650"/>
                <a:gd name="connsiteY707" fmla="*/ 283845 h 1600200"/>
                <a:gd name="connsiteX708" fmla="*/ 1386840 w 1390650"/>
                <a:gd name="connsiteY708" fmla="*/ 288608 h 1600200"/>
                <a:gd name="connsiteX709" fmla="*/ 1393508 w 1390650"/>
                <a:gd name="connsiteY709" fmla="*/ 306705 h 1600200"/>
                <a:gd name="connsiteX710" fmla="*/ 1389698 w 1390650"/>
                <a:gd name="connsiteY710" fmla="*/ 327660 h 1600200"/>
                <a:gd name="connsiteX711" fmla="*/ 1371600 w 1390650"/>
                <a:gd name="connsiteY711" fmla="*/ 370522 h 1600200"/>
                <a:gd name="connsiteX712" fmla="*/ 1372552 w 1390650"/>
                <a:gd name="connsiteY712" fmla="*/ 372428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</a:cxnLst>
              <a:rect l="l" t="t" r="r" b="b"/>
              <a:pathLst>
                <a:path w="1390650" h="1600200">
                  <a:moveTo>
                    <a:pt x="1372552" y="372428"/>
                  </a:moveTo>
                  <a:lnTo>
                    <a:pt x="1355408" y="375285"/>
                  </a:lnTo>
                  <a:lnTo>
                    <a:pt x="1343025" y="381953"/>
                  </a:lnTo>
                  <a:lnTo>
                    <a:pt x="1337310" y="383858"/>
                  </a:lnTo>
                  <a:lnTo>
                    <a:pt x="1332548" y="386715"/>
                  </a:lnTo>
                  <a:lnTo>
                    <a:pt x="1330643" y="387668"/>
                  </a:lnTo>
                  <a:lnTo>
                    <a:pt x="1328738" y="393383"/>
                  </a:lnTo>
                  <a:lnTo>
                    <a:pt x="1326833" y="401003"/>
                  </a:lnTo>
                  <a:lnTo>
                    <a:pt x="1324927" y="417195"/>
                  </a:lnTo>
                  <a:lnTo>
                    <a:pt x="1325880" y="423863"/>
                  </a:lnTo>
                  <a:lnTo>
                    <a:pt x="1326833" y="428625"/>
                  </a:lnTo>
                  <a:lnTo>
                    <a:pt x="1335405" y="437197"/>
                  </a:lnTo>
                  <a:lnTo>
                    <a:pt x="1338263" y="441960"/>
                  </a:lnTo>
                  <a:lnTo>
                    <a:pt x="1340168" y="446722"/>
                  </a:lnTo>
                  <a:lnTo>
                    <a:pt x="1340168" y="450533"/>
                  </a:lnTo>
                  <a:lnTo>
                    <a:pt x="1339215" y="453390"/>
                  </a:lnTo>
                  <a:lnTo>
                    <a:pt x="1338263" y="456247"/>
                  </a:lnTo>
                  <a:lnTo>
                    <a:pt x="1334452" y="456247"/>
                  </a:lnTo>
                  <a:lnTo>
                    <a:pt x="1331595" y="456247"/>
                  </a:lnTo>
                  <a:lnTo>
                    <a:pt x="1329690" y="454343"/>
                  </a:lnTo>
                  <a:lnTo>
                    <a:pt x="1308735" y="436245"/>
                  </a:lnTo>
                  <a:lnTo>
                    <a:pt x="1304925" y="431483"/>
                  </a:lnTo>
                  <a:lnTo>
                    <a:pt x="1302068" y="422910"/>
                  </a:lnTo>
                  <a:lnTo>
                    <a:pt x="1299210" y="418147"/>
                  </a:lnTo>
                  <a:lnTo>
                    <a:pt x="1295400" y="414338"/>
                  </a:lnTo>
                  <a:lnTo>
                    <a:pt x="1293495" y="413385"/>
                  </a:lnTo>
                  <a:lnTo>
                    <a:pt x="1290638" y="412433"/>
                  </a:lnTo>
                  <a:lnTo>
                    <a:pt x="1287780" y="413385"/>
                  </a:lnTo>
                  <a:lnTo>
                    <a:pt x="1286827" y="415290"/>
                  </a:lnTo>
                  <a:lnTo>
                    <a:pt x="1284923" y="421958"/>
                  </a:lnTo>
                  <a:lnTo>
                    <a:pt x="1279208" y="459105"/>
                  </a:lnTo>
                  <a:lnTo>
                    <a:pt x="1279208" y="469583"/>
                  </a:lnTo>
                  <a:lnTo>
                    <a:pt x="1280160" y="477203"/>
                  </a:lnTo>
                  <a:lnTo>
                    <a:pt x="1288733" y="484822"/>
                  </a:lnTo>
                  <a:lnTo>
                    <a:pt x="1291590" y="489585"/>
                  </a:lnTo>
                  <a:lnTo>
                    <a:pt x="1291590" y="493395"/>
                  </a:lnTo>
                  <a:lnTo>
                    <a:pt x="1290638" y="498158"/>
                  </a:lnTo>
                  <a:lnTo>
                    <a:pt x="1286827" y="505778"/>
                  </a:lnTo>
                  <a:lnTo>
                    <a:pt x="1283970" y="512445"/>
                  </a:lnTo>
                  <a:lnTo>
                    <a:pt x="1278255" y="518160"/>
                  </a:lnTo>
                  <a:lnTo>
                    <a:pt x="1273493" y="521018"/>
                  </a:lnTo>
                  <a:lnTo>
                    <a:pt x="1243965" y="527685"/>
                  </a:lnTo>
                  <a:lnTo>
                    <a:pt x="1242060" y="529590"/>
                  </a:lnTo>
                  <a:lnTo>
                    <a:pt x="1241108" y="531495"/>
                  </a:lnTo>
                  <a:lnTo>
                    <a:pt x="1242060" y="535305"/>
                  </a:lnTo>
                  <a:lnTo>
                    <a:pt x="1259205" y="571500"/>
                  </a:lnTo>
                  <a:lnTo>
                    <a:pt x="1260158" y="575310"/>
                  </a:lnTo>
                  <a:lnTo>
                    <a:pt x="1261110" y="580073"/>
                  </a:lnTo>
                  <a:lnTo>
                    <a:pt x="1261110" y="583883"/>
                  </a:lnTo>
                  <a:lnTo>
                    <a:pt x="1260158" y="588645"/>
                  </a:lnTo>
                  <a:lnTo>
                    <a:pt x="1258252" y="594360"/>
                  </a:lnTo>
                  <a:lnTo>
                    <a:pt x="1254443" y="603885"/>
                  </a:lnTo>
                  <a:lnTo>
                    <a:pt x="1251585" y="607695"/>
                  </a:lnTo>
                  <a:lnTo>
                    <a:pt x="1248727" y="610553"/>
                  </a:lnTo>
                  <a:lnTo>
                    <a:pt x="1236345" y="618173"/>
                  </a:lnTo>
                  <a:lnTo>
                    <a:pt x="1234440" y="620078"/>
                  </a:lnTo>
                  <a:lnTo>
                    <a:pt x="1231583" y="624840"/>
                  </a:lnTo>
                  <a:lnTo>
                    <a:pt x="1224915" y="645795"/>
                  </a:lnTo>
                  <a:lnTo>
                    <a:pt x="1222058" y="650558"/>
                  </a:lnTo>
                  <a:lnTo>
                    <a:pt x="1220152" y="654368"/>
                  </a:lnTo>
                  <a:lnTo>
                    <a:pt x="1216343" y="658178"/>
                  </a:lnTo>
                  <a:lnTo>
                    <a:pt x="1211580" y="663893"/>
                  </a:lnTo>
                  <a:lnTo>
                    <a:pt x="1210627" y="666750"/>
                  </a:lnTo>
                  <a:lnTo>
                    <a:pt x="1209675" y="671513"/>
                  </a:lnTo>
                  <a:lnTo>
                    <a:pt x="1208723" y="677228"/>
                  </a:lnTo>
                  <a:lnTo>
                    <a:pt x="1207770" y="696278"/>
                  </a:lnTo>
                  <a:lnTo>
                    <a:pt x="1205865" y="701993"/>
                  </a:lnTo>
                  <a:lnTo>
                    <a:pt x="1203008" y="708660"/>
                  </a:lnTo>
                  <a:lnTo>
                    <a:pt x="1198245" y="715328"/>
                  </a:lnTo>
                  <a:lnTo>
                    <a:pt x="1192530" y="721043"/>
                  </a:lnTo>
                  <a:lnTo>
                    <a:pt x="1190625" y="722948"/>
                  </a:lnTo>
                  <a:lnTo>
                    <a:pt x="1188720" y="726758"/>
                  </a:lnTo>
                  <a:lnTo>
                    <a:pt x="1182052" y="741998"/>
                  </a:lnTo>
                  <a:lnTo>
                    <a:pt x="1179195" y="746760"/>
                  </a:lnTo>
                  <a:lnTo>
                    <a:pt x="1177290" y="749618"/>
                  </a:lnTo>
                  <a:lnTo>
                    <a:pt x="1164908" y="755333"/>
                  </a:lnTo>
                  <a:lnTo>
                    <a:pt x="1143952" y="760095"/>
                  </a:lnTo>
                  <a:lnTo>
                    <a:pt x="1139190" y="762953"/>
                  </a:lnTo>
                  <a:lnTo>
                    <a:pt x="1137285" y="764858"/>
                  </a:lnTo>
                  <a:lnTo>
                    <a:pt x="1135380" y="768668"/>
                  </a:lnTo>
                  <a:lnTo>
                    <a:pt x="1130618" y="785813"/>
                  </a:lnTo>
                  <a:lnTo>
                    <a:pt x="1126808" y="789623"/>
                  </a:lnTo>
                  <a:lnTo>
                    <a:pt x="1125855" y="793433"/>
                  </a:lnTo>
                  <a:lnTo>
                    <a:pt x="1129665" y="801053"/>
                  </a:lnTo>
                  <a:lnTo>
                    <a:pt x="1135380" y="811530"/>
                  </a:lnTo>
                  <a:lnTo>
                    <a:pt x="1136333" y="815340"/>
                  </a:lnTo>
                  <a:lnTo>
                    <a:pt x="1136333" y="820103"/>
                  </a:lnTo>
                  <a:lnTo>
                    <a:pt x="1137285" y="827723"/>
                  </a:lnTo>
                  <a:lnTo>
                    <a:pt x="1139190" y="831533"/>
                  </a:lnTo>
                  <a:lnTo>
                    <a:pt x="1141095" y="834390"/>
                  </a:lnTo>
                  <a:lnTo>
                    <a:pt x="1144905" y="838200"/>
                  </a:lnTo>
                  <a:lnTo>
                    <a:pt x="1145858" y="841058"/>
                  </a:lnTo>
                  <a:lnTo>
                    <a:pt x="1146810" y="843915"/>
                  </a:lnTo>
                  <a:lnTo>
                    <a:pt x="1143952" y="848677"/>
                  </a:lnTo>
                  <a:lnTo>
                    <a:pt x="1142048" y="851535"/>
                  </a:lnTo>
                  <a:lnTo>
                    <a:pt x="1136333" y="853440"/>
                  </a:lnTo>
                  <a:lnTo>
                    <a:pt x="1135380" y="856298"/>
                  </a:lnTo>
                  <a:lnTo>
                    <a:pt x="1137285" y="861060"/>
                  </a:lnTo>
                  <a:lnTo>
                    <a:pt x="1139190" y="863918"/>
                  </a:lnTo>
                  <a:lnTo>
                    <a:pt x="1145858" y="872490"/>
                  </a:lnTo>
                  <a:lnTo>
                    <a:pt x="1147763" y="878205"/>
                  </a:lnTo>
                  <a:lnTo>
                    <a:pt x="1148715" y="883920"/>
                  </a:lnTo>
                  <a:lnTo>
                    <a:pt x="1147763" y="892493"/>
                  </a:lnTo>
                  <a:lnTo>
                    <a:pt x="1140143" y="932498"/>
                  </a:lnTo>
                  <a:lnTo>
                    <a:pt x="1139190" y="937260"/>
                  </a:lnTo>
                  <a:lnTo>
                    <a:pt x="1139190" y="942975"/>
                  </a:lnTo>
                  <a:lnTo>
                    <a:pt x="1140143" y="952500"/>
                  </a:lnTo>
                  <a:lnTo>
                    <a:pt x="1141095" y="957263"/>
                  </a:lnTo>
                  <a:lnTo>
                    <a:pt x="1143952" y="963930"/>
                  </a:lnTo>
                  <a:lnTo>
                    <a:pt x="1148715" y="973455"/>
                  </a:lnTo>
                  <a:lnTo>
                    <a:pt x="1159193" y="989648"/>
                  </a:lnTo>
                  <a:lnTo>
                    <a:pt x="1163002" y="997268"/>
                  </a:lnTo>
                  <a:lnTo>
                    <a:pt x="1164908" y="1005840"/>
                  </a:lnTo>
                  <a:lnTo>
                    <a:pt x="1163955" y="1011555"/>
                  </a:lnTo>
                  <a:lnTo>
                    <a:pt x="1162050" y="1020127"/>
                  </a:lnTo>
                  <a:lnTo>
                    <a:pt x="1149668" y="1051560"/>
                  </a:lnTo>
                  <a:lnTo>
                    <a:pt x="1145858" y="1059180"/>
                  </a:lnTo>
                  <a:lnTo>
                    <a:pt x="1135380" y="1072515"/>
                  </a:lnTo>
                  <a:lnTo>
                    <a:pt x="1133475" y="1076325"/>
                  </a:lnTo>
                  <a:lnTo>
                    <a:pt x="1127760" y="1091565"/>
                  </a:lnTo>
                  <a:lnTo>
                    <a:pt x="1124902" y="1100138"/>
                  </a:lnTo>
                  <a:lnTo>
                    <a:pt x="1122998" y="1104900"/>
                  </a:lnTo>
                  <a:lnTo>
                    <a:pt x="1122998" y="1108710"/>
                  </a:lnTo>
                  <a:lnTo>
                    <a:pt x="1125855" y="1115378"/>
                  </a:lnTo>
                  <a:lnTo>
                    <a:pt x="1127760" y="1119188"/>
                  </a:lnTo>
                  <a:lnTo>
                    <a:pt x="1130618" y="1121093"/>
                  </a:lnTo>
                  <a:lnTo>
                    <a:pt x="1141095" y="1126808"/>
                  </a:lnTo>
                  <a:lnTo>
                    <a:pt x="1144905" y="1130618"/>
                  </a:lnTo>
                  <a:lnTo>
                    <a:pt x="1145858" y="1134428"/>
                  </a:lnTo>
                  <a:lnTo>
                    <a:pt x="1142048" y="1146810"/>
                  </a:lnTo>
                  <a:lnTo>
                    <a:pt x="1122998" y="1168718"/>
                  </a:lnTo>
                  <a:lnTo>
                    <a:pt x="1097280" y="1163003"/>
                  </a:lnTo>
                  <a:lnTo>
                    <a:pt x="1094423" y="1160145"/>
                  </a:lnTo>
                  <a:lnTo>
                    <a:pt x="1091565" y="1157288"/>
                  </a:lnTo>
                  <a:lnTo>
                    <a:pt x="1091565" y="1149668"/>
                  </a:lnTo>
                  <a:lnTo>
                    <a:pt x="1091565" y="1145858"/>
                  </a:lnTo>
                  <a:lnTo>
                    <a:pt x="1090613" y="1141095"/>
                  </a:lnTo>
                  <a:lnTo>
                    <a:pt x="1087755" y="1134428"/>
                  </a:lnTo>
                  <a:lnTo>
                    <a:pt x="1084898" y="1132523"/>
                  </a:lnTo>
                  <a:lnTo>
                    <a:pt x="1081088" y="1130618"/>
                  </a:lnTo>
                  <a:lnTo>
                    <a:pt x="1073468" y="1130618"/>
                  </a:lnTo>
                  <a:lnTo>
                    <a:pt x="1069658" y="1132523"/>
                  </a:lnTo>
                  <a:lnTo>
                    <a:pt x="1065848" y="1136333"/>
                  </a:lnTo>
                  <a:lnTo>
                    <a:pt x="1063943" y="1142048"/>
                  </a:lnTo>
                  <a:lnTo>
                    <a:pt x="1061085" y="1151573"/>
                  </a:lnTo>
                  <a:lnTo>
                    <a:pt x="1060133" y="1154430"/>
                  </a:lnTo>
                  <a:lnTo>
                    <a:pt x="1055370" y="1157288"/>
                  </a:lnTo>
                  <a:lnTo>
                    <a:pt x="1043940" y="1160145"/>
                  </a:lnTo>
                  <a:lnTo>
                    <a:pt x="1033463" y="1164908"/>
                  </a:lnTo>
                  <a:lnTo>
                    <a:pt x="1029652" y="1167765"/>
                  </a:lnTo>
                  <a:lnTo>
                    <a:pt x="1021080" y="1175385"/>
                  </a:lnTo>
                  <a:lnTo>
                    <a:pt x="1017270" y="1180148"/>
                  </a:lnTo>
                  <a:lnTo>
                    <a:pt x="1014413" y="1183005"/>
                  </a:lnTo>
                  <a:lnTo>
                    <a:pt x="1009650" y="1186815"/>
                  </a:lnTo>
                  <a:lnTo>
                    <a:pt x="1004888" y="1188720"/>
                  </a:lnTo>
                  <a:lnTo>
                    <a:pt x="1001077" y="1188720"/>
                  </a:lnTo>
                  <a:lnTo>
                    <a:pt x="994410" y="1186815"/>
                  </a:lnTo>
                  <a:lnTo>
                    <a:pt x="983933" y="1181100"/>
                  </a:lnTo>
                  <a:lnTo>
                    <a:pt x="973455" y="1176338"/>
                  </a:lnTo>
                  <a:lnTo>
                    <a:pt x="969645" y="1176338"/>
                  </a:lnTo>
                  <a:lnTo>
                    <a:pt x="966788" y="1177290"/>
                  </a:lnTo>
                  <a:lnTo>
                    <a:pt x="956310" y="1186815"/>
                  </a:lnTo>
                  <a:lnTo>
                    <a:pt x="920115" y="1202055"/>
                  </a:lnTo>
                  <a:lnTo>
                    <a:pt x="917258" y="1205865"/>
                  </a:lnTo>
                  <a:lnTo>
                    <a:pt x="915352" y="1211580"/>
                  </a:lnTo>
                  <a:lnTo>
                    <a:pt x="915352" y="1218248"/>
                  </a:lnTo>
                  <a:lnTo>
                    <a:pt x="916305" y="1227773"/>
                  </a:lnTo>
                  <a:lnTo>
                    <a:pt x="916305" y="1231583"/>
                  </a:lnTo>
                  <a:lnTo>
                    <a:pt x="914400" y="1234440"/>
                  </a:lnTo>
                  <a:lnTo>
                    <a:pt x="911543" y="1236345"/>
                  </a:lnTo>
                  <a:lnTo>
                    <a:pt x="908685" y="1237298"/>
                  </a:lnTo>
                  <a:lnTo>
                    <a:pt x="905827" y="1236345"/>
                  </a:lnTo>
                  <a:lnTo>
                    <a:pt x="893445" y="1231583"/>
                  </a:lnTo>
                  <a:lnTo>
                    <a:pt x="887730" y="1230630"/>
                  </a:lnTo>
                  <a:lnTo>
                    <a:pt x="884873" y="1231583"/>
                  </a:lnTo>
                  <a:lnTo>
                    <a:pt x="882968" y="1234440"/>
                  </a:lnTo>
                  <a:lnTo>
                    <a:pt x="882015" y="1238250"/>
                  </a:lnTo>
                  <a:lnTo>
                    <a:pt x="882015" y="1244918"/>
                  </a:lnTo>
                  <a:lnTo>
                    <a:pt x="880110" y="1249680"/>
                  </a:lnTo>
                  <a:lnTo>
                    <a:pt x="878205" y="1253490"/>
                  </a:lnTo>
                  <a:lnTo>
                    <a:pt x="872490" y="1258253"/>
                  </a:lnTo>
                  <a:lnTo>
                    <a:pt x="869633" y="1262063"/>
                  </a:lnTo>
                  <a:lnTo>
                    <a:pt x="867728" y="1265873"/>
                  </a:lnTo>
                  <a:lnTo>
                    <a:pt x="867728" y="1268730"/>
                  </a:lnTo>
                  <a:lnTo>
                    <a:pt x="864870" y="1274445"/>
                  </a:lnTo>
                  <a:lnTo>
                    <a:pt x="860108" y="1280160"/>
                  </a:lnTo>
                  <a:lnTo>
                    <a:pt x="837248" y="1298258"/>
                  </a:lnTo>
                  <a:lnTo>
                    <a:pt x="836295" y="1301115"/>
                  </a:lnTo>
                  <a:lnTo>
                    <a:pt x="836295" y="1303973"/>
                  </a:lnTo>
                  <a:lnTo>
                    <a:pt x="836295" y="1309688"/>
                  </a:lnTo>
                  <a:lnTo>
                    <a:pt x="835343" y="1314450"/>
                  </a:lnTo>
                  <a:lnTo>
                    <a:pt x="833438" y="1319213"/>
                  </a:lnTo>
                  <a:lnTo>
                    <a:pt x="830580" y="1322070"/>
                  </a:lnTo>
                  <a:lnTo>
                    <a:pt x="805815" y="1340168"/>
                  </a:lnTo>
                  <a:lnTo>
                    <a:pt x="802958" y="1343978"/>
                  </a:lnTo>
                  <a:lnTo>
                    <a:pt x="798195" y="1351598"/>
                  </a:lnTo>
                  <a:lnTo>
                    <a:pt x="794385" y="1360170"/>
                  </a:lnTo>
                  <a:lnTo>
                    <a:pt x="791528" y="1363980"/>
                  </a:lnTo>
                  <a:lnTo>
                    <a:pt x="786765" y="1367790"/>
                  </a:lnTo>
                  <a:lnTo>
                    <a:pt x="767715" y="1382078"/>
                  </a:lnTo>
                  <a:lnTo>
                    <a:pt x="765810" y="1383983"/>
                  </a:lnTo>
                  <a:lnTo>
                    <a:pt x="760095" y="1393508"/>
                  </a:lnTo>
                  <a:lnTo>
                    <a:pt x="756285" y="1397318"/>
                  </a:lnTo>
                  <a:lnTo>
                    <a:pt x="747713" y="1406843"/>
                  </a:lnTo>
                  <a:lnTo>
                    <a:pt x="742950" y="1409700"/>
                  </a:lnTo>
                  <a:lnTo>
                    <a:pt x="739140" y="1410653"/>
                  </a:lnTo>
                  <a:lnTo>
                    <a:pt x="726758" y="1412558"/>
                  </a:lnTo>
                  <a:lnTo>
                    <a:pt x="722948" y="1411605"/>
                  </a:lnTo>
                  <a:lnTo>
                    <a:pt x="716280" y="1409700"/>
                  </a:lnTo>
                  <a:lnTo>
                    <a:pt x="711518" y="1409700"/>
                  </a:lnTo>
                  <a:lnTo>
                    <a:pt x="704850" y="1410653"/>
                  </a:lnTo>
                  <a:lnTo>
                    <a:pt x="700088" y="1412558"/>
                  </a:lnTo>
                  <a:lnTo>
                    <a:pt x="696278" y="1414463"/>
                  </a:lnTo>
                  <a:lnTo>
                    <a:pt x="688658" y="1422083"/>
                  </a:lnTo>
                  <a:lnTo>
                    <a:pt x="684848" y="1425893"/>
                  </a:lnTo>
                  <a:lnTo>
                    <a:pt x="662940" y="1460183"/>
                  </a:lnTo>
                  <a:lnTo>
                    <a:pt x="654368" y="1470660"/>
                  </a:lnTo>
                  <a:lnTo>
                    <a:pt x="642938" y="1478280"/>
                  </a:lnTo>
                  <a:lnTo>
                    <a:pt x="617220" y="1490663"/>
                  </a:lnTo>
                  <a:lnTo>
                    <a:pt x="615315" y="1465898"/>
                  </a:lnTo>
                  <a:lnTo>
                    <a:pt x="614363" y="1462088"/>
                  </a:lnTo>
                  <a:lnTo>
                    <a:pt x="610553" y="1458278"/>
                  </a:lnTo>
                  <a:lnTo>
                    <a:pt x="606743" y="1455420"/>
                  </a:lnTo>
                  <a:lnTo>
                    <a:pt x="601980" y="1451610"/>
                  </a:lnTo>
                  <a:lnTo>
                    <a:pt x="601028" y="1447800"/>
                  </a:lnTo>
                  <a:lnTo>
                    <a:pt x="601028" y="1443038"/>
                  </a:lnTo>
                  <a:lnTo>
                    <a:pt x="601980" y="1437323"/>
                  </a:lnTo>
                  <a:lnTo>
                    <a:pt x="604838" y="1431608"/>
                  </a:lnTo>
                  <a:lnTo>
                    <a:pt x="606743" y="1425893"/>
                  </a:lnTo>
                  <a:lnTo>
                    <a:pt x="612458" y="1419225"/>
                  </a:lnTo>
                  <a:lnTo>
                    <a:pt x="614363" y="1416368"/>
                  </a:lnTo>
                  <a:lnTo>
                    <a:pt x="616268" y="1410653"/>
                  </a:lnTo>
                  <a:lnTo>
                    <a:pt x="615315" y="1406843"/>
                  </a:lnTo>
                  <a:lnTo>
                    <a:pt x="614363" y="1403985"/>
                  </a:lnTo>
                  <a:lnTo>
                    <a:pt x="611505" y="1400175"/>
                  </a:lnTo>
                  <a:lnTo>
                    <a:pt x="608648" y="1399223"/>
                  </a:lnTo>
                  <a:lnTo>
                    <a:pt x="606743" y="1400175"/>
                  </a:lnTo>
                  <a:lnTo>
                    <a:pt x="601028" y="1406843"/>
                  </a:lnTo>
                  <a:lnTo>
                    <a:pt x="597218" y="1409700"/>
                  </a:lnTo>
                  <a:lnTo>
                    <a:pt x="581978" y="1416368"/>
                  </a:lnTo>
                  <a:lnTo>
                    <a:pt x="579120" y="1416368"/>
                  </a:lnTo>
                  <a:lnTo>
                    <a:pt x="575310" y="1416368"/>
                  </a:lnTo>
                  <a:lnTo>
                    <a:pt x="571500" y="1415415"/>
                  </a:lnTo>
                  <a:lnTo>
                    <a:pt x="538163" y="1399223"/>
                  </a:lnTo>
                  <a:lnTo>
                    <a:pt x="531495" y="1397318"/>
                  </a:lnTo>
                  <a:lnTo>
                    <a:pt x="525780" y="1397318"/>
                  </a:lnTo>
                  <a:lnTo>
                    <a:pt x="520065" y="1399223"/>
                  </a:lnTo>
                  <a:lnTo>
                    <a:pt x="505778" y="1406843"/>
                  </a:lnTo>
                  <a:lnTo>
                    <a:pt x="501015" y="1406843"/>
                  </a:lnTo>
                  <a:lnTo>
                    <a:pt x="493395" y="1404938"/>
                  </a:lnTo>
                  <a:lnTo>
                    <a:pt x="478155" y="1399223"/>
                  </a:lnTo>
                  <a:lnTo>
                    <a:pt x="471488" y="1398270"/>
                  </a:lnTo>
                  <a:lnTo>
                    <a:pt x="466725" y="1397318"/>
                  </a:lnTo>
                  <a:lnTo>
                    <a:pt x="453390" y="1407795"/>
                  </a:lnTo>
                  <a:lnTo>
                    <a:pt x="404813" y="1461135"/>
                  </a:lnTo>
                  <a:lnTo>
                    <a:pt x="401003" y="1463993"/>
                  </a:lnTo>
                  <a:lnTo>
                    <a:pt x="393383" y="1467803"/>
                  </a:lnTo>
                  <a:lnTo>
                    <a:pt x="332423" y="1473518"/>
                  </a:lnTo>
                  <a:lnTo>
                    <a:pt x="322898" y="1475423"/>
                  </a:lnTo>
                  <a:lnTo>
                    <a:pt x="318135" y="1478280"/>
                  </a:lnTo>
                  <a:lnTo>
                    <a:pt x="310515" y="1485900"/>
                  </a:lnTo>
                  <a:lnTo>
                    <a:pt x="307658" y="1488758"/>
                  </a:lnTo>
                  <a:lnTo>
                    <a:pt x="301942" y="1491615"/>
                  </a:lnTo>
                  <a:lnTo>
                    <a:pt x="299085" y="1491615"/>
                  </a:lnTo>
                  <a:lnTo>
                    <a:pt x="296228" y="1490663"/>
                  </a:lnTo>
                  <a:lnTo>
                    <a:pt x="292417" y="1484948"/>
                  </a:lnTo>
                  <a:lnTo>
                    <a:pt x="289560" y="1483043"/>
                  </a:lnTo>
                  <a:lnTo>
                    <a:pt x="286703" y="1483043"/>
                  </a:lnTo>
                  <a:lnTo>
                    <a:pt x="284798" y="1483995"/>
                  </a:lnTo>
                  <a:lnTo>
                    <a:pt x="273367" y="1495425"/>
                  </a:lnTo>
                  <a:lnTo>
                    <a:pt x="270510" y="1497330"/>
                  </a:lnTo>
                  <a:lnTo>
                    <a:pt x="265748" y="1500188"/>
                  </a:lnTo>
                  <a:lnTo>
                    <a:pt x="262890" y="1499235"/>
                  </a:lnTo>
                  <a:lnTo>
                    <a:pt x="254317" y="1493520"/>
                  </a:lnTo>
                  <a:lnTo>
                    <a:pt x="240983" y="1489710"/>
                  </a:lnTo>
                  <a:lnTo>
                    <a:pt x="229553" y="1484948"/>
                  </a:lnTo>
                  <a:lnTo>
                    <a:pt x="216217" y="1481138"/>
                  </a:lnTo>
                  <a:lnTo>
                    <a:pt x="210503" y="1480185"/>
                  </a:lnTo>
                  <a:lnTo>
                    <a:pt x="205740" y="1482090"/>
                  </a:lnTo>
                  <a:lnTo>
                    <a:pt x="203835" y="1486853"/>
                  </a:lnTo>
                  <a:lnTo>
                    <a:pt x="200978" y="1500188"/>
                  </a:lnTo>
                  <a:lnTo>
                    <a:pt x="200025" y="1506855"/>
                  </a:lnTo>
                  <a:lnTo>
                    <a:pt x="200978" y="1512570"/>
                  </a:lnTo>
                  <a:lnTo>
                    <a:pt x="204788" y="1516380"/>
                  </a:lnTo>
                  <a:lnTo>
                    <a:pt x="210503" y="1522095"/>
                  </a:lnTo>
                  <a:lnTo>
                    <a:pt x="212408" y="1524000"/>
                  </a:lnTo>
                  <a:lnTo>
                    <a:pt x="213360" y="1525905"/>
                  </a:lnTo>
                  <a:lnTo>
                    <a:pt x="213360" y="1528763"/>
                  </a:lnTo>
                  <a:lnTo>
                    <a:pt x="209550" y="1536383"/>
                  </a:lnTo>
                  <a:lnTo>
                    <a:pt x="208598" y="1539240"/>
                  </a:lnTo>
                  <a:lnTo>
                    <a:pt x="206692" y="1543050"/>
                  </a:lnTo>
                  <a:lnTo>
                    <a:pt x="203835" y="1546860"/>
                  </a:lnTo>
                  <a:lnTo>
                    <a:pt x="188595" y="1556385"/>
                  </a:lnTo>
                  <a:lnTo>
                    <a:pt x="186690" y="1558290"/>
                  </a:lnTo>
                  <a:lnTo>
                    <a:pt x="184785" y="1564958"/>
                  </a:lnTo>
                  <a:lnTo>
                    <a:pt x="185738" y="1574483"/>
                  </a:lnTo>
                  <a:lnTo>
                    <a:pt x="185738" y="1577340"/>
                  </a:lnTo>
                  <a:lnTo>
                    <a:pt x="185738" y="1584960"/>
                  </a:lnTo>
                  <a:lnTo>
                    <a:pt x="183833" y="1592580"/>
                  </a:lnTo>
                  <a:lnTo>
                    <a:pt x="181928" y="1592580"/>
                  </a:lnTo>
                  <a:lnTo>
                    <a:pt x="178117" y="1588770"/>
                  </a:lnTo>
                  <a:lnTo>
                    <a:pt x="175260" y="1586865"/>
                  </a:lnTo>
                  <a:lnTo>
                    <a:pt x="167640" y="1584960"/>
                  </a:lnTo>
                  <a:lnTo>
                    <a:pt x="164783" y="1585913"/>
                  </a:lnTo>
                  <a:lnTo>
                    <a:pt x="162878" y="1588770"/>
                  </a:lnTo>
                  <a:lnTo>
                    <a:pt x="161925" y="1592580"/>
                  </a:lnTo>
                  <a:lnTo>
                    <a:pt x="160973" y="1604963"/>
                  </a:lnTo>
                  <a:lnTo>
                    <a:pt x="122873" y="1581150"/>
                  </a:lnTo>
                  <a:lnTo>
                    <a:pt x="73342" y="1537335"/>
                  </a:lnTo>
                  <a:lnTo>
                    <a:pt x="68580" y="1530668"/>
                  </a:lnTo>
                  <a:lnTo>
                    <a:pt x="64770" y="1510665"/>
                  </a:lnTo>
                  <a:lnTo>
                    <a:pt x="63817" y="1500188"/>
                  </a:lnTo>
                  <a:lnTo>
                    <a:pt x="64770" y="1485900"/>
                  </a:lnTo>
                  <a:lnTo>
                    <a:pt x="68580" y="1465898"/>
                  </a:lnTo>
                  <a:lnTo>
                    <a:pt x="68580" y="1462088"/>
                  </a:lnTo>
                  <a:lnTo>
                    <a:pt x="66675" y="1457325"/>
                  </a:lnTo>
                  <a:lnTo>
                    <a:pt x="56198" y="1445895"/>
                  </a:lnTo>
                  <a:lnTo>
                    <a:pt x="54292" y="1440180"/>
                  </a:lnTo>
                  <a:lnTo>
                    <a:pt x="54292" y="1436370"/>
                  </a:lnTo>
                  <a:lnTo>
                    <a:pt x="55245" y="1434465"/>
                  </a:lnTo>
                  <a:lnTo>
                    <a:pt x="70485" y="1419225"/>
                  </a:lnTo>
                  <a:lnTo>
                    <a:pt x="74295" y="1414463"/>
                  </a:lnTo>
                  <a:lnTo>
                    <a:pt x="76200" y="1409700"/>
                  </a:lnTo>
                  <a:lnTo>
                    <a:pt x="77153" y="1404938"/>
                  </a:lnTo>
                  <a:lnTo>
                    <a:pt x="76200" y="1398270"/>
                  </a:lnTo>
                  <a:lnTo>
                    <a:pt x="74295" y="1387793"/>
                  </a:lnTo>
                  <a:lnTo>
                    <a:pt x="72390" y="1382078"/>
                  </a:lnTo>
                  <a:lnTo>
                    <a:pt x="70485" y="1378268"/>
                  </a:lnTo>
                  <a:lnTo>
                    <a:pt x="65723" y="1375410"/>
                  </a:lnTo>
                  <a:lnTo>
                    <a:pt x="60008" y="1373505"/>
                  </a:lnTo>
                  <a:lnTo>
                    <a:pt x="56198" y="1372553"/>
                  </a:lnTo>
                  <a:lnTo>
                    <a:pt x="53340" y="1373505"/>
                  </a:lnTo>
                  <a:lnTo>
                    <a:pt x="47625" y="1374458"/>
                  </a:lnTo>
                  <a:lnTo>
                    <a:pt x="33338" y="1383030"/>
                  </a:lnTo>
                  <a:lnTo>
                    <a:pt x="28575" y="1384935"/>
                  </a:lnTo>
                  <a:lnTo>
                    <a:pt x="21908" y="1385888"/>
                  </a:lnTo>
                  <a:lnTo>
                    <a:pt x="11430" y="1384935"/>
                  </a:lnTo>
                  <a:lnTo>
                    <a:pt x="3810" y="1381125"/>
                  </a:lnTo>
                  <a:lnTo>
                    <a:pt x="0" y="1372553"/>
                  </a:lnTo>
                  <a:lnTo>
                    <a:pt x="31433" y="1343025"/>
                  </a:lnTo>
                  <a:lnTo>
                    <a:pt x="42863" y="1329690"/>
                  </a:lnTo>
                  <a:lnTo>
                    <a:pt x="48578" y="1320165"/>
                  </a:lnTo>
                  <a:lnTo>
                    <a:pt x="53340" y="1317308"/>
                  </a:lnTo>
                  <a:lnTo>
                    <a:pt x="58103" y="1315403"/>
                  </a:lnTo>
                  <a:lnTo>
                    <a:pt x="62865" y="1314450"/>
                  </a:lnTo>
                  <a:lnTo>
                    <a:pt x="69533" y="1310640"/>
                  </a:lnTo>
                  <a:lnTo>
                    <a:pt x="73342" y="1305878"/>
                  </a:lnTo>
                  <a:lnTo>
                    <a:pt x="74295" y="1302068"/>
                  </a:lnTo>
                  <a:lnTo>
                    <a:pt x="74295" y="1298258"/>
                  </a:lnTo>
                  <a:lnTo>
                    <a:pt x="73342" y="1295400"/>
                  </a:lnTo>
                  <a:lnTo>
                    <a:pt x="72390" y="1292543"/>
                  </a:lnTo>
                  <a:lnTo>
                    <a:pt x="69533" y="1291590"/>
                  </a:lnTo>
                  <a:lnTo>
                    <a:pt x="60008" y="1289685"/>
                  </a:lnTo>
                  <a:lnTo>
                    <a:pt x="57150" y="1288733"/>
                  </a:lnTo>
                  <a:lnTo>
                    <a:pt x="55245" y="1286828"/>
                  </a:lnTo>
                  <a:lnTo>
                    <a:pt x="41910" y="1263015"/>
                  </a:lnTo>
                  <a:lnTo>
                    <a:pt x="37148" y="1256348"/>
                  </a:lnTo>
                  <a:lnTo>
                    <a:pt x="29528" y="1248728"/>
                  </a:lnTo>
                  <a:lnTo>
                    <a:pt x="20003" y="1243013"/>
                  </a:lnTo>
                  <a:lnTo>
                    <a:pt x="18098" y="1240155"/>
                  </a:lnTo>
                  <a:lnTo>
                    <a:pt x="16192" y="1238250"/>
                  </a:lnTo>
                  <a:lnTo>
                    <a:pt x="15240" y="1234440"/>
                  </a:lnTo>
                  <a:lnTo>
                    <a:pt x="16192" y="1231583"/>
                  </a:lnTo>
                  <a:lnTo>
                    <a:pt x="18098" y="1230630"/>
                  </a:lnTo>
                  <a:lnTo>
                    <a:pt x="20955" y="1230630"/>
                  </a:lnTo>
                  <a:lnTo>
                    <a:pt x="31433" y="1231583"/>
                  </a:lnTo>
                  <a:lnTo>
                    <a:pt x="34290" y="1231583"/>
                  </a:lnTo>
                  <a:lnTo>
                    <a:pt x="37148" y="1230630"/>
                  </a:lnTo>
                  <a:lnTo>
                    <a:pt x="39053" y="1229678"/>
                  </a:lnTo>
                  <a:lnTo>
                    <a:pt x="42863" y="1225868"/>
                  </a:lnTo>
                  <a:lnTo>
                    <a:pt x="46673" y="1220153"/>
                  </a:lnTo>
                  <a:lnTo>
                    <a:pt x="55245" y="1203960"/>
                  </a:lnTo>
                  <a:lnTo>
                    <a:pt x="56198" y="1202055"/>
                  </a:lnTo>
                  <a:lnTo>
                    <a:pt x="55245" y="1200150"/>
                  </a:lnTo>
                  <a:lnTo>
                    <a:pt x="49530" y="1194435"/>
                  </a:lnTo>
                  <a:lnTo>
                    <a:pt x="34290" y="1183005"/>
                  </a:lnTo>
                  <a:lnTo>
                    <a:pt x="32385" y="1180148"/>
                  </a:lnTo>
                  <a:lnTo>
                    <a:pt x="29528" y="1176338"/>
                  </a:lnTo>
                  <a:lnTo>
                    <a:pt x="30480" y="1172528"/>
                  </a:lnTo>
                  <a:lnTo>
                    <a:pt x="31433" y="1169670"/>
                  </a:lnTo>
                  <a:lnTo>
                    <a:pt x="37148" y="1162050"/>
                  </a:lnTo>
                  <a:lnTo>
                    <a:pt x="40005" y="1160145"/>
                  </a:lnTo>
                  <a:lnTo>
                    <a:pt x="42863" y="1159193"/>
                  </a:lnTo>
                  <a:lnTo>
                    <a:pt x="44767" y="1159193"/>
                  </a:lnTo>
                  <a:lnTo>
                    <a:pt x="69533" y="1165860"/>
                  </a:lnTo>
                  <a:lnTo>
                    <a:pt x="109538" y="1169670"/>
                  </a:lnTo>
                  <a:lnTo>
                    <a:pt x="114300" y="1168718"/>
                  </a:lnTo>
                  <a:lnTo>
                    <a:pt x="118110" y="1166813"/>
                  </a:lnTo>
                  <a:lnTo>
                    <a:pt x="123825" y="1162050"/>
                  </a:lnTo>
                  <a:lnTo>
                    <a:pt x="126683" y="1158240"/>
                  </a:lnTo>
                  <a:lnTo>
                    <a:pt x="127635" y="1153478"/>
                  </a:lnTo>
                  <a:lnTo>
                    <a:pt x="127635" y="1150620"/>
                  </a:lnTo>
                  <a:lnTo>
                    <a:pt x="127635" y="1143953"/>
                  </a:lnTo>
                  <a:lnTo>
                    <a:pt x="127635" y="1140143"/>
                  </a:lnTo>
                  <a:lnTo>
                    <a:pt x="124778" y="1132523"/>
                  </a:lnTo>
                  <a:lnTo>
                    <a:pt x="118110" y="1120140"/>
                  </a:lnTo>
                  <a:lnTo>
                    <a:pt x="117158" y="1116330"/>
                  </a:lnTo>
                  <a:lnTo>
                    <a:pt x="118110" y="1110615"/>
                  </a:lnTo>
                  <a:lnTo>
                    <a:pt x="120015" y="1108710"/>
                  </a:lnTo>
                  <a:lnTo>
                    <a:pt x="122873" y="1106805"/>
                  </a:lnTo>
                  <a:lnTo>
                    <a:pt x="160020" y="1112520"/>
                  </a:lnTo>
                  <a:lnTo>
                    <a:pt x="163830" y="1111568"/>
                  </a:lnTo>
                  <a:lnTo>
                    <a:pt x="168592" y="1109663"/>
                  </a:lnTo>
                  <a:lnTo>
                    <a:pt x="169545" y="1107758"/>
                  </a:lnTo>
                  <a:lnTo>
                    <a:pt x="168592" y="1104900"/>
                  </a:lnTo>
                  <a:lnTo>
                    <a:pt x="166688" y="1102995"/>
                  </a:lnTo>
                  <a:lnTo>
                    <a:pt x="155258" y="1095375"/>
                  </a:lnTo>
                  <a:lnTo>
                    <a:pt x="153353" y="1093470"/>
                  </a:lnTo>
                  <a:lnTo>
                    <a:pt x="152400" y="1089660"/>
                  </a:lnTo>
                  <a:lnTo>
                    <a:pt x="153353" y="1083945"/>
                  </a:lnTo>
                  <a:lnTo>
                    <a:pt x="157163" y="1078230"/>
                  </a:lnTo>
                  <a:lnTo>
                    <a:pt x="159067" y="1074420"/>
                  </a:lnTo>
                  <a:lnTo>
                    <a:pt x="159067" y="1070610"/>
                  </a:lnTo>
                  <a:lnTo>
                    <a:pt x="156210" y="1062038"/>
                  </a:lnTo>
                  <a:lnTo>
                    <a:pt x="156210" y="1059180"/>
                  </a:lnTo>
                  <a:lnTo>
                    <a:pt x="156210" y="1055370"/>
                  </a:lnTo>
                  <a:lnTo>
                    <a:pt x="159067" y="1054418"/>
                  </a:lnTo>
                  <a:lnTo>
                    <a:pt x="160020" y="1055370"/>
                  </a:lnTo>
                  <a:lnTo>
                    <a:pt x="168592" y="1062990"/>
                  </a:lnTo>
                  <a:lnTo>
                    <a:pt x="175260" y="1066800"/>
                  </a:lnTo>
                  <a:lnTo>
                    <a:pt x="185738" y="1071563"/>
                  </a:lnTo>
                  <a:lnTo>
                    <a:pt x="199073" y="1074420"/>
                  </a:lnTo>
                  <a:lnTo>
                    <a:pt x="203835" y="1074420"/>
                  </a:lnTo>
                  <a:lnTo>
                    <a:pt x="208598" y="1072515"/>
                  </a:lnTo>
                  <a:lnTo>
                    <a:pt x="224790" y="1062990"/>
                  </a:lnTo>
                  <a:lnTo>
                    <a:pt x="242888" y="1056323"/>
                  </a:lnTo>
                  <a:lnTo>
                    <a:pt x="262890" y="1044893"/>
                  </a:lnTo>
                  <a:lnTo>
                    <a:pt x="274320" y="1036320"/>
                  </a:lnTo>
                  <a:lnTo>
                    <a:pt x="284798" y="1030605"/>
                  </a:lnTo>
                  <a:lnTo>
                    <a:pt x="312420" y="1030605"/>
                  </a:lnTo>
                  <a:lnTo>
                    <a:pt x="319088" y="1032510"/>
                  </a:lnTo>
                  <a:lnTo>
                    <a:pt x="321945" y="1033463"/>
                  </a:lnTo>
                  <a:lnTo>
                    <a:pt x="329565" y="1041083"/>
                  </a:lnTo>
                  <a:lnTo>
                    <a:pt x="340042" y="1053465"/>
                  </a:lnTo>
                  <a:lnTo>
                    <a:pt x="341948" y="1056323"/>
                  </a:lnTo>
                  <a:lnTo>
                    <a:pt x="341948" y="1059180"/>
                  </a:lnTo>
                  <a:lnTo>
                    <a:pt x="340995" y="1063943"/>
                  </a:lnTo>
                  <a:lnTo>
                    <a:pt x="342900" y="1065848"/>
                  </a:lnTo>
                  <a:lnTo>
                    <a:pt x="344805" y="1067753"/>
                  </a:lnTo>
                  <a:lnTo>
                    <a:pt x="365760" y="1070610"/>
                  </a:lnTo>
                  <a:lnTo>
                    <a:pt x="371475" y="1073468"/>
                  </a:lnTo>
                  <a:lnTo>
                    <a:pt x="375285" y="1077278"/>
                  </a:lnTo>
                  <a:lnTo>
                    <a:pt x="386715" y="1088708"/>
                  </a:lnTo>
                  <a:lnTo>
                    <a:pt x="390525" y="1092518"/>
                  </a:lnTo>
                  <a:lnTo>
                    <a:pt x="394335" y="1093470"/>
                  </a:lnTo>
                  <a:lnTo>
                    <a:pt x="398145" y="1094423"/>
                  </a:lnTo>
                  <a:lnTo>
                    <a:pt x="402908" y="1093470"/>
                  </a:lnTo>
                  <a:lnTo>
                    <a:pt x="405765" y="1092518"/>
                  </a:lnTo>
                  <a:lnTo>
                    <a:pt x="407670" y="1089660"/>
                  </a:lnTo>
                  <a:lnTo>
                    <a:pt x="412433" y="1062038"/>
                  </a:lnTo>
                  <a:lnTo>
                    <a:pt x="414338" y="1059180"/>
                  </a:lnTo>
                  <a:lnTo>
                    <a:pt x="417195" y="1052513"/>
                  </a:lnTo>
                  <a:lnTo>
                    <a:pt x="421005" y="1048703"/>
                  </a:lnTo>
                  <a:lnTo>
                    <a:pt x="424815" y="1042035"/>
                  </a:lnTo>
                  <a:lnTo>
                    <a:pt x="425767" y="1036320"/>
                  </a:lnTo>
                  <a:lnTo>
                    <a:pt x="425767" y="1029652"/>
                  </a:lnTo>
                  <a:lnTo>
                    <a:pt x="425767" y="1022985"/>
                  </a:lnTo>
                  <a:lnTo>
                    <a:pt x="422910" y="1006793"/>
                  </a:lnTo>
                  <a:lnTo>
                    <a:pt x="424815" y="968693"/>
                  </a:lnTo>
                  <a:lnTo>
                    <a:pt x="425767" y="965835"/>
                  </a:lnTo>
                  <a:lnTo>
                    <a:pt x="428625" y="959168"/>
                  </a:lnTo>
                  <a:lnTo>
                    <a:pt x="431483" y="956310"/>
                  </a:lnTo>
                  <a:lnTo>
                    <a:pt x="434340" y="954405"/>
                  </a:lnTo>
                  <a:lnTo>
                    <a:pt x="436245" y="953452"/>
                  </a:lnTo>
                  <a:lnTo>
                    <a:pt x="460058" y="934402"/>
                  </a:lnTo>
                  <a:lnTo>
                    <a:pt x="463867" y="931545"/>
                  </a:lnTo>
                  <a:lnTo>
                    <a:pt x="466725" y="930593"/>
                  </a:lnTo>
                  <a:lnTo>
                    <a:pt x="473392" y="930593"/>
                  </a:lnTo>
                  <a:lnTo>
                    <a:pt x="482917" y="933450"/>
                  </a:lnTo>
                  <a:lnTo>
                    <a:pt x="487680" y="932498"/>
                  </a:lnTo>
                  <a:lnTo>
                    <a:pt x="490538" y="931545"/>
                  </a:lnTo>
                  <a:lnTo>
                    <a:pt x="492442" y="929640"/>
                  </a:lnTo>
                  <a:lnTo>
                    <a:pt x="496253" y="923925"/>
                  </a:lnTo>
                  <a:lnTo>
                    <a:pt x="496253" y="922020"/>
                  </a:lnTo>
                  <a:lnTo>
                    <a:pt x="494348" y="918210"/>
                  </a:lnTo>
                  <a:lnTo>
                    <a:pt x="491490" y="916305"/>
                  </a:lnTo>
                  <a:lnTo>
                    <a:pt x="479108" y="909638"/>
                  </a:lnTo>
                  <a:lnTo>
                    <a:pt x="477203" y="908685"/>
                  </a:lnTo>
                  <a:lnTo>
                    <a:pt x="476250" y="904875"/>
                  </a:lnTo>
                  <a:lnTo>
                    <a:pt x="478155" y="899160"/>
                  </a:lnTo>
                  <a:lnTo>
                    <a:pt x="484823" y="888683"/>
                  </a:lnTo>
                  <a:lnTo>
                    <a:pt x="498158" y="876300"/>
                  </a:lnTo>
                  <a:lnTo>
                    <a:pt x="500063" y="873443"/>
                  </a:lnTo>
                  <a:lnTo>
                    <a:pt x="501967" y="866775"/>
                  </a:lnTo>
                  <a:lnTo>
                    <a:pt x="501967" y="860108"/>
                  </a:lnTo>
                  <a:lnTo>
                    <a:pt x="501015" y="857250"/>
                  </a:lnTo>
                  <a:lnTo>
                    <a:pt x="500063" y="855345"/>
                  </a:lnTo>
                  <a:lnTo>
                    <a:pt x="497205" y="852488"/>
                  </a:lnTo>
                  <a:lnTo>
                    <a:pt x="495300" y="849630"/>
                  </a:lnTo>
                  <a:lnTo>
                    <a:pt x="493395" y="846773"/>
                  </a:lnTo>
                  <a:lnTo>
                    <a:pt x="484823" y="840105"/>
                  </a:lnTo>
                  <a:lnTo>
                    <a:pt x="482917" y="838200"/>
                  </a:lnTo>
                  <a:lnTo>
                    <a:pt x="481013" y="835343"/>
                  </a:lnTo>
                  <a:lnTo>
                    <a:pt x="481013" y="831533"/>
                  </a:lnTo>
                  <a:lnTo>
                    <a:pt x="482917" y="825818"/>
                  </a:lnTo>
                  <a:lnTo>
                    <a:pt x="485775" y="822960"/>
                  </a:lnTo>
                  <a:lnTo>
                    <a:pt x="488633" y="820103"/>
                  </a:lnTo>
                  <a:lnTo>
                    <a:pt x="525780" y="815340"/>
                  </a:lnTo>
                  <a:lnTo>
                    <a:pt x="530543" y="813435"/>
                  </a:lnTo>
                  <a:lnTo>
                    <a:pt x="534353" y="811530"/>
                  </a:lnTo>
                  <a:lnTo>
                    <a:pt x="541973" y="805815"/>
                  </a:lnTo>
                  <a:lnTo>
                    <a:pt x="543878" y="802005"/>
                  </a:lnTo>
                  <a:lnTo>
                    <a:pt x="544830" y="798195"/>
                  </a:lnTo>
                  <a:lnTo>
                    <a:pt x="543878" y="792480"/>
                  </a:lnTo>
                  <a:lnTo>
                    <a:pt x="542925" y="782003"/>
                  </a:lnTo>
                  <a:lnTo>
                    <a:pt x="541020" y="776288"/>
                  </a:lnTo>
                  <a:lnTo>
                    <a:pt x="536258" y="769620"/>
                  </a:lnTo>
                  <a:lnTo>
                    <a:pt x="536258" y="766763"/>
                  </a:lnTo>
                  <a:lnTo>
                    <a:pt x="535305" y="760095"/>
                  </a:lnTo>
                  <a:lnTo>
                    <a:pt x="533400" y="755333"/>
                  </a:lnTo>
                  <a:lnTo>
                    <a:pt x="524828" y="740093"/>
                  </a:lnTo>
                  <a:lnTo>
                    <a:pt x="516255" y="730568"/>
                  </a:lnTo>
                  <a:lnTo>
                    <a:pt x="511492" y="726758"/>
                  </a:lnTo>
                  <a:lnTo>
                    <a:pt x="506730" y="723900"/>
                  </a:lnTo>
                  <a:lnTo>
                    <a:pt x="501015" y="724853"/>
                  </a:lnTo>
                  <a:lnTo>
                    <a:pt x="495300" y="725805"/>
                  </a:lnTo>
                  <a:lnTo>
                    <a:pt x="494348" y="726758"/>
                  </a:lnTo>
                  <a:lnTo>
                    <a:pt x="488633" y="731520"/>
                  </a:lnTo>
                  <a:lnTo>
                    <a:pt x="486728" y="732473"/>
                  </a:lnTo>
                  <a:lnTo>
                    <a:pt x="483870" y="732473"/>
                  </a:lnTo>
                  <a:lnTo>
                    <a:pt x="470535" y="726758"/>
                  </a:lnTo>
                  <a:lnTo>
                    <a:pt x="467678" y="724853"/>
                  </a:lnTo>
                  <a:lnTo>
                    <a:pt x="465773" y="722948"/>
                  </a:lnTo>
                  <a:lnTo>
                    <a:pt x="465773" y="718185"/>
                  </a:lnTo>
                  <a:lnTo>
                    <a:pt x="468630" y="695325"/>
                  </a:lnTo>
                  <a:lnTo>
                    <a:pt x="469583" y="690563"/>
                  </a:lnTo>
                  <a:lnTo>
                    <a:pt x="471488" y="688658"/>
                  </a:lnTo>
                  <a:lnTo>
                    <a:pt x="508635" y="681038"/>
                  </a:lnTo>
                  <a:lnTo>
                    <a:pt x="513398" y="677228"/>
                  </a:lnTo>
                  <a:lnTo>
                    <a:pt x="519113" y="671513"/>
                  </a:lnTo>
                  <a:lnTo>
                    <a:pt x="523875" y="662940"/>
                  </a:lnTo>
                  <a:lnTo>
                    <a:pt x="526733" y="657225"/>
                  </a:lnTo>
                  <a:lnTo>
                    <a:pt x="526733" y="652463"/>
                  </a:lnTo>
                  <a:lnTo>
                    <a:pt x="527685" y="642938"/>
                  </a:lnTo>
                  <a:lnTo>
                    <a:pt x="527685" y="639128"/>
                  </a:lnTo>
                  <a:lnTo>
                    <a:pt x="525780" y="633413"/>
                  </a:lnTo>
                  <a:lnTo>
                    <a:pt x="523875" y="631508"/>
                  </a:lnTo>
                  <a:lnTo>
                    <a:pt x="497205" y="604838"/>
                  </a:lnTo>
                  <a:lnTo>
                    <a:pt x="457200" y="584835"/>
                  </a:lnTo>
                  <a:lnTo>
                    <a:pt x="453390" y="580073"/>
                  </a:lnTo>
                  <a:lnTo>
                    <a:pt x="450533" y="575310"/>
                  </a:lnTo>
                  <a:lnTo>
                    <a:pt x="440055" y="562928"/>
                  </a:lnTo>
                  <a:lnTo>
                    <a:pt x="424815" y="550545"/>
                  </a:lnTo>
                  <a:lnTo>
                    <a:pt x="421005" y="546735"/>
                  </a:lnTo>
                  <a:lnTo>
                    <a:pt x="420053" y="543878"/>
                  </a:lnTo>
                  <a:lnTo>
                    <a:pt x="420053" y="541020"/>
                  </a:lnTo>
                  <a:lnTo>
                    <a:pt x="419100" y="534353"/>
                  </a:lnTo>
                  <a:lnTo>
                    <a:pt x="417195" y="529590"/>
                  </a:lnTo>
                  <a:lnTo>
                    <a:pt x="414338" y="526733"/>
                  </a:lnTo>
                  <a:lnTo>
                    <a:pt x="404813" y="521970"/>
                  </a:lnTo>
                  <a:lnTo>
                    <a:pt x="399098" y="519113"/>
                  </a:lnTo>
                  <a:lnTo>
                    <a:pt x="396240" y="514350"/>
                  </a:lnTo>
                  <a:lnTo>
                    <a:pt x="393383" y="509588"/>
                  </a:lnTo>
                  <a:lnTo>
                    <a:pt x="392430" y="506730"/>
                  </a:lnTo>
                  <a:lnTo>
                    <a:pt x="393383" y="500063"/>
                  </a:lnTo>
                  <a:lnTo>
                    <a:pt x="395288" y="491490"/>
                  </a:lnTo>
                  <a:lnTo>
                    <a:pt x="400050" y="472440"/>
                  </a:lnTo>
                  <a:lnTo>
                    <a:pt x="400050" y="464820"/>
                  </a:lnTo>
                  <a:lnTo>
                    <a:pt x="399098" y="462915"/>
                  </a:lnTo>
                  <a:lnTo>
                    <a:pt x="397192" y="463868"/>
                  </a:lnTo>
                  <a:lnTo>
                    <a:pt x="389573" y="471488"/>
                  </a:lnTo>
                  <a:lnTo>
                    <a:pt x="384810" y="473393"/>
                  </a:lnTo>
                  <a:lnTo>
                    <a:pt x="381000" y="474345"/>
                  </a:lnTo>
                  <a:lnTo>
                    <a:pt x="374333" y="474345"/>
                  </a:lnTo>
                  <a:lnTo>
                    <a:pt x="371475" y="473393"/>
                  </a:lnTo>
                  <a:lnTo>
                    <a:pt x="365760" y="470535"/>
                  </a:lnTo>
                  <a:lnTo>
                    <a:pt x="362903" y="465772"/>
                  </a:lnTo>
                  <a:lnTo>
                    <a:pt x="360998" y="461010"/>
                  </a:lnTo>
                  <a:lnTo>
                    <a:pt x="359092" y="459105"/>
                  </a:lnTo>
                  <a:lnTo>
                    <a:pt x="356235" y="459105"/>
                  </a:lnTo>
                  <a:lnTo>
                    <a:pt x="354330" y="460058"/>
                  </a:lnTo>
                  <a:lnTo>
                    <a:pt x="352425" y="461963"/>
                  </a:lnTo>
                  <a:lnTo>
                    <a:pt x="350520" y="464820"/>
                  </a:lnTo>
                  <a:lnTo>
                    <a:pt x="346710" y="471488"/>
                  </a:lnTo>
                  <a:lnTo>
                    <a:pt x="344805" y="474345"/>
                  </a:lnTo>
                  <a:lnTo>
                    <a:pt x="340995" y="478155"/>
                  </a:lnTo>
                  <a:lnTo>
                    <a:pt x="339090" y="480060"/>
                  </a:lnTo>
                  <a:lnTo>
                    <a:pt x="336233" y="481013"/>
                  </a:lnTo>
                  <a:lnTo>
                    <a:pt x="333375" y="481013"/>
                  </a:lnTo>
                  <a:lnTo>
                    <a:pt x="330517" y="481013"/>
                  </a:lnTo>
                  <a:lnTo>
                    <a:pt x="319088" y="476250"/>
                  </a:lnTo>
                  <a:lnTo>
                    <a:pt x="312420" y="475297"/>
                  </a:lnTo>
                  <a:lnTo>
                    <a:pt x="305753" y="476250"/>
                  </a:lnTo>
                  <a:lnTo>
                    <a:pt x="300038" y="477203"/>
                  </a:lnTo>
                  <a:lnTo>
                    <a:pt x="294323" y="479108"/>
                  </a:lnTo>
                  <a:lnTo>
                    <a:pt x="287655" y="483870"/>
                  </a:lnTo>
                  <a:lnTo>
                    <a:pt x="285750" y="485775"/>
                  </a:lnTo>
                  <a:lnTo>
                    <a:pt x="282892" y="491490"/>
                  </a:lnTo>
                  <a:lnTo>
                    <a:pt x="280035" y="500063"/>
                  </a:lnTo>
                  <a:lnTo>
                    <a:pt x="278130" y="502920"/>
                  </a:lnTo>
                  <a:lnTo>
                    <a:pt x="276225" y="504825"/>
                  </a:lnTo>
                  <a:lnTo>
                    <a:pt x="274320" y="505778"/>
                  </a:lnTo>
                  <a:lnTo>
                    <a:pt x="269558" y="504825"/>
                  </a:lnTo>
                  <a:lnTo>
                    <a:pt x="267653" y="503872"/>
                  </a:lnTo>
                  <a:lnTo>
                    <a:pt x="263842" y="499110"/>
                  </a:lnTo>
                  <a:lnTo>
                    <a:pt x="260985" y="494347"/>
                  </a:lnTo>
                  <a:lnTo>
                    <a:pt x="260033" y="491490"/>
                  </a:lnTo>
                  <a:lnTo>
                    <a:pt x="259080" y="484822"/>
                  </a:lnTo>
                  <a:lnTo>
                    <a:pt x="262890" y="453390"/>
                  </a:lnTo>
                  <a:lnTo>
                    <a:pt x="262890" y="450533"/>
                  </a:lnTo>
                  <a:lnTo>
                    <a:pt x="261938" y="440055"/>
                  </a:lnTo>
                  <a:lnTo>
                    <a:pt x="261938" y="433388"/>
                  </a:lnTo>
                  <a:lnTo>
                    <a:pt x="262890" y="421958"/>
                  </a:lnTo>
                  <a:lnTo>
                    <a:pt x="264795" y="407670"/>
                  </a:lnTo>
                  <a:lnTo>
                    <a:pt x="265748" y="400050"/>
                  </a:lnTo>
                  <a:lnTo>
                    <a:pt x="265748" y="397193"/>
                  </a:lnTo>
                  <a:lnTo>
                    <a:pt x="264795" y="390525"/>
                  </a:lnTo>
                  <a:lnTo>
                    <a:pt x="259080" y="367665"/>
                  </a:lnTo>
                  <a:lnTo>
                    <a:pt x="257175" y="360045"/>
                  </a:lnTo>
                  <a:lnTo>
                    <a:pt x="257175" y="356235"/>
                  </a:lnTo>
                  <a:lnTo>
                    <a:pt x="258128" y="342900"/>
                  </a:lnTo>
                  <a:lnTo>
                    <a:pt x="259080" y="338138"/>
                  </a:lnTo>
                  <a:lnTo>
                    <a:pt x="260033" y="334328"/>
                  </a:lnTo>
                  <a:lnTo>
                    <a:pt x="262890" y="329565"/>
                  </a:lnTo>
                  <a:lnTo>
                    <a:pt x="266700" y="325755"/>
                  </a:lnTo>
                  <a:lnTo>
                    <a:pt x="276225" y="317183"/>
                  </a:lnTo>
                  <a:lnTo>
                    <a:pt x="279083" y="313372"/>
                  </a:lnTo>
                  <a:lnTo>
                    <a:pt x="283845" y="304800"/>
                  </a:lnTo>
                  <a:lnTo>
                    <a:pt x="284798" y="299085"/>
                  </a:lnTo>
                  <a:lnTo>
                    <a:pt x="284798" y="295275"/>
                  </a:lnTo>
                  <a:lnTo>
                    <a:pt x="281940" y="289560"/>
                  </a:lnTo>
                  <a:lnTo>
                    <a:pt x="278130" y="286703"/>
                  </a:lnTo>
                  <a:lnTo>
                    <a:pt x="268605" y="283845"/>
                  </a:lnTo>
                  <a:lnTo>
                    <a:pt x="265748" y="281940"/>
                  </a:lnTo>
                  <a:lnTo>
                    <a:pt x="264795" y="280035"/>
                  </a:lnTo>
                  <a:lnTo>
                    <a:pt x="262890" y="270510"/>
                  </a:lnTo>
                  <a:lnTo>
                    <a:pt x="260985" y="268605"/>
                  </a:lnTo>
                  <a:lnTo>
                    <a:pt x="259080" y="269558"/>
                  </a:lnTo>
                  <a:lnTo>
                    <a:pt x="253365" y="270510"/>
                  </a:lnTo>
                  <a:lnTo>
                    <a:pt x="249555" y="270510"/>
                  </a:lnTo>
                  <a:lnTo>
                    <a:pt x="242888" y="269558"/>
                  </a:lnTo>
                  <a:lnTo>
                    <a:pt x="238125" y="266700"/>
                  </a:lnTo>
                  <a:lnTo>
                    <a:pt x="235267" y="261938"/>
                  </a:lnTo>
                  <a:lnTo>
                    <a:pt x="234315" y="255270"/>
                  </a:lnTo>
                  <a:lnTo>
                    <a:pt x="234315" y="244793"/>
                  </a:lnTo>
                  <a:lnTo>
                    <a:pt x="233363" y="227647"/>
                  </a:lnTo>
                  <a:lnTo>
                    <a:pt x="233363" y="213360"/>
                  </a:lnTo>
                  <a:lnTo>
                    <a:pt x="236220" y="196215"/>
                  </a:lnTo>
                  <a:lnTo>
                    <a:pt x="237173" y="187643"/>
                  </a:lnTo>
                  <a:lnTo>
                    <a:pt x="239078" y="181928"/>
                  </a:lnTo>
                  <a:lnTo>
                    <a:pt x="242888" y="173355"/>
                  </a:lnTo>
                  <a:lnTo>
                    <a:pt x="268605" y="136208"/>
                  </a:lnTo>
                  <a:lnTo>
                    <a:pt x="287655" y="120015"/>
                  </a:lnTo>
                  <a:lnTo>
                    <a:pt x="291465" y="116205"/>
                  </a:lnTo>
                  <a:lnTo>
                    <a:pt x="298133" y="105728"/>
                  </a:lnTo>
                  <a:lnTo>
                    <a:pt x="303848" y="95250"/>
                  </a:lnTo>
                  <a:lnTo>
                    <a:pt x="304800" y="90488"/>
                  </a:lnTo>
                  <a:lnTo>
                    <a:pt x="305753" y="86678"/>
                  </a:lnTo>
                  <a:lnTo>
                    <a:pt x="305753" y="82868"/>
                  </a:lnTo>
                  <a:lnTo>
                    <a:pt x="304800" y="77153"/>
                  </a:lnTo>
                  <a:lnTo>
                    <a:pt x="300990" y="68580"/>
                  </a:lnTo>
                  <a:lnTo>
                    <a:pt x="300038" y="63818"/>
                  </a:lnTo>
                  <a:lnTo>
                    <a:pt x="299085" y="58103"/>
                  </a:lnTo>
                  <a:lnTo>
                    <a:pt x="299085" y="52388"/>
                  </a:lnTo>
                  <a:lnTo>
                    <a:pt x="300038" y="47625"/>
                  </a:lnTo>
                  <a:lnTo>
                    <a:pt x="300990" y="44768"/>
                  </a:lnTo>
                  <a:lnTo>
                    <a:pt x="302895" y="41910"/>
                  </a:lnTo>
                  <a:lnTo>
                    <a:pt x="306705" y="39053"/>
                  </a:lnTo>
                  <a:lnTo>
                    <a:pt x="314325" y="34290"/>
                  </a:lnTo>
                  <a:lnTo>
                    <a:pt x="316230" y="32385"/>
                  </a:lnTo>
                  <a:lnTo>
                    <a:pt x="315278" y="30480"/>
                  </a:lnTo>
                  <a:lnTo>
                    <a:pt x="312420" y="29528"/>
                  </a:lnTo>
                  <a:lnTo>
                    <a:pt x="264795" y="26670"/>
                  </a:lnTo>
                  <a:lnTo>
                    <a:pt x="258128" y="22860"/>
                  </a:lnTo>
                  <a:lnTo>
                    <a:pt x="255270" y="7620"/>
                  </a:lnTo>
                  <a:lnTo>
                    <a:pt x="327660" y="8573"/>
                  </a:lnTo>
                  <a:lnTo>
                    <a:pt x="371475" y="0"/>
                  </a:lnTo>
                  <a:lnTo>
                    <a:pt x="484823" y="20955"/>
                  </a:lnTo>
                  <a:lnTo>
                    <a:pt x="521017" y="20003"/>
                  </a:lnTo>
                  <a:lnTo>
                    <a:pt x="537210" y="23813"/>
                  </a:lnTo>
                  <a:lnTo>
                    <a:pt x="570548" y="54293"/>
                  </a:lnTo>
                  <a:lnTo>
                    <a:pt x="586740" y="60960"/>
                  </a:lnTo>
                  <a:lnTo>
                    <a:pt x="709613" y="65723"/>
                  </a:lnTo>
                  <a:lnTo>
                    <a:pt x="715328" y="69532"/>
                  </a:lnTo>
                  <a:lnTo>
                    <a:pt x="715328" y="75248"/>
                  </a:lnTo>
                  <a:lnTo>
                    <a:pt x="714375" y="82868"/>
                  </a:lnTo>
                  <a:lnTo>
                    <a:pt x="715328" y="91440"/>
                  </a:lnTo>
                  <a:lnTo>
                    <a:pt x="721995" y="100965"/>
                  </a:lnTo>
                  <a:lnTo>
                    <a:pt x="729615" y="104775"/>
                  </a:lnTo>
                  <a:lnTo>
                    <a:pt x="845820" y="108585"/>
                  </a:lnTo>
                  <a:lnTo>
                    <a:pt x="944880" y="152400"/>
                  </a:lnTo>
                  <a:lnTo>
                    <a:pt x="980123" y="158115"/>
                  </a:lnTo>
                  <a:lnTo>
                    <a:pt x="1033463" y="140018"/>
                  </a:lnTo>
                  <a:lnTo>
                    <a:pt x="1079183" y="140970"/>
                  </a:lnTo>
                  <a:lnTo>
                    <a:pt x="1101090" y="146685"/>
                  </a:lnTo>
                  <a:lnTo>
                    <a:pt x="1115377" y="154305"/>
                  </a:lnTo>
                  <a:lnTo>
                    <a:pt x="1119188" y="167640"/>
                  </a:lnTo>
                  <a:lnTo>
                    <a:pt x="1117283" y="185738"/>
                  </a:lnTo>
                  <a:lnTo>
                    <a:pt x="1117283" y="208598"/>
                  </a:lnTo>
                  <a:lnTo>
                    <a:pt x="1121093" y="225743"/>
                  </a:lnTo>
                  <a:lnTo>
                    <a:pt x="1128713" y="232410"/>
                  </a:lnTo>
                  <a:lnTo>
                    <a:pt x="1139190" y="234315"/>
                  </a:lnTo>
                  <a:lnTo>
                    <a:pt x="1152525" y="232410"/>
                  </a:lnTo>
                  <a:lnTo>
                    <a:pt x="1167765" y="236220"/>
                  </a:lnTo>
                  <a:lnTo>
                    <a:pt x="1166813" y="250508"/>
                  </a:lnTo>
                  <a:lnTo>
                    <a:pt x="1158240" y="269558"/>
                  </a:lnTo>
                  <a:lnTo>
                    <a:pt x="1155383" y="283845"/>
                  </a:lnTo>
                  <a:lnTo>
                    <a:pt x="1163002" y="290513"/>
                  </a:lnTo>
                  <a:lnTo>
                    <a:pt x="1174433" y="288608"/>
                  </a:lnTo>
                  <a:lnTo>
                    <a:pt x="1195388" y="281940"/>
                  </a:lnTo>
                  <a:lnTo>
                    <a:pt x="1226820" y="287655"/>
                  </a:lnTo>
                  <a:lnTo>
                    <a:pt x="1237298" y="286703"/>
                  </a:lnTo>
                  <a:lnTo>
                    <a:pt x="1248727" y="280988"/>
                  </a:lnTo>
                  <a:lnTo>
                    <a:pt x="1263968" y="264795"/>
                  </a:lnTo>
                  <a:lnTo>
                    <a:pt x="1273493" y="259080"/>
                  </a:lnTo>
                  <a:lnTo>
                    <a:pt x="1291590" y="260033"/>
                  </a:lnTo>
                  <a:lnTo>
                    <a:pt x="1348740" y="282893"/>
                  </a:lnTo>
                  <a:lnTo>
                    <a:pt x="1378268" y="283845"/>
                  </a:lnTo>
                  <a:lnTo>
                    <a:pt x="1386840" y="288608"/>
                  </a:lnTo>
                  <a:lnTo>
                    <a:pt x="1393508" y="306705"/>
                  </a:lnTo>
                  <a:lnTo>
                    <a:pt x="1389698" y="327660"/>
                  </a:lnTo>
                  <a:lnTo>
                    <a:pt x="1371600" y="370522"/>
                  </a:lnTo>
                  <a:lnTo>
                    <a:pt x="1372552" y="37242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7" name="Полилиния: фигура 7">
              <a:extLst>
                <a:ext uri="{FF2B5EF4-FFF2-40B4-BE49-F238E27FC236}">
                  <a16:creationId xmlns:a16="http://schemas.microsoft.com/office/drawing/2014/main" id="{D4143D90-F4F1-64BD-76D2-6C784ED174B4}"/>
                </a:ext>
              </a:extLst>
            </p:cNvPr>
            <p:cNvSpPr/>
            <p:nvPr/>
          </p:nvSpPr>
          <p:spPr>
            <a:xfrm>
              <a:off x="2816542" y="3312795"/>
              <a:ext cx="1352550" cy="762000"/>
            </a:xfrm>
            <a:custGeom>
              <a:avLst/>
              <a:gdLst>
                <a:gd name="connsiteX0" fmla="*/ 766763 w 1352550"/>
                <a:gd name="connsiteY0" fmla="*/ 128588 h 762000"/>
                <a:gd name="connsiteX1" fmla="*/ 779145 w 1352550"/>
                <a:gd name="connsiteY1" fmla="*/ 114300 h 762000"/>
                <a:gd name="connsiteX2" fmla="*/ 788670 w 1352550"/>
                <a:gd name="connsiteY2" fmla="*/ 118110 h 762000"/>
                <a:gd name="connsiteX3" fmla="*/ 813435 w 1352550"/>
                <a:gd name="connsiteY3" fmla="*/ 111443 h 762000"/>
                <a:gd name="connsiteX4" fmla="*/ 823913 w 1352550"/>
                <a:gd name="connsiteY4" fmla="*/ 117158 h 762000"/>
                <a:gd name="connsiteX5" fmla="*/ 837248 w 1352550"/>
                <a:gd name="connsiteY5" fmla="*/ 130493 h 762000"/>
                <a:gd name="connsiteX6" fmla="*/ 841058 w 1352550"/>
                <a:gd name="connsiteY6" fmla="*/ 136208 h 762000"/>
                <a:gd name="connsiteX7" fmla="*/ 850583 w 1352550"/>
                <a:gd name="connsiteY7" fmla="*/ 159068 h 762000"/>
                <a:gd name="connsiteX8" fmla="*/ 857250 w 1352550"/>
                <a:gd name="connsiteY8" fmla="*/ 169545 h 762000"/>
                <a:gd name="connsiteX9" fmla="*/ 864870 w 1352550"/>
                <a:gd name="connsiteY9" fmla="*/ 176213 h 762000"/>
                <a:gd name="connsiteX10" fmla="*/ 873443 w 1352550"/>
                <a:gd name="connsiteY10" fmla="*/ 179070 h 762000"/>
                <a:gd name="connsiteX11" fmla="*/ 884873 w 1352550"/>
                <a:gd name="connsiteY11" fmla="*/ 180023 h 762000"/>
                <a:gd name="connsiteX12" fmla="*/ 893445 w 1352550"/>
                <a:gd name="connsiteY12" fmla="*/ 175260 h 762000"/>
                <a:gd name="connsiteX13" fmla="*/ 885825 w 1352550"/>
                <a:gd name="connsiteY13" fmla="*/ 147638 h 762000"/>
                <a:gd name="connsiteX14" fmla="*/ 890588 w 1352550"/>
                <a:gd name="connsiteY14" fmla="*/ 136208 h 762000"/>
                <a:gd name="connsiteX15" fmla="*/ 896303 w 1352550"/>
                <a:gd name="connsiteY15" fmla="*/ 135255 h 762000"/>
                <a:gd name="connsiteX16" fmla="*/ 900113 w 1352550"/>
                <a:gd name="connsiteY16" fmla="*/ 139065 h 762000"/>
                <a:gd name="connsiteX17" fmla="*/ 902970 w 1352550"/>
                <a:gd name="connsiteY17" fmla="*/ 144780 h 762000"/>
                <a:gd name="connsiteX18" fmla="*/ 904875 w 1352550"/>
                <a:gd name="connsiteY18" fmla="*/ 147638 h 762000"/>
                <a:gd name="connsiteX19" fmla="*/ 910590 w 1352550"/>
                <a:gd name="connsiteY19" fmla="*/ 148590 h 762000"/>
                <a:gd name="connsiteX20" fmla="*/ 928688 w 1352550"/>
                <a:gd name="connsiteY20" fmla="*/ 147638 h 762000"/>
                <a:gd name="connsiteX21" fmla="*/ 939165 w 1352550"/>
                <a:gd name="connsiteY21" fmla="*/ 144780 h 762000"/>
                <a:gd name="connsiteX22" fmla="*/ 937260 w 1352550"/>
                <a:gd name="connsiteY22" fmla="*/ 136208 h 762000"/>
                <a:gd name="connsiteX23" fmla="*/ 928688 w 1352550"/>
                <a:gd name="connsiteY23" fmla="*/ 127635 h 762000"/>
                <a:gd name="connsiteX24" fmla="*/ 919163 w 1352550"/>
                <a:gd name="connsiteY24" fmla="*/ 120968 h 762000"/>
                <a:gd name="connsiteX25" fmla="*/ 900113 w 1352550"/>
                <a:gd name="connsiteY25" fmla="*/ 115253 h 762000"/>
                <a:gd name="connsiteX26" fmla="*/ 889635 w 1352550"/>
                <a:gd name="connsiteY26" fmla="*/ 109538 h 762000"/>
                <a:gd name="connsiteX27" fmla="*/ 888683 w 1352550"/>
                <a:gd name="connsiteY27" fmla="*/ 100965 h 762000"/>
                <a:gd name="connsiteX28" fmla="*/ 899160 w 1352550"/>
                <a:gd name="connsiteY28" fmla="*/ 92393 h 762000"/>
                <a:gd name="connsiteX29" fmla="*/ 911543 w 1352550"/>
                <a:gd name="connsiteY29" fmla="*/ 95250 h 762000"/>
                <a:gd name="connsiteX30" fmla="*/ 930593 w 1352550"/>
                <a:gd name="connsiteY30" fmla="*/ 109538 h 762000"/>
                <a:gd name="connsiteX31" fmla="*/ 938213 w 1352550"/>
                <a:gd name="connsiteY31" fmla="*/ 113348 h 762000"/>
                <a:gd name="connsiteX32" fmla="*/ 946785 w 1352550"/>
                <a:gd name="connsiteY32" fmla="*/ 114300 h 762000"/>
                <a:gd name="connsiteX33" fmla="*/ 952500 w 1352550"/>
                <a:gd name="connsiteY33" fmla="*/ 109538 h 762000"/>
                <a:gd name="connsiteX34" fmla="*/ 955358 w 1352550"/>
                <a:gd name="connsiteY34" fmla="*/ 96203 h 762000"/>
                <a:gd name="connsiteX35" fmla="*/ 953453 w 1352550"/>
                <a:gd name="connsiteY35" fmla="*/ 91440 h 762000"/>
                <a:gd name="connsiteX36" fmla="*/ 942975 w 1352550"/>
                <a:gd name="connsiteY36" fmla="*/ 80010 h 762000"/>
                <a:gd name="connsiteX37" fmla="*/ 941070 w 1352550"/>
                <a:gd name="connsiteY37" fmla="*/ 74295 h 762000"/>
                <a:gd name="connsiteX38" fmla="*/ 943928 w 1352550"/>
                <a:gd name="connsiteY38" fmla="*/ 66675 h 762000"/>
                <a:gd name="connsiteX39" fmla="*/ 950595 w 1352550"/>
                <a:gd name="connsiteY39" fmla="*/ 65723 h 762000"/>
                <a:gd name="connsiteX40" fmla="*/ 956310 w 1352550"/>
                <a:gd name="connsiteY40" fmla="*/ 71438 h 762000"/>
                <a:gd name="connsiteX41" fmla="*/ 959168 w 1352550"/>
                <a:gd name="connsiteY41" fmla="*/ 79058 h 762000"/>
                <a:gd name="connsiteX42" fmla="*/ 961073 w 1352550"/>
                <a:gd name="connsiteY42" fmla="*/ 92393 h 762000"/>
                <a:gd name="connsiteX43" fmla="*/ 965835 w 1352550"/>
                <a:gd name="connsiteY43" fmla="*/ 101918 h 762000"/>
                <a:gd name="connsiteX44" fmla="*/ 973455 w 1352550"/>
                <a:gd name="connsiteY44" fmla="*/ 100965 h 762000"/>
                <a:gd name="connsiteX45" fmla="*/ 981075 w 1352550"/>
                <a:gd name="connsiteY45" fmla="*/ 87630 h 762000"/>
                <a:gd name="connsiteX46" fmla="*/ 982027 w 1352550"/>
                <a:gd name="connsiteY46" fmla="*/ 79058 h 762000"/>
                <a:gd name="connsiteX47" fmla="*/ 978218 w 1352550"/>
                <a:gd name="connsiteY47" fmla="*/ 67628 h 762000"/>
                <a:gd name="connsiteX48" fmla="*/ 981075 w 1352550"/>
                <a:gd name="connsiteY48" fmla="*/ 60960 h 762000"/>
                <a:gd name="connsiteX49" fmla="*/ 986790 w 1352550"/>
                <a:gd name="connsiteY49" fmla="*/ 56198 h 762000"/>
                <a:gd name="connsiteX50" fmla="*/ 991552 w 1352550"/>
                <a:gd name="connsiteY50" fmla="*/ 55245 h 762000"/>
                <a:gd name="connsiteX51" fmla="*/ 997268 w 1352550"/>
                <a:gd name="connsiteY51" fmla="*/ 57150 h 762000"/>
                <a:gd name="connsiteX52" fmla="*/ 1002983 w 1352550"/>
                <a:gd name="connsiteY52" fmla="*/ 60960 h 762000"/>
                <a:gd name="connsiteX53" fmla="*/ 999173 w 1352550"/>
                <a:gd name="connsiteY53" fmla="*/ 77153 h 762000"/>
                <a:gd name="connsiteX54" fmla="*/ 1002030 w 1352550"/>
                <a:gd name="connsiteY54" fmla="*/ 93345 h 762000"/>
                <a:gd name="connsiteX55" fmla="*/ 1009650 w 1352550"/>
                <a:gd name="connsiteY55" fmla="*/ 104775 h 762000"/>
                <a:gd name="connsiteX56" fmla="*/ 1019175 w 1352550"/>
                <a:gd name="connsiteY56" fmla="*/ 109538 h 762000"/>
                <a:gd name="connsiteX57" fmla="*/ 1032510 w 1352550"/>
                <a:gd name="connsiteY57" fmla="*/ 107633 h 762000"/>
                <a:gd name="connsiteX58" fmla="*/ 1040130 w 1352550"/>
                <a:gd name="connsiteY58" fmla="*/ 100965 h 762000"/>
                <a:gd name="connsiteX59" fmla="*/ 1045845 w 1352550"/>
                <a:gd name="connsiteY59" fmla="*/ 91440 h 762000"/>
                <a:gd name="connsiteX60" fmla="*/ 1053465 w 1352550"/>
                <a:gd name="connsiteY60" fmla="*/ 81915 h 762000"/>
                <a:gd name="connsiteX61" fmla="*/ 1063943 w 1352550"/>
                <a:gd name="connsiteY61" fmla="*/ 77153 h 762000"/>
                <a:gd name="connsiteX62" fmla="*/ 1075373 w 1352550"/>
                <a:gd name="connsiteY62" fmla="*/ 77153 h 762000"/>
                <a:gd name="connsiteX63" fmla="*/ 1095375 w 1352550"/>
                <a:gd name="connsiteY63" fmla="*/ 81915 h 762000"/>
                <a:gd name="connsiteX64" fmla="*/ 1102043 w 1352550"/>
                <a:gd name="connsiteY64" fmla="*/ 90488 h 762000"/>
                <a:gd name="connsiteX65" fmla="*/ 1105852 w 1352550"/>
                <a:gd name="connsiteY65" fmla="*/ 93345 h 762000"/>
                <a:gd name="connsiteX66" fmla="*/ 1107758 w 1352550"/>
                <a:gd name="connsiteY66" fmla="*/ 92393 h 762000"/>
                <a:gd name="connsiteX67" fmla="*/ 1109663 w 1352550"/>
                <a:gd name="connsiteY67" fmla="*/ 89535 h 762000"/>
                <a:gd name="connsiteX68" fmla="*/ 1112520 w 1352550"/>
                <a:gd name="connsiteY68" fmla="*/ 87630 h 762000"/>
                <a:gd name="connsiteX69" fmla="*/ 1119188 w 1352550"/>
                <a:gd name="connsiteY69" fmla="*/ 88583 h 762000"/>
                <a:gd name="connsiteX70" fmla="*/ 1129665 w 1352550"/>
                <a:gd name="connsiteY70" fmla="*/ 92393 h 762000"/>
                <a:gd name="connsiteX71" fmla="*/ 1152525 w 1352550"/>
                <a:gd name="connsiteY71" fmla="*/ 94298 h 762000"/>
                <a:gd name="connsiteX72" fmla="*/ 1158240 w 1352550"/>
                <a:gd name="connsiteY72" fmla="*/ 93345 h 762000"/>
                <a:gd name="connsiteX73" fmla="*/ 1161098 w 1352550"/>
                <a:gd name="connsiteY73" fmla="*/ 89535 h 762000"/>
                <a:gd name="connsiteX74" fmla="*/ 1167765 w 1352550"/>
                <a:gd name="connsiteY74" fmla="*/ 79058 h 762000"/>
                <a:gd name="connsiteX75" fmla="*/ 1170623 w 1352550"/>
                <a:gd name="connsiteY75" fmla="*/ 76200 h 762000"/>
                <a:gd name="connsiteX76" fmla="*/ 1188720 w 1352550"/>
                <a:gd name="connsiteY76" fmla="*/ 76200 h 762000"/>
                <a:gd name="connsiteX77" fmla="*/ 1194435 w 1352550"/>
                <a:gd name="connsiteY77" fmla="*/ 78105 h 762000"/>
                <a:gd name="connsiteX78" fmla="*/ 1205865 w 1352550"/>
                <a:gd name="connsiteY78" fmla="*/ 85725 h 762000"/>
                <a:gd name="connsiteX79" fmla="*/ 1212533 w 1352550"/>
                <a:gd name="connsiteY79" fmla="*/ 87630 h 762000"/>
                <a:gd name="connsiteX80" fmla="*/ 1218248 w 1352550"/>
                <a:gd name="connsiteY80" fmla="*/ 86678 h 762000"/>
                <a:gd name="connsiteX81" fmla="*/ 1223963 w 1352550"/>
                <a:gd name="connsiteY81" fmla="*/ 85725 h 762000"/>
                <a:gd name="connsiteX82" fmla="*/ 1227773 w 1352550"/>
                <a:gd name="connsiteY82" fmla="*/ 82868 h 762000"/>
                <a:gd name="connsiteX83" fmla="*/ 1230630 w 1352550"/>
                <a:gd name="connsiteY83" fmla="*/ 76200 h 762000"/>
                <a:gd name="connsiteX84" fmla="*/ 1230630 w 1352550"/>
                <a:gd name="connsiteY84" fmla="*/ 65723 h 762000"/>
                <a:gd name="connsiteX85" fmla="*/ 1227773 w 1352550"/>
                <a:gd name="connsiteY85" fmla="*/ 61913 h 762000"/>
                <a:gd name="connsiteX86" fmla="*/ 1222058 w 1352550"/>
                <a:gd name="connsiteY86" fmla="*/ 60960 h 762000"/>
                <a:gd name="connsiteX87" fmla="*/ 1217295 w 1352550"/>
                <a:gd name="connsiteY87" fmla="*/ 58103 h 762000"/>
                <a:gd name="connsiteX88" fmla="*/ 1216343 w 1352550"/>
                <a:gd name="connsiteY88" fmla="*/ 47625 h 762000"/>
                <a:gd name="connsiteX89" fmla="*/ 1227773 w 1352550"/>
                <a:gd name="connsiteY89" fmla="*/ 45720 h 762000"/>
                <a:gd name="connsiteX90" fmla="*/ 1248727 w 1352550"/>
                <a:gd name="connsiteY90" fmla="*/ 49530 h 762000"/>
                <a:gd name="connsiteX91" fmla="*/ 1253490 w 1352550"/>
                <a:gd name="connsiteY91" fmla="*/ 53340 h 762000"/>
                <a:gd name="connsiteX92" fmla="*/ 1258252 w 1352550"/>
                <a:gd name="connsiteY92" fmla="*/ 58103 h 762000"/>
                <a:gd name="connsiteX93" fmla="*/ 1263015 w 1352550"/>
                <a:gd name="connsiteY93" fmla="*/ 61913 h 762000"/>
                <a:gd name="connsiteX94" fmla="*/ 1269683 w 1352550"/>
                <a:gd name="connsiteY94" fmla="*/ 60960 h 762000"/>
                <a:gd name="connsiteX95" fmla="*/ 1275398 w 1352550"/>
                <a:gd name="connsiteY95" fmla="*/ 56198 h 762000"/>
                <a:gd name="connsiteX96" fmla="*/ 1282065 w 1352550"/>
                <a:gd name="connsiteY96" fmla="*/ 42863 h 762000"/>
                <a:gd name="connsiteX97" fmla="*/ 1288733 w 1352550"/>
                <a:gd name="connsiteY97" fmla="*/ 38100 h 762000"/>
                <a:gd name="connsiteX98" fmla="*/ 1308735 w 1352550"/>
                <a:gd name="connsiteY98" fmla="*/ 45720 h 762000"/>
                <a:gd name="connsiteX99" fmla="*/ 1323975 w 1352550"/>
                <a:gd name="connsiteY99" fmla="*/ 60008 h 762000"/>
                <a:gd name="connsiteX100" fmla="*/ 1334452 w 1352550"/>
                <a:gd name="connsiteY100" fmla="*/ 80010 h 762000"/>
                <a:gd name="connsiteX101" fmla="*/ 1342073 w 1352550"/>
                <a:gd name="connsiteY101" fmla="*/ 103823 h 762000"/>
                <a:gd name="connsiteX102" fmla="*/ 1353502 w 1352550"/>
                <a:gd name="connsiteY102" fmla="*/ 156210 h 762000"/>
                <a:gd name="connsiteX103" fmla="*/ 1359218 w 1352550"/>
                <a:gd name="connsiteY103" fmla="*/ 163830 h 762000"/>
                <a:gd name="connsiteX104" fmla="*/ 1346835 w 1352550"/>
                <a:gd name="connsiteY104" fmla="*/ 180975 h 762000"/>
                <a:gd name="connsiteX105" fmla="*/ 1314450 w 1352550"/>
                <a:gd name="connsiteY105" fmla="*/ 207645 h 762000"/>
                <a:gd name="connsiteX106" fmla="*/ 1305877 w 1352550"/>
                <a:gd name="connsiteY106" fmla="*/ 212408 h 762000"/>
                <a:gd name="connsiteX107" fmla="*/ 1298258 w 1352550"/>
                <a:gd name="connsiteY107" fmla="*/ 209550 h 762000"/>
                <a:gd name="connsiteX108" fmla="*/ 1283970 w 1352550"/>
                <a:gd name="connsiteY108" fmla="*/ 195263 h 762000"/>
                <a:gd name="connsiteX109" fmla="*/ 1273493 w 1352550"/>
                <a:gd name="connsiteY109" fmla="*/ 192405 h 762000"/>
                <a:gd name="connsiteX110" fmla="*/ 1254443 w 1352550"/>
                <a:gd name="connsiteY110" fmla="*/ 202883 h 762000"/>
                <a:gd name="connsiteX111" fmla="*/ 1223010 w 1352550"/>
                <a:gd name="connsiteY111" fmla="*/ 241935 h 762000"/>
                <a:gd name="connsiteX112" fmla="*/ 1203008 w 1352550"/>
                <a:gd name="connsiteY112" fmla="*/ 252413 h 762000"/>
                <a:gd name="connsiteX113" fmla="*/ 1185863 w 1352550"/>
                <a:gd name="connsiteY113" fmla="*/ 251460 h 762000"/>
                <a:gd name="connsiteX114" fmla="*/ 1129665 w 1352550"/>
                <a:gd name="connsiteY114" fmla="*/ 230505 h 762000"/>
                <a:gd name="connsiteX115" fmla="*/ 1118235 w 1352550"/>
                <a:gd name="connsiteY115" fmla="*/ 222885 h 762000"/>
                <a:gd name="connsiteX116" fmla="*/ 1112520 w 1352550"/>
                <a:gd name="connsiteY116" fmla="*/ 221933 h 762000"/>
                <a:gd name="connsiteX117" fmla="*/ 1106805 w 1352550"/>
                <a:gd name="connsiteY117" fmla="*/ 223838 h 762000"/>
                <a:gd name="connsiteX118" fmla="*/ 1106805 w 1352550"/>
                <a:gd name="connsiteY118" fmla="*/ 229553 h 762000"/>
                <a:gd name="connsiteX119" fmla="*/ 1107758 w 1352550"/>
                <a:gd name="connsiteY119" fmla="*/ 236220 h 762000"/>
                <a:gd name="connsiteX120" fmla="*/ 1107758 w 1352550"/>
                <a:gd name="connsiteY120" fmla="*/ 240983 h 762000"/>
                <a:gd name="connsiteX121" fmla="*/ 1107758 w 1352550"/>
                <a:gd name="connsiteY121" fmla="*/ 244793 h 762000"/>
                <a:gd name="connsiteX122" fmla="*/ 1109663 w 1352550"/>
                <a:gd name="connsiteY122" fmla="*/ 248603 h 762000"/>
                <a:gd name="connsiteX123" fmla="*/ 1110615 w 1352550"/>
                <a:gd name="connsiteY123" fmla="*/ 253365 h 762000"/>
                <a:gd name="connsiteX124" fmla="*/ 1107758 w 1352550"/>
                <a:gd name="connsiteY124" fmla="*/ 255270 h 762000"/>
                <a:gd name="connsiteX125" fmla="*/ 1101090 w 1352550"/>
                <a:gd name="connsiteY125" fmla="*/ 253365 h 762000"/>
                <a:gd name="connsiteX126" fmla="*/ 1095375 w 1352550"/>
                <a:gd name="connsiteY126" fmla="*/ 254318 h 762000"/>
                <a:gd name="connsiteX127" fmla="*/ 1091565 w 1352550"/>
                <a:gd name="connsiteY127" fmla="*/ 252413 h 762000"/>
                <a:gd name="connsiteX128" fmla="*/ 1087755 w 1352550"/>
                <a:gd name="connsiteY128" fmla="*/ 251460 h 762000"/>
                <a:gd name="connsiteX129" fmla="*/ 1082993 w 1352550"/>
                <a:gd name="connsiteY129" fmla="*/ 256223 h 762000"/>
                <a:gd name="connsiteX130" fmla="*/ 1062990 w 1352550"/>
                <a:gd name="connsiteY130" fmla="*/ 260033 h 762000"/>
                <a:gd name="connsiteX131" fmla="*/ 1044893 w 1352550"/>
                <a:gd name="connsiteY131" fmla="*/ 248603 h 762000"/>
                <a:gd name="connsiteX132" fmla="*/ 1027748 w 1352550"/>
                <a:gd name="connsiteY132" fmla="*/ 234315 h 762000"/>
                <a:gd name="connsiteX133" fmla="*/ 1010602 w 1352550"/>
                <a:gd name="connsiteY133" fmla="*/ 226695 h 762000"/>
                <a:gd name="connsiteX134" fmla="*/ 1004888 w 1352550"/>
                <a:gd name="connsiteY134" fmla="*/ 228600 h 762000"/>
                <a:gd name="connsiteX135" fmla="*/ 1002983 w 1352550"/>
                <a:gd name="connsiteY135" fmla="*/ 233363 h 762000"/>
                <a:gd name="connsiteX136" fmla="*/ 1001077 w 1352550"/>
                <a:gd name="connsiteY136" fmla="*/ 239078 h 762000"/>
                <a:gd name="connsiteX137" fmla="*/ 996315 w 1352550"/>
                <a:gd name="connsiteY137" fmla="*/ 243840 h 762000"/>
                <a:gd name="connsiteX138" fmla="*/ 992505 w 1352550"/>
                <a:gd name="connsiteY138" fmla="*/ 243840 h 762000"/>
                <a:gd name="connsiteX139" fmla="*/ 983933 w 1352550"/>
                <a:gd name="connsiteY139" fmla="*/ 240030 h 762000"/>
                <a:gd name="connsiteX140" fmla="*/ 981075 w 1352550"/>
                <a:gd name="connsiteY140" fmla="*/ 240030 h 762000"/>
                <a:gd name="connsiteX141" fmla="*/ 975360 w 1352550"/>
                <a:gd name="connsiteY141" fmla="*/ 248603 h 762000"/>
                <a:gd name="connsiteX142" fmla="*/ 976313 w 1352550"/>
                <a:gd name="connsiteY142" fmla="*/ 255270 h 762000"/>
                <a:gd name="connsiteX143" fmla="*/ 979170 w 1352550"/>
                <a:gd name="connsiteY143" fmla="*/ 264795 h 762000"/>
                <a:gd name="connsiteX144" fmla="*/ 982027 w 1352550"/>
                <a:gd name="connsiteY144" fmla="*/ 280035 h 762000"/>
                <a:gd name="connsiteX145" fmla="*/ 982027 w 1352550"/>
                <a:gd name="connsiteY145" fmla="*/ 295275 h 762000"/>
                <a:gd name="connsiteX146" fmla="*/ 980123 w 1352550"/>
                <a:gd name="connsiteY146" fmla="*/ 305753 h 762000"/>
                <a:gd name="connsiteX147" fmla="*/ 974408 w 1352550"/>
                <a:gd name="connsiteY147" fmla="*/ 310515 h 762000"/>
                <a:gd name="connsiteX148" fmla="*/ 963930 w 1352550"/>
                <a:gd name="connsiteY148" fmla="*/ 311468 h 762000"/>
                <a:gd name="connsiteX149" fmla="*/ 953453 w 1352550"/>
                <a:gd name="connsiteY149" fmla="*/ 307658 h 762000"/>
                <a:gd name="connsiteX150" fmla="*/ 947738 w 1352550"/>
                <a:gd name="connsiteY150" fmla="*/ 299085 h 762000"/>
                <a:gd name="connsiteX151" fmla="*/ 942023 w 1352550"/>
                <a:gd name="connsiteY151" fmla="*/ 288608 h 762000"/>
                <a:gd name="connsiteX152" fmla="*/ 934403 w 1352550"/>
                <a:gd name="connsiteY152" fmla="*/ 280988 h 762000"/>
                <a:gd name="connsiteX153" fmla="*/ 923925 w 1352550"/>
                <a:gd name="connsiteY153" fmla="*/ 277178 h 762000"/>
                <a:gd name="connsiteX154" fmla="*/ 921068 w 1352550"/>
                <a:gd name="connsiteY154" fmla="*/ 283845 h 762000"/>
                <a:gd name="connsiteX155" fmla="*/ 918210 w 1352550"/>
                <a:gd name="connsiteY155" fmla="*/ 293370 h 762000"/>
                <a:gd name="connsiteX156" fmla="*/ 901065 w 1352550"/>
                <a:gd name="connsiteY156" fmla="*/ 304800 h 762000"/>
                <a:gd name="connsiteX157" fmla="*/ 895350 w 1352550"/>
                <a:gd name="connsiteY157" fmla="*/ 314325 h 762000"/>
                <a:gd name="connsiteX158" fmla="*/ 891540 w 1352550"/>
                <a:gd name="connsiteY158" fmla="*/ 326708 h 762000"/>
                <a:gd name="connsiteX159" fmla="*/ 891540 w 1352550"/>
                <a:gd name="connsiteY159" fmla="*/ 333375 h 762000"/>
                <a:gd name="connsiteX160" fmla="*/ 875348 w 1352550"/>
                <a:gd name="connsiteY160" fmla="*/ 340995 h 762000"/>
                <a:gd name="connsiteX161" fmla="*/ 808673 w 1352550"/>
                <a:gd name="connsiteY161" fmla="*/ 356235 h 762000"/>
                <a:gd name="connsiteX162" fmla="*/ 800100 w 1352550"/>
                <a:gd name="connsiteY162" fmla="*/ 358140 h 762000"/>
                <a:gd name="connsiteX163" fmla="*/ 775335 w 1352550"/>
                <a:gd name="connsiteY163" fmla="*/ 359093 h 762000"/>
                <a:gd name="connsiteX164" fmla="*/ 766763 w 1352550"/>
                <a:gd name="connsiteY164" fmla="*/ 361950 h 762000"/>
                <a:gd name="connsiteX165" fmla="*/ 748665 w 1352550"/>
                <a:gd name="connsiteY165" fmla="*/ 370523 h 762000"/>
                <a:gd name="connsiteX166" fmla="*/ 740093 w 1352550"/>
                <a:gd name="connsiteY166" fmla="*/ 373380 h 762000"/>
                <a:gd name="connsiteX167" fmla="*/ 730568 w 1352550"/>
                <a:gd name="connsiteY167" fmla="*/ 372428 h 762000"/>
                <a:gd name="connsiteX168" fmla="*/ 725805 w 1352550"/>
                <a:gd name="connsiteY168" fmla="*/ 370523 h 762000"/>
                <a:gd name="connsiteX169" fmla="*/ 721995 w 1352550"/>
                <a:gd name="connsiteY169" fmla="*/ 396240 h 762000"/>
                <a:gd name="connsiteX170" fmla="*/ 722948 w 1352550"/>
                <a:gd name="connsiteY170" fmla="*/ 414338 h 762000"/>
                <a:gd name="connsiteX171" fmla="*/ 717233 w 1352550"/>
                <a:gd name="connsiteY171" fmla="*/ 439103 h 762000"/>
                <a:gd name="connsiteX172" fmla="*/ 708660 w 1352550"/>
                <a:gd name="connsiteY172" fmla="*/ 463868 h 762000"/>
                <a:gd name="connsiteX173" fmla="*/ 700088 w 1352550"/>
                <a:gd name="connsiteY173" fmla="*/ 481013 h 762000"/>
                <a:gd name="connsiteX174" fmla="*/ 694373 w 1352550"/>
                <a:gd name="connsiteY174" fmla="*/ 488633 h 762000"/>
                <a:gd name="connsiteX175" fmla="*/ 680085 w 1352550"/>
                <a:gd name="connsiteY175" fmla="*/ 500063 h 762000"/>
                <a:gd name="connsiteX176" fmla="*/ 673418 w 1352550"/>
                <a:gd name="connsiteY176" fmla="*/ 508635 h 762000"/>
                <a:gd name="connsiteX177" fmla="*/ 661988 w 1352550"/>
                <a:gd name="connsiteY177" fmla="*/ 535305 h 762000"/>
                <a:gd name="connsiteX178" fmla="*/ 657225 w 1352550"/>
                <a:gd name="connsiteY178" fmla="*/ 543878 h 762000"/>
                <a:gd name="connsiteX179" fmla="*/ 632460 w 1352550"/>
                <a:gd name="connsiteY179" fmla="*/ 555308 h 762000"/>
                <a:gd name="connsiteX180" fmla="*/ 581025 w 1352550"/>
                <a:gd name="connsiteY180" fmla="*/ 555308 h 762000"/>
                <a:gd name="connsiteX181" fmla="*/ 547688 w 1352550"/>
                <a:gd name="connsiteY181" fmla="*/ 565785 h 762000"/>
                <a:gd name="connsiteX182" fmla="*/ 522923 w 1352550"/>
                <a:gd name="connsiteY182" fmla="*/ 562928 h 762000"/>
                <a:gd name="connsiteX183" fmla="*/ 513398 w 1352550"/>
                <a:gd name="connsiteY183" fmla="*/ 564833 h 762000"/>
                <a:gd name="connsiteX184" fmla="*/ 498158 w 1352550"/>
                <a:gd name="connsiteY184" fmla="*/ 571500 h 762000"/>
                <a:gd name="connsiteX185" fmla="*/ 469583 w 1352550"/>
                <a:gd name="connsiteY185" fmla="*/ 575310 h 762000"/>
                <a:gd name="connsiteX186" fmla="*/ 435292 w 1352550"/>
                <a:gd name="connsiteY186" fmla="*/ 589598 h 762000"/>
                <a:gd name="connsiteX187" fmla="*/ 176213 w 1352550"/>
                <a:gd name="connsiteY187" fmla="*/ 618173 h 762000"/>
                <a:gd name="connsiteX188" fmla="*/ 154305 w 1352550"/>
                <a:gd name="connsiteY188" fmla="*/ 633413 h 762000"/>
                <a:gd name="connsiteX189" fmla="*/ 102870 w 1352550"/>
                <a:gd name="connsiteY189" fmla="*/ 719138 h 762000"/>
                <a:gd name="connsiteX190" fmla="*/ 80963 w 1352550"/>
                <a:gd name="connsiteY190" fmla="*/ 740093 h 762000"/>
                <a:gd name="connsiteX191" fmla="*/ 47625 w 1352550"/>
                <a:gd name="connsiteY191" fmla="*/ 754380 h 762000"/>
                <a:gd name="connsiteX192" fmla="*/ 953 w 1352550"/>
                <a:gd name="connsiteY192" fmla="*/ 762953 h 762000"/>
                <a:gd name="connsiteX193" fmla="*/ 953 w 1352550"/>
                <a:gd name="connsiteY193" fmla="*/ 753428 h 762000"/>
                <a:gd name="connsiteX194" fmla="*/ 953 w 1352550"/>
                <a:gd name="connsiteY194" fmla="*/ 749618 h 762000"/>
                <a:gd name="connsiteX195" fmla="*/ 2858 w 1352550"/>
                <a:gd name="connsiteY195" fmla="*/ 731520 h 762000"/>
                <a:gd name="connsiteX196" fmla="*/ 3810 w 1352550"/>
                <a:gd name="connsiteY196" fmla="*/ 728663 h 762000"/>
                <a:gd name="connsiteX197" fmla="*/ 28575 w 1352550"/>
                <a:gd name="connsiteY197" fmla="*/ 673418 h 762000"/>
                <a:gd name="connsiteX198" fmla="*/ 30480 w 1352550"/>
                <a:gd name="connsiteY198" fmla="*/ 666750 h 762000"/>
                <a:gd name="connsiteX199" fmla="*/ 30480 w 1352550"/>
                <a:gd name="connsiteY199" fmla="*/ 660083 h 762000"/>
                <a:gd name="connsiteX200" fmla="*/ 29528 w 1352550"/>
                <a:gd name="connsiteY200" fmla="*/ 654368 h 762000"/>
                <a:gd name="connsiteX201" fmla="*/ 28575 w 1352550"/>
                <a:gd name="connsiteY201" fmla="*/ 652463 h 762000"/>
                <a:gd name="connsiteX202" fmla="*/ 23813 w 1352550"/>
                <a:gd name="connsiteY202" fmla="*/ 641985 h 762000"/>
                <a:gd name="connsiteX203" fmla="*/ 21908 w 1352550"/>
                <a:gd name="connsiteY203" fmla="*/ 634365 h 762000"/>
                <a:gd name="connsiteX204" fmla="*/ 21908 w 1352550"/>
                <a:gd name="connsiteY204" fmla="*/ 617220 h 762000"/>
                <a:gd name="connsiteX205" fmla="*/ 20955 w 1352550"/>
                <a:gd name="connsiteY205" fmla="*/ 611505 h 762000"/>
                <a:gd name="connsiteX206" fmla="*/ 19050 w 1352550"/>
                <a:gd name="connsiteY206" fmla="*/ 606743 h 762000"/>
                <a:gd name="connsiteX207" fmla="*/ 10478 w 1352550"/>
                <a:gd name="connsiteY207" fmla="*/ 597218 h 762000"/>
                <a:gd name="connsiteX208" fmla="*/ 8573 w 1352550"/>
                <a:gd name="connsiteY208" fmla="*/ 592455 h 762000"/>
                <a:gd name="connsiteX209" fmla="*/ 3810 w 1352550"/>
                <a:gd name="connsiteY209" fmla="*/ 579120 h 762000"/>
                <a:gd name="connsiteX210" fmla="*/ 2858 w 1352550"/>
                <a:gd name="connsiteY210" fmla="*/ 573405 h 762000"/>
                <a:gd name="connsiteX211" fmla="*/ 2858 w 1352550"/>
                <a:gd name="connsiteY211" fmla="*/ 561023 h 762000"/>
                <a:gd name="connsiteX212" fmla="*/ 0 w 1352550"/>
                <a:gd name="connsiteY212" fmla="*/ 545783 h 762000"/>
                <a:gd name="connsiteX213" fmla="*/ 953 w 1352550"/>
                <a:gd name="connsiteY213" fmla="*/ 540068 h 762000"/>
                <a:gd name="connsiteX214" fmla="*/ 1905 w 1352550"/>
                <a:gd name="connsiteY214" fmla="*/ 533400 h 762000"/>
                <a:gd name="connsiteX215" fmla="*/ 3810 w 1352550"/>
                <a:gd name="connsiteY215" fmla="*/ 527685 h 762000"/>
                <a:gd name="connsiteX216" fmla="*/ 27623 w 1352550"/>
                <a:gd name="connsiteY216" fmla="*/ 481965 h 762000"/>
                <a:gd name="connsiteX217" fmla="*/ 30480 w 1352550"/>
                <a:gd name="connsiteY217" fmla="*/ 476250 h 762000"/>
                <a:gd name="connsiteX218" fmla="*/ 32385 w 1352550"/>
                <a:gd name="connsiteY218" fmla="*/ 461963 h 762000"/>
                <a:gd name="connsiteX219" fmla="*/ 32385 w 1352550"/>
                <a:gd name="connsiteY219" fmla="*/ 459105 h 762000"/>
                <a:gd name="connsiteX220" fmla="*/ 35242 w 1352550"/>
                <a:gd name="connsiteY220" fmla="*/ 455295 h 762000"/>
                <a:gd name="connsiteX221" fmla="*/ 39053 w 1352550"/>
                <a:gd name="connsiteY221" fmla="*/ 450533 h 762000"/>
                <a:gd name="connsiteX222" fmla="*/ 47625 w 1352550"/>
                <a:gd name="connsiteY222" fmla="*/ 444818 h 762000"/>
                <a:gd name="connsiteX223" fmla="*/ 53340 w 1352550"/>
                <a:gd name="connsiteY223" fmla="*/ 441960 h 762000"/>
                <a:gd name="connsiteX224" fmla="*/ 62865 w 1352550"/>
                <a:gd name="connsiteY224" fmla="*/ 439103 h 762000"/>
                <a:gd name="connsiteX225" fmla="*/ 66675 w 1352550"/>
                <a:gd name="connsiteY225" fmla="*/ 436245 h 762000"/>
                <a:gd name="connsiteX226" fmla="*/ 94298 w 1352550"/>
                <a:gd name="connsiteY226" fmla="*/ 403860 h 762000"/>
                <a:gd name="connsiteX227" fmla="*/ 100013 w 1352550"/>
                <a:gd name="connsiteY227" fmla="*/ 400050 h 762000"/>
                <a:gd name="connsiteX228" fmla="*/ 104775 w 1352550"/>
                <a:gd name="connsiteY228" fmla="*/ 397193 h 762000"/>
                <a:gd name="connsiteX229" fmla="*/ 110490 w 1352550"/>
                <a:gd name="connsiteY229" fmla="*/ 396240 h 762000"/>
                <a:gd name="connsiteX230" fmla="*/ 112395 w 1352550"/>
                <a:gd name="connsiteY230" fmla="*/ 394335 h 762000"/>
                <a:gd name="connsiteX231" fmla="*/ 113348 w 1352550"/>
                <a:gd name="connsiteY231" fmla="*/ 390525 h 762000"/>
                <a:gd name="connsiteX232" fmla="*/ 112395 w 1352550"/>
                <a:gd name="connsiteY232" fmla="*/ 387668 h 762000"/>
                <a:gd name="connsiteX233" fmla="*/ 109538 w 1352550"/>
                <a:gd name="connsiteY233" fmla="*/ 380048 h 762000"/>
                <a:gd name="connsiteX234" fmla="*/ 108585 w 1352550"/>
                <a:gd name="connsiteY234" fmla="*/ 374333 h 762000"/>
                <a:gd name="connsiteX235" fmla="*/ 108585 w 1352550"/>
                <a:gd name="connsiteY235" fmla="*/ 363855 h 762000"/>
                <a:gd name="connsiteX236" fmla="*/ 110490 w 1352550"/>
                <a:gd name="connsiteY236" fmla="*/ 358140 h 762000"/>
                <a:gd name="connsiteX237" fmla="*/ 112395 w 1352550"/>
                <a:gd name="connsiteY237" fmla="*/ 354330 h 762000"/>
                <a:gd name="connsiteX238" fmla="*/ 116205 w 1352550"/>
                <a:gd name="connsiteY238" fmla="*/ 350520 h 762000"/>
                <a:gd name="connsiteX239" fmla="*/ 123825 w 1352550"/>
                <a:gd name="connsiteY239" fmla="*/ 344805 h 762000"/>
                <a:gd name="connsiteX240" fmla="*/ 131445 w 1352550"/>
                <a:gd name="connsiteY240" fmla="*/ 340995 h 762000"/>
                <a:gd name="connsiteX241" fmla="*/ 137160 w 1352550"/>
                <a:gd name="connsiteY241" fmla="*/ 338138 h 762000"/>
                <a:gd name="connsiteX242" fmla="*/ 141923 w 1352550"/>
                <a:gd name="connsiteY242" fmla="*/ 335280 h 762000"/>
                <a:gd name="connsiteX243" fmla="*/ 192405 w 1352550"/>
                <a:gd name="connsiteY243" fmla="*/ 268605 h 762000"/>
                <a:gd name="connsiteX244" fmla="*/ 233363 w 1352550"/>
                <a:gd name="connsiteY244" fmla="*/ 237173 h 762000"/>
                <a:gd name="connsiteX245" fmla="*/ 252413 w 1352550"/>
                <a:gd name="connsiteY245" fmla="*/ 228600 h 762000"/>
                <a:gd name="connsiteX246" fmla="*/ 274320 w 1352550"/>
                <a:gd name="connsiteY246" fmla="*/ 220980 h 762000"/>
                <a:gd name="connsiteX247" fmla="*/ 298133 w 1352550"/>
                <a:gd name="connsiteY247" fmla="*/ 218123 h 762000"/>
                <a:gd name="connsiteX248" fmla="*/ 308610 w 1352550"/>
                <a:gd name="connsiteY248" fmla="*/ 219075 h 762000"/>
                <a:gd name="connsiteX249" fmla="*/ 315278 w 1352550"/>
                <a:gd name="connsiteY249" fmla="*/ 220980 h 762000"/>
                <a:gd name="connsiteX250" fmla="*/ 325755 w 1352550"/>
                <a:gd name="connsiteY250" fmla="*/ 224790 h 762000"/>
                <a:gd name="connsiteX251" fmla="*/ 331470 w 1352550"/>
                <a:gd name="connsiteY251" fmla="*/ 227648 h 762000"/>
                <a:gd name="connsiteX252" fmla="*/ 335280 w 1352550"/>
                <a:gd name="connsiteY252" fmla="*/ 230505 h 762000"/>
                <a:gd name="connsiteX253" fmla="*/ 341948 w 1352550"/>
                <a:gd name="connsiteY253" fmla="*/ 230505 h 762000"/>
                <a:gd name="connsiteX254" fmla="*/ 344805 w 1352550"/>
                <a:gd name="connsiteY254" fmla="*/ 229553 h 762000"/>
                <a:gd name="connsiteX255" fmla="*/ 346710 w 1352550"/>
                <a:gd name="connsiteY255" fmla="*/ 226695 h 762000"/>
                <a:gd name="connsiteX256" fmla="*/ 349567 w 1352550"/>
                <a:gd name="connsiteY256" fmla="*/ 221933 h 762000"/>
                <a:gd name="connsiteX257" fmla="*/ 351473 w 1352550"/>
                <a:gd name="connsiteY257" fmla="*/ 216218 h 762000"/>
                <a:gd name="connsiteX258" fmla="*/ 355283 w 1352550"/>
                <a:gd name="connsiteY258" fmla="*/ 195263 h 762000"/>
                <a:gd name="connsiteX259" fmla="*/ 358140 w 1352550"/>
                <a:gd name="connsiteY259" fmla="*/ 124778 h 762000"/>
                <a:gd name="connsiteX260" fmla="*/ 357188 w 1352550"/>
                <a:gd name="connsiteY260" fmla="*/ 116205 h 762000"/>
                <a:gd name="connsiteX261" fmla="*/ 342900 w 1352550"/>
                <a:gd name="connsiteY261" fmla="*/ 77153 h 762000"/>
                <a:gd name="connsiteX262" fmla="*/ 337185 w 1352550"/>
                <a:gd name="connsiteY262" fmla="*/ 55245 h 762000"/>
                <a:gd name="connsiteX263" fmla="*/ 336233 w 1352550"/>
                <a:gd name="connsiteY263" fmla="*/ 45720 h 762000"/>
                <a:gd name="connsiteX264" fmla="*/ 336233 w 1352550"/>
                <a:gd name="connsiteY264" fmla="*/ 41910 h 762000"/>
                <a:gd name="connsiteX265" fmla="*/ 337185 w 1352550"/>
                <a:gd name="connsiteY265" fmla="*/ 38100 h 762000"/>
                <a:gd name="connsiteX266" fmla="*/ 340042 w 1352550"/>
                <a:gd name="connsiteY266" fmla="*/ 31433 h 762000"/>
                <a:gd name="connsiteX267" fmla="*/ 342900 w 1352550"/>
                <a:gd name="connsiteY267" fmla="*/ 27623 h 762000"/>
                <a:gd name="connsiteX268" fmla="*/ 347663 w 1352550"/>
                <a:gd name="connsiteY268" fmla="*/ 21908 h 762000"/>
                <a:gd name="connsiteX269" fmla="*/ 354330 w 1352550"/>
                <a:gd name="connsiteY269" fmla="*/ 15240 h 762000"/>
                <a:gd name="connsiteX270" fmla="*/ 374333 w 1352550"/>
                <a:gd name="connsiteY270" fmla="*/ 0 h 762000"/>
                <a:gd name="connsiteX271" fmla="*/ 381000 w 1352550"/>
                <a:gd name="connsiteY271" fmla="*/ 4763 h 762000"/>
                <a:gd name="connsiteX272" fmla="*/ 392430 w 1352550"/>
                <a:gd name="connsiteY272" fmla="*/ 8573 h 762000"/>
                <a:gd name="connsiteX273" fmla="*/ 415290 w 1352550"/>
                <a:gd name="connsiteY273" fmla="*/ 10478 h 762000"/>
                <a:gd name="connsiteX274" fmla="*/ 420053 w 1352550"/>
                <a:gd name="connsiteY274" fmla="*/ 15240 h 762000"/>
                <a:gd name="connsiteX275" fmla="*/ 423863 w 1352550"/>
                <a:gd name="connsiteY275" fmla="*/ 34290 h 762000"/>
                <a:gd name="connsiteX276" fmla="*/ 429578 w 1352550"/>
                <a:gd name="connsiteY276" fmla="*/ 38100 h 762000"/>
                <a:gd name="connsiteX277" fmla="*/ 435292 w 1352550"/>
                <a:gd name="connsiteY277" fmla="*/ 36195 h 762000"/>
                <a:gd name="connsiteX278" fmla="*/ 438150 w 1352550"/>
                <a:gd name="connsiteY278" fmla="*/ 30480 h 762000"/>
                <a:gd name="connsiteX279" fmla="*/ 439103 w 1352550"/>
                <a:gd name="connsiteY279" fmla="*/ 22860 h 762000"/>
                <a:gd name="connsiteX280" fmla="*/ 442913 w 1352550"/>
                <a:gd name="connsiteY280" fmla="*/ 16193 h 762000"/>
                <a:gd name="connsiteX281" fmla="*/ 457200 w 1352550"/>
                <a:gd name="connsiteY281" fmla="*/ 6668 h 762000"/>
                <a:gd name="connsiteX282" fmla="*/ 464820 w 1352550"/>
                <a:gd name="connsiteY282" fmla="*/ 13335 h 762000"/>
                <a:gd name="connsiteX283" fmla="*/ 471488 w 1352550"/>
                <a:gd name="connsiteY283" fmla="*/ 25718 h 762000"/>
                <a:gd name="connsiteX284" fmla="*/ 481013 w 1352550"/>
                <a:gd name="connsiteY284" fmla="*/ 33338 h 762000"/>
                <a:gd name="connsiteX285" fmla="*/ 491490 w 1352550"/>
                <a:gd name="connsiteY285" fmla="*/ 47625 h 762000"/>
                <a:gd name="connsiteX286" fmla="*/ 493395 w 1352550"/>
                <a:gd name="connsiteY286" fmla="*/ 52388 h 762000"/>
                <a:gd name="connsiteX287" fmla="*/ 493395 w 1352550"/>
                <a:gd name="connsiteY287" fmla="*/ 59055 h 762000"/>
                <a:gd name="connsiteX288" fmla="*/ 493395 w 1352550"/>
                <a:gd name="connsiteY288" fmla="*/ 61913 h 762000"/>
                <a:gd name="connsiteX289" fmla="*/ 519113 w 1352550"/>
                <a:gd name="connsiteY289" fmla="*/ 71438 h 762000"/>
                <a:gd name="connsiteX290" fmla="*/ 527685 w 1352550"/>
                <a:gd name="connsiteY290" fmla="*/ 72390 h 762000"/>
                <a:gd name="connsiteX291" fmla="*/ 536258 w 1352550"/>
                <a:gd name="connsiteY291" fmla="*/ 71438 h 762000"/>
                <a:gd name="connsiteX292" fmla="*/ 544830 w 1352550"/>
                <a:gd name="connsiteY292" fmla="*/ 64770 h 762000"/>
                <a:gd name="connsiteX293" fmla="*/ 551498 w 1352550"/>
                <a:gd name="connsiteY293" fmla="*/ 49530 h 762000"/>
                <a:gd name="connsiteX294" fmla="*/ 558165 w 1352550"/>
                <a:gd name="connsiteY294" fmla="*/ 43815 h 762000"/>
                <a:gd name="connsiteX295" fmla="*/ 571500 w 1352550"/>
                <a:gd name="connsiteY295" fmla="*/ 49530 h 762000"/>
                <a:gd name="connsiteX296" fmla="*/ 576263 w 1352550"/>
                <a:gd name="connsiteY296" fmla="*/ 49530 h 762000"/>
                <a:gd name="connsiteX297" fmla="*/ 579120 w 1352550"/>
                <a:gd name="connsiteY297" fmla="*/ 44768 h 762000"/>
                <a:gd name="connsiteX298" fmla="*/ 581025 w 1352550"/>
                <a:gd name="connsiteY298" fmla="*/ 32385 h 762000"/>
                <a:gd name="connsiteX299" fmla="*/ 582930 w 1352550"/>
                <a:gd name="connsiteY299" fmla="*/ 27623 h 762000"/>
                <a:gd name="connsiteX300" fmla="*/ 591503 w 1352550"/>
                <a:gd name="connsiteY300" fmla="*/ 23813 h 762000"/>
                <a:gd name="connsiteX301" fmla="*/ 596265 w 1352550"/>
                <a:gd name="connsiteY301" fmla="*/ 28575 h 762000"/>
                <a:gd name="connsiteX302" fmla="*/ 598170 w 1352550"/>
                <a:gd name="connsiteY302" fmla="*/ 40005 h 762000"/>
                <a:gd name="connsiteX303" fmla="*/ 598170 w 1352550"/>
                <a:gd name="connsiteY303" fmla="*/ 49530 h 762000"/>
                <a:gd name="connsiteX304" fmla="*/ 593408 w 1352550"/>
                <a:gd name="connsiteY304" fmla="*/ 75248 h 762000"/>
                <a:gd name="connsiteX305" fmla="*/ 593408 w 1352550"/>
                <a:gd name="connsiteY305" fmla="*/ 84773 h 762000"/>
                <a:gd name="connsiteX306" fmla="*/ 599123 w 1352550"/>
                <a:gd name="connsiteY306" fmla="*/ 96203 h 762000"/>
                <a:gd name="connsiteX307" fmla="*/ 607695 w 1352550"/>
                <a:gd name="connsiteY307" fmla="*/ 103823 h 762000"/>
                <a:gd name="connsiteX308" fmla="*/ 618173 w 1352550"/>
                <a:gd name="connsiteY308" fmla="*/ 109538 h 762000"/>
                <a:gd name="connsiteX309" fmla="*/ 627698 w 1352550"/>
                <a:gd name="connsiteY309" fmla="*/ 108585 h 762000"/>
                <a:gd name="connsiteX310" fmla="*/ 634365 w 1352550"/>
                <a:gd name="connsiteY310" fmla="*/ 98108 h 762000"/>
                <a:gd name="connsiteX311" fmla="*/ 625793 w 1352550"/>
                <a:gd name="connsiteY311" fmla="*/ 85725 h 762000"/>
                <a:gd name="connsiteX312" fmla="*/ 621983 w 1352550"/>
                <a:gd name="connsiteY312" fmla="*/ 77153 h 762000"/>
                <a:gd name="connsiteX313" fmla="*/ 620078 w 1352550"/>
                <a:gd name="connsiteY313" fmla="*/ 68580 h 762000"/>
                <a:gd name="connsiteX314" fmla="*/ 620078 w 1352550"/>
                <a:gd name="connsiteY314" fmla="*/ 57150 h 762000"/>
                <a:gd name="connsiteX315" fmla="*/ 621030 w 1352550"/>
                <a:gd name="connsiteY315" fmla="*/ 53340 h 762000"/>
                <a:gd name="connsiteX316" fmla="*/ 636270 w 1352550"/>
                <a:gd name="connsiteY316" fmla="*/ 55245 h 762000"/>
                <a:gd name="connsiteX317" fmla="*/ 642938 w 1352550"/>
                <a:gd name="connsiteY317" fmla="*/ 64770 h 762000"/>
                <a:gd name="connsiteX318" fmla="*/ 641985 w 1352550"/>
                <a:gd name="connsiteY318" fmla="*/ 87630 h 762000"/>
                <a:gd name="connsiteX319" fmla="*/ 644843 w 1352550"/>
                <a:gd name="connsiteY319" fmla="*/ 110490 h 762000"/>
                <a:gd name="connsiteX320" fmla="*/ 661035 w 1352550"/>
                <a:gd name="connsiteY320" fmla="*/ 120968 h 762000"/>
                <a:gd name="connsiteX321" fmla="*/ 691515 w 1352550"/>
                <a:gd name="connsiteY321" fmla="*/ 114300 h 762000"/>
                <a:gd name="connsiteX322" fmla="*/ 701040 w 1352550"/>
                <a:gd name="connsiteY322" fmla="*/ 115253 h 762000"/>
                <a:gd name="connsiteX323" fmla="*/ 707708 w 1352550"/>
                <a:gd name="connsiteY323" fmla="*/ 118110 h 762000"/>
                <a:gd name="connsiteX324" fmla="*/ 721043 w 1352550"/>
                <a:gd name="connsiteY324" fmla="*/ 125730 h 762000"/>
                <a:gd name="connsiteX325" fmla="*/ 738188 w 1352550"/>
                <a:gd name="connsiteY325" fmla="*/ 132398 h 762000"/>
                <a:gd name="connsiteX326" fmla="*/ 752475 w 1352550"/>
                <a:gd name="connsiteY326" fmla="*/ 133350 h 762000"/>
                <a:gd name="connsiteX327" fmla="*/ 766763 w 1352550"/>
                <a:gd name="connsiteY327" fmla="*/ 12858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</a:cxnLst>
              <a:rect l="l" t="t" r="r" b="b"/>
              <a:pathLst>
                <a:path w="1352550" h="762000">
                  <a:moveTo>
                    <a:pt x="766763" y="128588"/>
                  </a:moveTo>
                  <a:lnTo>
                    <a:pt x="779145" y="114300"/>
                  </a:lnTo>
                  <a:lnTo>
                    <a:pt x="788670" y="118110"/>
                  </a:lnTo>
                  <a:lnTo>
                    <a:pt x="813435" y="111443"/>
                  </a:lnTo>
                  <a:lnTo>
                    <a:pt x="823913" y="117158"/>
                  </a:lnTo>
                  <a:lnTo>
                    <a:pt x="837248" y="130493"/>
                  </a:lnTo>
                  <a:lnTo>
                    <a:pt x="841058" y="136208"/>
                  </a:lnTo>
                  <a:lnTo>
                    <a:pt x="850583" y="159068"/>
                  </a:lnTo>
                  <a:lnTo>
                    <a:pt x="857250" y="169545"/>
                  </a:lnTo>
                  <a:lnTo>
                    <a:pt x="864870" y="176213"/>
                  </a:lnTo>
                  <a:lnTo>
                    <a:pt x="873443" y="179070"/>
                  </a:lnTo>
                  <a:lnTo>
                    <a:pt x="884873" y="180023"/>
                  </a:lnTo>
                  <a:lnTo>
                    <a:pt x="893445" y="175260"/>
                  </a:lnTo>
                  <a:lnTo>
                    <a:pt x="885825" y="147638"/>
                  </a:lnTo>
                  <a:lnTo>
                    <a:pt x="890588" y="136208"/>
                  </a:lnTo>
                  <a:lnTo>
                    <a:pt x="896303" y="135255"/>
                  </a:lnTo>
                  <a:lnTo>
                    <a:pt x="900113" y="139065"/>
                  </a:lnTo>
                  <a:lnTo>
                    <a:pt x="902970" y="144780"/>
                  </a:lnTo>
                  <a:lnTo>
                    <a:pt x="904875" y="147638"/>
                  </a:lnTo>
                  <a:lnTo>
                    <a:pt x="910590" y="148590"/>
                  </a:lnTo>
                  <a:lnTo>
                    <a:pt x="928688" y="147638"/>
                  </a:lnTo>
                  <a:lnTo>
                    <a:pt x="939165" y="144780"/>
                  </a:lnTo>
                  <a:lnTo>
                    <a:pt x="937260" y="136208"/>
                  </a:lnTo>
                  <a:lnTo>
                    <a:pt x="928688" y="127635"/>
                  </a:lnTo>
                  <a:lnTo>
                    <a:pt x="919163" y="120968"/>
                  </a:lnTo>
                  <a:lnTo>
                    <a:pt x="900113" y="115253"/>
                  </a:lnTo>
                  <a:lnTo>
                    <a:pt x="889635" y="109538"/>
                  </a:lnTo>
                  <a:lnTo>
                    <a:pt x="888683" y="100965"/>
                  </a:lnTo>
                  <a:lnTo>
                    <a:pt x="899160" y="92393"/>
                  </a:lnTo>
                  <a:lnTo>
                    <a:pt x="911543" y="95250"/>
                  </a:lnTo>
                  <a:lnTo>
                    <a:pt x="930593" y="109538"/>
                  </a:lnTo>
                  <a:lnTo>
                    <a:pt x="938213" y="113348"/>
                  </a:lnTo>
                  <a:lnTo>
                    <a:pt x="946785" y="114300"/>
                  </a:lnTo>
                  <a:lnTo>
                    <a:pt x="952500" y="109538"/>
                  </a:lnTo>
                  <a:lnTo>
                    <a:pt x="955358" y="96203"/>
                  </a:lnTo>
                  <a:lnTo>
                    <a:pt x="953453" y="91440"/>
                  </a:lnTo>
                  <a:lnTo>
                    <a:pt x="942975" y="80010"/>
                  </a:lnTo>
                  <a:lnTo>
                    <a:pt x="941070" y="74295"/>
                  </a:lnTo>
                  <a:lnTo>
                    <a:pt x="943928" y="66675"/>
                  </a:lnTo>
                  <a:lnTo>
                    <a:pt x="950595" y="65723"/>
                  </a:lnTo>
                  <a:lnTo>
                    <a:pt x="956310" y="71438"/>
                  </a:lnTo>
                  <a:lnTo>
                    <a:pt x="959168" y="79058"/>
                  </a:lnTo>
                  <a:lnTo>
                    <a:pt x="961073" y="92393"/>
                  </a:lnTo>
                  <a:lnTo>
                    <a:pt x="965835" y="101918"/>
                  </a:lnTo>
                  <a:lnTo>
                    <a:pt x="973455" y="100965"/>
                  </a:lnTo>
                  <a:lnTo>
                    <a:pt x="981075" y="87630"/>
                  </a:lnTo>
                  <a:lnTo>
                    <a:pt x="982027" y="79058"/>
                  </a:lnTo>
                  <a:lnTo>
                    <a:pt x="978218" y="67628"/>
                  </a:lnTo>
                  <a:lnTo>
                    <a:pt x="981075" y="60960"/>
                  </a:lnTo>
                  <a:lnTo>
                    <a:pt x="986790" y="56198"/>
                  </a:lnTo>
                  <a:lnTo>
                    <a:pt x="991552" y="55245"/>
                  </a:lnTo>
                  <a:lnTo>
                    <a:pt x="997268" y="57150"/>
                  </a:lnTo>
                  <a:lnTo>
                    <a:pt x="1002983" y="60960"/>
                  </a:lnTo>
                  <a:lnTo>
                    <a:pt x="999173" y="77153"/>
                  </a:lnTo>
                  <a:lnTo>
                    <a:pt x="1002030" y="93345"/>
                  </a:lnTo>
                  <a:lnTo>
                    <a:pt x="1009650" y="104775"/>
                  </a:lnTo>
                  <a:lnTo>
                    <a:pt x="1019175" y="109538"/>
                  </a:lnTo>
                  <a:lnTo>
                    <a:pt x="1032510" y="107633"/>
                  </a:lnTo>
                  <a:lnTo>
                    <a:pt x="1040130" y="100965"/>
                  </a:lnTo>
                  <a:lnTo>
                    <a:pt x="1045845" y="91440"/>
                  </a:lnTo>
                  <a:lnTo>
                    <a:pt x="1053465" y="81915"/>
                  </a:lnTo>
                  <a:lnTo>
                    <a:pt x="1063943" y="77153"/>
                  </a:lnTo>
                  <a:lnTo>
                    <a:pt x="1075373" y="77153"/>
                  </a:lnTo>
                  <a:lnTo>
                    <a:pt x="1095375" y="81915"/>
                  </a:lnTo>
                  <a:lnTo>
                    <a:pt x="1102043" y="90488"/>
                  </a:lnTo>
                  <a:lnTo>
                    <a:pt x="1105852" y="93345"/>
                  </a:lnTo>
                  <a:lnTo>
                    <a:pt x="1107758" y="92393"/>
                  </a:lnTo>
                  <a:lnTo>
                    <a:pt x="1109663" y="89535"/>
                  </a:lnTo>
                  <a:lnTo>
                    <a:pt x="1112520" y="87630"/>
                  </a:lnTo>
                  <a:lnTo>
                    <a:pt x="1119188" y="88583"/>
                  </a:lnTo>
                  <a:lnTo>
                    <a:pt x="1129665" y="92393"/>
                  </a:lnTo>
                  <a:lnTo>
                    <a:pt x="1152525" y="94298"/>
                  </a:lnTo>
                  <a:lnTo>
                    <a:pt x="1158240" y="93345"/>
                  </a:lnTo>
                  <a:lnTo>
                    <a:pt x="1161098" y="89535"/>
                  </a:lnTo>
                  <a:lnTo>
                    <a:pt x="1167765" y="79058"/>
                  </a:lnTo>
                  <a:lnTo>
                    <a:pt x="1170623" y="76200"/>
                  </a:lnTo>
                  <a:lnTo>
                    <a:pt x="1188720" y="76200"/>
                  </a:lnTo>
                  <a:lnTo>
                    <a:pt x="1194435" y="78105"/>
                  </a:lnTo>
                  <a:lnTo>
                    <a:pt x="1205865" y="85725"/>
                  </a:lnTo>
                  <a:lnTo>
                    <a:pt x="1212533" y="87630"/>
                  </a:lnTo>
                  <a:lnTo>
                    <a:pt x="1218248" y="86678"/>
                  </a:lnTo>
                  <a:lnTo>
                    <a:pt x="1223963" y="85725"/>
                  </a:lnTo>
                  <a:lnTo>
                    <a:pt x="1227773" y="82868"/>
                  </a:lnTo>
                  <a:lnTo>
                    <a:pt x="1230630" y="76200"/>
                  </a:lnTo>
                  <a:lnTo>
                    <a:pt x="1230630" y="65723"/>
                  </a:lnTo>
                  <a:lnTo>
                    <a:pt x="1227773" y="61913"/>
                  </a:lnTo>
                  <a:lnTo>
                    <a:pt x="1222058" y="60960"/>
                  </a:lnTo>
                  <a:lnTo>
                    <a:pt x="1217295" y="58103"/>
                  </a:lnTo>
                  <a:lnTo>
                    <a:pt x="1216343" y="47625"/>
                  </a:lnTo>
                  <a:lnTo>
                    <a:pt x="1227773" y="45720"/>
                  </a:lnTo>
                  <a:lnTo>
                    <a:pt x="1248727" y="49530"/>
                  </a:lnTo>
                  <a:lnTo>
                    <a:pt x="1253490" y="53340"/>
                  </a:lnTo>
                  <a:lnTo>
                    <a:pt x="1258252" y="58103"/>
                  </a:lnTo>
                  <a:lnTo>
                    <a:pt x="1263015" y="61913"/>
                  </a:lnTo>
                  <a:lnTo>
                    <a:pt x="1269683" y="60960"/>
                  </a:lnTo>
                  <a:lnTo>
                    <a:pt x="1275398" y="56198"/>
                  </a:lnTo>
                  <a:lnTo>
                    <a:pt x="1282065" y="42863"/>
                  </a:lnTo>
                  <a:lnTo>
                    <a:pt x="1288733" y="38100"/>
                  </a:lnTo>
                  <a:lnTo>
                    <a:pt x="1308735" y="45720"/>
                  </a:lnTo>
                  <a:lnTo>
                    <a:pt x="1323975" y="60008"/>
                  </a:lnTo>
                  <a:lnTo>
                    <a:pt x="1334452" y="80010"/>
                  </a:lnTo>
                  <a:lnTo>
                    <a:pt x="1342073" y="103823"/>
                  </a:lnTo>
                  <a:lnTo>
                    <a:pt x="1353502" y="156210"/>
                  </a:lnTo>
                  <a:lnTo>
                    <a:pt x="1359218" y="163830"/>
                  </a:lnTo>
                  <a:lnTo>
                    <a:pt x="1346835" y="180975"/>
                  </a:lnTo>
                  <a:lnTo>
                    <a:pt x="1314450" y="207645"/>
                  </a:lnTo>
                  <a:lnTo>
                    <a:pt x="1305877" y="212408"/>
                  </a:lnTo>
                  <a:lnTo>
                    <a:pt x="1298258" y="209550"/>
                  </a:lnTo>
                  <a:lnTo>
                    <a:pt x="1283970" y="195263"/>
                  </a:lnTo>
                  <a:lnTo>
                    <a:pt x="1273493" y="192405"/>
                  </a:lnTo>
                  <a:lnTo>
                    <a:pt x="1254443" y="202883"/>
                  </a:lnTo>
                  <a:lnTo>
                    <a:pt x="1223010" y="241935"/>
                  </a:lnTo>
                  <a:lnTo>
                    <a:pt x="1203008" y="252413"/>
                  </a:lnTo>
                  <a:lnTo>
                    <a:pt x="1185863" y="251460"/>
                  </a:lnTo>
                  <a:lnTo>
                    <a:pt x="1129665" y="230505"/>
                  </a:lnTo>
                  <a:lnTo>
                    <a:pt x="1118235" y="222885"/>
                  </a:lnTo>
                  <a:lnTo>
                    <a:pt x="1112520" y="221933"/>
                  </a:lnTo>
                  <a:lnTo>
                    <a:pt x="1106805" y="223838"/>
                  </a:lnTo>
                  <a:lnTo>
                    <a:pt x="1106805" y="229553"/>
                  </a:lnTo>
                  <a:lnTo>
                    <a:pt x="1107758" y="236220"/>
                  </a:lnTo>
                  <a:lnTo>
                    <a:pt x="1107758" y="240983"/>
                  </a:lnTo>
                  <a:lnTo>
                    <a:pt x="1107758" y="244793"/>
                  </a:lnTo>
                  <a:lnTo>
                    <a:pt x="1109663" y="248603"/>
                  </a:lnTo>
                  <a:lnTo>
                    <a:pt x="1110615" y="253365"/>
                  </a:lnTo>
                  <a:lnTo>
                    <a:pt x="1107758" y="255270"/>
                  </a:lnTo>
                  <a:lnTo>
                    <a:pt x="1101090" y="253365"/>
                  </a:lnTo>
                  <a:lnTo>
                    <a:pt x="1095375" y="254318"/>
                  </a:lnTo>
                  <a:lnTo>
                    <a:pt x="1091565" y="252413"/>
                  </a:lnTo>
                  <a:lnTo>
                    <a:pt x="1087755" y="251460"/>
                  </a:lnTo>
                  <a:lnTo>
                    <a:pt x="1082993" y="256223"/>
                  </a:lnTo>
                  <a:lnTo>
                    <a:pt x="1062990" y="260033"/>
                  </a:lnTo>
                  <a:lnTo>
                    <a:pt x="1044893" y="248603"/>
                  </a:lnTo>
                  <a:lnTo>
                    <a:pt x="1027748" y="234315"/>
                  </a:lnTo>
                  <a:lnTo>
                    <a:pt x="1010602" y="226695"/>
                  </a:lnTo>
                  <a:lnTo>
                    <a:pt x="1004888" y="228600"/>
                  </a:lnTo>
                  <a:lnTo>
                    <a:pt x="1002983" y="233363"/>
                  </a:lnTo>
                  <a:lnTo>
                    <a:pt x="1001077" y="239078"/>
                  </a:lnTo>
                  <a:lnTo>
                    <a:pt x="996315" y="243840"/>
                  </a:lnTo>
                  <a:lnTo>
                    <a:pt x="992505" y="243840"/>
                  </a:lnTo>
                  <a:lnTo>
                    <a:pt x="983933" y="240030"/>
                  </a:lnTo>
                  <a:lnTo>
                    <a:pt x="981075" y="240030"/>
                  </a:lnTo>
                  <a:lnTo>
                    <a:pt x="975360" y="248603"/>
                  </a:lnTo>
                  <a:lnTo>
                    <a:pt x="976313" y="255270"/>
                  </a:lnTo>
                  <a:lnTo>
                    <a:pt x="979170" y="264795"/>
                  </a:lnTo>
                  <a:lnTo>
                    <a:pt x="982027" y="280035"/>
                  </a:lnTo>
                  <a:lnTo>
                    <a:pt x="982027" y="295275"/>
                  </a:lnTo>
                  <a:lnTo>
                    <a:pt x="980123" y="305753"/>
                  </a:lnTo>
                  <a:lnTo>
                    <a:pt x="974408" y="310515"/>
                  </a:lnTo>
                  <a:lnTo>
                    <a:pt x="963930" y="311468"/>
                  </a:lnTo>
                  <a:lnTo>
                    <a:pt x="953453" y="307658"/>
                  </a:lnTo>
                  <a:lnTo>
                    <a:pt x="947738" y="299085"/>
                  </a:lnTo>
                  <a:lnTo>
                    <a:pt x="942023" y="288608"/>
                  </a:lnTo>
                  <a:lnTo>
                    <a:pt x="934403" y="280988"/>
                  </a:lnTo>
                  <a:lnTo>
                    <a:pt x="923925" y="277178"/>
                  </a:lnTo>
                  <a:lnTo>
                    <a:pt x="921068" y="283845"/>
                  </a:lnTo>
                  <a:lnTo>
                    <a:pt x="918210" y="293370"/>
                  </a:lnTo>
                  <a:lnTo>
                    <a:pt x="901065" y="304800"/>
                  </a:lnTo>
                  <a:lnTo>
                    <a:pt x="895350" y="314325"/>
                  </a:lnTo>
                  <a:lnTo>
                    <a:pt x="891540" y="326708"/>
                  </a:lnTo>
                  <a:lnTo>
                    <a:pt x="891540" y="333375"/>
                  </a:lnTo>
                  <a:lnTo>
                    <a:pt x="875348" y="340995"/>
                  </a:lnTo>
                  <a:lnTo>
                    <a:pt x="808673" y="356235"/>
                  </a:lnTo>
                  <a:lnTo>
                    <a:pt x="800100" y="358140"/>
                  </a:lnTo>
                  <a:lnTo>
                    <a:pt x="775335" y="359093"/>
                  </a:lnTo>
                  <a:lnTo>
                    <a:pt x="766763" y="361950"/>
                  </a:lnTo>
                  <a:lnTo>
                    <a:pt x="748665" y="370523"/>
                  </a:lnTo>
                  <a:lnTo>
                    <a:pt x="740093" y="373380"/>
                  </a:lnTo>
                  <a:lnTo>
                    <a:pt x="730568" y="372428"/>
                  </a:lnTo>
                  <a:lnTo>
                    <a:pt x="725805" y="370523"/>
                  </a:lnTo>
                  <a:lnTo>
                    <a:pt x="721995" y="396240"/>
                  </a:lnTo>
                  <a:lnTo>
                    <a:pt x="722948" y="414338"/>
                  </a:lnTo>
                  <a:lnTo>
                    <a:pt x="717233" y="439103"/>
                  </a:lnTo>
                  <a:lnTo>
                    <a:pt x="708660" y="463868"/>
                  </a:lnTo>
                  <a:lnTo>
                    <a:pt x="700088" y="481013"/>
                  </a:lnTo>
                  <a:lnTo>
                    <a:pt x="694373" y="488633"/>
                  </a:lnTo>
                  <a:lnTo>
                    <a:pt x="680085" y="500063"/>
                  </a:lnTo>
                  <a:lnTo>
                    <a:pt x="673418" y="508635"/>
                  </a:lnTo>
                  <a:lnTo>
                    <a:pt x="661988" y="535305"/>
                  </a:lnTo>
                  <a:lnTo>
                    <a:pt x="657225" y="543878"/>
                  </a:lnTo>
                  <a:lnTo>
                    <a:pt x="632460" y="555308"/>
                  </a:lnTo>
                  <a:lnTo>
                    <a:pt x="581025" y="555308"/>
                  </a:lnTo>
                  <a:lnTo>
                    <a:pt x="547688" y="565785"/>
                  </a:lnTo>
                  <a:lnTo>
                    <a:pt x="522923" y="562928"/>
                  </a:lnTo>
                  <a:lnTo>
                    <a:pt x="513398" y="564833"/>
                  </a:lnTo>
                  <a:lnTo>
                    <a:pt x="498158" y="571500"/>
                  </a:lnTo>
                  <a:lnTo>
                    <a:pt x="469583" y="575310"/>
                  </a:lnTo>
                  <a:lnTo>
                    <a:pt x="435292" y="589598"/>
                  </a:lnTo>
                  <a:lnTo>
                    <a:pt x="176213" y="618173"/>
                  </a:lnTo>
                  <a:lnTo>
                    <a:pt x="154305" y="633413"/>
                  </a:lnTo>
                  <a:lnTo>
                    <a:pt x="102870" y="719138"/>
                  </a:lnTo>
                  <a:lnTo>
                    <a:pt x="80963" y="740093"/>
                  </a:lnTo>
                  <a:lnTo>
                    <a:pt x="47625" y="754380"/>
                  </a:lnTo>
                  <a:lnTo>
                    <a:pt x="953" y="762953"/>
                  </a:lnTo>
                  <a:lnTo>
                    <a:pt x="953" y="753428"/>
                  </a:lnTo>
                  <a:lnTo>
                    <a:pt x="953" y="749618"/>
                  </a:lnTo>
                  <a:lnTo>
                    <a:pt x="2858" y="731520"/>
                  </a:lnTo>
                  <a:lnTo>
                    <a:pt x="3810" y="728663"/>
                  </a:lnTo>
                  <a:lnTo>
                    <a:pt x="28575" y="673418"/>
                  </a:lnTo>
                  <a:lnTo>
                    <a:pt x="30480" y="666750"/>
                  </a:lnTo>
                  <a:lnTo>
                    <a:pt x="30480" y="660083"/>
                  </a:lnTo>
                  <a:lnTo>
                    <a:pt x="29528" y="654368"/>
                  </a:lnTo>
                  <a:lnTo>
                    <a:pt x="28575" y="652463"/>
                  </a:lnTo>
                  <a:lnTo>
                    <a:pt x="23813" y="641985"/>
                  </a:lnTo>
                  <a:lnTo>
                    <a:pt x="21908" y="634365"/>
                  </a:lnTo>
                  <a:lnTo>
                    <a:pt x="21908" y="617220"/>
                  </a:lnTo>
                  <a:lnTo>
                    <a:pt x="20955" y="611505"/>
                  </a:lnTo>
                  <a:lnTo>
                    <a:pt x="19050" y="606743"/>
                  </a:lnTo>
                  <a:lnTo>
                    <a:pt x="10478" y="597218"/>
                  </a:lnTo>
                  <a:lnTo>
                    <a:pt x="8573" y="592455"/>
                  </a:lnTo>
                  <a:lnTo>
                    <a:pt x="3810" y="579120"/>
                  </a:lnTo>
                  <a:lnTo>
                    <a:pt x="2858" y="573405"/>
                  </a:lnTo>
                  <a:lnTo>
                    <a:pt x="2858" y="561023"/>
                  </a:lnTo>
                  <a:lnTo>
                    <a:pt x="0" y="545783"/>
                  </a:lnTo>
                  <a:lnTo>
                    <a:pt x="953" y="540068"/>
                  </a:lnTo>
                  <a:lnTo>
                    <a:pt x="1905" y="533400"/>
                  </a:lnTo>
                  <a:lnTo>
                    <a:pt x="3810" y="527685"/>
                  </a:lnTo>
                  <a:lnTo>
                    <a:pt x="27623" y="481965"/>
                  </a:lnTo>
                  <a:lnTo>
                    <a:pt x="30480" y="476250"/>
                  </a:lnTo>
                  <a:lnTo>
                    <a:pt x="32385" y="461963"/>
                  </a:lnTo>
                  <a:lnTo>
                    <a:pt x="32385" y="459105"/>
                  </a:lnTo>
                  <a:lnTo>
                    <a:pt x="35242" y="455295"/>
                  </a:lnTo>
                  <a:lnTo>
                    <a:pt x="39053" y="450533"/>
                  </a:lnTo>
                  <a:lnTo>
                    <a:pt x="47625" y="444818"/>
                  </a:lnTo>
                  <a:lnTo>
                    <a:pt x="53340" y="441960"/>
                  </a:lnTo>
                  <a:lnTo>
                    <a:pt x="62865" y="439103"/>
                  </a:lnTo>
                  <a:lnTo>
                    <a:pt x="66675" y="436245"/>
                  </a:lnTo>
                  <a:lnTo>
                    <a:pt x="94298" y="403860"/>
                  </a:lnTo>
                  <a:lnTo>
                    <a:pt x="100013" y="400050"/>
                  </a:lnTo>
                  <a:lnTo>
                    <a:pt x="104775" y="397193"/>
                  </a:lnTo>
                  <a:lnTo>
                    <a:pt x="110490" y="396240"/>
                  </a:lnTo>
                  <a:lnTo>
                    <a:pt x="112395" y="394335"/>
                  </a:lnTo>
                  <a:lnTo>
                    <a:pt x="113348" y="390525"/>
                  </a:lnTo>
                  <a:lnTo>
                    <a:pt x="112395" y="387668"/>
                  </a:lnTo>
                  <a:lnTo>
                    <a:pt x="109538" y="380048"/>
                  </a:lnTo>
                  <a:lnTo>
                    <a:pt x="108585" y="374333"/>
                  </a:lnTo>
                  <a:lnTo>
                    <a:pt x="108585" y="363855"/>
                  </a:lnTo>
                  <a:lnTo>
                    <a:pt x="110490" y="358140"/>
                  </a:lnTo>
                  <a:lnTo>
                    <a:pt x="112395" y="354330"/>
                  </a:lnTo>
                  <a:lnTo>
                    <a:pt x="116205" y="350520"/>
                  </a:lnTo>
                  <a:lnTo>
                    <a:pt x="123825" y="344805"/>
                  </a:lnTo>
                  <a:lnTo>
                    <a:pt x="131445" y="340995"/>
                  </a:lnTo>
                  <a:lnTo>
                    <a:pt x="137160" y="338138"/>
                  </a:lnTo>
                  <a:lnTo>
                    <a:pt x="141923" y="335280"/>
                  </a:lnTo>
                  <a:lnTo>
                    <a:pt x="192405" y="268605"/>
                  </a:lnTo>
                  <a:lnTo>
                    <a:pt x="233363" y="237173"/>
                  </a:lnTo>
                  <a:lnTo>
                    <a:pt x="252413" y="228600"/>
                  </a:lnTo>
                  <a:lnTo>
                    <a:pt x="274320" y="220980"/>
                  </a:lnTo>
                  <a:lnTo>
                    <a:pt x="298133" y="218123"/>
                  </a:lnTo>
                  <a:lnTo>
                    <a:pt x="308610" y="219075"/>
                  </a:lnTo>
                  <a:lnTo>
                    <a:pt x="315278" y="220980"/>
                  </a:lnTo>
                  <a:lnTo>
                    <a:pt x="325755" y="224790"/>
                  </a:lnTo>
                  <a:lnTo>
                    <a:pt x="331470" y="227648"/>
                  </a:lnTo>
                  <a:lnTo>
                    <a:pt x="335280" y="230505"/>
                  </a:lnTo>
                  <a:lnTo>
                    <a:pt x="341948" y="230505"/>
                  </a:lnTo>
                  <a:lnTo>
                    <a:pt x="344805" y="229553"/>
                  </a:lnTo>
                  <a:lnTo>
                    <a:pt x="346710" y="226695"/>
                  </a:lnTo>
                  <a:lnTo>
                    <a:pt x="349567" y="221933"/>
                  </a:lnTo>
                  <a:lnTo>
                    <a:pt x="351473" y="216218"/>
                  </a:lnTo>
                  <a:lnTo>
                    <a:pt x="355283" y="195263"/>
                  </a:lnTo>
                  <a:lnTo>
                    <a:pt x="358140" y="124778"/>
                  </a:lnTo>
                  <a:lnTo>
                    <a:pt x="357188" y="116205"/>
                  </a:lnTo>
                  <a:lnTo>
                    <a:pt x="342900" y="77153"/>
                  </a:lnTo>
                  <a:lnTo>
                    <a:pt x="337185" y="55245"/>
                  </a:lnTo>
                  <a:lnTo>
                    <a:pt x="336233" y="45720"/>
                  </a:lnTo>
                  <a:lnTo>
                    <a:pt x="336233" y="41910"/>
                  </a:lnTo>
                  <a:lnTo>
                    <a:pt x="337185" y="38100"/>
                  </a:lnTo>
                  <a:lnTo>
                    <a:pt x="340042" y="31433"/>
                  </a:lnTo>
                  <a:lnTo>
                    <a:pt x="342900" y="27623"/>
                  </a:lnTo>
                  <a:lnTo>
                    <a:pt x="347663" y="21908"/>
                  </a:lnTo>
                  <a:lnTo>
                    <a:pt x="354330" y="15240"/>
                  </a:lnTo>
                  <a:lnTo>
                    <a:pt x="374333" y="0"/>
                  </a:lnTo>
                  <a:lnTo>
                    <a:pt x="381000" y="4763"/>
                  </a:lnTo>
                  <a:lnTo>
                    <a:pt x="392430" y="8573"/>
                  </a:lnTo>
                  <a:lnTo>
                    <a:pt x="415290" y="10478"/>
                  </a:lnTo>
                  <a:lnTo>
                    <a:pt x="420053" y="15240"/>
                  </a:lnTo>
                  <a:lnTo>
                    <a:pt x="423863" y="34290"/>
                  </a:lnTo>
                  <a:lnTo>
                    <a:pt x="429578" y="38100"/>
                  </a:lnTo>
                  <a:lnTo>
                    <a:pt x="435292" y="36195"/>
                  </a:lnTo>
                  <a:lnTo>
                    <a:pt x="438150" y="30480"/>
                  </a:lnTo>
                  <a:lnTo>
                    <a:pt x="439103" y="22860"/>
                  </a:lnTo>
                  <a:lnTo>
                    <a:pt x="442913" y="16193"/>
                  </a:lnTo>
                  <a:lnTo>
                    <a:pt x="457200" y="6668"/>
                  </a:lnTo>
                  <a:lnTo>
                    <a:pt x="464820" y="13335"/>
                  </a:lnTo>
                  <a:lnTo>
                    <a:pt x="471488" y="25718"/>
                  </a:lnTo>
                  <a:lnTo>
                    <a:pt x="481013" y="33338"/>
                  </a:lnTo>
                  <a:lnTo>
                    <a:pt x="491490" y="47625"/>
                  </a:lnTo>
                  <a:lnTo>
                    <a:pt x="493395" y="52388"/>
                  </a:lnTo>
                  <a:lnTo>
                    <a:pt x="493395" y="59055"/>
                  </a:lnTo>
                  <a:lnTo>
                    <a:pt x="493395" y="61913"/>
                  </a:lnTo>
                  <a:lnTo>
                    <a:pt x="519113" y="71438"/>
                  </a:lnTo>
                  <a:lnTo>
                    <a:pt x="527685" y="72390"/>
                  </a:lnTo>
                  <a:lnTo>
                    <a:pt x="536258" y="71438"/>
                  </a:lnTo>
                  <a:lnTo>
                    <a:pt x="544830" y="64770"/>
                  </a:lnTo>
                  <a:lnTo>
                    <a:pt x="551498" y="49530"/>
                  </a:lnTo>
                  <a:lnTo>
                    <a:pt x="558165" y="43815"/>
                  </a:lnTo>
                  <a:lnTo>
                    <a:pt x="571500" y="49530"/>
                  </a:lnTo>
                  <a:lnTo>
                    <a:pt x="576263" y="49530"/>
                  </a:lnTo>
                  <a:lnTo>
                    <a:pt x="579120" y="44768"/>
                  </a:lnTo>
                  <a:lnTo>
                    <a:pt x="581025" y="32385"/>
                  </a:lnTo>
                  <a:lnTo>
                    <a:pt x="582930" y="27623"/>
                  </a:lnTo>
                  <a:lnTo>
                    <a:pt x="591503" y="23813"/>
                  </a:lnTo>
                  <a:lnTo>
                    <a:pt x="596265" y="28575"/>
                  </a:lnTo>
                  <a:lnTo>
                    <a:pt x="598170" y="40005"/>
                  </a:lnTo>
                  <a:lnTo>
                    <a:pt x="598170" y="49530"/>
                  </a:lnTo>
                  <a:lnTo>
                    <a:pt x="593408" y="75248"/>
                  </a:lnTo>
                  <a:lnTo>
                    <a:pt x="593408" y="84773"/>
                  </a:lnTo>
                  <a:lnTo>
                    <a:pt x="599123" y="96203"/>
                  </a:lnTo>
                  <a:lnTo>
                    <a:pt x="607695" y="103823"/>
                  </a:lnTo>
                  <a:lnTo>
                    <a:pt x="618173" y="109538"/>
                  </a:lnTo>
                  <a:lnTo>
                    <a:pt x="627698" y="108585"/>
                  </a:lnTo>
                  <a:lnTo>
                    <a:pt x="634365" y="98108"/>
                  </a:lnTo>
                  <a:lnTo>
                    <a:pt x="625793" y="85725"/>
                  </a:lnTo>
                  <a:lnTo>
                    <a:pt x="621983" y="77153"/>
                  </a:lnTo>
                  <a:lnTo>
                    <a:pt x="620078" y="68580"/>
                  </a:lnTo>
                  <a:lnTo>
                    <a:pt x="620078" y="57150"/>
                  </a:lnTo>
                  <a:lnTo>
                    <a:pt x="621030" y="53340"/>
                  </a:lnTo>
                  <a:lnTo>
                    <a:pt x="636270" y="55245"/>
                  </a:lnTo>
                  <a:lnTo>
                    <a:pt x="642938" y="64770"/>
                  </a:lnTo>
                  <a:lnTo>
                    <a:pt x="641985" y="87630"/>
                  </a:lnTo>
                  <a:lnTo>
                    <a:pt x="644843" y="110490"/>
                  </a:lnTo>
                  <a:lnTo>
                    <a:pt x="661035" y="120968"/>
                  </a:lnTo>
                  <a:lnTo>
                    <a:pt x="691515" y="114300"/>
                  </a:lnTo>
                  <a:lnTo>
                    <a:pt x="701040" y="115253"/>
                  </a:lnTo>
                  <a:lnTo>
                    <a:pt x="707708" y="118110"/>
                  </a:lnTo>
                  <a:lnTo>
                    <a:pt x="721043" y="125730"/>
                  </a:lnTo>
                  <a:lnTo>
                    <a:pt x="738188" y="132398"/>
                  </a:lnTo>
                  <a:lnTo>
                    <a:pt x="752475" y="133350"/>
                  </a:lnTo>
                  <a:lnTo>
                    <a:pt x="766763" y="12858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8" name="Полилиния: фигура 8">
              <a:extLst>
                <a:ext uri="{FF2B5EF4-FFF2-40B4-BE49-F238E27FC236}">
                  <a16:creationId xmlns:a16="http://schemas.microsoft.com/office/drawing/2014/main" id="{0955C75F-C836-62BA-96CE-6E3AB11C9A06}"/>
                </a:ext>
              </a:extLst>
            </p:cNvPr>
            <p:cNvSpPr/>
            <p:nvPr/>
          </p:nvSpPr>
          <p:spPr>
            <a:xfrm>
              <a:off x="2081213" y="2630805"/>
              <a:ext cx="1114425" cy="1447800"/>
            </a:xfrm>
            <a:custGeom>
              <a:avLst/>
              <a:gdLst>
                <a:gd name="connsiteX0" fmla="*/ 619125 w 1114425"/>
                <a:gd name="connsiteY0" fmla="*/ 26670 h 1447800"/>
                <a:gd name="connsiteX1" fmla="*/ 661988 w 1114425"/>
                <a:gd name="connsiteY1" fmla="*/ 93345 h 1447800"/>
                <a:gd name="connsiteX2" fmla="*/ 670560 w 1114425"/>
                <a:gd name="connsiteY2" fmla="*/ 109538 h 1447800"/>
                <a:gd name="connsiteX3" fmla="*/ 680085 w 1114425"/>
                <a:gd name="connsiteY3" fmla="*/ 136208 h 1447800"/>
                <a:gd name="connsiteX4" fmla="*/ 681990 w 1114425"/>
                <a:gd name="connsiteY4" fmla="*/ 141923 h 1447800"/>
                <a:gd name="connsiteX5" fmla="*/ 685800 w 1114425"/>
                <a:gd name="connsiteY5" fmla="*/ 149542 h 1447800"/>
                <a:gd name="connsiteX6" fmla="*/ 685800 w 1114425"/>
                <a:gd name="connsiteY6" fmla="*/ 153352 h 1447800"/>
                <a:gd name="connsiteX7" fmla="*/ 684847 w 1114425"/>
                <a:gd name="connsiteY7" fmla="*/ 156210 h 1447800"/>
                <a:gd name="connsiteX8" fmla="*/ 681990 w 1114425"/>
                <a:gd name="connsiteY8" fmla="*/ 160973 h 1447800"/>
                <a:gd name="connsiteX9" fmla="*/ 681038 w 1114425"/>
                <a:gd name="connsiteY9" fmla="*/ 167640 h 1447800"/>
                <a:gd name="connsiteX10" fmla="*/ 681038 w 1114425"/>
                <a:gd name="connsiteY10" fmla="*/ 170498 h 1447800"/>
                <a:gd name="connsiteX11" fmla="*/ 681990 w 1114425"/>
                <a:gd name="connsiteY11" fmla="*/ 176213 h 1447800"/>
                <a:gd name="connsiteX12" fmla="*/ 682943 w 1114425"/>
                <a:gd name="connsiteY12" fmla="*/ 179070 h 1447800"/>
                <a:gd name="connsiteX13" fmla="*/ 684847 w 1114425"/>
                <a:gd name="connsiteY13" fmla="*/ 184785 h 1447800"/>
                <a:gd name="connsiteX14" fmla="*/ 686753 w 1114425"/>
                <a:gd name="connsiteY14" fmla="*/ 200025 h 1447800"/>
                <a:gd name="connsiteX15" fmla="*/ 687705 w 1114425"/>
                <a:gd name="connsiteY15" fmla="*/ 209550 h 1447800"/>
                <a:gd name="connsiteX16" fmla="*/ 688658 w 1114425"/>
                <a:gd name="connsiteY16" fmla="*/ 212408 h 1447800"/>
                <a:gd name="connsiteX17" fmla="*/ 689610 w 1114425"/>
                <a:gd name="connsiteY17" fmla="*/ 215265 h 1447800"/>
                <a:gd name="connsiteX18" fmla="*/ 692468 w 1114425"/>
                <a:gd name="connsiteY18" fmla="*/ 218123 h 1447800"/>
                <a:gd name="connsiteX19" fmla="*/ 702945 w 1114425"/>
                <a:gd name="connsiteY19" fmla="*/ 221933 h 1447800"/>
                <a:gd name="connsiteX20" fmla="*/ 705803 w 1114425"/>
                <a:gd name="connsiteY20" fmla="*/ 225742 h 1447800"/>
                <a:gd name="connsiteX21" fmla="*/ 707708 w 1114425"/>
                <a:gd name="connsiteY21" fmla="*/ 231458 h 1447800"/>
                <a:gd name="connsiteX22" fmla="*/ 709613 w 1114425"/>
                <a:gd name="connsiteY22" fmla="*/ 239077 h 1447800"/>
                <a:gd name="connsiteX23" fmla="*/ 711518 w 1114425"/>
                <a:gd name="connsiteY23" fmla="*/ 247650 h 1447800"/>
                <a:gd name="connsiteX24" fmla="*/ 711518 w 1114425"/>
                <a:gd name="connsiteY24" fmla="*/ 254317 h 1447800"/>
                <a:gd name="connsiteX25" fmla="*/ 710565 w 1114425"/>
                <a:gd name="connsiteY25" fmla="*/ 260985 h 1447800"/>
                <a:gd name="connsiteX26" fmla="*/ 708660 w 1114425"/>
                <a:gd name="connsiteY26" fmla="*/ 266700 h 1447800"/>
                <a:gd name="connsiteX27" fmla="*/ 706755 w 1114425"/>
                <a:gd name="connsiteY27" fmla="*/ 268605 h 1447800"/>
                <a:gd name="connsiteX28" fmla="*/ 699135 w 1114425"/>
                <a:gd name="connsiteY28" fmla="*/ 275273 h 1447800"/>
                <a:gd name="connsiteX29" fmla="*/ 696278 w 1114425"/>
                <a:gd name="connsiteY29" fmla="*/ 280035 h 1447800"/>
                <a:gd name="connsiteX30" fmla="*/ 695325 w 1114425"/>
                <a:gd name="connsiteY30" fmla="*/ 285750 h 1447800"/>
                <a:gd name="connsiteX31" fmla="*/ 695325 w 1114425"/>
                <a:gd name="connsiteY31" fmla="*/ 287655 h 1447800"/>
                <a:gd name="connsiteX32" fmla="*/ 699135 w 1114425"/>
                <a:gd name="connsiteY32" fmla="*/ 298133 h 1447800"/>
                <a:gd name="connsiteX33" fmla="*/ 700088 w 1114425"/>
                <a:gd name="connsiteY33" fmla="*/ 301942 h 1447800"/>
                <a:gd name="connsiteX34" fmla="*/ 700088 w 1114425"/>
                <a:gd name="connsiteY34" fmla="*/ 308610 h 1447800"/>
                <a:gd name="connsiteX35" fmla="*/ 699135 w 1114425"/>
                <a:gd name="connsiteY35" fmla="*/ 315277 h 1447800"/>
                <a:gd name="connsiteX36" fmla="*/ 698183 w 1114425"/>
                <a:gd name="connsiteY36" fmla="*/ 321945 h 1447800"/>
                <a:gd name="connsiteX37" fmla="*/ 700088 w 1114425"/>
                <a:gd name="connsiteY37" fmla="*/ 327660 h 1447800"/>
                <a:gd name="connsiteX38" fmla="*/ 702945 w 1114425"/>
                <a:gd name="connsiteY38" fmla="*/ 332423 h 1447800"/>
                <a:gd name="connsiteX39" fmla="*/ 705803 w 1114425"/>
                <a:gd name="connsiteY39" fmla="*/ 334327 h 1447800"/>
                <a:gd name="connsiteX40" fmla="*/ 710565 w 1114425"/>
                <a:gd name="connsiteY40" fmla="*/ 334327 h 1447800"/>
                <a:gd name="connsiteX41" fmla="*/ 713422 w 1114425"/>
                <a:gd name="connsiteY41" fmla="*/ 333375 h 1447800"/>
                <a:gd name="connsiteX42" fmla="*/ 721995 w 1114425"/>
                <a:gd name="connsiteY42" fmla="*/ 326708 h 1447800"/>
                <a:gd name="connsiteX43" fmla="*/ 727710 w 1114425"/>
                <a:gd name="connsiteY43" fmla="*/ 324802 h 1447800"/>
                <a:gd name="connsiteX44" fmla="*/ 729615 w 1114425"/>
                <a:gd name="connsiteY44" fmla="*/ 324802 h 1447800"/>
                <a:gd name="connsiteX45" fmla="*/ 740093 w 1114425"/>
                <a:gd name="connsiteY45" fmla="*/ 329565 h 1447800"/>
                <a:gd name="connsiteX46" fmla="*/ 756285 w 1114425"/>
                <a:gd name="connsiteY46" fmla="*/ 332423 h 1447800"/>
                <a:gd name="connsiteX47" fmla="*/ 759143 w 1114425"/>
                <a:gd name="connsiteY47" fmla="*/ 335280 h 1447800"/>
                <a:gd name="connsiteX48" fmla="*/ 761047 w 1114425"/>
                <a:gd name="connsiteY48" fmla="*/ 338138 h 1447800"/>
                <a:gd name="connsiteX49" fmla="*/ 763905 w 1114425"/>
                <a:gd name="connsiteY49" fmla="*/ 343852 h 1447800"/>
                <a:gd name="connsiteX50" fmla="*/ 764858 w 1114425"/>
                <a:gd name="connsiteY50" fmla="*/ 347663 h 1447800"/>
                <a:gd name="connsiteX51" fmla="*/ 765810 w 1114425"/>
                <a:gd name="connsiteY51" fmla="*/ 352425 h 1447800"/>
                <a:gd name="connsiteX52" fmla="*/ 765810 w 1114425"/>
                <a:gd name="connsiteY52" fmla="*/ 359092 h 1447800"/>
                <a:gd name="connsiteX53" fmla="*/ 766763 w 1114425"/>
                <a:gd name="connsiteY53" fmla="*/ 364808 h 1447800"/>
                <a:gd name="connsiteX54" fmla="*/ 769620 w 1114425"/>
                <a:gd name="connsiteY54" fmla="*/ 369570 h 1447800"/>
                <a:gd name="connsiteX55" fmla="*/ 769620 w 1114425"/>
                <a:gd name="connsiteY55" fmla="*/ 375285 h 1447800"/>
                <a:gd name="connsiteX56" fmla="*/ 769620 w 1114425"/>
                <a:gd name="connsiteY56" fmla="*/ 378142 h 1447800"/>
                <a:gd name="connsiteX57" fmla="*/ 765810 w 1114425"/>
                <a:gd name="connsiteY57" fmla="*/ 381952 h 1447800"/>
                <a:gd name="connsiteX58" fmla="*/ 763905 w 1114425"/>
                <a:gd name="connsiteY58" fmla="*/ 383858 h 1447800"/>
                <a:gd name="connsiteX59" fmla="*/ 759143 w 1114425"/>
                <a:gd name="connsiteY59" fmla="*/ 385763 h 1447800"/>
                <a:gd name="connsiteX60" fmla="*/ 756285 w 1114425"/>
                <a:gd name="connsiteY60" fmla="*/ 384810 h 1447800"/>
                <a:gd name="connsiteX61" fmla="*/ 750570 w 1114425"/>
                <a:gd name="connsiteY61" fmla="*/ 383858 h 1447800"/>
                <a:gd name="connsiteX62" fmla="*/ 735330 w 1114425"/>
                <a:gd name="connsiteY62" fmla="*/ 375285 h 1447800"/>
                <a:gd name="connsiteX63" fmla="*/ 728663 w 1114425"/>
                <a:gd name="connsiteY63" fmla="*/ 374333 h 1447800"/>
                <a:gd name="connsiteX64" fmla="*/ 722947 w 1114425"/>
                <a:gd name="connsiteY64" fmla="*/ 374333 h 1447800"/>
                <a:gd name="connsiteX65" fmla="*/ 720090 w 1114425"/>
                <a:gd name="connsiteY65" fmla="*/ 376238 h 1447800"/>
                <a:gd name="connsiteX66" fmla="*/ 719138 w 1114425"/>
                <a:gd name="connsiteY66" fmla="*/ 378142 h 1447800"/>
                <a:gd name="connsiteX67" fmla="*/ 718185 w 1114425"/>
                <a:gd name="connsiteY67" fmla="*/ 381000 h 1447800"/>
                <a:gd name="connsiteX68" fmla="*/ 718185 w 1114425"/>
                <a:gd name="connsiteY68" fmla="*/ 386715 h 1447800"/>
                <a:gd name="connsiteX69" fmla="*/ 720090 w 1114425"/>
                <a:gd name="connsiteY69" fmla="*/ 391477 h 1447800"/>
                <a:gd name="connsiteX70" fmla="*/ 725805 w 1114425"/>
                <a:gd name="connsiteY70" fmla="*/ 396240 h 1447800"/>
                <a:gd name="connsiteX71" fmla="*/ 742950 w 1114425"/>
                <a:gd name="connsiteY71" fmla="*/ 403860 h 1447800"/>
                <a:gd name="connsiteX72" fmla="*/ 747713 w 1114425"/>
                <a:gd name="connsiteY72" fmla="*/ 406717 h 1447800"/>
                <a:gd name="connsiteX73" fmla="*/ 750570 w 1114425"/>
                <a:gd name="connsiteY73" fmla="*/ 412433 h 1447800"/>
                <a:gd name="connsiteX74" fmla="*/ 752475 w 1114425"/>
                <a:gd name="connsiteY74" fmla="*/ 422910 h 1447800"/>
                <a:gd name="connsiteX75" fmla="*/ 754380 w 1114425"/>
                <a:gd name="connsiteY75" fmla="*/ 429577 h 1447800"/>
                <a:gd name="connsiteX76" fmla="*/ 762000 w 1114425"/>
                <a:gd name="connsiteY76" fmla="*/ 441960 h 1447800"/>
                <a:gd name="connsiteX77" fmla="*/ 769620 w 1114425"/>
                <a:gd name="connsiteY77" fmla="*/ 448627 h 1447800"/>
                <a:gd name="connsiteX78" fmla="*/ 779145 w 1114425"/>
                <a:gd name="connsiteY78" fmla="*/ 448627 h 1447800"/>
                <a:gd name="connsiteX79" fmla="*/ 801053 w 1114425"/>
                <a:gd name="connsiteY79" fmla="*/ 444817 h 1447800"/>
                <a:gd name="connsiteX80" fmla="*/ 808672 w 1114425"/>
                <a:gd name="connsiteY80" fmla="*/ 445770 h 1447800"/>
                <a:gd name="connsiteX81" fmla="*/ 837247 w 1114425"/>
                <a:gd name="connsiteY81" fmla="*/ 462915 h 1447800"/>
                <a:gd name="connsiteX82" fmla="*/ 842010 w 1114425"/>
                <a:gd name="connsiteY82" fmla="*/ 468630 h 1447800"/>
                <a:gd name="connsiteX83" fmla="*/ 842010 w 1114425"/>
                <a:gd name="connsiteY83" fmla="*/ 476250 h 1447800"/>
                <a:gd name="connsiteX84" fmla="*/ 838200 w 1114425"/>
                <a:gd name="connsiteY84" fmla="*/ 489585 h 1447800"/>
                <a:gd name="connsiteX85" fmla="*/ 838200 w 1114425"/>
                <a:gd name="connsiteY85" fmla="*/ 498158 h 1447800"/>
                <a:gd name="connsiteX86" fmla="*/ 842010 w 1114425"/>
                <a:gd name="connsiteY86" fmla="*/ 505777 h 1447800"/>
                <a:gd name="connsiteX87" fmla="*/ 854393 w 1114425"/>
                <a:gd name="connsiteY87" fmla="*/ 525780 h 1447800"/>
                <a:gd name="connsiteX88" fmla="*/ 861060 w 1114425"/>
                <a:gd name="connsiteY88" fmla="*/ 531495 h 1447800"/>
                <a:gd name="connsiteX89" fmla="*/ 864870 w 1114425"/>
                <a:gd name="connsiteY89" fmla="*/ 526733 h 1447800"/>
                <a:gd name="connsiteX90" fmla="*/ 867728 w 1114425"/>
                <a:gd name="connsiteY90" fmla="*/ 517208 h 1447800"/>
                <a:gd name="connsiteX91" fmla="*/ 868680 w 1114425"/>
                <a:gd name="connsiteY91" fmla="*/ 507683 h 1447800"/>
                <a:gd name="connsiteX92" fmla="*/ 870585 w 1114425"/>
                <a:gd name="connsiteY92" fmla="*/ 501015 h 1447800"/>
                <a:gd name="connsiteX93" fmla="*/ 873443 w 1114425"/>
                <a:gd name="connsiteY93" fmla="*/ 495300 h 1447800"/>
                <a:gd name="connsiteX94" fmla="*/ 878205 w 1114425"/>
                <a:gd name="connsiteY94" fmla="*/ 489585 h 1447800"/>
                <a:gd name="connsiteX95" fmla="*/ 889635 w 1114425"/>
                <a:gd name="connsiteY95" fmla="*/ 480060 h 1447800"/>
                <a:gd name="connsiteX96" fmla="*/ 895350 w 1114425"/>
                <a:gd name="connsiteY96" fmla="*/ 478155 h 1447800"/>
                <a:gd name="connsiteX97" fmla="*/ 902970 w 1114425"/>
                <a:gd name="connsiteY97" fmla="*/ 479108 h 1447800"/>
                <a:gd name="connsiteX98" fmla="*/ 902970 w 1114425"/>
                <a:gd name="connsiteY98" fmla="*/ 484823 h 1447800"/>
                <a:gd name="connsiteX99" fmla="*/ 898208 w 1114425"/>
                <a:gd name="connsiteY99" fmla="*/ 494348 h 1447800"/>
                <a:gd name="connsiteX100" fmla="*/ 893445 w 1114425"/>
                <a:gd name="connsiteY100" fmla="*/ 514350 h 1447800"/>
                <a:gd name="connsiteX101" fmla="*/ 890588 w 1114425"/>
                <a:gd name="connsiteY101" fmla="*/ 536258 h 1447800"/>
                <a:gd name="connsiteX102" fmla="*/ 892493 w 1114425"/>
                <a:gd name="connsiteY102" fmla="*/ 550545 h 1447800"/>
                <a:gd name="connsiteX103" fmla="*/ 905828 w 1114425"/>
                <a:gd name="connsiteY103" fmla="*/ 536258 h 1447800"/>
                <a:gd name="connsiteX104" fmla="*/ 918210 w 1114425"/>
                <a:gd name="connsiteY104" fmla="*/ 537210 h 1447800"/>
                <a:gd name="connsiteX105" fmla="*/ 946785 w 1114425"/>
                <a:gd name="connsiteY105" fmla="*/ 550545 h 1447800"/>
                <a:gd name="connsiteX106" fmla="*/ 935355 w 1114425"/>
                <a:gd name="connsiteY106" fmla="*/ 561975 h 1447800"/>
                <a:gd name="connsiteX107" fmla="*/ 905828 w 1114425"/>
                <a:gd name="connsiteY107" fmla="*/ 570548 h 1447800"/>
                <a:gd name="connsiteX108" fmla="*/ 900113 w 1114425"/>
                <a:gd name="connsiteY108" fmla="*/ 583883 h 1447800"/>
                <a:gd name="connsiteX109" fmla="*/ 905828 w 1114425"/>
                <a:gd name="connsiteY109" fmla="*/ 603885 h 1447800"/>
                <a:gd name="connsiteX110" fmla="*/ 920115 w 1114425"/>
                <a:gd name="connsiteY110" fmla="*/ 599123 h 1447800"/>
                <a:gd name="connsiteX111" fmla="*/ 946785 w 1114425"/>
                <a:gd name="connsiteY111" fmla="*/ 572452 h 1447800"/>
                <a:gd name="connsiteX112" fmla="*/ 954405 w 1114425"/>
                <a:gd name="connsiteY112" fmla="*/ 571500 h 1447800"/>
                <a:gd name="connsiteX113" fmla="*/ 959168 w 1114425"/>
                <a:gd name="connsiteY113" fmla="*/ 573405 h 1447800"/>
                <a:gd name="connsiteX114" fmla="*/ 960120 w 1114425"/>
                <a:gd name="connsiteY114" fmla="*/ 573405 h 1447800"/>
                <a:gd name="connsiteX115" fmla="*/ 961072 w 1114425"/>
                <a:gd name="connsiteY115" fmla="*/ 561975 h 1447800"/>
                <a:gd name="connsiteX116" fmla="*/ 960120 w 1114425"/>
                <a:gd name="connsiteY116" fmla="*/ 551498 h 1447800"/>
                <a:gd name="connsiteX117" fmla="*/ 959168 w 1114425"/>
                <a:gd name="connsiteY117" fmla="*/ 544830 h 1447800"/>
                <a:gd name="connsiteX118" fmla="*/ 961072 w 1114425"/>
                <a:gd name="connsiteY118" fmla="*/ 540068 h 1447800"/>
                <a:gd name="connsiteX119" fmla="*/ 972503 w 1114425"/>
                <a:gd name="connsiteY119" fmla="*/ 539115 h 1447800"/>
                <a:gd name="connsiteX120" fmla="*/ 979170 w 1114425"/>
                <a:gd name="connsiteY120" fmla="*/ 541020 h 1447800"/>
                <a:gd name="connsiteX121" fmla="*/ 984885 w 1114425"/>
                <a:gd name="connsiteY121" fmla="*/ 544830 h 1447800"/>
                <a:gd name="connsiteX122" fmla="*/ 992505 w 1114425"/>
                <a:gd name="connsiteY122" fmla="*/ 546735 h 1447800"/>
                <a:gd name="connsiteX123" fmla="*/ 1001078 w 1114425"/>
                <a:gd name="connsiteY123" fmla="*/ 544830 h 1447800"/>
                <a:gd name="connsiteX124" fmla="*/ 1002030 w 1114425"/>
                <a:gd name="connsiteY124" fmla="*/ 541020 h 1447800"/>
                <a:gd name="connsiteX125" fmla="*/ 1001078 w 1114425"/>
                <a:gd name="connsiteY125" fmla="*/ 535305 h 1447800"/>
                <a:gd name="connsiteX126" fmla="*/ 1001078 w 1114425"/>
                <a:gd name="connsiteY126" fmla="*/ 530543 h 1447800"/>
                <a:gd name="connsiteX127" fmla="*/ 1005840 w 1114425"/>
                <a:gd name="connsiteY127" fmla="*/ 528638 h 1447800"/>
                <a:gd name="connsiteX128" fmla="*/ 1009650 w 1114425"/>
                <a:gd name="connsiteY128" fmla="*/ 529590 h 1447800"/>
                <a:gd name="connsiteX129" fmla="*/ 1017270 w 1114425"/>
                <a:gd name="connsiteY129" fmla="*/ 533400 h 1447800"/>
                <a:gd name="connsiteX130" fmla="*/ 1022033 w 1114425"/>
                <a:gd name="connsiteY130" fmla="*/ 534352 h 1447800"/>
                <a:gd name="connsiteX131" fmla="*/ 1017270 w 1114425"/>
                <a:gd name="connsiteY131" fmla="*/ 545783 h 1447800"/>
                <a:gd name="connsiteX132" fmla="*/ 1015365 w 1114425"/>
                <a:gd name="connsiteY132" fmla="*/ 550545 h 1447800"/>
                <a:gd name="connsiteX133" fmla="*/ 1010603 w 1114425"/>
                <a:gd name="connsiteY133" fmla="*/ 555308 h 1447800"/>
                <a:gd name="connsiteX134" fmla="*/ 1017270 w 1114425"/>
                <a:gd name="connsiteY134" fmla="*/ 563880 h 1447800"/>
                <a:gd name="connsiteX135" fmla="*/ 1027747 w 1114425"/>
                <a:gd name="connsiteY135" fmla="*/ 573405 h 1447800"/>
                <a:gd name="connsiteX136" fmla="*/ 1040130 w 1114425"/>
                <a:gd name="connsiteY136" fmla="*/ 580073 h 1447800"/>
                <a:gd name="connsiteX137" fmla="*/ 1049655 w 1114425"/>
                <a:gd name="connsiteY137" fmla="*/ 583883 h 1447800"/>
                <a:gd name="connsiteX138" fmla="*/ 1062990 w 1114425"/>
                <a:gd name="connsiteY138" fmla="*/ 584835 h 1447800"/>
                <a:gd name="connsiteX139" fmla="*/ 1071563 w 1114425"/>
                <a:gd name="connsiteY139" fmla="*/ 589598 h 1447800"/>
                <a:gd name="connsiteX140" fmla="*/ 1087755 w 1114425"/>
                <a:gd name="connsiteY140" fmla="*/ 604838 h 1447800"/>
                <a:gd name="connsiteX141" fmla="*/ 1102043 w 1114425"/>
                <a:gd name="connsiteY141" fmla="*/ 613410 h 1447800"/>
                <a:gd name="connsiteX142" fmla="*/ 1105853 w 1114425"/>
                <a:gd name="connsiteY142" fmla="*/ 616268 h 1447800"/>
                <a:gd name="connsiteX143" fmla="*/ 1111568 w 1114425"/>
                <a:gd name="connsiteY143" fmla="*/ 628650 h 1447800"/>
                <a:gd name="connsiteX144" fmla="*/ 1110615 w 1114425"/>
                <a:gd name="connsiteY144" fmla="*/ 633413 h 1447800"/>
                <a:gd name="connsiteX145" fmla="*/ 1107758 w 1114425"/>
                <a:gd name="connsiteY145" fmla="*/ 635318 h 1447800"/>
                <a:gd name="connsiteX146" fmla="*/ 1105853 w 1114425"/>
                <a:gd name="connsiteY146" fmla="*/ 641033 h 1447800"/>
                <a:gd name="connsiteX147" fmla="*/ 1104900 w 1114425"/>
                <a:gd name="connsiteY147" fmla="*/ 647700 h 1447800"/>
                <a:gd name="connsiteX148" fmla="*/ 1104900 w 1114425"/>
                <a:gd name="connsiteY148" fmla="*/ 649605 h 1447800"/>
                <a:gd name="connsiteX149" fmla="*/ 1105853 w 1114425"/>
                <a:gd name="connsiteY149" fmla="*/ 650558 h 1447800"/>
                <a:gd name="connsiteX150" fmla="*/ 1111568 w 1114425"/>
                <a:gd name="connsiteY150" fmla="*/ 657225 h 1447800"/>
                <a:gd name="connsiteX151" fmla="*/ 1114425 w 1114425"/>
                <a:gd name="connsiteY151" fmla="*/ 666750 h 1447800"/>
                <a:gd name="connsiteX152" fmla="*/ 1112520 w 1114425"/>
                <a:gd name="connsiteY152" fmla="*/ 672465 h 1447800"/>
                <a:gd name="connsiteX153" fmla="*/ 1109663 w 1114425"/>
                <a:gd name="connsiteY153" fmla="*/ 677227 h 1447800"/>
                <a:gd name="connsiteX154" fmla="*/ 1109663 w 1114425"/>
                <a:gd name="connsiteY154" fmla="*/ 681990 h 1447800"/>
                <a:gd name="connsiteX155" fmla="*/ 1089660 w 1114425"/>
                <a:gd name="connsiteY155" fmla="*/ 697230 h 1447800"/>
                <a:gd name="connsiteX156" fmla="*/ 1082993 w 1114425"/>
                <a:gd name="connsiteY156" fmla="*/ 703898 h 1447800"/>
                <a:gd name="connsiteX157" fmla="*/ 1078230 w 1114425"/>
                <a:gd name="connsiteY157" fmla="*/ 709613 h 1447800"/>
                <a:gd name="connsiteX158" fmla="*/ 1075373 w 1114425"/>
                <a:gd name="connsiteY158" fmla="*/ 713423 h 1447800"/>
                <a:gd name="connsiteX159" fmla="*/ 1072515 w 1114425"/>
                <a:gd name="connsiteY159" fmla="*/ 720090 h 1447800"/>
                <a:gd name="connsiteX160" fmla="*/ 1071563 w 1114425"/>
                <a:gd name="connsiteY160" fmla="*/ 723900 h 1447800"/>
                <a:gd name="connsiteX161" fmla="*/ 1071563 w 1114425"/>
                <a:gd name="connsiteY161" fmla="*/ 727710 h 1447800"/>
                <a:gd name="connsiteX162" fmla="*/ 1072515 w 1114425"/>
                <a:gd name="connsiteY162" fmla="*/ 737235 h 1447800"/>
                <a:gd name="connsiteX163" fmla="*/ 1078230 w 1114425"/>
                <a:gd name="connsiteY163" fmla="*/ 759143 h 1447800"/>
                <a:gd name="connsiteX164" fmla="*/ 1092518 w 1114425"/>
                <a:gd name="connsiteY164" fmla="*/ 798195 h 1447800"/>
                <a:gd name="connsiteX165" fmla="*/ 1093470 w 1114425"/>
                <a:gd name="connsiteY165" fmla="*/ 806768 h 1447800"/>
                <a:gd name="connsiteX166" fmla="*/ 1090613 w 1114425"/>
                <a:gd name="connsiteY166" fmla="*/ 877252 h 1447800"/>
                <a:gd name="connsiteX167" fmla="*/ 1086803 w 1114425"/>
                <a:gd name="connsiteY167" fmla="*/ 898208 h 1447800"/>
                <a:gd name="connsiteX168" fmla="*/ 1084898 w 1114425"/>
                <a:gd name="connsiteY168" fmla="*/ 903923 h 1447800"/>
                <a:gd name="connsiteX169" fmla="*/ 1082040 w 1114425"/>
                <a:gd name="connsiteY169" fmla="*/ 908685 h 1447800"/>
                <a:gd name="connsiteX170" fmla="*/ 1080135 w 1114425"/>
                <a:gd name="connsiteY170" fmla="*/ 911543 h 1447800"/>
                <a:gd name="connsiteX171" fmla="*/ 1077278 w 1114425"/>
                <a:gd name="connsiteY171" fmla="*/ 912495 h 1447800"/>
                <a:gd name="connsiteX172" fmla="*/ 1070610 w 1114425"/>
                <a:gd name="connsiteY172" fmla="*/ 912495 h 1447800"/>
                <a:gd name="connsiteX173" fmla="*/ 1066800 w 1114425"/>
                <a:gd name="connsiteY173" fmla="*/ 909638 h 1447800"/>
                <a:gd name="connsiteX174" fmla="*/ 1061085 w 1114425"/>
                <a:gd name="connsiteY174" fmla="*/ 906780 h 1447800"/>
                <a:gd name="connsiteX175" fmla="*/ 1050608 w 1114425"/>
                <a:gd name="connsiteY175" fmla="*/ 902970 h 1447800"/>
                <a:gd name="connsiteX176" fmla="*/ 1043940 w 1114425"/>
                <a:gd name="connsiteY176" fmla="*/ 901065 h 1447800"/>
                <a:gd name="connsiteX177" fmla="*/ 1033463 w 1114425"/>
                <a:gd name="connsiteY177" fmla="*/ 900113 h 1447800"/>
                <a:gd name="connsiteX178" fmla="*/ 1009650 w 1114425"/>
                <a:gd name="connsiteY178" fmla="*/ 902970 h 1447800"/>
                <a:gd name="connsiteX179" fmla="*/ 987743 w 1114425"/>
                <a:gd name="connsiteY179" fmla="*/ 910590 h 1447800"/>
                <a:gd name="connsiteX180" fmla="*/ 968693 w 1114425"/>
                <a:gd name="connsiteY180" fmla="*/ 919163 h 1447800"/>
                <a:gd name="connsiteX181" fmla="*/ 927735 w 1114425"/>
                <a:gd name="connsiteY181" fmla="*/ 950595 h 1447800"/>
                <a:gd name="connsiteX182" fmla="*/ 877253 w 1114425"/>
                <a:gd name="connsiteY182" fmla="*/ 1017270 h 1447800"/>
                <a:gd name="connsiteX183" fmla="*/ 872490 w 1114425"/>
                <a:gd name="connsiteY183" fmla="*/ 1020127 h 1447800"/>
                <a:gd name="connsiteX184" fmla="*/ 866775 w 1114425"/>
                <a:gd name="connsiteY184" fmla="*/ 1022985 h 1447800"/>
                <a:gd name="connsiteX185" fmla="*/ 859155 w 1114425"/>
                <a:gd name="connsiteY185" fmla="*/ 1026795 h 1447800"/>
                <a:gd name="connsiteX186" fmla="*/ 851535 w 1114425"/>
                <a:gd name="connsiteY186" fmla="*/ 1032510 h 1447800"/>
                <a:gd name="connsiteX187" fmla="*/ 847725 w 1114425"/>
                <a:gd name="connsiteY187" fmla="*/ 1036320 h 1447800"/>
                <a:gd name="connsiteX188" fmla="*/ 845820 w 1114425"/>
                <a:gd name="connsiteY188" fmla="*/ 1040130 h 1447800"/>
                <a:gd name="connsiteX189" fmla="*/ 843915 w 1114425"/>
                <a:gd name="connsiteY189" fmla="*/ 1045845 h 1447800"/>
                <a:gd name="connsiteX190" fmla="*/ 843915 w 1114425"/>
                <a:gd name="connsiteY190" fmla="*/ 1056323 h 1447800"/>
                <a:gd name="connsiteX191" fmla="*/ 844868 w 1114425"/>
                <a:gd name="connsiteY191" fmla="*/ 1062038 h 1447800"/>
                <a:gd name="connsiteX192" fmla="*/ 847725 w 1114425"/>
                <a:gd name="connsiteY192" fmla="*/ 1069658 h 1447800"/>
                <a:gd name="connsiteX193" fmla="*/ 848678 w 1114425"/>
                <a:gd name="connsiteY193" fmla="*/ 1072515 h 1447800"/>
                <a:gd name="connsiteX194" fmla="*/ 847725 w 1114425"/>
                <a:gd name="connsiteY194" fmla="*/ 1076325 h 1447800"/>
                <a:gd name="connsiteX195" fmla="*/ 845820 w 1114425"/>
                <a:gd name="connsiteY195" fmla="*/ 1078230 h 1447800"/>
                <a:gd name="connsiteX196" fmla="*/ 840105 w 1114425"/>
                <a:gd name="connsiteY196" fmla="*/ 1079183 h 1447800"/>
                <a:gd name="connsiteX197" fmla="*/ 835343 w 1114425"/>
                <a:gd name="connsiteY197" fmla="*/ 1082040 h 1447800"/>
                <a:gd name="connsiteX198" fmla="*/ 829628 w 1114425"/>
                <a:gd name="connsiteY198" fmla="*/ 1085850 h 1447800"/>
                <a:gd name="connsiteX199" fmla="*/ 802005 w 1114425"/>
                <a:gd name="connsiteY199" fmla="*/ 1118235 h 1447800"/>
                <a:gd name="connsiteX200" fmla="*/ 798195 w 1114425"/>
                <a:gd name="connsiteY200" fmla="*/ 1121093 h 1447800"/>
                <a:gd name="connsiteX201" fmla="*/ 788670 w 1114425"/>
                <a:gd name="connsiteY201" fmla="*/ 1123950 h 1447800"/>
                <a:gd name="connsiteX202" fmla="*/ 782955 w 1114425"/>
                <a:gd name="connsiteY202" fmla="*/ 1126808 h 1447800"/>
                <a:gd name="connsiteX203" fmla="*/ 774383 w 1114425"/>
                <a:gd name="connsiteY203" fmla="*/ 1132523 h 1447800"/>
                <a:gd name="connsiteX204" fmla="*/ 770572 w 1114425"/>
                <a:gd name="connsiteY204" fmla="*/ 1137285 h 1447800"/>
                <a:gd name="connsiteX205" fmla="*/ 767715 w 1114425"/>
                <a:gd name="connsiteY205" fmla="*/ 1141095 h 1447800"/>
                <a:gd name="connsiteX206" fmla="*/ 767715 w 1114425"/>
                <a:gd name="connsiteY206" fmla="*/ 1143952 h 1447800"/>
                <a:gd name="connsiteX207" fmla="*/ 765810 w 1114425"/>
                <a:gd name="connsiteY207" fmla="*/ 1158240 h 1447800"/>
                <a:gd name="connsiteX208" fmla="*/ 762953 w 1114425"/>
                <a:gd name="connsiteY208" fmla="*/ 1163955 h 1447800"/>
                <a:gd name="connsiteX209" fmla="*/ 739140 w 1114425"/>
                <a:gd name="connsiteY209" fmla="*/ 1209675 h 1447800"/>
                <a:gd name="connsiteX210" fmla="*/ 737235 w 1114425"/>
                <a:gd name="connsiteY210" fmla="*/ 1215390 h 1447800"/>
                <a:gd name="connsiteX211" fmla="*/ 736283 w 1114425"/>
                <a:gd name="connsiteY211" fmla="*/ 1222058 h 1447800"/>
                <a:gd name="connsiteX212" fmla="*/ 735330 w 1114425"/>
                <a:gd name="connsiteY212" fmla="*/ 1227773 h 1447800"/>
                <a:gd name="connsiteX213" fmla="*/ 738188 w 1114425"/>
                <a:gd name="connsiteY213" fmla="*/ 1243013 h 1447800"/>
                <a:gd name="connsiteX214" fmla="*/ 738188 w 1114425"/>
                <a:gd name="connsiteY214" fmla="*/ 1255395 h 1447800"/>
                <a:gd name="connsiteX215" fmla="*/ 739140 w 1114425"/>
                <a:gd name="connsiteY215" fmla="*/ 1261110 h 1447800"/>
                <a:gd name="connsiteX216" fmla="*/ 743903 w 1114425"/>
                <a:gd name="connsiteY216" fmla="*/ 1274445 h 1447800"/>
                <a:gd name="connsiteX217" fmla="*/ 745808 w 1114425"/>
                <a:gd name="connsiteY217" fmla="*/ 1279208 h 1447800"/>
                <a:gd name="connsiteX218" fmla="*/ 754380 w 1114425"/>
                <a:gd name="connsiteY218" fmla="*/ 1288733 h 1447800"/>
                <a:gd name="connsiteX219" fmla="*/ 756285 w 1114425"/>
                <a:gd name="connsiteY219" fmla="*/ 1293495 h 1447800"/>
                <a:gd name="connsiteX220" fmla="*/ 757238 w 1114425"/>
                <a:gd name="connsiteY220" fmla="*/ 1299210 h 1447800"/>
                <a:gd name="connsiteX221" fmla="*/ 757238 w 1114425"/>
                <a:gd name="connsiteY221" fmla="*/ 1316355 h 1447800"/>
                <a:gd name="connsiteX222" fmla="*/ 759143 w 1114425"/>
                <a:gd name="connsiteY222" fmla="*/ 1323975 h 1447800"/>
                <a:gd name="connsiteX223" fmla="*/ 763905 w 1114425"/>
                <a:gd name="connsiteY223" fmla="*/ 1334452 h 1447800"/>
                <a:gd name="connsiteX224" fmla="*/ 764858 w 1114425"/>
                <a:gd name="connsiteY224" fmla="*/ 1336358 h 1447800"/>
                <a:gd name="connsiteX225" fmla="*/ 765810 w 1114425"/>
                <a:gd name="connsiteY225" fmla="*/ 1342073 h 1447800"/>
                <a:gd name="connsiteX226" fmla="*/ 765810 w 1114425"/>
                <a:gd name="connsiteY226" fmla="*/ 1348740 h 1447800"/>
                <a:gd name="connsiteX227" fmla="*/ 763905 w 1114425"/>
                <a:gd name="connsiteY227" fmla="*/ 1355408 h 1447800"/>
                <a:gd name="connsiteX228" fmla="*/ 739140 w 1114425"/>
                <a:gd name="connsiteY228" fmla="*/ 1410652 h 1447800"/>
                <a:gd name="connsiteX229" fmla="*/ 738188 w 1114425"/>
                <a:gd name="connsiteY229" fmla="*/ 1413510 h 1447800"/>
                <a:gd name="connsiteX230" fmla="*/ 736283 w 1114425"/>
                <a:gd name="connsiteY230" fmla="*/ 1431608 h 1447800"/>
                <a:gd name="connsiteX231" fmla="*/ 736283 w 1114425"/>
                <a:gd name="connsiteY231" fmla="*/ 1435418 h 1447800"/>
                <a:gd name="connsiteX232" fmla="*/ 736283 w 1114425"/>
                <a:gd name="connsiteY232" fmla="*/ 1444943 h 1447800"/>
                <a:gd name="connsiteX233" fmla="*/ 719138 w 1114425"/>
                <a:gd name="connsiteY233" fmla="*/ 1447800 h 1447800"/>
                <a:gd name="connsiteX234" fmla="*/ 709613 w 1114425"/>
                <a:gd name="connsiteY234" fmla="*/ 1441133 h 1447800"/>
                <a:gd name="connsiteX235" fmla="*/ 697230 w 1114425"/>
                <a:gd name="connsiteY235" fmla="*/ 1422083 h 1447800"/>
                <a:gd name="connsiteX236" fmla="*/ 679133 w 1114425"/>
                <a:gd name="connsiteY236" fmla="*/ 1389698 h 1447800"/>
                <a:gd name="connsiteX237" fmla="*/ 672465 w 1114425"/>
                <a:gd name="connsiteY237" fmla="*/ 1381125 h 1447800"/>
                <a:gd name="connsiteX238" fmla="*/ 664845 w 1114425"/>
                <a:gd name="connsiteY238" fmla="*/ 1373505 h 1447800"/>
                <a:gd name="connsiteX239" fmla="*/ 621983 w 1114425"/>
                <a:gd name="connsiteY239" fmla="*/ 1357313 h 1447800"/>
                <a:gd name="connsiteX240" fmla="*/ 604838 w 1114425"/>
                <a:gd name="connsiteY240" fmla="*/ 1345883 h 1447800"/>
                <a:gd name="connsiteX241" fmla="*/ 595313 w 1114425"/>
                <a:gd name="connsiteY241" fmla="*/ 1335405 h 1447800"/>
                <a:gd name="connsiteX242" fmla="*/ 592455 w 1114425"/>
                <a:gd name="connsiteY242" fmla="*/ 1324927 h 1447800"/>
                <a:gd name="connsiteX243" fmla="*/ 592455 w 1114425"/>
                <a:gd name="connsiteY243" fmla="*/ 1315402 h 1447800"/>
                <a:gd name="connsiteX244" fmla="*/ 588645 w 1114425"/>
                <a:gd name="connsiteY244" fmla="*/ 1303020 h 1447800"/>
                <a:gd name="connsiteX245" fmla="*/ 581025 w 1114425"/>
                <a:gd name="connsiteY245" fmla="*/ 1292543 h 1447800"/>
                <a:gd name="connsiteX246" fmla="*/ 567690 w 1114425"/>
                <a:gd name="connsiteY246" fmla="*/ 1281113 h 1447800"/>
                <a:gd name="connsiteX247" fmla="*/ 546735 w 1114425"/>
                <a:gd name="connsiteY247" fmla="*/ 1269683 h 1447800"/>
                <a:gd name="connsiteX248" fmla="*/ 548640 w 1114425"/>
                <a:gd name="connsiteY248" fmla="*/ 1260158 h 1447800"/>
                <a:gd name="connsiteX249" fmla="*/ 553403 w 1114425"/>
                <a:gd name="connsiteY249" fmla="*/ 1232535 h 1447800"/>
                <a:gd name="connsiteX250" fmla="*/ 556260 w 1114425"/>
                <a:gd name="connsiteY250" fmla="*/ 1223010 h 1447800"/>
                <a:gd name="connsiteX251" fmla="*/ 583883 w 1114425"/>
                <a:gd name="connsiteY251" fmla="*/ 1182052 h 1447800"/>
                <a:gd name="connsiteX252" fmla="*/ 584835 w 1114425"/>
                <a:gd name="connsiteY252" fmla="*/ 1178243 h 1447800"/>
                <a:gd name="connsiteX253" fmla="*/ 583883 w 1114425"/>
                <a:gd name="connsiteY253" fmla="*/ 1175385 h 1447800"/>
                <a:gd name="connsiteX254" fmla="*/ 566738 w 1114425"/>
                <a:gd name="connsiteY254" fmla="*/ 1149668 h 1447800"/>
                <a:gd name="connsiteX255" fmla="*/ 530543 w 1114425"/>
                <a:gd name="connsiteY255" fmla="*/ 1113473 h 1447800"/>
                <a:gd name="connsiteX256" fmla="*/ 526733 w 1114425"/>
                <a:gd name="connsiteY256" fmla="*/ 1108710 h 1447800"/>
                <a:gd name="connsiteX257" fmla="*/ 524828 w 1114425"/>
                <a:gd name="connsiteY257" fmla="*/ 1104900 h 1447800"/>
                <a:gd name="connsiteX258" fmla="*/ 521970 w 1114425"/>
                <a:gd name="connsiteY258" fmla="*/ 1097280 h 1447800"/>
                <a:gd name="connsiteX259" fmla="*/ 521017 w 1114425"/>
                <a:gd name="connsiteY259" fmla="*/ 1092518 h 1447800"/>
                <a:gd name="connsiteX260" fmla="*/ 521017 w 1114425"/>
                <a:gd name="connsiteY260" fmla="*/ 1088708 h 1447800"/>
                <a:gd name="connsiteX261" fmla="*/ 521017 w 1114425"/>
                <a:gd name="connsiteY261" fmla="*/ 1084898 h 1447800"/>
                <a:gd name="connsiteX262" fmla="*/ 522922 w 1114425"/>
                <a:gd name="connsiteY262" fmla="*/ 1079183 h 1447800"/>
                <a:gd name="connsiteX263" fmla="*/ 525780 w 1114425"/>
                <a:gd name="connsiteY263" fmla="*/ 1074420 h 1447800"/>
                <a:gd name="connsiteX264" fmla="*/ 528638 w 1114425"/>
                <a:gd name="connsiteY264" fmla="*/ 1069658 h 1447800"/>
                <a:gd name="connsiteX265" fmla="*/ 531495 w 1114425"/>
                <a:gd name="connsiteY265" fmla="*/ 1062990 h 1447800"/>
                <a:gd name="connsiteX266" fmla="*/ 533400 w 1114425"/>
                <a:gd name="connsiteY266" fmla="*/ 1058227 h 1447800"/>
                <a:gd name="connsiteX267" fmla="*/ 532447 w 1114425"/>
                <a:gd name="connsiteY267" fmla="*/ 1054418 h 1447800"/>
                <a:gd name="connsiteX268" fmla="*/ 531495 w 1114425"/>
                <a:gd name="connsiteY268" fmla="*/ 1051560 h 1447800"/>
                <a:gd name="connsiteX269" fmla="*/ 521017 w 1114425"/>
                <a:gd name="connsiteY269" fmla="*/ 1034415 h 1447800"/>
                <a:gd name="connsiteX270" fmla="*/ 511492 w 1114425"/>
                <a:gd name="connsiteY270" fmla="*/ 1014413 h 1447800"/>
                <a:gd name="connsiteX271" fmla="*/ 507683 w 1114425"/>
                <a:gd name="connsiteY271" fmla="*/ 1009650 h 1447800"/>
                <a:gd name="connsiteX272" fmla="*/ 473392 w 1114425"/>
                <a:gd name="connsiteY272" fmla="*/ 977265 h 1447800"/>
                <a:gd name="connsiteX273" fmla="*/ 462915 w 1114425"/>
                <a:gd name="connsiteY273" fmla="*/ 969645 h 1447800"/>
                <a:gd name="connsiteX274" fmla="*/ 457200 w 1114425"/>
                <a:gd name="connsiteY274" fmla="*/ 963930 h 1447800"/>
                <a:gd name="connsiteX275" fmla="*/ 452438 w 1114425"/>
                <a:gd name="connsiteY275" fmla="*/ 958215 h 1447800"/>
                <a:gd name="connsiteX276" fmla="*/ 449580 w 1114425"/>
                <a:gd name="connsiteY276" fmla="*/ 955358 h 1447800"/>
                <a:gd name="connsiteX277" fmla="*/ 445770 w 1114425"/>
                <a:gd name="connsiteY277" fmla="*/ 953452 h 1447800"/>
                <a:gd name="connsiteX278" fmla="*/ 432435 w 1114425"/>
                <a:gd name="connsiteY278" fmla="*/ 953452 h 1447800"/>
                <a:gd name="connsiteX279" fmla="*/ 430530 w 1114425"/>
                <a:gd name="connsiteY279" fmla="*/ 953452 h 1447800"/>
                <a:gd name="connsiteX280" fmla="*/ 428625 w 1114425"/>
                <a:gd name="connsiteY280" fmla="*/ 950595 h 1447800"/>
                <a:gd name="connsiteX281" fmla="*/ 427673 w 1114425"/>
                <a:gd name="connsiteY281" fmla="*/ 941070 h 1447800"/>
                <a:gd name="connsiteX282" fmla="*/ 425767 w 1114425"/>
                <a:gd name="connsiteY282" fmla="*/ 931545 h 1447800"/>
                <a:gd name="connsiteX283" fmla="*/ 423863 w 1114425"/>
                <a:gd name="connsiteY283" fmla="*/ 926783 h 1447800"/>
                <a:gd name="connsiteX284" fmla="*/ 421005 w 1114425"/>
                <a:gd name="connsiteY284" fmla="*/ 922973 h 1447800"/>
                <a:gd name="connsiteX285" fmla="*/ 415290 w 1114425"/>
                <a:gd name="connsiteY285" fmla="*/ 918210 h 1447800"/>
                <a:gd name="connsiteX286" fmla="*/ 411480 w 1114425"/>
                <a:gd name="connsiteY286" fmla="*/ 915352 h 1447800"/>
                <a:gd name="connsiteX287" fmla="*/ 407670 w 1114425"/>
                <a:gd name="connsiteY287" fmla="*/ 912495 h 1447800"/>
                <a:gd name="connsiteX288" fmla="*/ 405765 w 1114425"/>
                <a:gd name="connsiteY288" fmla="*/ 913448 h 1447800"/>
                <a:gd name="connsiteX289" fmla="*/ 403860 w 1114425"/>
                <a:gd name="connsiteY289" fmla="*/ 915352 h 1447800"/>
                <a:gd name="connsiteX290" fmla="*/ 401003 w 1114425"/>
                <a:gd name="connsiteY290" fmla="*/ 922973 h 1447800"/>
                <a:gd name="connsiteX291" fmla="*/ 396240 w 1114425"/>
                <a:gd name="connsiteY291" fmla="*/ 930593 h 1447800"/>
                <a:gd name="connsiteX292" fmla="*/ 393383 w 1114425"/>
                <a:gd name="connsiteY292" fmla="*/ 934402 h 1447800"/>
                <a:gd name="connsiteX293" fmla="*/ 386715 w 1114425"/>
                <a:gd name="connsiteY293" fmla="*/ 939165 h 1447800"/>
                <a:gd name="connsiteX294" fmla="*/ 381953 w 1114425"/>
                <a:gd name="connsiteY294" fmla="*/ 941070 h 1447800"/>
                <a:gd name="connsiteX295" fmla="*/ 369570 w 1114425"/>
                <a:gd name="connsiteY295" fmla="*/ 942975 h 1447800"/>
                <a:gd name="connsiteX296" fmla="*/ 356235 w 1114425"/>
                <a:gd name="connsiteY296" fmla="*/ 942975 h 1447800"/>
                <a:gd name="connsiteX297" fmla="*/ 340042 w 1114425"/>
                <a:gd name="connsiteY297" fmla="*/ 939165 h 1447800"/>
                <a:gd name="connsiteX298" fmla="*/ 336233 w 1114425"/>
                <a:gd name="connsiteY298" fmla="*/ 937260 h 1447800"/>
                <a:gd name="connsiteX299" fmla="*/ 332423 w 1114425"/>
                <a:gd name="connsiteY299" fmla="*/ 934402 h 1447800"/>
                <a:gd name="connsiteX300" fmla="*/ 325755 w 1114425"/>
                <a:gd name="connsiteY300" fmla="*/ 927735 h 1447800"/>
                <a:gd name="connsiteX301" fmla="*/ 322898 w 1114425"/>
                <a:gd name="connsiteY301" fmla="*/ 922973 h 1447800"/>
                <a:gd name="connsiteX302" fmla="*/ 320992 w 1114425"/>
                <a:gd name="connsiteY302" fmla="*/ 919163 h 1447800"/>
                <a:gd name="connsiteX303" fmla="*/ 320040 w 1114425"/>
                <a:gd name="connsiteY303" fmla="*/ 916305 h 1447800"/>
                <a:gd name="connsiteX304" fmla="*/ 316230 w 1114425"/>
                <a:gd name="connsiteY304" fmla="*/ 892493 h 1447800"/>
                <a:gd name="connsiteX305" fmla="*/ 315278 w 1114425"/>
                <a:gd name="connsiteY305" fmla="*/ 882968 h 1447800"/>
                <a:gd name="connsiteX306" fmla="*/ 315278 w 1114425"/>
                <a:gd name="connsiteY306" fmla="*/ 876300 h 1447800"/>
                <a:gd name="connsiteX307" fmla="*/ 319088 w 1114425"/>
                <a:gd name="connsiteY307" fmla="*/ 856298 h 1447800"/>
                <a:gd name="connsiteX308" fmla="*/ 320040 w 1114425"/>
                <a:gd name="connsiteY308" fmla="*/ 853440 h 1447800"/>
                <a:gd name="connsiteX309" fmla="*/ 320992 w 1114425"/>
                <a:gd name="connsiteY309" fmla="*/ 846773 h 1447800"/>
                <a:gd name="connsiteX310" fmla="*/ 320992 w 1114425"/>
                <a:gd name="connsiteY310" fmla="*/ 843915 h 1447800"/>
                <a:gd name="connsiteX311" fmla="*/ 320040 w 1114425"/>
                <a:gd name="connsiteY311" fmla="*/ 838200 h 1447800"/>
                <a:gd name="connsiteX312" fmla="*/ 318135 w 1114425"/>
                <a:gd name="connsiteY312" fmla="*/ 832485 h 1447800"/>
                <a:gd name="connsiteX313" fmla="*/ 317183 w 1114425"/>
                <a:gd name="connsiteY313" fmla="*/ 823913 h 1447800"/>
                <a:gd name="connsiteX314" fmla="*/ 318135 w 1114425"/>
                <a:gd name="connsiteY314" fmla="*/ 819150 h 1447800"/>
                <a:gd name="connsiteX315" fmla="*/ 319088 w 1114425"/>
                <a:gd name="connsiteY315" fmla="*/ 811530 h 1447800"/>
                <a:gd name="connsiteX316" fmla="*/ 319088 w 1114425"/>
                <a:gd name="connsiteY316" fmla="*/ 807720 h 1447800"/>
                <a:gd name="connsiteX317" fmla="*/ 319088 w 1114425"/>
                <a:gd name="connsiteY317" fmla="*/ 802005 h 1447800"/>
                <a:gd name="connsiteX318" fmla="*/ 317183 w 1114425"/>
                <a:gd name="connsiteY318" fmla="*/ 799148 h 1447800"/>
                <a:gd name="connsiteX319" fmla="*/ 314325 w 1114425"/>
                <a:gd name="connsiteY319" fmla="*/ 797243 h 1447800"/>
                <a:gd name="connsiteX320" fmla="*/ 311467 w 1114425"/>
                <a:gd name="connsiteY320" fmla="*/ 797243 h 1447800"/>
                <a:gd name="connsiteX321" fmla="*/ 306705 w 1114425"/>
                <a:gd name="connsiteY321" fmla="*/ 798195 h 1447800"/>
                <a:gd name="connsiteX322" fmla="*/ 280988 w 1114425"/>
                <a:gd name="connsiteY322" fmla="*/ 815340 h 1447800"/>
                <a:gd name="connsiteX323" fmla="*/ 270510 w 1114425"/>
                <a:gd name="connsiteY323" fmla="*/ 820102 h 1447800"/>
                <a:gd name="connsiteX324" fmla="*/ 247650 w 1114425"/>
                <a:gd name="connsiteY324" fmla="*/ 823913 h 1447800"/>
                <a:gd name="connsiteX325" fmla="*/ 236220 w 1114425"/>
                <a:gd name="connsiteY325" fmla="*/ 831533 h 1447800"/>
                <a:gd name="connsiteX326" fmla="*/ 227648 w 1114425"/>
                <a:gd name="connsiteY326" fmla="*/ 841058 h 1447800"/>
                <a:gd name="connsiteX327" fmla="*/ 225742 w 1114425"/>
                <a:gd name="connsiteY327" fmla="*/ 842963 h 1447800"/>
                <a:gd name="connsiteX328" fmla="*/ 220980 w 1114425"/>
                <a:gd name="connsiteY328" fmla="*/ 845820 h 1447800"/>
                <a:gd name="connsiteX329" fmla="*/ 216217 w 1114425"/>
                <a:gd name="connsiteY329" fmla="*/ 847725 h 1447800"/>
                <a:gd name="connsiteX330" fmla="*/ 212408 w 1114425"/>
                <a:gd name="connsiteY330" fmla="*/ 847725 h 1447800"/>
                <a:gd name="connsiteX331" fmla="*/ 208598 w 1114425"/>
                <a:gd name="connsiteY331" fmla="*/ 846773 h 1447800"/>
                <a:gd name="connsiteX332" fmla="*/ 202883 w 1114425"/>
                <a:gd name="connsiteY332" fmla="*/ 843915 h 1447800"/>
                <a:gd name="connsiteX333" fmla="*/ 200025 w 1114425"/>
                <a:gd name="connsiteY333" fmla="*/ 842010 h 1447800"/>
                <a:gd name="connsiteX334" fmla="*/ 198120 w 1114425"/>
                <a:gd name="connsiteY334" fmla="*/ 839152 h 1447800"/>
                <a:gd name="connsiteX335" fmla="*/ 197167 w 1114425"/>
                <a:gd name="connsiteY335" fmla="*/ 836295 h 1447800"/>
                <a:gd name="connsiteX336" fmla="*/ 198120 w 1114425"/>
                <a:gd name="connsiteY336" fmla="*/ 829627 h 1447800"/>
                <a:gd name="connsiteX337" fmla="*/ 199073 w 1114425"/>
                <a:gd name="connsiteY337" fmla="*/ 823913 h 1447800"/>
                <a:gd name="connsiteX338" fmla="*/ 200977 w 1114425"/>
                <a:gd name="connsiteY338" fmla="*/ 818198 h 1447800"/>
                <a:gd name="connsiteX339" fmla="*/ 202883 w 1114425"/>
                <a:gd name="connsiteY339" fmla="*/ 811530 h 1447800"/>
                <a:gd name="connsiteX340" fmla="*/ 201930 w 1114425"/>
                <a:gd name="connsiteY340" fmla="*/ 806768 h 1447800"/>
                <a:gd name="connsiteX341" fmla="*/ 200977 w 1114425"/>
                <a:gd name="connsiteY341" fmla="*/ 802005 h 1447800"/>
                <a:gd name="connsiteX342" fmla="*/ 197167 w 1114425"/>
                <a:gd name="connsiteY342" fmla="*/ 793433 h 1447800"/>
                <a:gd name="connsiteX343" fmla="*/ 195263 w 1114425"/>
                <a:gd name="connsiteY343" fmla="*/ 789623 h 1447800"/>
                <a:gd name="connsiteX344" fmla="*/ 190500 w 1114425"/>
                <a:gd name="connsiteY344" fmla="*/ 783908 h 1447800"/>
                <a:gd name="connsiteX345" fmla="*/ 186690 w 1114425"/>
                <a:gd name="connsiteY345" fmla="*/ 781050 h 1447800"/>
                <a:gd name="connsiteX346" fmla="*/ 181927 w 1114425"/>
                <a:gd name="connsiteY346" fmla="*/ 779145 h 1447800"/>
                <a:gd name="connsiteX347" fmla="*/ 175260 w 1114425"/>
                <a:gd name="connsiteY347" fmla="*/ 778193 h 1447800"/>
                <a:gd name="connsiteX348" fmla="*/ 170498 w 1114425"/>
                <a:gd name="connsiteY348" fmla="*/ 776288 h 1447800"/>
                <a:gd name="connsiteX349" fmla="*/ 165735 w 1114425"/>
                <a:gd name="connsiteY349" fmla="*/ 773430 h 1447800"/>
                <a:gd name="connsiteX350" fmla="*/ 136208 w 1114425"/>
                <a:gd name="connsiteY350" fmla="*/ 748665 h 1447800"/>
                <a:gd name="connsiteX351" fmla="*/ 133350 w 1114425"/>
                <a:gd name="connsiteY351" fmla="*/ 744855 h 1447800"/>
                <a:gd name="connsiteX352" fmla="*/ 131445 w 1114425"/>
                <a:gd name="connsiteY352" fmla="*/ 741045 h 1447800"/>
                <a:gd name="connsiteX353" fmla="*/ 130492 w 1114425"/>
                <a:gd name="connsiteY353" fmla="*/ 735330 h 1447800"/>
                <a:gd name="connsiteX354" fmla="*/ 132398 w 1114425"/>
                <a:gd name="connsiteY354" fmla="*/ 724852 h 1447800"/>
                <a:gd name="connsiteX355" fmla="*/ 132398 w 1114425"/>
                <a:gd name="connsiteY355" fmla="*/ 720090 h 1447800"/>
                <a:gd name="connsiteX356" fmla="*/ 130492 w 1114425"/>
                <a:gd name="connsiteY356" fmla="*/ 713423 h 1447800"/>
                <a:gd name="connsiteX357" fmla="*/ 128588 w 1114425"/>
                <a:gd name="connsiteY357" fmla="*/ 710565 h 1447800"/>
                <a:gd name="connsiteX358" fmla="*/ 125730 w 1114425"/>
                <a:gd name="connsiteY358" fmla="*/ 708660 h 1447800"/>
                <a:gd name="connsiteX359" fmla="*/ 120015 w 1114425"/>
                <a:gd name="connsiteY359" fmla="*/ 706755 h 1447800"/>
                <a:gd name="connsiteX360" fmla="*/ 113348 w 1114425"/>
                <a:gd name="connsiteY360" fmla="*/ 705802 h 1447800"/>
                <a:gd name="connsiteX361" fmla="*/ 106680 w 1114425"/>
                <a:gd name="connsiteY361" fmla="*/ 705802 h 1447800"/>
                <a:gd name="connsiteX362" fmla="*/ 100965 w 1114425"/>
                <a:gd name="connsiteY362" fmla="*/ 706755 h 1447800"/>
                <a:gd name="connsiteX363" fmla="*/ 93345 w 1114425"/>
                <a:gd name="connsiteY363" fmla="*/ 709613 h 1447800"/>
                <a:gd name="connsiteX364" fmla="*/ 88583 w 1114425"/>
                <a:gd name="connsiteY364" fmla="*/ 709613 h 1447800"/>
                <a:gd name="connsiteX365" fmla="*/ 84773 w 1114425"/>
                <a:gd name="connsiteY365" fmla="*/ 708660 h 1447800"/>
                <a:gd name="connsiteX366" fmla="*/ 75248 w 1114425"/>
                <a:gd name="connsiteY366" fmla="*/ 701040 h 1447800"/>
                <a:gd name="connsiteX367" fmla="*/ 41910 w 1114425"/>
                <a:gd name="connsiteY367" fmla="*/ 661035 h 1447800"/>
                <a:gd name="connsiteX368" fmla="*/ 21908 w 1114425"/>
                <a:gd name="connsiteY368" fmla="*/ 651510 h 1447800"/>
                <a:gd name="connsiteX369" fmla="*/ 0 w 1114425"/>
                <a:gd name="connsiteY369" fmla="*/ 645795 h 1447800"/>
                <a:gd name="connsiteX370" fmla="*/ 22860 w 1114425"/>
                <a:gd name="connsiteY370" fmla="*/ 557213 h 1447800"/>
                <a:gd name="connsiteX371" fmla="*/ 21908 w 1114425"/>
                <a:gd name="connsiteY371" fmla="*/ 550545 h 1447800"/>
                <a:gd name="connsiteX372" fmla="*/ 20955 w 1114425"/>
                <a:gd name="connsiteY372" fmla="*/ 541973 h 1447800"/>
                <a:gd name="connsiteX373" fmla="*/ 19050 w 1114425"/>
                <a:gd name="connsiteY373" fmla="*/ 536258 h 1447800"/>
                <a:gd name="connsiteX374" fmla="*/ 16192 w 1114425"/>
                <a:gd name="connsiteY374" fmla="*/ 531495 h 1447800"/>
                <a:gd name="connsiteX375" fmla="*/ 10477 w 1114425"/>
                <a:gd name="connsiteY375" fmla="*/ 523875 h 1447800"/>
                <a:gd name="connsiteX376" fmla="*/ 8573 w 1114425"/>
                <a:gd name="connsiteY376" fmla="*/ 520065 h 1447800"/>
                <a:gd name="connsiteX377" fmla="*/ 8573 w 1114425"/>
                <a:gd name="connsiteY377" fmla="*/ 516255 h 1447800"/>
                <a:gd name="connsiteX378" fmla="*/ 8573 w 1114425"/>
                <a:gd name="connsiteY378" fmla="*/ 513398 h 1447800"/>
                <a:gd name="connsiteX379" fmla="*/ 10477 w 1114425"/>
                <a:gd name="connsiteY379" fmla="*/ 507683 h 1447800"/>
                <a:gd name="connsiteX380" fmla="*/ 22860 w 1114425"/>
                <a:gd name="connsiteY380" fmla="*/ 448627 h 1447800"/>
                <a:gd name="connsiteX381" fmla="*/ 25717 w 1114425"/>
                <a:gd name="connsiteY381" fmla="*/ 441960 h 1447800"/>
                <a:gd name="connsiteX382" fmla="*/ 34290 w 1114425"/>
                <a:gd name="connsiteY382" fmla="*/ 436245 h 1447800"/>
                <a:gd name="connsiteX383" fmla="*/ 45720 w 1114425"/>
                <a:gd name="connsiteY383" fmla="*/ 425767 h 1447800"/>
                <a:gd name="connsiteX384" fmla="*/ 47625 w 1114425"/>
                <a:gd name="connsiteY384" fmla="*/ 423863 h 1447800"/>
                <a:gd name="connsiteX385" fmla="*/ 57150 w 1114425"/>
                <a:gd name="connsiteY385" fmla="*/ 415290 h 1447800"/>
                <a:gd name="connsiteX386" fmla="*/ 60960 w 1114425"/>
                <a:gd name="connsiteY386" fmla="*/ 408623 h 1447800"/>
                <a:gd name="connsiteX387" fmla="*/ 64770 w 1114425"/>
                <a:gd name="connsiteY387" fmla="*/ 399098 h 1447800"/>
                <a:gd name="connsiteX388" fmla="*/ 78105 w 1114425"/>
                <a:gd name="connsiteY388" fmla="*/ 357188 h 1447800"/>
                <a:gd name="connsiteX389" fmla="*/ 80010 w 1114425"/>
                <a:gd name="connsiteY389" fmla="*/ 354330 h 1447800"/>
                <a:gd name="connsiteX390" fmla="*/ 84773 w 1114425"/>
                <a:gd name="connsiteY390" fmla="*/ 347663 h 1447800"/>
                <a:gd name="connsiteX391" fmla="*/ 94298 w 1114425"/>
                <a:gd name="connsiteY391" fmla="*/ 340042 h 1447800"/>
                <a:gd name="connsiteX392" fmla="*/ 102870 w 1114425"/>
                <a:gd name="connsiteY392" fmla="*/ 334327 h 1447800"/>
                <a:gd name="connsiteX393" fmla="*/ 108585 w 1114425"/>
                <a:gd name="connsiteY393" fmla="*/ 332423 h 1447800"/>
                <a:gd name="connsiteX394" fmla="*/ 117158 w 1114425"/>
                <a:gd name="connsiteY394" fmla="*/ 331470 h 1447800"/>
                <a:gd name="connsiteX395" fmla="*/ 169545 w 1114425"/>
                <a:gd name="connsiteY395" fmla="*/ 339090 h 1447800"/>
                <a:gd name="connsiteX396" fmla="*/ 196215 w 1114425"/>
                <a:gd name="connsiteY396" fmla="*/ 337185 h 1447800"/>
                <a:gd name="connsiteX397" fmla="*/ 200025 w 1114425"/>
                <a:gd name="connsiteY397" fmla="*/ 336233 h 1447800"/>
                <a:gd name="connsiteX398" fmla="*/ 204788 w 1114425"/>
                <a:gd name="connsiteY398" fmla="*/ 333375 h 1447800"/>
                <a:gd name="connsiteX399" fmla="*/ 216217 w 1114425"/>
                <a:gd name="connsiteY399" fmla="*/ 322898 h 1447800"/>
                <a:gd name="connsiteX400" fmla="*/ 220027 w 1114425"/>
                <a:gd name="connsiteY400" fmla="*/ 320992 h 1447800"/>
                <a:gd name="connsiteX401" fmla="*/ 222885 w 1114425"/>
                <a:gd name="connsiteY401" fmla="*/ 320992 h 1447800"/>
                <a:gd name="connsiteX402" fmla="*/ 229552 w 1114425"/>
                <a:gd name="connsiteY402" fmla="*/ 321945 h 1447800"/>
                <a:gd name="connsiteX403" fmla="*/ 248602 w 1114425"/>
                <a:gd name="connsiteY403" fmla="*/ 329565 h 1447800"/>
                <a:gd name="connsiteX404" fmla="*/ 252413 w 1114425"/>
                <a:gd name="connsiteY404" fmla="*/ 328613 h 1447800"/>
                <a:gd name="connsiteX405" fmla="*/ 259080 w 1114425"/>
                <a:gd name="connsiteY405" fmla="*/ 325755 h 1447800"/>
                <a:gd name="connsiteX406" fmla="*/ 282892 w 1114425"/>
                <a:gd name="connsiteY406" fmla="*/ 308610 h 1447800"/>
                <a:gd name="connsiteX407" fmla="*/ 287655 w 1114425"/>
                <a:gd name="connsiteY407" fmla="*/ 306705 h 1447800"/>
                <a:gd name="connsiteX408" fmla="*/ 290513 w 1114425"/>
                <a:gd name="connsiteY408" fmla="*/ 306705 h 1447800"/>
                <a:gd name="connsiteX409" fmla="*/ 297180 w 1114425"/>
                <a:gd name="connsiteY409" fmla="*/ 307658 h 1447800"/>
                <a:gd name="connsiteX410" fmla="*/ 320040 w 1114425"/>
                <a:gd name="connsiteY410" fmla="*/ 315277 h 1447800"/>
                <a:gd name="connsiteX411" fmla="*/ 323850 w 1114425"/>
                <a:gd name="connsiteY411" fmla="*/ 315277 h 1447800"/>
                <a:gd name="connsiteX412" fmla="*/ 329565 w 1114425"/>
                <a:gd name="connsiteY412" fmla="*/ 315277 h 1447800"/>
                <a:gd name="connsiteX413" fmla="*/ 354330 w 1114425"/>
                <a:gd name="connsiteY413" fmla="*/ 303848 h 1447800"/>
                <a:gd name="connsiteX414" fmla="*/ 360045 w 1114425"/>
                <a:gd name="connsiteY414" fmla="*/ 302895 h 1447800"/>
                <a:gd name="connsiteX415" fmla="*/ 373380 w 1114425"/>
                <a:gd name="connsiteY415" fmla="*/ 303848 h 1447800"/>
                <a:gd name="connsiteX416" fmla="*/ 385763 w 1114425"/>
                <a:gd name="connsiteY416" fmla="*/ 300990 h 1447800"/>
                <a:gd name="connsiteX417" fmla="*/ 390525 w 1114425"/>
                <a:gd name="connsiteY417" fmla="*/ 299085 h 1447800"/>
                <a:gd name="connsiteX418" fmla="*/ 413385 w 1114425"/>
                <a:gd name="connsiteY418" fmla="*/ 285750 h 1447800"/>
                <a:gd name="connsiteX419" fmla="*/ 434340 w 1114425"/>
                <a:gd name="connsiteY419" fmla="*/ 277177 h 1447800"/>
                <a:gd name="connsiteX420" fmla="*/ 440055 w 1114425"/>
                <a:gd name="connsiteY420" fmla="*/ 276225 h 1447800"/>
                <a:gd name="connsiteX421" fmla="*/ 442913 w 1114425"/>
                <a:gd name="connsiteY421" fmla="*/ 276225 h 1447800"/>
                <a:gd name="connsiteX422" fmla="*/ 449580 w 1114425"/>
                <a:gd name="connsiteY422" fmla="*/ 277177 h 1447800"/>
                <a:gd name="connsiteX423" fmla="*/ 451485 w 1114425"/>
                <a:gd name="connsiteY423" fmla="*/ 278130 h 1447800"/>
                <a:gd name="connsiteX424" fmla="*/ 455295 w 1114425"/>
                <a:gd name="connsiteY424" fmla="*/ 279083 h 1447800"/>
                <a:gd name="connsiteX425" fmla="*/ 460058 w 1114425"/>
                <a:gd name="connsiteY425" fmla="*/ 278130 h 1447800"/>
                <a:gd name="connsiteX426" fmla="*/ 470535 w 1114425"/>
                <a:gd name="connsiteY426" fmla="*/ 274320 h 1447800"/>
                <a:gd name="connsiteX427" fmla="*/ 475297 w 1114425"/>
                <a:gd name="connsiteY427" fmla="*/ 270510 h 1447800"/>
                <a:gd name="connsiteX428" fmla="*/ 479108 w 1114425"/>
                <a:gd name="connsiteY428" fmla="*/ 267652 h 1447800"/>
                <a:gd name="connsiteX429" fmla="*/ 481965 w 1114425"/>
                <a:gd name="connsiteY429" fmla="*/ 261938 h 1447800"/>
                <a:gd name="connsiteX430" fmla="*/ 481965 w 1114425"/>
                <a:gd name="connsiteY430" fmla="*/ 256223 h 1447800"/>
                <a:gd name="connsiteX431" fmla="*/ 481013 w 1114425"/>
                <a:gd name="connsiteY431" fmla="*/ 253365 h 1447800"/>
                <a:gd name="connsiteX432" fmla="*/ 470535 w 1114425"/>
                <a:gd name="connsiteY432" fmla="*/ 240030 h 1447800"/>
                <a:gd name="connsiteX433" fmla="*/ 466725 w 1114425"/>
                <a:gd name="connsiteY433" fmla="*/ 234315 h 1447800"/>
                <a:gd name="connsiteX434" fmla="*/ 460058 w 1114425"/>
                <a:gd name="connsiteY434" fmla="*/ 238125 h 1447800"/>
                <a:gd name="connsiteX435" fmla="*/ 450533 w 1114425"/>
                <a:gd name="connsiteY435" fmla="*/ 237173 h 1447800"/>
                <a:gd name="connsiteX436" fmla="*/ 438150 w 1114425"/>
                <a:gd name="connsiteY436" fmla="*/ 233363 h 1447800"/>
                <a:gd name="connsiteX437" fmla="*/ 434340 w 1114425"/>
                <a:gd name="connsiteY437" fmla="*/ 229552 h 1447800"/>
                <a:gd name="connsiteX438" fmla="*/ 433388 w 1114425"/>
                <a:gd name="connsiteY438" fmla="*/ 210502 h 1447800"/>
                <a:gd name="connsiteX439" fmla="*/ 433388 w 1114425"/>
                <a:gd name="connsiteY439" fmla="*/ 206692 h 1447800"/>
                <a:gd name="connsiteX440" fmla="*/ 434340 w 1114425"/>
                <a:gd name="connsiteY440" fmla="*/ 203835 h 1447800"/>
                <a:gd name="connsiteX441" fmla="*/ 438150 w 1114425"/>
                <a:gd name="connsiteY441" fmla="*/ 195263 h 1447800"/>
                <a:gd name="connsiteX442" fmla="*/ 439103 w 1114425"/>
                <a:gd name="connsiteY442" fmla="*/ 191452 h 1447800"/>
                <a:gd name="connsiteX443" fmla="*/ 440055 w 1114425"/>
                <a:gd name="connsiteY443" fmla="*/ 188595 h 1447800"/>
                <a:gd name="connsiteX444" fmla="*/ 439103 w 1114425"/>
                <a:gd name="connsiteY444" fmla="*/ 185738 h 1447800"/>
                <a:gd name="connsiteX445" fmla="*/ 436245 w 1114425"/>
                <a:gd name="connsiteY445" fmla="*/ 181927 h 1447800"/>
                <a:gd name="connsiteX446" fmla="*/ 431483 w 1114425"/>
                <a:gd name="connsiteY446" fmla="*/ 179070 h 1447800"/>
                <a:gd name="connsiteX447" fmla="*/ 428625 w 1114425"/>
                <a:gd name="connsiteY447" fmla="*/ 178117 h 1447800"/>
                <a:gd name="connsiteX448" fmla="*/ 425767 w 1114425"/>
                <a:gd name="connsiteY448" fmla="*/ 179070 h 1447800"/>
                <a:gd name="connsiteX449" fmla="*/ 422910 w 1114425"/>
                <a:gd name="connsiteY449" fmla="*/ 180023 h 1447800"/>
                <a:gd name="connsiteX450" fmla="*/ 411480 w 1114425"/>
                <a:gd name="connsiteY450" fmla="*/ 190500 h 1447800"/>
                <a:gd name="connsiteX451" fmla="*/ 406717 w 1114425"/>
                <a:gd name="connsiteY451" fmla="*/ 193358 h 1447800"/>
                <a:gd name="connsiteX452" fmla="*/ 404813 w 1114425"/>
                <a:gd name="connsiteY452" fmla="*/ 193358 h 1447800"/>
                <a:gd name="connsiteX453" fmla="*/ 401955 w 1114425"/>
                <a:gd name="connsiteY453" fmla="*/ 193358 h 1447800"/>
                <a:gd name="connsiteX454" fmla="*/ 399098 w 1114425"/>
                <a:gd name="connsiteY454" fmla="*/ 192405 h 1447800"/>
                <a:gd name="connsiteX455" fmla="*/ 396240 w 1114425"/>
                <a:gd name="connsiteY455" fmla="*/ 187642 h 1447800"/>
                <a:gd name="connsiteX456" fmla="*/ 395288 w 1114425"/>
                <a:gd name="connsiteY456" fmla="*/ 184785 h 1447800"/>
                <a:gd name="connsiteX457" fmla="*/ 395288 w 1114425"/>
                <a:gd name="connsiteY457" fmla="*/ 180975 h 1447800"/>
                <a:gd name="connsiteX458" fmla="*/ 396240 w 1114425"/>
                <a:gd name="connsiteY458" fmla="*/ 175260 h 1447800"/>
                <a:gd name="connsiteX459" fmla="*/ 398145 w 1114425"/>
                <a:gd name="connsiteY459" fmla="*/ 172402 h 1447800"/>
                <a:gd name="connsiteX460" fmla="*/ 400050 w 1114425"/>
                <a:gd name="connsiteY460" fmla="*/ 170498 h 1447800"/>
                <a:gd name="connsiteX461" fmla="*/ 410528 w 1114425"/>
                <a:gd name="connsiteY461" fmla="*/ 166688 h 1447800"/>
                <a:gd name="connsiteX462" fmla="*/ 416242 w 1114425"/>
                <a:gd name="connsiteY462" fmla="*/ 165735 h 1447800"/>
                <a:gd name="connsiteX463" fmla="*/ 427673 w 1114425"/>
                <a:gd name="connsiteY463" fmla="*/ 165735 h 1447800"/>
                <a:gd name="connsiteX464" fmla="*/ 435292 w 1114425"/>
                <a:gd name="connsiteY464" fmla="*/ 163830 h 1447800"/>
                <a:gd name="connsiteX465" fmla="*/ 441008 w 1114425"/>
                <a:gd name="connsiteY465" fmla="*/ 160973 h 1447800"/>
                <a:gd name="connsiteX466" fmla="*/ 444817 w 1114425"/>
                <a:gd name="connsiteY466" fmla="*/ 157163 h 1447800"/>
                <a:gd name="connsiteX467" fmla="*/ 449580 w 1114425"/>
                <a:gd name="connsiteY467" fmla="*/ 149542 h 1447800"/>
                <a:gd name="connsiteX468" fmla="*/ 466725 w 1114425"/>
                <a:gd name="connsiteY468" fmla="*/ 131445 h 1447800"/>
                <a:gd name="connsiteX469" fmla="*/ 469583 w 1114425"/>
                <a:gd name="connsiteY469" fmla="*/ 127635 h 1447800"/>
                <a:gd name="connsiteX470" fmla="*/ 470535 w 1114425"/>
                <a:gd name="connsiteY470" fmla="*/ 124777 h 1447800"/>
                <a:gd name="connsiteX471" fmla="*/ 469583 w 1114425"/>
                <a:gd name="connsiteY471" fmla="*/ 121920 h 1447800"/>
                <a:gd name="connsiteX472" fmla="*/ 466725 w 1114425"/>
                <a:gd name="connsiteY472" fmla="*/ 118110 h 1447800"/>
                <a:gd name="connsiteX473" fmla="*/ 450533 w 1114425"/>
                <a:gd name="connsiteY473" fmla="*/ 107633 h 1447800"/>
                <a:gd name="connsiteX474" fmla="*/ 448628 w 1114425"/>
                <a:gd name="connsiteY474" fmla="*/ 105727 h 1447800"/>
                <a:gd name="connsiteX475" fmla="*/ 449580 w 1114425"/>
                <a:gd name="connsiteY475" fmla="*/ 100965 h 1447800"/>
                <a:gd name="connsiteX476" fmla="*/ 452438 w 1114425"/>
                <a:gd name="connsiteY476" fmla="*/ 92392 h 1447800"/>
                <a:gd name="connsiteX477" fmla="*/ 468630 w 1114425"/>
                <a:gd name="connsiteY477" fmla="*/ 66675 h 1447800"/>
                <a:gd name="connsiteX478" fmla="*/ 471488 w 1114425"/>
                <a:gd name="connsiteY478" fmla="*/ 60960 h 1447800"/>
                <a:gd name="connsiteX479" fmla="*/ 472440 w 1114425"/>
                <a:gd name="connsiteY479" fmla="*/ 54292 h 1447800"/>
                <a:gd name="connsiteX480" fmla="*/ 470535 w 1114425"/>
                <a:gd name="connsiteY480" fmla="*/ 48577 h 1447800"/>
                <a:gd name="connsiteX481" fmla="*/ 468630 w 1114425"/>
                <a:gd name="connsiteY481" fmla="*/ 42863 h 1447800"/>
                <a:gd name="connsiteX482" fmla="*/ 464820 w 1114425"/>
                <a:gd name="connsiteY482" fmla="*/ 36195 h 1447800"/>
                <a:gd name="connsiteX483" fmla="*/ 463867 w 1114425"/>
                <a:gd name="connsiteY483" fmla="*/ 33338 h 1447800"/>
                <a:gd name="connsiteX484" fmla="*/ 464820 w 1114425"/>
                <a:gd name="connsiteY484" fmla="*/ 28575 h 1447800"/>
                <a:gd name="connsiteX485" fmla="*/ 466725 w 1114425"/>
                <a:gd name="connsiteY485" fmla="*/ 23813 h 1447800"/>
                <a:gd name="connsiteX486" fmla="*/ 471488 w 1114425"/>
                <a:gd name="connsiteY486" fmla="*/ 14288 h 1447800"/>
                <a:gd name="connsiteX487" fmla="*/ 475297 w 1114425"/>
                <a:gd name="connsiteY487" fmla="*/ 9525 h 1447800"/>
                <a:gd name="connsiteX488" fmla="*/ 478155 w 1114425"/>
                <a:gd name="connsiteY488" fmla="*/ 6667 h 1447800"/>
                <a:gd name="connsiteX489" fmla="*/ 480060 w 1114425"/>
                <a:gd name="connsiteY489" fmla="*/ 5715 h 1447800"/>
                <a:gd name="connsiteX490" fmla="*/ 483870 w 1114425"/>
                <a:gd name="connsiteY490" fmla="*/ 5715 h 1447800"/>
                <a:gd name="connsiteX491" fmla="*/ 501967 w 1114425"/>
                <a:gd name="connsiteY491" fmla="*/ 10478 h 1447800"/>
                <a:gd name="connsiteX492" fmla="*/ 508635 w 1114425"/>
                <a:gd name="connsiteY492" fmla="*/ 10478 h 1447800"/>
                <a:gd name="connsiteX493" fmla="*/ 548640 w 1114425"/>
                <a:gd name="connsiteY493" fmla="*/ 0 h 1447800"/>
                <a:gd name="connsiteX494" fmla="*/ 554355 w 1114425"/>
                <a:gd name="connsiteY494" fmla="*/ 0 h 1447800"/>
                <a:gd name="connsiteX495" fmla="*/ 561022 w 1114425"/>
                <a:gd name="connsiteY495" fmla="*/ 1905 h 1447800"/>
                <a:gd name="connsiteX496" fmla="*/ 565785 w 1114425"/>
                <a:gd name="connsiteY496" fmla="*/ 3810 h 1447800"/>
                <a:gd name="connsiteX497" fmla="*/ 570547 w 1114425"/>
                <a:gd name="connsiteY497" fmla="*/ 6667 h 1447800"/>
                <a:gd name="connsiteX498" fmla="*/ 582930 w 1114425"/>
                <a:gd name="connsiteY498" fmla="*/ 17145 h 1447800"/>
                <a:gd name="connsiteX499" fmla="*/ 584835 w 1114425"/>
                <a:gd name="connsiteY499" fmla="*/ 19050 h 1447800"/>
                <a:gd name="connsiteX500" fmla="*/ 588645 w 1114425"/>
                <a:gd name="connsiteY500" fmla="*/ 21908 h 1447800"/>
                <a:gd name="connsiteX501" fmla="*/ 591503 w 1114425"/>
                <a:gd name="connsiteY501" fmla="*/ 21908 h 1447800"/>
                <a:gd name="connsiteX502" fmla="*/ 596265 w 1114425"/>
                <a:gd name="connsiteY502" fmla="*/ 20955 h 1447800"/>
                <a:gd name="connsiteX503" fmla="*/ 601028 w 1114425"/>
                <a:gd name="connsiteY503" fmla="*/ 22860 h 1447800"/>
                <a:gd name="connsiteX504" fmla="*/ 605790 w 1114425"/>
                <a:gd name="connsiteY504" fmla="*/ 25717 h 1447800"/>
                <a:gd name="connsiteX505" fmla="*/ 611505 w 1114425"/>
                <a:gd name="connsiteY505" fmla="*/ 26670 h 1447800"/>
                <a:gd name="connsiteX506" fmla="*/ 619125 w 1114425"/>
                <a:gd name="connsiteY506" fmla="*/ 26670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</a:cxnLst>
              <a:rect l="l" t="t" r="r" b="b"/>
              <a:pathLst>
                <a:path w="1114425" h="1447800">
                  <a:moveTo>
                    <a:pt x="619125" y="26670"/>
                  </a:moveTo>
                  <a:lnTo>
                    <a:pt x="661988" y="93345"/>
                  </a:lnTo>
                  <a:lnTo>
                    <a:pt x="670560" y="109538"/>
                  </a:lnTo>
                  <a:lnTo>
                    <a:pt x="680085" y="136208"/>
                  </a:lnTo>
                  <a:lnTo>
                    <a:pt x="681990" y="141923"/>
                  </a:lnTo>
                  <a:lnTo>
                    <a:pt x="685800" y="149542"/>
                  </a:lnTo>
                  <a:lnTo>
                    <a:pt x="685800" y="153352"/>
                  </a:lnTo>
                  <a:lnTo>
                    <a:pt x="684847" y="156210"/>
                  </a:lnTo>
                  <a:lnTo>
                    <a:pt x="681990" y="160973"/>
                  </a:lnTo>
                  <a:lnTo>
                    <a:pt x="681038" y="167640"/>
                  </a:lnTo>
                  <a:lnTo>
                    <a:pt x="681038" y="170498"/>
                  </a:lnTo>
                  <a:lnTo>
                    <a:pt x="681990" y="176213"/>
                  </a:lnTo>
                  <a:lnTo>
                    <a:pt x="682943" y="179070"/>
                  </a:lnTo>
                  <a:lnTo>
                    <a:pt x="684847" y="184785"/>
                  </a:lnTo>
                  <a:lnTo>
                    <a:pt x="686753" y="200025"/>
                  </a:lnTo>
                  <a:lnTo>
                    <a:pt x="687705" y="209550"/>
                  </a:lnTo>
                  <a:lnTo>
                    <a:pt x="688658" y="212408"/>
                  </a:lnTo>
                  <a:lnTo>
                    <a:pt x="689610" y="215265"/>
                  </a:lnTo>
                  <a:lnTo>
                    <a:pt x="692468" y="218123"/>
                  </a:lnTo>
                  <a:lnTo>
                    <a:pt x="702945" y="221933"/>
                  </a:lnTo>
                  <a:lnTo>
                    <a:pt x="705803" y="225742"/>
                  </a:lnTo>
                  <a:lnTo>
                    <a:pt x="707708" y="231458"/>
                  </a:lnTo>
                  <a:lnTo>
                    <a:pt x="709613" y="239077"/>
                  </a:lnTo>
                  <a:lnTo>
                    <a:pt x="711518" y="247650"/>
                  </a:lnTo>
                  <a:lnTo>
                    <a:pt x="711518" y="254317"/>
                  </a:lnTo>
                  <a:lnTo>
                    <a:pt x="710565" y="260985"/>
                  </a:lnTo>
                  <a:lnTo>
                    <a:pt x="708660" y="266700"/>
                  </a:lnTo>
                  <a:lnTo>
                    <a:pt x="706755" y="268605"/>
                  </a:lnTo>
                  <a:lnTo>
                    <a:pt x="699135" y="275273"/>
                  </a:lnTo>
                  <a:lnTo>
                    <a:pt x="696278" y="280035"/>
                  </a:lnTo>
                  <a:lnTo>
                    <a:pt x="695325" y="285750"/>
                  </a:lnTo>
                  <a:lnTo>
                    <a:pt x="695325" y="287655"/>
                  </a:lnTo>
                  <a:lnTo>
                    <a:pt x="699135" y="298133"/>
                  </a:lnTo>
                  <a:lnTo>
                    <a:pt x="700088" y="301942"/>
                  </a:lnTo>
                  <a:lnTo>
                    <a:pt x="700088" y="308610"/>
                  </a:lnTo>
                  <a:lnTo>
                    <a:pt x="699135" y="315277"/>
                  </a:lnTo>
                  <a:lnTo>
                    <a:pt x="698183" y="321945"/>
                  </a:lnTo>
                  <a:lnTo>
                    <a:pt x="700088" y="327660"/>
                  </a:lnTo>
                  <a:lnTo>
                    <a:pt x="702945" y="332423"/>
                  </a:lnTo>
                  <a:lnTo>
                    <a:pt x="705803" y="334327"/>
                  </a:lnTo>
                  <a:lnTo>
                    <a:pt x="710565" y="334327"/>
                  </a:lnTo>
                  <a:lnTo>
                    <a:pt x="713422" y="333375"/>
                  </a:lnTo>
                  <a:lnTo>
                    <a:pt x="721995" y="326708"/>
                  </a:lnTo>
                  <a:lnTo>
                    <a:pt x="727710" y="324802"/>
                  </a:lnTo>
                  <a:lnTo>
                    <a:pt x="729615" y="324802"/>
                  </a:lnTo>
                  <a:lnTo>
                    <a:pt x="740093" y="329565"/>
                  </a:lnTo>
                  <a:lnTo>
                    <a:pt x="756285" y="332423"/>
                  </a:lnTo>
                  <a:lnTo>
                    <a:pt x="759143" y="335280"/>
                  </a:lnTo>
                  <a:lnTo>
                    <a:pt x="761047" y="338138"/>
                  </a:lnTo>
                  <a:lnTo>
                    <a:pt x="763905" y="343852"/>
                  </a:lnTo>
                  <a:lnTo>
                    <a:pt x="764858" y="347663"/>
                  </a:lnTo>
                  <a:lnTo>
                    <a:pt x="765810" y="352425"/>
                  </a:lnTo>
                  <a:lnTo>
                    <a:pt x="765810" y="359092"/>
                  </a:lnTo>
                  <a:lnTo>
                    <a:pt x="766763" y="364808"/>
                  </a:lnTo>
                  <a:lnTo>
                    <a:pt x="769620" y="369570"/>
                  </a:lnTo>
                  <a:lnTo>
                    <a:pt x="769620" y="375285"/>
                  </a:lnTo>
                  <a:lnTo>
                    <a:pt x="769620" y="378142"/>
                  </a:lnTo>
                  <a:lnTo>
                    <a:pt x="765810" y="381952"/>
                  </a:lnTo>
                  <a:lnTo>
                    <a:pt x="763905" y="383858"/>
                  </a:lnTo>
                  <a:lnTo>
                    <a:pt x="759143" y="385763"/>
                  </a:lnTo>
                  <a:lnTo>
                    <a:pt x="756285" y="384810"/>
                  </a:lnTo>
                  <a:lnTo>
                    <a:pt x="750570" y="383858"/>
                  </a:lnTo>
                  <a:lnTo>
                    <a:pt x="735330" y="375285"/>
                  </a:lnTo>
                  <a:lnTo>
                    <a:pt x="728663" y="374333"/>
                  </a:lnTo>
                  <a:lnTo>
                    <a:pt x="722947" y="374333"/>
                  </a:lnTo>
                  <a:lnTo>
                    <a:pt x="720090" y="376238"/>
                  </a:lnTo>
                  <a:lnTo>
                    <a:pt x="719138" y="378142"/>
                  </a:lnTo>
                  <a:lnTo>
                    <a:pt x="718185" y="381000"/>
                  </a:lnTo>
                  <a:lnTo>
                    <a:pt x="718185" y="386715"/>
                  </a:lnTo>
                  <a:lnTo>
                    <a:pt x="720090" y="391477"/>
                  </a:lnTo>
                  <a:lnTo>
                    <a:pt x="725805" y="396240"/>
                  </a:lnTo>
                  <a:lnTo>
                    <a:pt x="742950" y="403860"/>
                  </a:lnTo>
                  <a:lnTo>
                    <a:pt x="747713" y="406717"/>
                  </a:lnTo>
                  <a:lnTo>
                    <a:pt x="750570" y="412433"/>
                  </a:lnTo>
                  <a:lnTo>
                    <a:pt x="752475" y="422910"/>
                  </a:lnTo>
                  <a:lnTo>
                    <a:pt x="754380" y="429577"/>
                  </a:lnTo>
                  <a:lnTo>
                    <a:pt x="762000" y="441960"/>
                  </a:lnTo>
                  <a:lnTo>
                    <a:pt x="769620" y="448627"/>
                  </a:lnTo>
                  <a:lnTo>
                    <a:pt x="779145" y="448627"/>
                  </a:lnTo>
                  <a:lnTo>
                    <a:pt x="801053" y="444817"/>
                  </a:lnTo>
                  <a:lnTo>
                    <a:pt x="808672" y="445770"/>
                  </a:lnTo>
                  <a:lnTo>
                    <a:pt x="837247" y="462915"/>
                  </a:lnTo>
                  <a:lnTo>
                    <a:pt x="842010" y="468630"/>
                  </a:lnTo>
                  <a:lnTo>
                    <a:pt x="842010" y="476250"/>
                  </a:lnTo>
                  <a:lnTo>
                    <a:pt x="838200" y="489585"/>
                  </a:lnTo>
                  <a:lnTo>
                    <a:pt x="838200" y="498158"/>
                  </a:lnTo>
                  <a:lnTo>
                    <a:pt x="842010" y="505777"/>
                  </a:lnTo>
                  <a:lnTo>
                    <a:pt x="854393" y="525780"/>
                  </a:lnTo>
                  <a:lnTo>
                    <a:pt x="861060" y="531495"/>
                  </a:lnTo>
                  <a:lnTo>
                    <a:pt x="864870" y="526733"/>
                  </a:lnTo>
                  <a:lnTo>
                    <a:pt x="867728" y="517208"/>
                  </a:lnTo>
                  <a:lnTo>
                    <a:pt x="868680" y="507683"/>
                  </a:lnTo>
                  <a:lnTo>
                    <a:pt x="870585" y="501015"/>
                  </a:lnTo>
                  <a:lnTo>
                    <a:pt x="873443" y="495300"/>
                  </a:lnTo>
                  <a:lnTo>
                    <a:pt x="878205" y="489585"/>
                  </a:lnTo>
                  <a:lnTo>
                    <a:pt x="889635" y="480060"/>
                  </a:lnTo>
                  <a:lnTo>
                    <a:pt x="895350" y="478155"/>
                  </a:lnTo>
                  <a:lnTo>
                    <a:pt x="902970" y="479108"/>
                  </a:lnTo>
                  <a:lnTo>
                    <a:pt x="902970" y="484823"/>
                  </a:lnTo>
                  <a:lnTo>
                    <a:pt x="898208" y="494348"/>
                  </a:lnTo>
                  <a:lnTo>
                    <a:pt x="893445" y="514350"/>
                  </a:lnTo>
                  <a:lnTo>
                    <a:pt x="890588" y="536258"/>
                  </a:lnTo>
                  <a:lnTo>
                    <a:pt x="892493" y="550545"/>
                  </a:lnTo>
                  <a:lnTo>
                    <a:pt x="905828" y="536258"/>
                  </a:lnTo>
                  <a:lnTo>
                    <a:pt x="918210" y="537210"/>
                  </a:lnTo>
                  <a:lnTo>
                    <a:pt x="946785" y="550545"/>
                  </a:lnTo>
                  <a:lnTo>
                    <a:pt x="935355" y="561975"/>
                  </a:lnTo>
                  <a:lnTo>
                    <a:pt x="905828" y="570548"/>
                  </a:lnTo>
                  <a:lnTo>
                    <a:pt x="900113" y="583883"/>
                  </a:lnTo>
                  <a:lnTo>
                    <a:pt x="905828" y="603885"/>
                  </a:lnTo>
                  <a:lnTo>
                    <a:pt x="920115" y="599123"/>
                  </a:lnTo>
                  <a:lnTo>
                    <a:pt x="946785" y="572452"/>
                  </a:lnTo>
                  <a:lnTo>
                    <a:pt x="954405" y="571500"/>
                  </a:lnTo>
                  <a:lnTo>
                    <a:pt x="959168" y="573405"/>
                  </a:lnTo>
                  <a:lnTo>
                    <a:pt x="960120" y="573405"/>
                  </a:lnTo>
                  <a:lnTo>
                    <a:pt x="961072" y="561975"/>
                  </a:lnTo>
                  <a:lnTo>
                    <a:pt x="960120" y="551498"/>
                  </a:lnTo>
                  <a:lnTo>
                    <a:pt x="959168" y="544830"/>
                  </a:lnTo>
                  <a:lnTo>
                    <a:pt x="961072" y="540068"/>
                  </a:lnTo>
                  <a:lnTo>
                    <a:pt x="972503" y="539115"/>
                  </a:lnTo>
                  <a:lnTo>
                    <a:pt x="979170" y="541020"/>
                  </a:lnTo>
                  <a:lnTo>
                    <a:pt x="984885" y="544830"/>
                  </a:lnTo>
                  <a:lnTo>
                    <a:pt x="992505" y="546735"/>
                  </a:lnTo>
                  <a:lnTo>
                    <a:pt x="1001078" y="544830"/>
                  </a:lnTo>
                  <a:lnTo>
                    <a:pt x="1002030" y="541020"/>
                  </a:lnTo>
                  <a:lnTo>
                    <a:pt x="1001078" y="535305"/>
                  </a:lnTo>
                  <a:lnTo>
                    <a:pt x="1001078" y="530543"/>
                  </a:lnTo>
                  <a:lnTo>
                    <a:pt x="1005840" y="528638"/>
                  </a:lnTo>
                  <a:lnTo>
                    <a:pt x="1009650" y="529590"/>
                  </a:lnTo>
                  <a:lnTo>
                    <a:pt x="1017270" y="533400"/>
                  </a:lnTo>
                  <a:lnTo>
                    <a:pt x="1022033" y="534352"/>
                  </a:lnTo>
                  <a:lnTo>
                    <a:pt x="1017270" y="545783"/>
                  </a:lnTo>
                  <a:lnTo>
                    <a:pt x="1015365" y="550545"/>
                  </a:lnTo>
                  <a:lnTo>
                    <a:pt x="1010603" y="555308"/>
                  </a:lnTo>
                  <a:lnTo>
                    <a:pt x="1017270" y="563880"/>
                  </a:lnTo>
                  <a:lnTo>
                    <a:pt x="1027747" y="573405"/>
                  </a:lnTo>
                  <a:lnTo>
                    <a:pt x="1040130" y="580073"/>
                  </a:lnTo>
                  <a:lnTo>
                    <a:pt x="1049655" y="583883"/>
                  </a:lnTo>
                  <a:lnTo>
                    <a:pt x="1062990" y="584835"/>
                  </a:lnTo>
                  <a:lnTo>
                    <a:pt x="1071563" y="589598"/>
                  </a:lnTo>
                  <a:lnTo>
                    <a:pt x="1087755" y="604838"/>
                  </a:lnTo>
                  <a:lnTo>
                    <a:pt x="1102043" y="613410"/>
                  </a:lnTo>
                  <a:lnTo>
                    <a:pt x="1105853" y="616268"/>
                  </a:lnTo>
                  <a:lnTo>
                    <a:pt x="1111568" y="628650"/>
                  </a:lnTo>
                  <a:lnTo>
                    <a:pt x="1110615" y="633413"/>
                  </a:lnTo>
                  <a:lnTo>
                    <a:pt x="1107758" y="635318"/>
                  </a:lnTo>
                  <a:lnTo>
                    <a:pt x="1105853" y="641033"/>
                  </a:lnTo>
                  <a:lnTo>
                    <a:pt x="1104900" y="647700"/>
                  </a:lnTo>
                  <a:lnTo>
                    <a:pt x="1104900" y="649605"/>
                  </a:lnTo>
                  <a:lnTo>
                    <a:pt x="1105853" y="650558"/>
                  </a:lnTo>
                  <a:lnTo>
                    <a:pt x="1111568" y="657225"/>
                  </a:lnTo>
                  <a:lnTo>
                    <a:pt x="1114425" y="666750"/>
                  </a:lnTo>
                  <a:lnTo>
                    <a:pt x="1112520" y="672465"/>
                  </a:lnTo>
                  <a:lnTo>
                    <a:pt x="1109663" y="677227"/>
                  </a:lnTo>
                  <a:lnTo>
                    <a:pt x="1109663" y="681990"/>
                  </a:lnTo>
                  <a:lnTo>
                    <a:pt x="1089660" y="697230"/>
                  </a:lnTo>
                  <a:lnTo>
                    <a:pt x="1082993" y="703898"/>
                  </a:lnTo>
                  <a:lnTo>
                    <a:pt x="1078230" y="709613"/>
                  </a:lnTo>
                  <a:lnTo>
                    <a:pt x="1075373" y="713423"/>
                  </a:lnTo>
                  <a:lnTo>
                    <a:pt x="1072515" y="720090"/>
                  </a:lnTo>
                  <a:lnTo>
                    <a:pt x="1071563" y="723900"/>
                  </a:lnTo>
                  <a:lnTo>
                    <a:pt x="1071563" y="727710"/>
                  </a:lnTo>
                  <a:lnTo>
                    <a:pt x="1072515" y="737235"/>
                  </a:lnTo>
                  <a:lnTo>
                    <a:pt x="1078230" y="759143"/>
                  </a:lnTo>
                  <a:lnTo>
                    <a:pt x="1092518" y="798195"/>
                  </a:lnTo>
                  <a:lnTo>
                    <a:pt x="1093470" y="806768"/>
                  </a:lnTo>
                  <a:lnTo>
                    <a:pt x="1090613" y="877252"/>
                  </a:lnTo>
                  <a:lnTo>
                    <a:pt x="1086803" y="898208"/>
                  </a:lnTo>
                  <a:lnTo>
                    <a:pt x="1084898" y="903923"/>
                  </a:lnTo>
                  <a:lnTo>
                    <a:pt x="1082040" y="908685"/>
                  </a:lnTo>
                  <a:lnTo>
                    <a:pt x="1080135" y="911543"/>
                  </a:lnTo>
                  <a:lnTo>
                    <a:pt x="1077278" y="912495"/>
                  </a:lnTo>
                  <a:lnTo>
                    <a:pt x="1070610" y="912495"/>
                  </a:lnTo>
                  <a:lnTo>
                    <a:pt x="1066800" y="909638"/>
                  </a:lnTo>
                  <a:lnTo>
                    <a:pt x="1061085" y="906780"/>
                  </a:lnTo>
                  <a:lnTo>
                    <a:pt x="1050608" y="902970"/>
                  </a:lnTo>
                  <a:lnTo>
                    <a:pt x="1043940" y="901065"/>
                  </a:lnTo>
                  <a:lnTo>
                    <a:pt x="1033463" y="900113"/>
                  </a:lnTo>
                  <a:lnTo>
                    <a:pt x="1009650" y="902970"/>
                  </a:lnTo>
                  <a:lnTo>
                    <a:pt x="987743" y="910590"/>
                  </a:lnTo>
                  <a:lnTo>
                    <a:pt x="968693" y="919163"/>
                  </a:lnTo>
                  <a:lnTo>
                    <a:pt x="927735" y="950595"/>
                  </a:lnTo>
                  <a:lnTo>
                    <a:pt x="877253" y="1017270"/>
                  </a:lnTo>
                  <a:lnTo>
                    <a:pt x="872490" y="1020127"/>
                  </a:lnTo>
                  <a:lnTo>
                    <a:pt x="866775" y="1022985"/>
                  </a:lnTo>
                  <a:lnTo>
                    <a:pt x="859155" y="1026795"/>
                  </a:lnTo>
                  <a:lnTo>
                    <a:pt x="851535" y="1032510"/>
                  </a:lnTo>
                  <a:lnTo>
                    <a:pt x="847725" y="1036320"/>
                  </a:lnTo>
                  <a:lnTo>
                    <a:pt x="845820" y="1040130"/>
                  </a:lnTo>
                  <a:lnTo>
                    <a:pt x="843915" y="1045845"/>
                  </a:lnTo>
                  <a:lnTo>
                    <a:pt x="843915" y="1056323"/>
                  </a:lnTo>
                  <a:lnTo>
                    <a:pt x="844868" y="1062038"/>
                  </a:lnTo>
                  <a:lnTo>
                    <a:pt x="847725" y="1069658"/>
                  </a:lnTo>
                  <a:lnTo>
                    <a:pt x="848678" y="1072515"/>
                  </a:lnTo>
                  <a:lnTo>
                    <a:pt x="847725" y="1076325"/>
                  </a:lnTo>
                  <a:lnTo>
                    <a:pt x="845820" y="1078230"/>
                  </a:lnTo>
                  <a:lnTo>
                    <a:pt x="840105" y="1079183"/>
                  </a:lnTo>
                  <a:lnTo>
                    <a:pt x="835343" y="1082040"/>
                  </a:lnTo>
                  <a:lnTo>
                    <a:pt x="829628" y="1085850"/>
                  </a:lnTo>
                  <a:lnTo>
                    <a:pt x="802005" y="1118235"/>
                  </a:lnTo>
                  <a:lnTo>
                    <a:pt x="798195" y="1121093"/>
                  </a:lnTo>
                  <a:lnTo>
                    <a:pt x="788670" y="1123950"/>
                  </a:lnTo>
                  <a:lnTo>
                    <a:pt x="782955" y="1126808"/>
                  </a:lnTo>
                  <a:lnTo>
                    <a:pt x="774383" y="1132523"/>
                  </a:lnTo>
                  <a:lnTo>
                    <a:pt x="770572" y="1137285"/>
                  </a:lnTo>
                  <a:lnTo>
                    <a:pt x="767715" y="1141095"/>
                  </a:lnTo>
                  <a:lnTo>
                    <a:pt x="767715" y="1143952"/>
                  </a:lnTo>
                  <a:lnTo>
                    <a:pt x="765810" y="1158240"/>
                  </a:lnTo>
                  <a:lnTo>
                    <a:pt x="762953" y="1163955"/>
                  </a:lnTo>
                  <a:lnTo>
                    <a:pt x="739140" y="1209675"/>
                  </a:lnTo>
                  <a:lnTo>
                    <a:pt x="737235" y="1215390"/>
                  </a:lnTo>
                  <a:lnTo>
                    <a:pt x="736283" y="1222058"/>
                  </a:lnTo>
                  <a:lnTo>
                    <a:pt x="735330" y="1227773"/>
                  </a:lnTo>
                  <a:lnTo>
                    <a:pt x="738188" y="1243013"/>
                  </a:lnTo>
                  <a:lnTo>
                    <a:pt x="738188" y="1255395"/>
                  </a:lnTo>
                  <a:lnTo>
                    <a:pt x="739140" y="1261110"/>
                  </a:lnTo>
                  <a:lnTo>
                    <a:pt x="743903" y="1274445"/>
                  </a:lnTo>
                  <a:lnTo>
                    <a:pt x="745808" y="1279208"/>
                  </a:lnTo>
                  <a:lnTo>
                    <a:pt x="754380" y="1288733"/>
                  </a:lnTo>
                  <a:lnTo>
                    <a:pt x="756285" y="1293495"/>
                  </a:lnTo>
                  <a:lnTo>
                    <a:pt x="757238" y="1299210"/>
                  </a:lnTo>
                  <a:lnTo>
                    <a:pt x="757238" y="1316355"/>
                  </a:lnTo>
                  <a:lnTo>
                    <a:pt x="759143" y="1323975"/>
                  </a:lnTo>
                  <a:lnTo>
                    <a:pt x="763905" y="1334452"/>
                  </a:lnTo>
                  <a:lnTo>
                    <a:pt x="764858" y="1336358"/>
                  </a:lnTo>
                  <a:lnTo>
                    <a:pt x="765810" y="1342073"/>
                  </a:lnTo>
                  <a:lnTo>
                    <a:pt x="765810" y="1348740"/>
                  </a:lnTo>
                  <a:lnTo>
                    <a:pt x="763905" y="1355408"/>
                  </a:lnTo>
                  <a:lnTo>
                    <a:pt x="739140" y="1410652"/>
                  </a:lnTo>
                  <a:lnTo>
                    <a:pt x="738188" y="1413510"/>
                  </a:lnTo>
                  <a:lnTo>
                    <a:pt x="736283" y="1431608"/>
                  </a:lnTo>
                  <a:lnTo>
                    <a:pt x="736283" y="1435418"/>
                  </a:lnTo>
                  <a:lnTo>
                    <a:pt x="736283" y="1444943"/>
                  </a:lnTo>
                  <a:lnTo>
                    <a:pt x="719138" y="1447800"/>
                  </a:lnTo>
                  <a:lnTo>
                    <a:pt x="709613" y="1441133"/>
                  </a:lnTo>
                  <a:lnTo>
                    <a:pt x="697230" y="1422083"/>
                  </a:lnTo>
                  <a:lnTo>
                    <a:pt x="679133" y="1389698"/>
                  </a:lnTo>
                  <a:lnTo>
                    <a:pt x="672465" y="1381125"/>
                  </a:lnTo>
                  <a:lnTo>
                    <a:pt x="664845" y="1373505"/>
                  </a:lnTo>
                  <a:lnTo>
                    <a:pt x="621983" y="1357313"/>
                  </a:lnTo>
                  <a:lnTo>
                    <a:pt x="604838" y="1345883"/>
                  </a:lnTo>
                  <a:lnTo>
                    <a:pt x="595313" y="1335405"/>
                  </a:lnTo>
                  <a:lnTo>
                    <a:pt x="592455" y="1324927"/>
                  </a:lnTo>
                  <a:lnTo>
                    <a:pt x="592455" y="1315402"/>
                  </a:lnTo>
                  <a:lnTo>
                    <a:pt x="588645" y="1303020"/>
                  </a:lnTo>
                  <a:lnTo>
                    <a:pt x="581025" y="1292543"/>
                  </a:lnTo>
                  <a:lnTo>
                    <a:pt x="567690" y="1281113"/>
                  </a:lnTo>
                  <a:lnTo>
                    <a:pt x="546735" y="1269683"/>
                  </a:lnTo>
                  <a:lnTo>
                    <a:pt x="548640" y="1260158"/>
                  </a:lnTo>
                  <a:lnTo>
                    <a:pt x="553403" y="1232535"/>
                  </a:lnTo>
                  <a:lnTo>
                    <a:pt x="556260" y="1223010"/>
                  </a:lnTo>
                  <a:lnTo>
                    <a:pt x="583883" y="1182052"/>
                  </a:lnTo>
                  <a:lnTo>
                    <a:pt x="584835" y="1178243"/>
                  </a:lnTo>
                  <a:lnTo>
                    <a:pt x="583883" y="1175385"/>
                  </a:lnTo>
                  <a:lnTo>
                    <a:pt x="566738" y="1149668"/>
                  </a:lnTo>
                  <a:lnTo>
                    <a:pt x="530543" y="1113473"/>
                  </a:lnTo>
                  <a:lnTo>
                    <a:pt x="526733" y="1108710"/>
                  </a:lnTo>
                  <a:lnTo>
                    <a:pt x="524828" y="1104900"/>
                  </a:lnTo>
                  <a:lnTo>
                    <a:pt x="521970" y="1097280"/>
                  </a:lnTo>
                  <a:lnTo>
                    <a:pt x="521017" y="1092518"/>
                  </a:lnTo>
                  <a:lnTo>
                    <a:pt x="521017" y="1088708"/>
                  </a:lnTo>
                  <a:lnTo>
                    <a:pt x="521017" y="1084898"/>
                  </a:lnTo>
                  <a:lnTo>
                    <a:pt x="522922" y="1079183"/>
                  </a:lnTo>
                  <a:lnTo>
                    <a:pt x="525780" y="1074420"/>
                  </a:lnTo>
                  <a:lnTo>
                    <a:pt x="528638" y="1069658"/>
                  </a:lnTo>
                  <a:lnTo>
                    <a:pt x="531495" y="1062990"/>
                  </a:lnTo>
                  <a:lnTo>
                    <a:pt x="533400" y="1058227"/>
                  </a:lnTo>
                  <a:lnTo>
                    <a:pt x="532447" y="1054418"/>
                  </a:lnTo>
                  <a:lnTo>
                    <a:pt x="531495" y="1051560"/>
                  </a:lnTo>
                  <a:lnTo>
                    <a:pt x="521017" y="1034415"/>
                  </a:lnTo>
                  <a:lnTo>
                    <a:pt x="511492" y="1014413"/>
                  </a:lnTo>
                  <a:lnTo>
                    <a:pt x="507683" y="1009650"/>
                  </a:lnTo>
                  <a:lnTo>
                    <a:pt x="473392" y="977265"/>
                  </a:lnTo>
                  <a:lnTo>
                    <a:pt x="462915" y="969645"/>
                  </a:lnTo>
                  <a:lnTo>
                    <a:pt x="457200" y="963930"/>
                  </a:lnTo>
                  <a:lnTo>
                    <a:pt x="452438" y="958215"/>
                  </a:lnTo>
                  <a:lnTo>
                    <a:pt x="449580" y="955358"/>
                  </a:lnTo>
                  <a:lnTo>
                    <a:pt x="445770" y="953452"/>
                  </a:lnTo>
                  <a:lnTo>
                    <a:pt x="432435" y="953452"/>
                  </a:lnTo>
                  <a:lnTo>
                    <a:pt x="430530" y="953452"/>
                  </a:lnTo>
                  <a:lnTo>
                    <a:pt x="428625" y="950595"/>
                  </a:lnTo>
                  <a:lnTo>
                    <a:pt x="427673" y="941070"/>
                  </a:lnTo>
                  <a:lnTo>
                    <a:pt x="425767" y="931545"/>
                  </a:lnTo>
                  <a:lnTo>
                    <a:pt x="423863" y="926783"/>
                  </a:lnTo>
                  <a:lnTo>
                    <a:pt x="421005" y="922973"/>
                  </a:lnTo>
                  <a:lnTo>
                    <a:pt x="415290" y="918210"/>
                  </a:lnTo>
                  <a:lnTo>
                    <a:pt x="411480" y="915352"/>
                  </a:lnTo>
                  <a:lnTo>
                    <a:pt x="407670" y="912495"/>
                  </a:lnTo>
                  <a:lnTo>
                    <a:pt x="405765" y="913448"/>
                  </a:lnTo>
                  <a:lnTo>
                    <a:pt x="403860" y="915352"/>
                  </a:lnTo>
                  <a:lnTo>
                    <a:pt x="401003" y="922973"/>
                  </a:lnTo>
                  <a:lnTo>
                    <a:pt x="396240" y="930593"/>
                  </a:lnTo>
                  <a:lnTo>
                    <a:pt x="393383" y="934402"/>
                  </a:lnTo>
                  <a:lnTo>
                    <a:pt x="386715" y="939165"/>
                  </a:lnTo>
                  <a:lnTo>
                    <a:pt x="381953" y="941070"/>
                  </a:lnTo>
                  <a:lnTo>
                    <a:pt x="369570" y="942975"/>
                  </a:lnTo>
                  <a:lnTo>
                    <a:pt x="356235" y="942975"/>
                  </a:lnTo>
                  <a:lnTo>
                    <a:pt x="340042" y="939165"/>
                  </a:lnTo>
                  <a:lnTo>
                    <a:pt x="336233" y="937260"/>
                  </a:lnTo>
                  <a:lnTo>
                    <a:pt x="332423" y="934402"/>
                  </a:lnTo>
                  <a:lnTo>
                    <a:pt x="325755" y="927735"/>
                  </a:lnTo>
                  <a:lnTo>
                    <a:pt x="322898" y="922973"/>
                  </a:lnTo>
                  <a:lnTo>
                    <a:pt x="320992" y="919163"/>
                  </a:lnTo>
                  <a:lnTo>
                    <a:pt x="320040" y="916305"/>
                  </a:lnTo>
                  <a:lnTo>
                    <a:pt x="316230" y="892493"/>
                  </a:lnTo>
                  <a:lnTo>
                    <a:pt x="315278" y="882968"/>
                  </a:lnTo>
                  <a:lnTo>
                    <a:pt x="315278" y="876300"/>
                  </a:lnTo>
                  <a:lnTo>
                    <a:pt x="319088" y="856298"/>
                  </a:lnTo>
                  <a:lnTo>
                    <a:pt x="320040" y="853440"/>
                  </a:lnTo>
                  <a:lnTo>
                    <a:pt x="320992" y="846773"/>
                  </a:lnTo>
                  <a:lnTo>
                    <a:pt x="320992" y="843915"/>
                  </a:lnTo>
                  <a:lnTo>
                    <a:pt x="320040" y="838200"/>
                  </a:lnTo>
                  <a:lnTo>
                    <a:pt x="318135" y="832485"/>
                  </a:lnTo>
                  <a:lnTo>
                    <a:pt x="317183" y="823913"/>
                  </a:lnTo>
                  <a:lnTo>
                    <a:pt x="318135" y="819150"/>
                  </a:lnTo>
                  <a:lnTo>
                    <a:pt x="319088" y="811530"/>
                  </a:lnTo>
                  <a:lnTo>
                    <a:pt x="319088" y="807720"/>
                  </a:lnTo>
                  <a:lnTo>
                    <a:pt x="319088" y="802005"/>
                  </a:lnTo>
                  <a:lnTo>
                    <a:pt x="317183" y="799148"/>
                  </a:lnTo>
                  <a:lnTo>
                    <a:pt x="314325" y="797243"/>
                  </a:lnTo>
                  <a:lnTo>
                    <a:pt x="311467" y="797243"/>
                  </a:lnTo>
                  <a:lnTo>
                    <a:pt x="306705" y="798195"/>
                  </a:lnTo>
                  <a:lnTo>
                    <a:pt x="280988" y="815340"/>
                  </a:lnTo>
                  <a:lnTo>
                    <a:pt x="270510" y="820102"/>
                  </a:lnTo>
                  <a:lnTo>
                    <a:pt x="247650" y="823913"/>
                  </a:lnTo>
                  <a:lnTo>
                    <a:pt x="236220" y="831533"/>
                  </a:lnTo>
                  <a:lnTo>
                    <a:pt x="227648" y="841058"/>
                  </a:lnTo>
                  <a:lnTo>
                    <a:pt x="225742" y="842963"/>
                  </a:lnTo>
                  <a:lnTo>
                    <a:pt x="220980" y="845820"/>
                  </a:lnTo>
                  <a:lnTo>
                    <a:pt x="216217" y="847725"/>
                  </a:lnTo>
                  <a:lnTo>
                    <a:pt x="212408" y="847725"/>
                  </a:lnTo>
                  <a:lnTo>
                    <a:pt x="208598" y="846773"/>
                  </a:lnTo>
                  <a:lnTo>
                    <a:pt x="202883" y="843915"/>
                  </a:lnTo>
                  <a:lnTo>
                    <a:pt x="200025" y="842010"/>
                  </a:lnTo>
                  <a:lnTo>
                    <a:pt x="198120" y="839152"/>
                  </a:lnTo>
                  <a:lnTo>
                    <a:pt x="197167" y="836295"/>
                  </a:lnTo>
                  <a:lnTo>
                    <a:pt x="198120" y="829627"/>
                  </a:lnTo>
                  <a:lnTo>
                    <a:pt x="199073" y="823913"/>
                  </a:lnTo>
                  <a:lnTo>
                    <a:pt x="200977" y="818198"/>
                  </a:lnTo>
                  <a:lnTo>
                    <a:pt x="202883" y="811530"/>
                  </a:lnTo>
                  <a:lnTo>
                    <a:pt x="201930" y="806768"/>
                  </a:lnTo>
                  <a:lnTo>
                    <a:pt x="200977" y="802005"/>
                  </a:lnTo>
                  <a:lnTo>
                    <a:pt x="197167" y="793433"/>
                  </a:lnTo>
                  <a:lnTo>
                    <a:pt x="195263" y="789623"/>
                  </a:lnTo>
                  <a:lnTo>
                    <a:pt x="190500" y="783908"/>
                  </a:lnTo>
                  <a:lnTo>
                    <a:pt x="186690" y="781050"/>
                  </a:lnTo>
                  <a:lnTo>
                    <a:pt x="181927" y="779145"/>
                  </a:lnTo>
                  <a:lnTo>
                    <a:pt x="175260" y="778193"/>
                  </a:lnTo>
                  <a:lnTo>
                    <a:pt x="170498" y="776288"/>
                  </a:lnTo>
                  <a:lnTo>
                    <a:pt x="165735" y="773430"/>
                  </a:lnTo>
                  <a:lnTo>
                    <a:pt x="136208" y="748665"/>
                  </a:lnTo>
                  <a:lnTo>
                    <a:pt x="133350" y="744855"/>
                  </a:lnTo>
                  <a:lnTo>
                    <a:pt x="131445" y="741045"/>
                  </a:lnTo>
                  <a:lnTo>
                    <a:pt x="130492" y="735330"/>
                  </a:lnTo>
                  <a:lnTo>
                    <a:pt x="132398" y="724852"/>
                  </a:lnTo>
                  <a:lnTo>
                    <a:pt x="132398" y="720090"/>
                  </a:lnTo>
                  <a:lnTo>
                    <a:pt x="130492" y="713423"/>
                  </a:lnTo>
                  <a:lnTo>
                    <a:pt x="128588" y="710565"/>
                  </a:lnTo>
                  <a:lnTo>
                    <a:pt x="125730" y="708660"/>
                  </a:lnTo>
                  <a:lnTo>
                    <a:pt x="120015" y="706755"/>
                  </a:lnTo>
                  <a:lnTo>
                    <a:pt x="113348" y="705802"/>
                  </a:lnTo>
                  <a:lnTo>
                    <a:pt x="106680" y="705802"/>
                  </a:lnTo>
                  <a:lnTo>
                    <a:pt x="100965" y="706755"/>
                  </a:lnTo>
                  <a:lnTo>
                    <a:pt x="93345" y="709613"/>
                  </a:lnTo>
                  <a:lnTo>
                    <a:pt x="88583" y="709613"/>
                  </a:lnTo>
                  <a:lnTo>
                    <a:pt x="84773" y="708660"/>
                  </a:lnTo>
                  <a:lnTo>
                    <a:pt x="75248" y="701040"/>
                  </a:lnTo>
                  <a:lnTo>
                    <a:pt x="41910" y="661035"/>
                  </a:lnTo>
                  <a:lnTo>
                    <a:pt x="21908" y="651510"/>
                  </a:lnTo>
                  <a:lnTo>
                    <a:pt x="0" y="645795"/>
                  </a:lnTo>
                  <a:lnTo>
                    <a:pt x="22860" y="557213"/>
                  </a:lnTo>
                  <a:lnTo>
                    <a:pt x="21908" y="550545"/>
                  </a:lnTo>
                  <a:lnTo>
                    <a:pt x="20955" y="541973"/>
                  </a:lnTo>
                  <a:lnTo>
                    <a:pt x="19050" y="536258"/>
                  </a:lnTo>
                  <a:lnTo>
                    <a:pt x="16192" y="531495"/>
                  </a:lnTo>
                  <a:lnTo>
                    <a:pt x="10477" y="523875"/>
                  </a:lnTo>
                  <a:lnTo>
                    <a:pt x="8573" y="520065"/>
                  </a:lnTo>
                  <a:lnTo>
                    <a:pt x="8573" y="516255"/>
                  </a:lnTo>
                  <a:lnTo>
                    <a:pt x="8573" y="513398"/>
                  </a:lnTo>
                  <a:lnTo>
                    <a:pt x="10477" y="507683"/>
                  </a:lnTo>
                  <a:lnTo>
                    <a:pt x="22860" y="448627"/>
                  </a:lnTo>
                  <a:lnTo>
                    <a:pt x="25717" y="441960"/>
                  </a:lnTo>
                  <a:lnTo>
                    <a:pt x="34290" y="436245"/>
                  </a:lnTo>
                  <a:lnTo>
                    <a:pt x="45720" y="425767"/>
                  </a:lnTo>
                  <a:lnTo>
                    <a:pt x="47625" y="423863"/>
                  </a:lnTo>
                  <a:lnTo>
                    <a:pt x="57150" y="415290"/>
                  </a:lnTo>
                  <a:lnTo>
                    <a:pt x="60960" y="408623"/>
                  </a:lnTo>
                  <a:lnTo>
                    <a:pt x="64770" y="399098"/>
                  </a:lnTo>
                  <a:lnTo>
                    <a:pt x="78105" y="357188"/>
                  </a:lnTo>
                  <a:lnTo>
                    <a:pt x="80010" y="354330"/>
                  </a:lnTo>
                  <a:lnTo>
                    <a:pt x="84773" y="347663"/>
                  </a:lnTo>
                  <a:lnTo>
                    <a:pt x="94298" y="340042"/>
                  </a:lnTo>
                  <a:lnTo>
                    <a:pt x="102870" y="334327"/>
                  </a:lnTo>
                  <a:lnTo>
                    <a:pt x="108585" y="332423"/>
                  </a:lnTo>
                  <a:lnTo>
                    <a:pt x="117158" y="331470"/>
                  </a:lnTo>
                  <a:lnTo>
                    <a:pt x="169545" y="339090"/>
                  </a:lnTo>
                  <a:lnTo>
                    <a:pt x="196215" y="337185"/>
                  </a:lnTo>
                  <a:lnTo>
                    <a:pt x="200025" y="336233"/>
                  </a:lnTo>
                  <a:lnTo>
                    <a:pt x="204788" y="333375"/>
                  </a:lnTo>
                  <a:lnTo>
                    <a:pt x="216217" y="322898"/>
                  </a:lnTo>
                  <a:lnTo>
                    <a:pt x="220027" y="320992"/>
                  </a:lnTo>
                  <a:lnTo>
                    <a:pt x="222885" y="320992"/>
                  </a:lnTo>
                  <a:lnTo>
                    <a:pt x="229552" y="321945"/>
                  </a:lnTo>
                  <a:lnTo>
                    <a:pt x="248602" y="329565"/>
                  </a:lnTo>
                  <a:lnTo>
                    <a:pt x="252413" y="328613"/>
                  </a:lnTo>
                  <a:lnTo>
                    <a:pt x="259080" y="325755"/>
                  </a:lnTo>
                  <a:lnTo>
                    <a:pt x="282892" y="308610"/>
                  </a:lnTo>
                  <a:lnTo>
                    <a:pt x="287655" y="306705"/>
                  </a:lnTo>
                  <a:lnTo>
                    <a:pt x="290513" y="306705"/>
                  </a:lnTo>
                  <a:lnTo>
                    <a:pt x="297180" y="307658"/>
                  </a:lnTo>
                  <a:lnTo>
                    <a:pt x="320040" y="315277"/>
                  </a:lnTo>
                  <a:lnTo>
                    <a:pt x="323850" y="315277"/>
                  </a:lnTo>
                  <a:lnTo>
                    <a:pt x="329565" y="315277"/>
                  </a:lnTo>
                  <a:lnTo>
                    <a:pt x="354330" y="303848"/>
                  </a:lnTo>
                  <a:lnTo>
                    <a:pt x="360045" y="302895"/>
                  </a:lnTo>
                  <a:lnTo>
                    <a:pt x="373380" y="303848"/>
                  </a:lnTo>
                  <a:lnTo>
                    <a:pt x="385763" y="300990"/>
                  </a:lnTo>
                  <a:lnTo>
                    <a:pt x="390525" y="299085"/>
                  </a:lnTo>
                  <a:lnTo>
                    <a:pt x="413385" y="285750"/>
                  </a:lnTo>
                  <a:lnTo>
                    <a:pt x="434340" y="277177"/>
                  </a:lnTo>
                  <a:lnTo>
                    <a:pt x="440055" y="276225"/>
                  </a:lnTo>
                  <a:lnTo>
                    <a:pt x="442913" y="276225"/>
                  </a:lnTo>
                  <a:lnTo>
                    <a:pt x="449580" y="277177"/>
                  </a:lnTo>
                  <a:lnTo>
                    <a:pt x="451485" y="278130"/>
                  </a:lnTo>
                  <a:lnTo>
                    <a:pt x="455295" y="279083"/>
                  </a:lnTo>
                  <a:lnTo>
                    <a:pt x="460058" y="278130"/>
                  </a:lnTo>
                  <a:lnTo>
                    <a:pt x="470535" y="274320"/>
                  </a:lnTo>
                  <a:lnTo>
                    <a:pt x="475297" y="270510"/>
                  </a:lnTo>
                  <a:lnTo>
                    <a:pt x="479108" y="267652"/>
                  </a:lnTo>
                  <a:lnTo>
                    <a:pt x="481965" y="261938"/>
                  </a:lnTo>
                  <a:lnTo>
                    <a:pt x="481965" y="256223"/>
                  </a:lnTo>
                  <a:lnTo>
                    <a:pt x="481013" y="253365"/>
                  </a:lnTo>
                  <a:lnTo>
                    <a:pt x="470535" y="240030"/>
                  </a:lnTo>
                  <a:lnTo>
                    <a:pt x="466725" y="234315"/>
                  </a:lnTo>
                  <a:lnTo>
                    <a:pt x="460058" y="238125"/>
                  </a:lnTo>
                  <a:lnTo>
                    <a:pt x="450533" y="237173"/>
                  </a:lnTo>
                  <a:lnTo>
                    <a:pt x="438150" y="233363"/>
                  </a:lnTo>
                  <a:lnTo>
                    <a:pt x="434340" y="229552"/>
                  </a:lnTo>
                  <a:lnTo>
                    <a:pt x="433388" y="210502"/>
                  </a:lnTo>
                  <a:lnTo>
                    <a:pt x="433388" y="206692"/>
                  </a:lnTo>
                  <a:lnTo>
                    <a:pt x="434340" y="203835"/>
                  </a:lnTo>
                  <a:lnTo>
                    <a:pt x="438150" y="195263"/>
                  </a:lnTo>
                  <a:lnTo>
                    <a:pt x="439103" y="191452"/>
                  </a:lnTo>
                  <a:lnTo>
                    <a:pt x="440055" y="188595"/>
                  </a:lnTo>
                  <a:lnTo>
                    <a:pt x="439103" y="185738"/>
                  </a:lnTo>
                  <a:lnTo>
                    <a:pt x="436245" y="181927"/>
                  </a:lnTo>
                  <a:lnTo>
                    <a:pt x="431483" y="179070"/>
                  </a:lnTo>
                  <a:lnTo>
                    <a:pt x="428625" y="178117"/>
                  </a:lnTo>
                  <a:lnTo>
                    <a:pt x="425767" y="179070"/>
                  </a:lnTo>
                  <a:lnTo>
                    <a:pt x="422910" y="180023"/>
                  </a:lnTo>
                  <a:lnTo>
                    <a:pt x="411480" y="190500"/>
                  </a:lnTo>
                  <a:lnTo>
                    <a:pt x="406717" y="193358"/>
                  </a:lnTo>
                  <a:lnTo>
                    <a:pt x="404813" y="193358"/>
                  </a:lnTo>
                  <a:lnTo>
                    <a:pt x="401955" y="193358"/>
                  </a:lnTo>
                  <a:lnTo>
                    <a:pt x="399098" y="192405"/>
                  </a:lnTo>
                  <a:lnTo>
                    <a:pt x="396240" y="187642"/>
                  </a:lnTo>
                  <a:lnTo>
                    <a:pt x="395288" y="184785"/>
                  </a:lnTo>
                  <a:lnTo>
                    <a:pt x="395288" y="180975"/>
                  </a:lnTo>
                  <a:lnTo>
                    <a:pt x="396240" y="175260"/>
                  </a:lnTo>
                  <a:lnTo>
                    <a:pt x="398145" y="172402"/>
                  </a:lnTo>
                  <a:lnTo>
                    <a:pt x="400050" y="170498"/>
                  </a:lnTo>
                  <a:lnTo>
                    <a:pt x="410528" y="166688"/>
                  </a:lnTo>
                  <a:lnTo>
                    <a:pt x="416242" y="165735"/>
                  </a:lnTo>
                  <a:lnTo>
                    <a:pt x="427673" y="165735"/>
                  </a:lnTo>
                  <a:lnTo>
                    <a:pt x="435292" y="163830"/>
                  </a:lnTo>
                  <a:lnTo>
                    <a:pt x="441008" y="160973"/>
                  </a:lnTo>
                  <a:lnTo>
                    <a:pt x="444817" y="157163"/>
                  </a:lnTo>
                  <a:lnTo>
                    <a:pt x="449580" y="149542"/>
                  </a:lnTo>
                  <a:lnTo>
                    <a:pt x="466725" y="131445"/>
                  </a:lnTo>
                  <a:lnTo>
                    <a:pt x="469583" y="127635"/>
                  </a:lnTo>
                  <a:lnTo>
                    <a:pt x="470535" y="124777"/>
                  </a:lnTo>
                  <a:lnTo>
                    <a:pt x="469583" y="121920"/>
                  </a:lnTo>
                  <a:lnTo>
                    <a:pt x="466725" y="118110"/>
                  </a:lnTo>
                  <a:lnTo>
                    <a:pt x="450533" y="107633"/>
                  </a:lnTo>
                  <a:lnTo>
                    <a:pt x="448628" y="105727"/>
                  </a:lnTo>
                  <a:lnTo>
                    <a:pt x="449580" y="100965"/>
                  </a:lnTo>
                  <a:lnTo>
                    <a:pt x="452438" y="92392"/>
                  </a:lnTo>
                  <a:lnTo>
                    <a:pt x="468630" y="66675"/>
                  </a:lnTo>
                  <a:lnTo>
                    <a:pt x="471488" y="60960"/>
                  </a:lnTo>
                  <a:lnTo>
                    <a:pt x="472440" y="54292"/>
                  </a:lnTo>
                  <a:lnTo>
                    <a:pt x="470535" y="48577"/>
                  </a:lnTo>
                  <a:lnTo>
                    <a:pt x="468630" y="42863"/>
                  </a:lnTo>
                  <a:lnTo>
                    <a:pt x="464820" y="36195"/>
                  </a:lnTo>
                  <a:lnTo>
                    <a:pt x="463867" y="33338"/>
                  </a:lnTo>
                  <a:lnTo>
                    <a:pt x="464820" y="28575"/>
                  </a:lnTo>
                  <a:lnTo>
                    <a:pt x="466725" y="23813"/>
                  </a:lnTo>
                  <a:lnTo>
                    <a:pt x="471488" y="14288"/>
                  </a:lnTo>
                  <a:lnTo>
                    <a:pt x="475297" y="9525"/>
                  </a:lnTo>
                  <a:lnTo>
                    <a:pt x="478155" y="6667"/>
                  </a:lnTo>
                  <a:lnTo>
                    <a:pt x="480060" y="5715"/>
                  </a:lnTo>
                  <a:lnTo>
                    <a:pt x="483870" y="5715"/>
                  </a:lnTo>
                  <a:lnTo>
                    <a:pt x="501967" y="10478"/>
                  </a:lnTo>
                  <a:lnTo>
                    <a:pt x="508635" y="10478"/>
                  </a:lnTo>
                  <a:lnTo>
                    <a:pt x="548640" y="0"/>
                  </a:lnTo>
                  <a:lnTo>
                    <a:pt x="554355" y="0"/>
                  </a:lnTo>
                  <a:lnTo>
                    <a:pt x="561022" y="1905"/>
                  </a:lnTo>
                  <a:lnTo>
                    <a:pt x="565785" y="3810"/>
                  </a:lnTo>
                  <a:lnTo>
                    <a:pt x="570547" y="6667"/>
                  </a:lnTo>
                  <a:lnTo>
                    <a:pt x="582930" y="17145"/>
                  </a:lnTo>
                  <a:lnTo>
                    <a:pt x="584835" y="19050"/>
                  </a:lnTo>
                  <a:lnTo>
                    <a:pt x="588645" y="21908"/>
                  </a:lnTo>
                  <a:lnTo>
                    <a:pt x="591503" y="21908"/>
                  </a:lnTo>
                  <a:lnTo>
                    <a:pt x="596265" y="20955"/>
                  </a:lnTo>
                  <a:lnTo>
                    <a:pt x="601028" y="22860"/>
                  </a:lnTo>
                  <a:lnTo>
                    <a:pt x="605790" y="25717"/>
                  </a:lnTo>
                  <a:lnTo>
                    <a:pt x="611505" y="26670"/>
                  </a:lnTo>
                  <a:lnTo>
                    <a:pt x="619125" y="2667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9" name="Полилиния: фигура 9">
              <a:extLst>
                <a:ext uri="{FF2B5EF4-FFF2-40B4-BE49-F238E27FC236}">
                  <a16:creationId xmlns:a16="http://schemas.microsoft.com/office/drawing/2014/main" id="{6B3FA0FF-FD24-4AAE-4A45-5677D318DC03}"/>
                </a:ext>
              </a:extLst>
            </p:cNvPr>
            <p:cNvSpPr/>
            <p:nvPr/>
          </p:nvSpPr>
          <p:spPr>
            <a:xfrm>
              <a:off x="3460433" y="1757363"/>
              <a:ext cx="914400" cy="1733550"/>
            </a:xfrm>
            <a:custGeom>
              <a:avLst/>
              <a:gdLst>
                <a:gd name="connsiteX0" fmla="*/ 550545 w 914400"/>
                <a:gd name="connsiteY0" fmla="*/ 38100 h 1733550"/>
                <a:gd name="connsiteX1" fmla="*/ 558165 w 914400"/>
                <a:gd name="connsiteY1" fmla="*/ 41910 h 1733550"/>
                <a:gd name="connsiteX2" fmla="*/ 561023 w 914400"/>
                <a:gd name="connsiteY2" fmla="*/ 44767 h 1733550"/>
                <a:gd name="connsiteX3" fmla="*/ 567690 w 914400"/>
                <a:gd name="connsiteY3" fmla="*/ 55245 h 1733550"/>
                <a:gd name="connsiteX4" fmla="*/ 575310 w 914400"/>
                <a:gd name="connsiteY4" fmla="*/ 60960 h 1733550"/>
                <a:gd name="connsiteX5" fmla="*/ 579120 w 914400"/>
                <a:gd name="connsiteY5" fmla="*/ 63817 h 1733550"/>
                <a:gd name="connsiteX6" fmla="*/ 581977 w 914400"/>
                <a:gd name="connsiteY6" fmla="*/ 71438 h 1733550"/>
                <a:gd name="connsiteX7" fmla="*/ 583883 w 914400"/>
                <a:gd name="connsiteY7" fmla="*/ 76200 h 1733550"/>
                <a:gd name="connsiteX8" fmla="*/ 586740 w 914400"/>
                <a:gd name="connsiteY8" fmla="*/ 80010 h 1733550"/>
                <a:gd name="connsiteX9" fmla="*/ 590550 w 914400"/>
                <a:gd name="connsiteY9" fmla="*/ 83820 h 1733550"/>
                <a:gd name="connsiteX10" fmla="*/ 594360 w 914400"/>
                <a:gd name="connsiteY10" fmla="*/ 84772 h 1733550"/>
                <a:gd name="connsiteX11" fmla="*/ 604837 w 914400"/>
                <a:gd name="connsiteY11" fmla="*/ 87630 h 1733550"/>
                <a:gd name="connsiteX12" fmla="*/ 609600 w 914400"/>
                <a:gd name="connsiteY12" fmla="*/ 90488 h 1733550"/>
                <a:gd name="connsiteX13" fmla="*/ 609600 w 914400"/>
                <a:gd name="connsiteY13" fmla="*/ 93345 h 1733550"/>
                <a:gd name="connsiteX14" fmla="*/ 605790 w 914400"/>
                <a:gd name="connsiteY14" fmla="*/ 97155 h 1733550"/>
                <a:gd name="connsiteX15" fmla="*/ 594360 w 914400"/>
                <a:gd name="connsiteY15" fmla="*/ 103822 h 1733550"/>
                <a:gd name="connsiteX16" fmla="*/ 589598 w 914400"/>
                <a:gd name="connsiteY16" fmla="*/ 106680 h 1733550"/>
                <a:gd name="connsiteX17" fmla="*/ 585787 w 914400"/>
                <a:gd name="connsiteY17" fmla="*/ 110490 h 1733550"/>
                <a:gd name="connsiteX18" fmla="*/ 582930 w 914400"/>
                <a:gd name="connsiteY18" fmla="*/ 115253 h 1733550"/>
                <a:gd name="connsiteX19" fmla="*/ 580073 w 914400"/>
                <a:gd name="connsiteY19" fmla="*/ 120967 h 1733550"/>
                <a:gd name="connsiteX20" fmla="*/ 569595 w 914400"/>
                <a:gd name="connsiteY20" fmla="*/ 159067 h 1733550"/>
                <a:gd name="connsiteX21" fmla="*/ 569595 w 914400"/>
                <a:gd name="connsiteY21" fmla="*/ 165735 h 1733550"/>
                <a:gd name="connsiteX22" fmla="*/ 570548 w 914400"/>
                <a:gd name="connsiteY22" fmla="*/ 169545 h 1733550"/>
                <a:gd name="connsiteX23" fmla="*/ 573405 w 914400"/>
                <a:gd name="connsiteY23" fmla="*/ 171450 h 1733550"/>
                <a:gd name="connsiteX24" fmla="*/ 578168 w 914400"/>
                <a:gd name="connsiteY24" fmla="*/ 175260 h 1733550"/>
                <a:gd name="connsiteX25" fmla="*/ 581977 w 914400"/>
                <a:gd name="connsiteY25" fmla="*/ 176213 h 1733550"/>
                <a:gd name="connsiteX26" fmla="*/ 596265 w 914400"/>
                <a:gd name="connsiteY26" fmla="*/ 179070 h 1733550"/>
                <a:gd name="connsiteX27" fmla="*/ 601027 w 914400"/>
                <a:gd name="connsiteY27" fmla="*/ 181928 h 1733550"/>
                <a:gd name="connsiteX28" fmla="*/ 602933 w 914400"/>
                <a:gd name="connsiteY28" fmla="*/ 183833 h 1733550"/>
                <a:gd name="connsiteX29" fmla="*/ 604837 w 914400"/>
                <a:gd name="connsiteY29" fmla="*/ 187642 h 1733550"/>
                <a:gd name="connsiteX30" fmla="*/ 606743 w 914400"/>
                <a:gd name="connsiteY30" fmla="*/ 197167 h 1733550"/>
                <a:gd name="connsiteX31" fmla="*/ 608648 w 914400"/>
                <a:gd name="connsiteY31" fmla="*/ 200978 h 1733550"/>
                <a:gd name="connsiteX32" fmla="*/ 611505 w 914400"/>
                <a:gd name="connsiteY32" fmla="*/ 204788 h 1733550"/>
                <a:gd name="connsiteX33" fmla="*/ 617220 w 914400"/>
                <a:gd name="connsiteY33" fmla="*/ 209550 h 1733550"/>
                <a:gd name="connsiteX34" fmla="*/ 640080 w 914400"/>
                <a:gd name="connsiteY34" fmla="*/ 222885 h 1733550"/>
                <a:gd name="connsiteX35" fmla="*/ 657225 w 914400"/>
                <a:gd name="connsiteY35" fmla="*/ 236220 h 1733550"/>
                <a:gd name="connsiteX36" fmla="*/ 661987 w 914400"/>
                <a:gd name="connsiteY36" fmla="*/ 239078 h 1733550"/>
                <a:gd name="connsiteX37" fmla="*/ 663893 w 914400"/>
                <a:gd name="connsiteY37" fmla="*/ 240983 h 1733550"/>
                <a:gd name="connsiteX38" fmla="*/ 664845 w 914400"/>
                <a:gd name="connsiteY38" fmla="*/ 243840 h 1733550"/>
                <a:gd name="connsiteX39" fmla="*/ 662940 w 914400"/>
                <a:gd name="connsiteY39" fmla="*/ 246697 h 1733550"/>
                <a:gd name="connsiteX40" fmla="*/ 660083 w 914400"/>
                <a:gd name="connsiteY40" fmla="*/ 251460 h 1733550"/>
                <a:gd name="connsiteX41" fmla="*/ 659130 w 914400"/>
                <a:gd name="connsiteY41" fmla="*/ 254317 h 1733550"/>
                <a:gd name="connsiteX42" fmla="*/ 660083 w 914400"/>
                <a:gd name="connsiteY42" fmla="*/ 257175 h 1733550"/>
                <a:gd name="connsiteX43" fmla="*/ 661987 w 914400"/>
                <a:gd name="connsiteY43" fmla="*/ 259080 h 1733550"/>
                <a:gd name="connsiteX44" fmla="*/ 665798 w 914400"/>
                <a:gd name="connsiteY44" fmla="*/ 259080 h 1733550"/>
                <a:gd name="connsiteX45" fmla="*/ 671512 w 914400"/>
                <a:gd name="connsiteY45" fmla="*/ 258128 h 1733550"/>
                <a:gd name="connsiteX46" fmla="*/ 674370 w 914400"/>
                <a:gd name="connsiteY46" fmla="*/ 259080 h 1733550"/>
                <a:gd name="connsiteX47" fmla="*/ 677227 w 914400"/>
                <a:gd name="connsiteY47" fmla="*/ 260985 h 1733550"/>
                <a:gd name="connsiteX48" fmla="*/ 680085 w 914400"/>
                <a:gd name="connsiteY48" fmla="*/ 267653 h 1733550"/>
                <a:gd name="connsiteX49" fmla="*/ 682943 w 914400"/>
                <a:gd name="connsiteY49" fmla="*/ 271463 h 1733550"/>
                <a:gd name="connsiteX50" fmla="*/ 687705 w 914400"/>
                <a:gd name="connsiteY50" fmla="*/ 274320 h 1733550"/>
                <a:gd name="connsiteX51" fmla="*/ 698183 w 914400"/>
                <a:gd name="connsiteY51" fmla="*/ 277178 h 1733550"/>
                <a:gd name="connsiteX52" fmla="*/ 702945 w 914400"/>
                <a:gd name="connsiteY52" fmla="*/ 280988 h 1733550"/>
                <a:gd name="connsiteX53" fmla="*/ 703898 w 914400"/>
                <a:gd name="connsiteY53" fmla="*/ 283845 h 1733550"/>
                <a:gd name="connsiteX54" fmla="*/ 704850 w 914400"/>
                <a:gd name="connsiteY54" fmla="*/ 286703 h 1733550"/>
                <a:gd name="connsiteX55" fmla="*/ 705802 w 914400"/>
                <a:gd name="connsiteY55" fmla="*/ 297180 h 1733550"/>
                <a:gd name="connsiteX56" fmla="*/ 706755 w 914400"/>
                <a:gd name="connsiteY56" fmla="*/ 300990 h 1733550"/>
                <a:gd name="connsiteX57" fmla="*/ 710565 w 914400"/>
                <a:gd name="connsiteY57" fmla="*/ 302895 h 1733550"/>
                <a:gd name="connsiteX58" fmla="*/ 712470 w 914400"/>
                <a:gd name="connsiteY58" fmla="*/ 302895 h 1733550"/>
                <a:gd name="connsiteX59" fmla="*/ 736283 w 914400"/>
                <a:gd name="connsiteY59" fmla="*/ 305753 h 1733550"/>
                <a:gd name="connsiteX60" fmla="*/ 739140 w 914400"/>
                <a:gd name="connsiteY60" fmla="*/ 304800 h 1733550"/>
                <a:gd name="connsiteX61" fmla="*/ 741045 w 914400"/>
                <a:gd name="connsiteY61" fmla="*/ 303847 h 1733550"/>
                <a:gd name="connsiteX62" fmla="*/ 743902 w 914400"/>
                <a:gd name="connsiteY62" fmla="*/ 299085 h 1733550"/>
                <a:gd name="connsiteX63" fmla="*/ 747712 w 914400"/>
                <a:gd name="connsiteY63" fmla="*/ 289560 h 1733550"/>
                <a:gd name="connsiteX64" fmla="*/ 752475 w 914400"/>
                <a:gd name="connsiteY64" fmla="*/ 282892 h 1733550"/>
                <a:gd name="connsiteX65" fmla="*/ 756285 w 914400"/>
                <a:gd name="connsiteY65" fmla="*/ 275272 h 1733550"/>
                <a:gd name="connsiteX66" fmla="*/ 758190 w 914400"/>
                <a:gd name="connsiteY66" fmla="*/ 273367 h 1733550"/>
                <a:gd name="connsiteX67" fmla="*/ 762000 w 914400"/>
                <a:gd name="connsiteY67" fmla="*/ 273367 h 1733550"/>
                <a:gd name="connsiteX68" fmla="*/ 764858 w 914400"/>
                <a:gd name="connsiteY68" fmla="*/ 273367 h 1733550"/>
                <a:gd name="connsiteX69" fmla="*/ 767715 w 914400"/>
                <a:gd name="connsiteY69" fmla="*/ 276225 h 1733550"/>
                <a:gd name="connsiteX70" fmla="*/ 769620 w 914400"/>
                <a:gd name="connsiteY70" fmla="*/ 280035 h 1733550"/>
                <a:gd name="connsiteX71" fmla="*/ 770573 w 914400"/>
                <a:gd name="connsiteY71" fmla="*/ 286703 h 1733550"/>
                <a:gd name="connsiteX72" fmla="*/ 770573 w 914400"/>
                <a:gd name="connsiteY72" fmla="*/ 292417 h 1733550"/>
                <a:gd name="connsiteX73" fmla="*/ 768668 w 914400"/>
                <a:gd name="connsiteY73" fmla="*/ 311467 h 1733550"/>
                <a:gd name="connsiteX74" fmla="*/ 768668 w 914400"/>
                <a:gd name="connsiteY74" fmla="*/ 315278 h 1733550"/>
                <a:gd name="connsiteX75" fmla="*/ 769620 w 914400"/>
                <a:gd name="connsiteY75" fmla="*/ 318135 h 1733550"/>
                <a:gd name="connsiteX76" fmla="*/ 771525 w 914400"/>
                <a:gd name="connsiteY76" fmla="*/ 321945 h 1733550"/>
                <a:gd name="connsiteX77" fmla="*/ 775335 w 914400"/>
                <a:gd name="connsiteY77" fmla="*/ 327660 h 1733550"/>
                <a:gd name="connsiteX78" fmla="*/ 783908 w 914400"/>
                <a:gd name="connsiteY78" fmla="*/ 337185 h 1733550"/>
                <a:gd name="connsiteX79" fmla="*/ 789623 w 914400"/>
                <a:gd name="connsiteY79" fmla="*/ 345758 h 1733550"/>
                <a:gd name="connsiteX80" fmla="*/ 791527 w 914400"/>
                <a:gd name="connsiteY80" fmla="*/ 352425 h 1733550"/>
                <a:gd name="connsiteX81" fmla="*/ 791527 w 914400"/>
                <a:gd name="connsiteY81" fmla="*/ 359092 h 1733550"/>
                <a:gd name="connsiteX82" fmla="*/ 790575 w 914400"/>
                <a:gd name="connsiteY82" fmla="*/ 362903 h 1733550"/>
                <a:gd name="connsiteX83" fmla="*/ 787718 w 914400"/>
                <a:gd name="connsiteY83" fmla="*/ 364808 h 1733550"/>
                <a:gd name="connsiteX84" fmla="*/ 782955 w 914400"/>
                <a:gd name="connsiteY84" fmla="*/ 367665 h 1733550"/>
                <a:gd name="connsiteX85" fmla="*/ 781050 w 914400"/>
                <a:gd name="connsiteY85" fmla="*/ 368617 h 1733550"/>
                <a:gd name="connsiteX86" fmla="*/ 780098 w 914400"/>
                <a:gd name="connsiteY86" fmla="*/ 371475 h 1733550"/>
                <a:gd name="connsiteX87" fmla="*/ 780098 w 914400"/>
                <a:gd name="connsiteY87" fmla="*/ 374333 h 1733550"/>
                <a:gd name="connsiteX88" fmla="*/ 781050 w 914400"/>
                <a:gd name="connsiteY88" fmla="*/ 378142 h 1733550"/>
                <a:gd name="connsiteX89" fmla="*/ 787718 w 914400"/>
                <a:gd name="connsiteY89" fmla="*/ 383858 h 1733550"/>
                <a:gd name="connsiteX90" fmla="*/ 789623 w 914400"/>
                <a:gd name="connsiteY90" fmla="*/ 386715 h 1733550"/>
                <a:gd name="connsiteX91" fmla="*/ 790575 w 914400"/>
                <a:gd name="connsiteY91" fmla="*/ 388620 h 1733550"/>
                <a:gd name="connsiteX92" fmla="*/ 789623 w 914400"/>
                <a:gd name="connsiteY92" fmla="*/ 392430 h 1733550"/>
                <a:gd name="connsiteX93" fmla="*/ 782955 w 914400"/>
                <a:gd name="connsiteY93" fmla="*/ 401003 h 1733550"/>
                <a:gd name="connsiteX94" fmla="*/ 780098 w 914400"/>
                <a:gd name="connsiteY94" fmla="*/ 406717 h 1733550"/>
                <a:gd name="connsiteX95" fmla="*/ 777240 w 914400"/>
                <a:gd name="connsiteY95" fmla="*/ 415290 h 1733550"/>
                <a:gd name="connsiteX96" fmla="*/ 776287 w 914400"/>
                <a:gd name="connsiteY96" fmla="*/ 420053 h 1733550"/>
                <a:gd name="connsiteX97" fmla="*/ 777240 w 914400"/>
                <a:gd name="connsiteY97" fmla="*/ 422910 h 1733550"/>
                <a:gd name="connsiteX98" fmla="*/ 779145 w 914400"/>
                <a:gd name="connsiteY98" fmla="*/ 425767 h 1733550"/>
                <a:gd name="connsiteX99" fmla="*/ 782955 w 914400"/>
                <a:gd name="connsiteY99" fmla="*/ 428625 h 1733550"/>
                <a:gd name="connsiteX100" fmla="*/ 793433 w 914400"/>
                <a:gd name="connsiteY100" fmla="*/ 433388 h 1733550"/>
                <a:gd name="connsiteX101" fmla="*/ 795337 w 914400"/>
                <a:gd name="connsiteY101" fmla="*/ 434340 h 1733550"/>
                <a:gd name="connsiteX102" fmla="*/ 797243 w 914400"/>
                <a:gd name="connsiteY102" fmla="*/ 437197 h 1733550"/>
                <a:gd name="connsiteX103" fmla="*/ 799148 w 914400"/>
                <a:gd name="connsiteY103" fmla="*/ 441008 h 1733550"/>
                <a:gd name="connsiteX104" fmla="*/ 800100 w 914400"/>
                <a:gd name="connsiteY104" fmla="*/ 448628 h 1733550"/>
                <a:gd name="connsiteX105" fmla="*/ 799148 w 914400"/>
                <a:gd name="connsiteY105" fmla="*/ 458153 h 1733550"/>
                <a:gd name="connsiteX106" fmla="*/ 797243 w 914400"/>
                <a:gd name="connsiteY106" fmla="*/ 464820 h 1733550"/>
                <a:gd name="connsiteX107" fmla="*/ 795337 w 914400"/>
                <a:gd name="connsiteY107" fmla="*/ 466725 h 1733550"/>
                <a:gd name="connsiteX108" fmla="*/ 786765 w 914400"/>
                <a:gd name="connsiteY108" fmla="*/ 467678 h 1733550"/>
                <a:gd name="connsiteX109" fmla="*/ 783908 w 914400"/>
                <a:gd name="connsiteY109" fmla="*/ 469583 h 1733550"/>
                <a:gd name="connsiteX110" fmla="*/ 780098 w 914400"/>
                <a:gd name="connsiteY110" fmla="*/ 473392 h 1733550"/>
                <a:gd name="connsiteX111" fmla="*/ 777240 w 914400"/>
                <a:gd name="connsiteY111" fmla="*/ 477203 h 1733550"/>
                <a:gd name="connsiteX112" fmla="*/ 773430 w 914400"/>
                <a:gd name="connsiteY112" fmla="*/ 481013 h 1733550"/>
                <a:gd name="connsiteX113" fmla="*/ 767715 w 914400"/>
                <a:gd name="connsiteY113" fmla="*/ 481965 h 1733550"/>
                <a:gd name="connsiteX114" fmla="*/ 763905 w 914400"/>
                <a:gd name="connsiteY114" fmla="*/ 482917 h 1733550"/>
                <a:gd name="connsiteX115" fmla="*/ 738187 w 914400"/>
                <a:gd name="connsiteY115" fmla="*/ 478155 h 1733550"/>
                <a:gd name="connsiteX116" fmla="*/ 736283 w 914400"/>
                <a:gd name="connsiteY116" fmla="*/ 479108 h 1733550"/>
                <a:gd name="connsiteX117" fmla="*/ 736283 w 914400"/>
                <a:gd name="connsiteY117" fmla="*/ 481965 h 1733550"/>
                <a:gd name="connsiteX118" fmla="*/ 737235 w 914400"/>
                <a:gd name="connsiteY118" fmla="*/ 486728 h 1733550"/>
                <a:gd name="connsiteX119" fmla="*/ 752475 w 914400"/>
                <a:gd name="connsiteY119" fmla="*/ 513397 h 1733550"/>
                <a:gd name="connsiteX120" fmla="*/ 754380 w 914400"/>
                <a:gd name="connsiteY120" fmla="*/ 519113 h 1733550"/>
                <a:gd name="connsiteX121" fmla="*/ 755333 w 914400"/>
                <a:gd name="connsiteY121" fmla="*/ 524828 h 1733550"/>
                <a:gd name="connsiteX122" fmla="*/ 755333 w 914400"/>
                <a:gd name="connsiteY122" fmla="*/ 526733 h 1733550"/>
                <a:gd name="connsiteX123" fmla="*/ 753427 w 914400"/>
                <a:gd name="connsiteY123" fmla="*/ 528638 h 1733550"/>
                <a:gd name="connsiteX124" fmla="*/ 750570 w 914400"/>
                <a:gd name="connsiteY124" fmla="*/ 529590 h 1733550"/>
                <a:gd name="connsiteX125" fmla="*/ 741045 w 914400"/>
                <a:gd name="connsiteY125" fmla="*/ 530543 h 1733550"/>
                <a:gd name="connsiteX126" fmla="*/ 738187 w 914400"/>
                <a:gd name="connsiteY126" fmla="*/ 531495 h 1733550"/>
                <a:gd name="connsiteX127" fmla="*/ 737235 w 914400"/>
                <a:gd name="connsiteY127" fmla="*/ 533400 h 1733550"/>
                <a:gd name="connsiteX128" fmla="*/ 736283 w 914400"/>
                <a:gd name="connsiteY128" fmla="*/ 536258 h 1733550"/>
                <a:gd name="connsiteX129" fmla="*/ 734377 w 914400"/>
                <a:gd name="connsiteY129" fmla="*/ 554355 h 1733550"/>
                <a:gd name="connsiteX130" fmla="*/ 736283 w 914400"/>
                <a:gd name="connsiteY130" fmla="*/ 558165 h 1733550"/>
                <a:gd name="connsiteX131" fmla="*/ 740093 w 914400"/>
                <a:gd name="connsiteY131" fmla="*/ 561022 h 1733550"/>
                <a:gd name="connsiteX132" fmla="*/ 759143 w 914400"/>
                <a:gd name="connsiteY132" fmla="*/ 568643 h 1733550"/>
                <a:gd name="connsiteX133" fmla="*/ 762000 w 914400"/>
                <a:gd name="connsiteY133" fmla="*/ 570547 h 1733550"/>
                <a:gd name="connsiteX134" fmla="*/ 763905 w 914400"/>
                <a:gd name="connsiteY134" fmla="*/ 572453 h 1733550"/>
                <a:gd name="connsiteX135" fmla="*/ 765810 w 914400"/>
                <a:gd name="connsiteY135" fmla="*/ 577215 h 1733550"/>
                <a:gd name="connsiteX136" fmla="*/ 765810 w 914400"/>
                <a:gd name="connsiteY136" fmla="*/ 580072 h 1733550"/>
                <a:gd name="connsiteX137" fmla="*/ 763905 w 914400"/>
                <a:gd name="connsiteY137" fmla="*/ 588645 h 1733550"/>
                <a:gd name="connsiteX138" fmla="*/ 764858 w 914400"/>
                <a:gd name="connsiteY138" fmla="*/ 594360 h 1733550"/>
                <a:gd name="connsiteX139" fmla="*/ 767715 w 914400"/>
                <a:gd name="connsiteY139" fmla="*/ 599122 h 1733550"/>
                <a:gd name="connsiteX140" fmla="*/ 782002 w 914400"/>
                <a:gd name="connsiteY140" fmla="*/ 618172 h 1733550"/>
                <a:gd name="connsiteX141" fmla="*/ 787718 w 914400"/>
                <a:gd name="connsiteY141" fmla="*/ 626745 h 1733550"/>
                <a:gd name="connsiteX142" fmla="*/ 789623 w 914400"/>
                <a:gd name="connsiteY142" fmla="*/ 632460 h 1733550"/>
                <a:gd name="connsiteX143" fmla="*/ 790575 w 914400"/>
                <a:gd name="connsiteY143" fmla="*/ 638175 h 1733550"/>
                <a:gd name="connsiteX144" fmla="*/ 791527 w 914400"/>
                <a:gd name="connsiteY144" fmla="*/ 641033 h 1733550"/>
                <a:gd name="connsiteX145" fmla="*/ 794385 w 914400"/>
                <a:gd name="connsiteY145" fmla="*/ 645795 h 1733550"/>
                <a:gd name="connsiteX146" fmla="*/ 797243 w 914400"/>
                <a:gd name="connsiteY146" fmla="*/ 649605 h 1733550"/>
                <a:gd name="connsiteX147" fmla="*/ 906780 w 914400"/>
                <a:gd name="connsiteY147" fmla="*/ 681038 h 1733550"/>
                <a:gd name="connsiteX148" fmla="*/ 897255 w 914400"/>
                <a:gd name="connsiteY148" fmla="*/ 693420 h 1733550"/>
                <a:gd name="connsiteX149" fmla="*/ 890587 w 914400"/>
                <a:gd name="connsiteY149" fmla="*/ 695325 h 1733550"/>
                <a:gd name="connsiteX150" fmla="*/ 880110 w 914400"/>
                <a:gd name="connsiteY150" fmla="*/ 696278 h 1733550"/>
                <a:gd name="connsiteX151" fmla="*/ 878205 w 914400"/>
                <a:gd name="connsiteY151" fmla="*/ 697230 h 1733550"/>
                <a:gd name="connsiteX152" fmla="*/ 877252 w 914400"/>
                <a:gd name="connsiteY152" fmla="*/ 698183 h 1733550"/>
                <a:gd name="connsiteX153" fmla="*/ 879158 w 914400"/>
                <a:gd name="connsiteY153" fmla="*/ 700088 h 1733550"/>
                <a:gd name="connsiteX154" fmla="*/ 888683 w 914400"/>
                <a:gd name="connsiteY154" fmla="*/ 706755 h 1733550"/>
                <a:gd name="connsiteX155" fmla="*/ 890587 w 914400"/>
                <a:gd name="connsiteY155" fmla="*/ 709613 h 1733550"/>
                <a:gd name="connsiteX156" fmla="*/ 890587 w 914400"/>
                <a:gd name="connsiteY156" fmla="*/ 712470 h 1733550"/>
                <a:gd name="connsiteX157" fmla="*/ 886777 w 914400"/>
                <a:gd name="connsiteY157" fmla="*/ 718185 h 1733550"/>
                <a:gd name="connsiteX158" fmla="*/ 882968 w 914400"/>
                <a:gd name="connsiteY158" fmla="*/ 722947 h 1733550"/>
                <a:gd name="connsiteX159" fmla="*/ 878205 w 914400"/>
                <a:gd name="connsiteY159" fmla="*/ 726758 h 1733550"/>
                <a:gd name="connsiteX160" fmla="*/ 873443 w 914400"/>
                <a:gd name="connsiteY160" fmla="*/ 729615 h 1733550"/>
                <a:gd name="connsiteX161" fmla="*/ 870585 w 914400"/>
                <a:gd name="connsiteY161" fmla="*/ 729615 h 1733550"/>
                <a:gd name="connsiteX162" fmla="*/ 857250 w 914400"/>
                <a:gd name="connsiteY162" fmla="*/ 726758 h 1733550"/>
                <a:gd name="connsiteX163" fmla="*/ 854393 w 914400"/>
                <a:gd name="connsiteY163" fmla="*/ 726758 h 1733550"/>
                <a:gd name="connsiteX164" fmla="*/ 852487 w 914400"/>
                <a:gd name="connsiteY164" fmla="*/ 727710 h 1733550"/>
                <a:gd name="connsiteX165" fmla="*/ 851535 w 914400"/>
                <a:gd name="connsiteY165" fmla="*/ 730568 h 1733550"/>
                <a:gd name="connsiteX166" fmla="*/ 845820 w 914400"/>
                <a:gd name="connsiteY166" fmla="*/ 741045 h 1733550"/>
                <a:gd name="connsiteX167" fmla="*/ 844868 w 914400"/>
                <a:gd name="connsiteY167" fmla="*/ 743903 h 1733550"/>
                <a:gd name="connsiteX168" fmla="*/ 844868 w 914400"/>
                <a:gd name="connsiteY168" fmla="*/ 747713 h 1733550"/>
                <a:gd name="connsiteX169" fmla="*/ 845820 w 914400"/>
                <a:gd name="connsiteY169" fmla="*/ 751522 h 1733550"/>
                <a:gd name="connsiteX170" fmla="*/ 847725 w 914400"/>
                <a:gd name="connsiteY170" fmla="*/ 754380 h 1733550"/>
                <a:gd name="connsiteX171" fmla="*/ 849630 w 914400"/>
                <a:gd name="connsiteY171" fmla="*/ 756285 h 1733550"/>
                <a:gd name="connsiteX172" fmla="*/ 862965 w 914400"/>
                <a:gd name="connsiteY172" fmla="*/ 762953 h 1733550"/>
                <a:gd name="connsiteX173" fmla="*/ 867727 w 914400"/>
                <a:gd name="connsiteY173" fmla="*/ 765810 h 1733550"/>
                <a:gd name="connsiteX174" fmla="*/ 871537 w 914400"/>
                <a:gd name="connsiteY174" fmla="*/ 769620 h 1733550"/>
                <a:gd name="connsiteX175" fmla="*/ 875348 w 914400"/>
                <a:gd name="connsiteY175" fmla="*/ 773430 h 1733550"/>
                <a:gd name="connsiteX176" fmla="*/ 877252 w 914400"/>
                <a:gd name="connsiteY176" fmla="*/ 778193 h 1733550"/>
                <a:gd name="connsiteX177" fmla="*/ 879158 w 914400"/>
                <a:gd name="connsiteY177" fmla="*/ 783908 h 1733550"/>
                <a:gd name="connsiteX178" fmla="*/ 879158 w 914400"/>
                <a:gd name="connsiteY178" fmla="*/ 786765 h 1733550"/>
                <a:gd name="connsiteX179" fmla="*/ 878205 w 914400"/>
                <a:gd name="connsiteY179" fmla="*/ 791528 h 1733550"/>
                <a:gd name="connsiteX180" fmla="*/ 876300 w 914400"/>
                <a:gd name="connsiteY180" fmla="*/ 797243 h 1733550"/>
                <a:gd name="connsiteX181" fmla="*/ 860108 w 914400"/>
                <a:gd name="connsiteY181" fmla="*/ 829628 h 1733550"/>
                <a:gd name="connsiteX182" fmla="*/ 855345 w 914400"/>
                <a:gd name="connsiteY182" fmla="*/ 836295 h 1733550"/>
                <a:gd name="connsiteX183" fmla="*/ 853440 w 914400"/>
                <a:gd name="connsiteY183" fmla="*/ 839153 h 1733550"/>
                <a:gd name="connsiteX184" fmla="*/ 853440 w 914400"/>
                <a:gd name="connsiteY184" fmla="*/ 842010 h 1733550"/>
                <a:gd name="connsiteX185" fmla="*/ 854393 w 914400"/>
                <a:gd name="connsiteY185" fmla="*/ 844868 h 1733550"/>
                <a:gd name="connsiteX186" fmla="*/ 856298 w 914400"/>
                <a:gd name="connsiteY186" fmla="*/ 847725 h 1733550"/>
                <a:gd name="connsiteX187" fmla="*/ 862012 w 914400"/>
                <a:gd name="connsiteY187" fmla="*/ 853440 h 1733550"/>
                <a:gd name="connsiteX188" fmla="*/ 863918 w 914400"/>
                <a:gd name="connsiteY188" fmla="*/ 855345 h 1733550"/>
                <a:gd name="connsiteX189" fmla="*/ 863918 w 914400"/>
                <a:gd name="connsiteY189" fmla="*/ 859155 h 1733550"/>
                <a:gd name="connsiteX190" fmla="*/ 862965 w 914400"/>
                <a:gd name="connsiteY190" fmla="*/ 863918 h 1733550"/>
                <a:gd name="connsiteX191" fmla="*/ 858202 w 914400"/>
                <a:gd name="connsiteY191" fmla="*/ 870585 h 1733550"/>
                <a:gd name="connsiteX192" fmla="*/ 854393 w 914400"/>
                <a:gd name="connsiteY192" fmla="*/ 873443 h 1733550"/>
                <a:gd name="connsiteX193" fmla="*/ 850583 w 914400"/>
                <a:gd name="connsiteY193" fmla="*/ 873443 h 1733550"/>
                <a:gd name="connsiteX194" fmla="*/ 845820 w 914400"/>
                <a:gd name="connsiteY194" fmla="*/ 870585 h 1733550"/>
                <a:gd name="connsiteX195" fmla="*/ 842962 w 914400"/>
                <a:gd name="connsiteY195" fmla="*/ 869633 h 1733550"/>
                <a:gd name="connsiteX196" fmla="*/ 837248 w 914400"/>
                <a:gd name="connsiteY196" fmla="*/ 870585 h 1733550"/>
                <a:gd name="connsiteX197" fmla="*/ 835343 w 914400"/>
                <a:gd name="connsiteY197" fmla="*/ 871538 h 1733550"/>
                <a:gd name="connsiteX198" fmla="*/ 833437 w 914400"/>
                <a:gd name="connsiteY198" fmla="*/ 875347 h 1733550"/>
                <a:gd name="connsiteX199" fmla="*/ 831533 w 914400"/>
                <a:gd name="connsiteY199" fmla="*/ 881063 h 1733550"/>
                <a:gd name="connsiteX200" fmla="*/ 831533 w 914400"/>
                <a:gd name="connsiteY200" fmla="*/ 893445 h 1733550"/>
                <a:gd name="connsiteX201" fmla="*/ 832485 w 914400"/>
                <a:gd name="connsiteY201" fmla="*/ 898208 h 1733550"/>
                <a:gd name="connsiteX202" fmla="*/ 833437 w 914400"/>
                <a:gd name="connsiteY202" fmla="*/ 902018 h 1733550"/>
                <a:gd name="connsiteX203" fmla="*/ 848677 w 914400"/>
                <a:gd name="connsiteY203" fmla="*/ 913447 h 1733550"/>
                <a:gd name="connsiteX204" fmla="*/ 850583 w 914400"/>
                <a:gd name="connsiteY204" fmla="*/ 915353 h 1733550"/>
                <a:gd name="connsiteX205" fmla="*/ 851535 w 914400"/>
                <a:gd name="connsiteY205" fmla="*/ 918210 h 1733550"/>
                <a:gd name="connsiteX206" fmla="*/ 851535 w 914400"/>
                <a:gd name="connsiteY206" fmla="*/ 920115 h 1733550"/>
                <a:gd name="connsiteX207" fmla="*/ 848677 w 914400"/>
                <a:gd name="connsiteY207" fmla="*/ 922972 h 1733550"/>
                <a:gd name="connsiteX208" fmla="*/ 842010 w 914400"/>
                <a:gd name="connsiteY208" fmla="*/ 927735 h 1733550"/>
                <a:gd name="connsiteX209" fmla="*/ 840105 w 914400"/>
                <a:gd name="connsiteY209" fmla="*/ 929640 h 1733550"/>
                <a:gd name="connsiteX210" fmla="*/ 839152 w 914400"/>
                <a:gd name="connsiteY210" fmla="*/ 932497 h 1733550"/>
                <a:gd name="connsiteX211" fmla="*/ 838200 w 914400"/>
                <a:gd name="connsiteY211" fmla="*/ 936307 h 1733550"/>
                <a:gd name="connsiteX212" fmla="*/ 839152 w 914400"/>
                <a:gd name="connsiteY212" fmla="*/ 942022 h 1733550"/>
                <a:gd name="connsiteX213" fmla="*/ 841058 w 914400"/>
                <a:gd name="connsiteY213" fmla="*/ 944880 h 1733550"/>
                <a:gd name="connsiteX214" fmla="*/ 842962 w 914400"/>
                <a:gd name="connsiteY214" fmla="*/ 946785 h 1733550"/>
                <a:gd name="connsiteX215" fmla="*/ 845820 w 914400"/>
                <a:gd name="connsiteY215" fmla="*/ 948690 h 1733550"/>
                <a:gd name="connsiteX216" fmla="*/ 852487 w 914400"/>
                <a:gd name="connsiteY216" fmla="*/ 949643 h 1733550"/>
                <a:gd name="connsiteX217" fmla="*/ 884873 w 914400"/>
                <a:gd name="connsiteY217" fmla="*/ 949643 h 1733550"/>
                <a:gd name="connsiteX218" fmla="*/ 886777 w 914400"/>
                <a:gd name="connsiteY218" fmla="*/ 951547 h 1733550"/>
                <a:gd name="connsiteX219" fmla="*/ 889635 w 914400"/>
                <a:gd name="connsiteY219" fmla="*/ 956310 h 1733550"/>
                <a:gd name="connsiteX220" fmla="*/ 891540 w 914400"/>
                <a:gd name="connsiteY220" fmla="*/ 961072 h 1733550"/>
                <a:gd name="connsiteX221" fmla="*/ 895350 w 914400"/>
                <a:gd name="connsiteY221" fmla="*/ 971550 h 1733550"/>
                <a:gd name="connsiteX222" fmla="*/ 895350 w 914400"/>
                <a:gd name="connsiteY222" fmla="*/ 974407 h 1733550"/>
                <a:gd name="connsiteX223" fmla="*/ 894398 w 914400"/>
                <a:gd name="connsiteY223" fmla="*/ 977265 h 1733550"/>
                <a:gd name="connsiteX224" fmla="*/ 891540 w 914400"/>
                <a:gd name="connsiteY224" fmla="*/ 979170 h 1733550"/>
                <a:gd name="connsiteX225" fmla="*/ 875348 w 914400"/>
                <a:gd name="connsiteY225" fmla="*/ 984885 h 1733550"/>
                <a:gd name="connsiteX226" fmla="*/ 873443 w 914400"/>
                <a:gd name="connsiteY226" fmla="*/ 987743 h 1733550"/>
                <a:gd name="connsiteX227" fmla="*/ 872490 w 914400"/>
                <a:gd name="connsiteY227" fmla="*/ 991553 h 1733550"/>
                <a:gd name="connsiteX228" fmla="*/ 873443 w 914400"/>
                <a:gd name="connsiteY228" fmla="*/ 996315 h 1733550"/>
                <a:gd name="connsiteX229" fmla="*/ 875348 w 914400"/>
                <a:gd name="connsiteY229" fmla="*/ 999172 h 1733550"/>
                <a:gd name="connsiteX230" fmla="*/ 877252 w 914400"/>
                <a:gd name="connsiteY230" fmla="*/ 1004888 h 1733550"/>
                <a:gd name="connsiteX231" fmla="*/ 878205 w 914400"/>
                <a:gd name="connsiteY231" fmla="*/ 1007745 h 1733550"/>
                <a:gd name="connsiteX232" fmla="*/ 879158 w 914400"/>
                <a:gd name="connsiteY232" fmla="*/ 1016318 h 1733550"/>
                <a:gd name="connsiteX233" fmla="*/ 881062 w 914400"/>
                <a:gd name="connsiteY233" fmla="*/ 1022032 h 1733550"/>
                <a:gd name="connsiteX234" fmla="*/ 885825 w 914400"/>
                <a:gd name="connsiteY234" fmla="*/ 1024890 h 1733550"/>
                <a:gd name="connsiteX235" fmla="*/ 894398 w 914400"/>
                <a:gd name="connsiteY235" fmla="*/ 1026795 h 1733550"/>
                <a:gd name="connsiteX236" fmla="*/ 896302 w 914400"/>
                <a:gd name="connsiteY236" fmla="*/ 1028700 h 1733550"/>
                <a:gd name="connsiteX237" fmla="*/ 898208 w 914400"/>
                <a:gd name="connsiteY237" fmla="*/ 1030605 h 1733550"/>
                <a:gd name="connsiteX238" fmla="*/ 899160 w 914400"/>
                <a:gd name="connsiteY238" fmla="*/ 1032510 h 1733550"/>
                <a:gd name="connsiteX239" fmla="*/ 899160 w 914400"/>
                <a:gd name="connsiteY239" fmla="*/ 1036320 h 1733550"/>
                <a:gd name="connsiteX240" fmla="*/ 898208 w 914400"/>
                <a:gd name="connsiteY240" fmla="*/ 1043940 h 1733550"/>
                <a:gd name="connsiteX241" fmla="*/ 898208 w 914400"/>
                <a:gd name="connsiteY241" fmla="*/ 1051560 h 1733550"/>
                <a:gd name="connsiteX242" fmla="*/ 900112 w 914400"/>
                <a:gd name="connsiteY242" fmla="*/ 1056323 h 1733550"/>
                <a:gd name="connsiteX243" fmla="*/ 902018 w 914400"/>
                <a:gd name="connsiteY243" fmla="*/ 1058228 h 1733550"/>
                <a:gd name="connsiteX244" fmla="*/ 908685 w 914400"/>
                <a:gd name="connsiteY244" fmla="*/ 1066800 h 1733550"/>
                <a:gd name="connsiteX245" fmla="*/ 911543 w 914400"/>
                <a:gd name="connsiteY245" fmla="*/ 1073468 h 1733550"/>
                <a:gd name="connsiteX246" fmla="*/ 911543 w 914400"/>
                <a:gd name="connsiteY246" fmla="*/ 1077278 h 1733550"/>
                <a:gd name="connsiteX247" fmla="*/ 909637 w 914400"/>
                <a:gd name="connsiteY247" fmla="*/ 1081088 h 1733550"/>
                <a:gd name="connsiteX248" fmla="*/ 905827 w 914400"/>
                <a:gd name="connsiteY248" fmla="*/ 1086803 h 1733550"/>
                <a:gd name="connsiteX249" fmla="*/ 902970 w 914400"/>
                <a:gd name="connsiteY249" fmla="*/ 1091565 h 1733550"/>
                <a:gd name="connsiteX250" fmla="*/ 901065 w 914400"/>
                <a:gd name="connsiteY250" fmla="*/ 1096328 h 1733550"/>
                <a:gd name="connsiteX251" fmla="*/ 900112 w 914400"/>
                <a:gd name="connsiteY251" fmla="*/ 1102043 h 1733550"/>
                <a:gd name="connsiteX252" fmla="*/ 901065 w 914400"/>
                <a:gd name="connsiteY252" fmla="*/ 1109663 h 1733550"/>
                <a:gd name="connsiteX253" fmla="*/ 903923 w 914400"/>
                <a:gd name="connsiteY253" fmla="*/ 1114425 h 1733550"/>
                <a:gd name="connsiteX254" fmla="*/ 909637 w 914400"/>
                <a:gd name="connsiteY254" fmla="*/ 1122998 h 1733550"/>
                <a:gd name="connsiteX255" fmla="*/ 912495 w 914400"/>
                <a:gd name="connsiteY255" fmla="*/ 1127760 h 1733550"/>
                <a:gd name="connsiteX256" fmla="*/ 913448 w 914400"/>
                <a:gd name="connsiteY256" fmla="*/ 1133475 h 1733550"/>
                <a:gd name="connsiteX257" fmla="*/ 913448 w 914400"/>
                <a:gd name="connsiteY257" fmla="*/ 1140143 h 1733550"/>
                <a:gd name="connsiteX258" fmla="*/ 913448 w 914400"/>
                <a:gd name="connsiteY258" fmla="*/ 1146810 h 1733550"/>
                <a:gd name="connsiteX259" fmla="*/ 914400 w 914400"/>
                <a:gd name="connsiteY259" fmla="*/ 1152525 h 1733550"/>
                <a:gd name="connsiteX260" fmla="*/ 915352 w 914400"/>
                <a:gd name="connsiteY260" fmla="*/ 1158240 h 1733550"/>
                <a:gd name="connsiteX261" fmla="*/ 917258 w 914400"/>
                <a:gd name="connsiteY261" fmla="*/ 1163955 h 1733550"/>
                <a:gd name="connsiteX262" fmla="*/ 918210 w 914400"/>
                <a:gd name="connsiteY262" fmla="*/ 1165860 h 1733550"/>
                <a:gd name="connsiteX263" fmla="*/ 917258 w 914400"/>
                <a:gd name="connsiteY263" fmla="*/ 1169670 h 1733550"/>
                <a:gd name="connsiteX264" fmla="*/ 915352 w 914400"/>
                <a:gd name="connsiteY264" fmla="*/ 1172528 h 1733550"/>
                <a:gd name="connsiteX265" fmla="*/ 909637 w 914400"/>
                <a:gd name="connsiteY265" fmla="*/ 1175385 h 1733550"/>
                <a:gd name="connsiteX266" fmla="*/ 905827 w 914400"/>
                <a:gd name="connsiteY266" fmla="*/ 1176338 h 1733550"/>
                <a:gd name="connsiteX267" fmla="*/ 888683 w 914400"/>
                <a:gd name="connsiteY267" fmla="*/ 1177290 h 1733550"/>
                <a:gd name="connsiteX268" fmla="*/ 876300 w 914400"/>
                <a:gd name="connsiteY268" fmla="*/ 1183005 h 1733550"/>
                <a:gd name="connsiteX269" fmla="*/ 872490 w 914400"/>
                <a:gd name="connsiteY269" fmla="*/ 1186815 h 1733550"/>
                <a:gd name="connsiteX270" fmla="*/ 862012 w 914400"/>
                <a:gd name="connsiteY270" fmla="*/ 1200150 h 1733550"/>
                <a:gd name="connsiteX271" fmla="*/ 859155 w 914400"/>
                <a:gd name="connsiteY271" fmla="*/ 1203007 h 1733550"/>
                <a:gd name="connsiteX272" fmla="*/ 853440 w 914400"/>
                <a:gd name="connsiteY272" fmla="*/ 1203960 h 1733550"/>
                <a:gd name="connsiteX273" fmla="*/ 847725 w 914400"/>
                <a:gd name="connsiteY273" fmla="*/ 1203007 h 1733550"/>
                <a:gd name="connsiteX274" fmla="*/ 842010 w 914400"/>
                <a:gd name="connsiteY274" fmla="*/ 1200150 h 1733550"/>
                <a:gd name="connsiteX275" fmla="*/ 837248 w 914400"/>
                <a:gd name="connsiteY275" fmla="*/ 1197293 h 1733550"/>
                <a:gd name="connsiteX276" fmla="*/ 826770 w 914400"/>
                <a:gd name="connsiteY276" fmla="*/ 1189673 h 1733550"/>
                <a:gd name="connsiteX277" fmla="*/ 821055 w 914400"/>
                <a:gd name="connsiteY277" fmla="*/ 1186815 h 1733550"/>
                <a:gd name="connsiteX278" fmla="*/ 811530 w 914400"/>
                <a:gd name="connsiteY278" fmla="*/ 1185863 h 1733550"/>
                <a:gd name="connsiteX279" fmla="*/ 808673 w 914400"/>
                <a:gd name="connsiteY279" fmla="*/ 1184910 h 1733550"/>
                <a:gd name="connsiteX280" fmla="*/ 802958 w 914400"/>
                <a:gd name="connsiteY280" fmla="*/ 1181100 h 1733550"/>
                <a:gd name="connsiteX281" fmla="*/ 794385 w 914400"/>
                <a:gd name="connsiteY281" fmla="*/ 1175385 h 1733550"/>
                <a:gd name="connsiteX282" fmla="*/ 786765 w 914400"/>
                <a:gd name="connsiteY282" fmla="*/ 1171575 h 1733550"/>
                <a:gd name="connsiteX283" fmla="*/ 773430 w 914400"/>
                <a:gd name="connsiteY283" fmla="*/ 1168718 h 1733550"/>
                <a:gd name="connsiteX284" fmla="*/ 770573 w 914400"/>
                <a:gd name="connsiteY284" fmla="*/ 1170623 h 1733550"/>
                <a:gd name="connsiteX285" fmla="*/ 766762 w 914400"/>
                <a:gd name="connsiteY285" fmla="*/ 1174432 h 1733550"/>
                <a:gd name="connsiteX286" fmla="*/ 755333 w 914400"/>
                <a:gd name="connsiteY286" fmla="*/ 1195388 h 1733550"/>
                <a:gd name="connsiteX287" fmla="*/ 751523 w 914400"/>
                <a:gd name="connsiteY287" fmla="*/ 1198245 h 1733550"/>
                <a:gd name="connsiteX288" fmla="*/ 748665 w 914400"/>
                <a:gd name="connsiteY288" fmla="*/ 1199198 h 1733550"/>
                <a:gd name="connsiteX289" fmla="*/ 725805 w 914400"/>
                <a:gd name="connsiteY289" fmla="*/ 1195388 h 1733550"/>
                <a:gd name="connsiteX290" fmla="*/ 713423 w 914400"/>
                <a:gd name="connsiteY290" fmla="*/ 1195388 h 1733550"/>
                <a:gd name="connsiteX291" fmla="*/ 710565 w 914400"/>
                <a:gd name="connsiteY291" fmla="*/ 1198245 h 1733550"/>
                <a:gd name="connsiteX292" fmla="*/ 706755 w 914400"/>
                <a:gd name="connsiteY292" fmla="*/ 1202055 h 1733550"/>
                <a:gd name="connsiteX293" fmla="*/ 702945 w 914400"/>
                <a:gd name="connsiteY293" fmla="*/ 1212532 h 1733550"/>
                <a:gd name="connsiteX294" fmla="*/ 701040 w 914400"/>
                <a:gd name="connsiteY294" fmla="*/ 1218248 h 1733550"/>
                <a:gd name="connsiteX295" fmla="*/ 699135 w 914400"/>
                <a:gd name="connsiteY295" fmla="*/ 1223010 h 1733550"/>
                <a:gd name="connsiteX296" fmla="*/ 698183 w 914400"/>
                <a:gd name="connsiteY296" fmla="*/ 1225868 h 1733550"/>
                <a:gd name="connsiteX297" fmla="*/ 698183 w 914400"/>
                <a:gd name="connsiteY297" fmla="*/ 1232535 h 1733550"/>
                <a:gd name="connsiteX298" fmla="*/ 697230 w 914400"/>
                <a:gd name="connsiteY298" fmla="*/ 1236345 h 1733550"/>
                <a:gd name="connsiteX299" fmla="*/ 694373 w 914400"/>
                <a:gd name="connsiteY299" fmla="*/ 1240155 h 1733550"/>
                <a:gd name="connsiteX300" fmla="*/ 685800 w 914400"/>
                <a:gd name="connsiteY300" fmla="*/ 1243965 h 1733550"/>
                <a:gd name="connsiteX301" fmla="*/ 683895 w 914400"/>
                <a:gd name="connsiteY301" fmla="*/ 1245870 h 1733550"/>
                <a:gd name="connsiteX302" fmla="*/ 681037 w 914400"/>
                <a:gd name="connsiteY302" fmla="*/ 1250632 h 1733550"/>
                <a:gd name="connsiteX303" fmla="*/ 679133 w 914400"/>
                <a:gd name="connsiteY303" fmla="*/ 1259205 h 1733550"/>
                <a:gd name="connsiteX304" fmla="*/ 676275 w 914400"/>
                <a:gd name="connsiteY304" fmla="*/ 1265873 h 1733550"/>
                <a:gd name="connsiteX305" fmla="*/ 672465 w 914400"/>
                <a:gd name="connsiteY305" fmla="*/ 1269682 h 1733550"/>
                <a:gd name="connsiteX306" fmla="*/ 668655 w 914400"/>
                <a:gd name="connsiteY306" fmla="*/ 1272540 h 1733550"/>
                <a:gd name="connsiteX307" fmla="*/ 662940 w 914400"/>
                <a:gd name="connsiteY307" fmla="*/ 1278255 h 1733550"/>
                <a:gd name="connsiteX308" fmla="*/ 659130 w 914400"/>
                <a:gd name="connsiteY308" fmla="*/ 1280160 h 1733550"/>
                <a:gd name="connsiteX309" fmla="*/ 657225 w 914400"/>
                <a:gd name="connsiteY309" fmla="*/ 1283018 h 1733550"/>
                <a:gd name="connsiteX310" fmla="*/ 656273 w 914400"/>
                <a:gd name="connsiteY310" fmla="*/ 1286828 h 1733550"/>
                <a:gd name="connsiteX311" fmla="*/ 653415 w 914400"/>
                <a:gd name="connsiteY311" fmla="*/ 1297305 h 1733550"/>
                <a:gd name="connsiteX312" fmla="*/ 650558 w 914400"/>
                <a:gd name="connsiteY312" fmla="*/ 1300163 h 1733550"/>
                <a:gd name="connsiteX313" fmla="*/ 649605 w 914400"/>
                <a:gd name="connsiteY313" fmla="*/ 1303973 h 1733550"/>
                <a:gd name="connsiteX314" fmla="*/ 649605 w 914400"/>
                <a:gd name="connsiteY314" fmla="*/ 1307782 h 1733550"/>
                <a:gd name="connsiteX315" fmla="*/ 651510 w 914400"/>
                <a:gd name="connsiteY315" fmla="*/ 1315403 h 1733550"/>
                <a:gd name="connsiteX316" fmla="*/ 653415 w 914400"/>
                <a:gd name="connsiteY316" fmla="*/ 1319213 h 1733550"/>
                <a:gd name="connsiteX317" fmla="*/ 658177 w 914400"/>
                <a:gd name="connsiteY317" fmla="*/ 1326832 h 1733550"/>
                <a:gd name="connsiteX318" fmla="*/ 659130 w 914400"/>
                <a:gd name="connsiteY318" fmla="*/ 1328738 h 1733550"/>
                <a:gd name="connsiteX319" fmla="*/ 659130 w 914400"/>
                <a:gd name="connsiteY319" fmla="*/ 1331595 h 1733550"/>
                <a:gd name="connsiteX320" fmla="*/ 658177 w 914400"/>
                <a:gd name="connsiteY320" fmla="*/ 1335405 h 1733550"/>
                <a:gd name="connsiteX321" fmla="*/ 655320 w 914400"/>
                <a:gd name="connsiteY321" fmla="*/ 1339215 h 1733550"/>
                <a:gd name="connsiteX322" fmla="*/ 652462 w 914400"/>
                <a:gd name="connsiteY322" fmla="*/ 1341120 h 1733550"/>
                <a:gd name="connsiteX323" fmla="*/ 647700 w 914400"/>
                <a:gd name="connsiteY323" fmla="*/ 1343978 h 1733550"/>
                <a:gd name="connsiteX324" fmla="*/ 645795 w 914400"/>
                <a:gd name="connsiteY324" fmla="*/ 1345882 h 1733550"/>
                <a:gd name="connsiteX325" fmla="*/ 644843 w 914400"/>
                <a:gd name="connsiteY325" fmla="*/ 1349693 h 1733550"/>
                <a:gd name="connsiteX326" fmla="*/ 645795 w 914400"/>
                <a:gd name="connsiteY326" fmla="*/ 1353503 h 1733550"/>
                <a:gd name="connsiteX327" fmla="*/ 647700 w 914400"/>
                <a:gd name="connsiteY327" fmla="*/ 1362075 h 1733550"/>
                <a:gd name="connsiteX328" fmla="*/ 653415 w 914400"/>
                <a:gd name="connsiteY328" fmla="*/ 1371600 h 1733550"/>
                <a:gd name="connsiteX329" fmla="*/ 657225 w 914400"/>
                <a:gd name="connsiteY329" fmla="*/ 1384935 h 1733550"/>
                <a:gd name="connsiteX330" fmla="*/ 659130 w 914400"/>
                <a:gd name="connsiteY330" fmla="*/ 1396365 h 1733550"/>
                <a:gd name="connsiteX331" fmla="*/ 660083 w 914400"/>
                <a:gd name="connsiteY331" fmla="*/ 1402080 h 1733550"/>
                <a:gd name="connsiteX332" fmla="*/ 661987 w 914400"/>
                <a:gd name="connsiteY332" fmla="*/ 1445895 h 1733550"/>
                <a:gd name="connsiteX333" fmla="*/ 663893 w 914400"/>
                <a:gd name="connsiteY333" fmla="*/ 1456373 h 1733550"/>
                <a:gd name="connsiteX334" fmla="*/ 667702 w 914400"/>
                <a:gd name="connsiteY334" fmla="*/ 1466850 h 1733550"/>
                <a:gd name="connsiteX335" fmla="*/ 670560 w 914400"/>
                <a:gd name="connsiteY335" fmla="*/ 1471613 h 1733550"/>
                <a:gd name="connsiteX336" fmla="*/ 673418 w 914400"/>
                <a:gd name="connsiteY336" fmla="*/ 1476375 h 1733550"/>
                <a:gd name="connsiteX337" fmla="*/ 673418 w 914400"/>
                <a:gd name="connsiteY337" fmla="*/ 1479232 h 1733550"/>
                <a:gd name="connsiteX338" fmla="*/ 673418 w 914400"/>
                <a:gd name="connsiteY338" fmla="*/ 1482090 h 1733550"/>
                <a:gd name="connsiteX339" fmla="*/ 670560 w 914400"/>
                <a:gd name="connsiteY339" fmla="*/ 1484948 h 1733550"/>
                <a:gd name="connsiteX340" fmla="*/ 667702 w 914400"/>
                <a:gd name="connsiteY340" fmla="*/ 1484948 h 1733550"/>
                <a:gd name="connsiteX341" fmla="*/ 661987 w 914400"/>
                <a:gd name="connsiteY341" fmla="*/ 1484948 h 1733550"/>
                <a:gd name="connsiteX342" fmla="*/ 659130 w 914400"/>
                <a:gd name="connsiteY342" fmla="*/ 1485900 h 1733550"/>
                <a:gd name="connsiteX343" fmla="*/ 658177 w 914400"/>
                <a:gd name="connsiteY343" fmla="*/ 1488757 h 1733550"/>
                <a:gd name="connsiteX344" fmla="*/ 658177 w 914400"/>
                <a:gd name="connsiteY344" fmla="*/ 1496378 h 1733550"/>
                <a:gd name="connsiteX345" fmla="*/ 659130 w 914400"/>
                <a:gd name="connsiteY345" fmla="*/ 1504950 h 1733550"/>
                <a:gd name="connsiteX346" fmla="*/ 661035 w 914400"/>
                <a:gd name="connsiteY346" fmla="*/ 1508760 h 1733550"/>
                <a:gd name="connsiteX347" fmla="*/ 661035 w 914400"/>
                <a:gd name="connsiteY347" fmla="*/ 1512570 h 1733550"/>
                <a:gd name="connsiteX348" fmla="*/ 660083 w 914400"/>
                <a:gd name="connsiteY348" fmla="*/ 1530668 h 1733550"/>
                <a:gd name="connsiteX349" fmla="*/ 656273 w 914400"/>
                <a:gd name="connsiteY349" fmla="*/ 1550670 h 1733550"/>
                <a:gd name="connsiteX350" fmla="*/ 644843 w 914400"/>
                <a:gd name="connsiteY350" fmla="*/ 1593532 h 1733550"/>
                <a:gd name="connsiteX351" fmla="*/ 638175 w 914400"/>
                <a:gd name="connsiteY351" fmla="*/ 1598295 h 1733550"/>
                <a:gd name="connsiteX352" fmla="*/ 631508 w 914400"/>
                <a:gd name="connsiteY352" fmla="*/ 1611630 h 1733550"/>
                <a:gd name="connsiteX353" fmla="*/ 625793 w 914400"/>
                <a:gd name="connsiteY353" fmla="*/ 1616393 h 1733550"/>
                <a:gd name="connsiteX354" fmla="*/ 619125 w 914400"/>
                <a:gd name="connsiteY354" fmla="*/ 1617345 h 1733550"/>
                <a:gd name="connsiteX355" fmla="*/ 614362 w 914400"/>
                <a:gd name="connsiteY355" fmla="*/ 1613535 h 1733550"/>
                <a:gd name="connsiteX356" fmla="*/ 609600 w 914400"/>
                <a:gd name="connsiteY356" fmla="*/ 1608773 h 1733550"/>
                <a:gd name="connsiteX357" fmla="*/ 604837 w 914400"/>
                <a:gd name="connsiteY357" fmla="*/ 1604963 h 1733550"/>
                <a:gd name="connsiteX358" fmla="*/ 583883 w 914400"/>
                <a:gd name="connsiteY358" fmla="*/ 1601153 h 1733550"/>
                <a:gd name="connsiteX359" fmla="*/ 572452 w 914400"/>
                <a:gd name="connsiteY359" fmla="*/ 1603057 h 1733550"/>
                <a:gd name="connsiteX360" fmla="*/ 573405 w 914400"/>
                <a:gd name="connsiteY360" fmla="*/ 1613535 h 1733550"/>
                <a:gd name="connsiteX361" fmla="*/ 578168 w 914400"/>
                <a:gd name="connsiteY361" fmla="*/ 1616393 h 1733550"/>
                <a:gd name="connsiteX362" fmla="*/ 583883 w 914400"/>
                <a:gd name="connsiteY362" fmla="*/ 1617345 h 1733550"/>
                <a:gd name="connsiteX363" fmla="*/ 586740 w 914400"/>
                <a:gd name="connsiteY363" fmla="*/ 1621155 h 1733550"/>
                <a:gd name="connsiteX364" fmla="*/ 586740 w 914400"/>
                <a:gd name="connsiteY364" fmla="*/ 1631632 h 1733550"/>
                <a:gd name="connsiteX365" fmla="*/ 583883 w 914400"/>
                <a:gd name="connsiteY365" fmla="*/ 1638300 h 1733550"/>
                <a:gd name="connsiteX366" fmla="*/ 580073 w 914400"/>
                <a:gd name="connsiteY366" fmla="*/ 1641157 h 1733550"/>
                <a:gd name="connsiteX367" fmla="*/ 574358 w 914400"/>
                <a:gd name="connsiteY367" fmla="*/ 1642110 h 1733550"/>
                <a:gd name="connsiteX368" fmla="*/ 568643 w 914400"/>
                <a:gd name="connsiteY368" fmla="*/ 1643063 h 1733550"/>
                <a:gd name="connsiteX369" fmla="*/ 561975 w 914400"/>
                <a:gd name="connsiteY369" fmla="*/ 1641157 h 1733550"/>
                <a:gd name="connsiteX370" fmla="*/ 550545 w 914400"/>
                <a:gd name="connsiteY370" fmla="*/ 1633538 h 1733550"/>
                <a:gd name="connsiteX371" fmla="*/ 544830 w 914400"/>
                <a:gd name="connsiteY371" fmla="*/ 1631632 h 1733550"/>
                <a:gd name="connsiteX372" fmla="*/ 526733 w 914400"/>
                <a:gd name="connsiteY372" fmla="*/ 1631632 h 1733550"/>
                <a:gd name="connsiteX373" fmla="*/ 523875 w 914400"/>
                <a:gd name="connsiteY373" fmla="*/ 1634490 h 1733550"/>
                <a:gd name="connsiteX374" fmla="*/ 517208 w 914400"/>
                <a:gd name="connsiteY374" fmla="*/ 1644968 h 1733550"/>
                <a:gd name="connsiteX375" fmla="*/ 514350 w 914400"/>
                <a:gd name="connsiteY375" fmla="*/ 1648778 h 1733550"/>
                <a:gd name="connsiteX376" fmla="*/ 508635 w 914400"/>
                <a:gd name="connsiteY376" fmla="*/ 1649730 h 1733550"/>
                <a:gd name="connsiteX377" fmla="*/ 485775 w 914400"/>
                <a:gd name="connsiteY377" fmla="*/ 1647825 h 1733550"/>
                <a:gd name="connsiteX378" fmla="*/ 475298 w 914400"/>
                <a:gd name="connsiteY378" fmla="*/ 1644015 h 1733550"/>
                <a:gd name="connsiteX379" fmla="*/ 468630 w 914400"/>
                <a:gd name="connsiteY379" fmla="*/ 1643063 h 1733550"/>
                <a:gd name="connsiteX380" fmla="*/ 465773 w 914400"/>
                <a:gd name="connsiteY380" fmla="*/ 1644968 h 1733550"/>
                <a:gd name="connsiteX381" fmla="*/ 463867 w 914400"/>
                <a:gd name="connsiteY381" fmla="*/ 1647825 h 1733550"/>
                <a:gd name="connsiteX382" fmla="*/ 461962 w 914400"/>
                <a:gd name="connsiteY382" fmla="*/ 1648778 h 1733550"/>
                <a:gd name="connsiteX383" fmla="*/ 458152 w 914400"/>
                <a:gd name="connsiteY383" fmla="*/ 1645920 h 1733550"/>
                <a:gd name="connsiteX384" fmla="*/ 451485 w 914400"/>
                <a:gd name="connsiteY384" fmla="*/ 1637348 h 1733550"/>
                <a:gd name="connsiteX385" fmla="*/ 431483 w 914400"/>
                <a:gd name="connsiteY385" fmla="*/ 1632585 h 1733550"/>
                <a:gd name="connsiteX386" fmla="*/ 420052 w 914400"/>
                <a:gd name="connsiteY386" fmla="*/ 1632585 h 1733550"/>
                <a:gd name="connsiteX387" fmla="*/ 409575 w 914400"/>
                <a:gd name="connsiteY387" fmla="*/ 1637348 h 1733550"/>
                <a:gd name="connsiteX388" fmla="*/ 401955 w 914400"/>
                <a:gd name="connsiteY388" fmla="*/ 1646873 h 1733550"/>
                <a:gd name="connsiteX389" fmla="*/ 396240 w 914400"/>
                <a:gd name="connsiteY389" fmla="*/ 1656398 h 1733550"/>
                <a:gd name="connsiteX390" fmla="*/ 388620 w 914400"/>
                <a:gd name="connsiteY390" fmla="*/ 1663065 h 1733550"/>
                <a:gd name="connsiteX391" fmla="*/ 375285 w 914400"/>
                <a:gd name="connsiteY391" fmla="*/ 1664970 h 1733550"/>
                <a:gd name="connsiteX392" fmla="*/ 365760 w 914400"/>
                <a:gd name="connsiteY392" fmla="*/ 1660207 h 1733550"/>
                <a:gd name="connsiteX393" fmla="*/ 358140 w 914400"/>
                <a:gd name="connsiteY393" fmla="*/ 1648778 h 1733550"/>
                <a:gd name="connsiteX394" fmla="*/ 355283 w 914400"/>
                <a:gd name="connsiteY394" fmla="*/ 1632585 h 1733550"/>
                <a:gd name="connsiteX395" fmla="*/ 359092 w 914400"/>
                <a:gd name="connsiteY395" fmla="*/ 1616393 h 1733550"/>
                <a:gd name="connsiteX396" fmla="*/ 353377 w 914400"/>
                <a:gd name="connsiteY396" fmla="*/ 1612582 h 1733550"/>
                <a:gd name="connsiteX397" fmla="*/ 347662 w 914400"/>
                <a:gd name="connsiteY397" fmla="*/ 1610678 h 1733550"/>
                <a:gd name="connsiteX398" fmla="*/ 342900 w 914400"/>
                <a:gd name="connsiteY398" fmla="*/ 1611630 h 1733550"/>
                <a:gd name="connsiteX399" fmla="*/ 337185 w 914400"/>
                <a:gd name="connsiteY399" fmla="*/ 1616393 h 1733550"/>
                <a:gd name="connsiteX400" fmla="*/ 334327 w 914400"/>
                <a:gd name="connsiteY400" fmla="*/ 1623060 h 1733550"/>
                <a:gd name="connsiteX401" fmla="*/ 338137 w 914400"/>
                <a:gd name="connsiteY401" fmla="*/ 1634490 h 1733550"/>
                <a:gd name="connsiteX402" fmla="*/ 337185 w 914400"/>
                <a:gd name="connsiteY402" fmla="*/ 1643063 h 1733550"/>
                <a:gd name="connsiteX403" fmla="*/ 329565 w 914400"/>
                <a:gd name="connsiteY403" fmla="*/ 1656398 h 1733550"/>
                <a:gd name="connsiteX404" fmla="*/ 321945 w 914400"/>
                <a:gd name="connsiteY404" fmla="*/ 1657350 h 1733550"/>
                <a:gd name="connsiteX405" fmla="*/ 317183 w 914400"/>
                <a:gd name="connsiteY405" fmla="*/ 1647825 h 1733550"/>
                <a:gd name="connsiteX406" fmla="*/ 315277 w 914400"/>
                <a:gd name="connsiteY406" fmla="*/ 1634490 h 1733550"/>
                <a:gd name="connsiteX407" fmla="*/ 312420 w 914400"/>
                <a:gd name="connsiteY407" fmla="*/ 1626870 h 1733550"/>
                <a:gd name="connsiteX408" fmla="*/ 306705 w 914400"/>
                <a:gd name="connsiteY408" fmla="*/ 1621155 h 1733550"/>
                <a:gd name="connsiteX409" fmla="*/ 300038 w 914400"/>
                <a:gd name="connsiteY409" fmla="*/ 1622107 h 1733550"/>
                <a:gd name="connsiteX410" fmla="*/ 297180 w 914400"/>
                <a:gd name="connsiteY410" fmla="*/ 1629728 h 1733550"/>
                <a:gd name="connsiteX411" fmla="*/ 299085 w 914400"/>
                <a:gd name="connsiteY411" fmla="*/ 1635443 h 1733550"/>
                <a:gd name="connsiteX412" fmla="*/ 309563 w 914400"/>
                <a:gd name="connsiteY412" fmla="*/ 1646873 h 1733550"/>
                <a:gd name="connsiteX413" fmla="*/ 311467 w 914400"/>
                <a:gd name="connsiteY413" fmla="*/ 1651635 h 1733550"/>
                <a:gd name="connsiteX414" fmla="*/ 308610 w 914400"/>
                <a:gd name="connsiteY414" fmla="*/ 1664970 h 1733550"/>
                <a:gd name="connsiteX415" fmla="*/ 302895 w 914400"/>
                <a:gd name="connsiteY415" fmla="*/ 1669732 h 1733550"/>
                <a:gd name="connsiteX416" fmla="*/ 294322 w 914400"/>
                <a:gd name="connsiteY416" fmla="*/ 1668780 h 1733550"/>
                <a:gd name="connsiteX417" fmla="*/ 286702 w 914400"/>
                <a:gd name="connsiteY417" fmla="*/ 1664970 h 1733550"/>
                <a:gd name="connsiteX418" fmla="*/ 267652 w 914400"/>
                <a:gd name="connsiteY418" fmla="*/ 1650682 h 1733550"/>
                <a:gd name="connsiteX419" fmla="*/ 255270 w 914400"/>
                <a:gd name="connsiteY419" fmla="*/ 1647825 h 1733550"/>
                <a:gd name="connsiteX420" fmla="*/ 244792 w 914400"/>
                <a:gd name="connsiteY420" fmla="*/ 1656398 h 1733550"/>
                <a:gd name="connsiteX421" fmla="*/ 245745 w 914400"/>
                <a:gd name="connsiteY421" fmla="*/ 1664970 h 1733550"/>
                <a:gd name="connsiteX422" fmla="*/ 256222 w 914400"/>
                <a:gd name="connsiteY422" fmla="*/ 1670685 h 1733550"/>
                <a:gd name="connsiteX423" fmla="*/ 275272 w 914400"/>
                <a:gd name="connsiteY423" fmla="*/ 1676400 h 1733550"/>
                <a:gd name="connsiteX424" fmla="*/ 284797 w 914400"/>
                <a:gd name="connsiteY424" fmla="*/ 1683068 h 1733550"/>
                <a:gd name="connsiteX425" fmla="*/ 293370 w 914400"/>
                <a:gd name="connsiteY425" fmla="*/ 1691640 h 1733550"/>
                <a:gd name="connsiteX426" fmla="*/ 295275 w 914400"/>
                <a:gd name="connsiteY426" fmla="*/ 1700213 h 1733550"/>
                <a:gd name="connsiteX427" fmla="*/ 284797 w 914400"/>
                <a:gd name="connsiteY427" fmla="*/ 1703070 h 1733550"/>
                <a:gd name="connsiteX428" fmla="*/ 266700 w 914400"/>
                <a:gd name="connsiteY428" fmla="*/ 1704023 h 1733550"/>
                <a:gd name="connsiteX429" fmla="*/ 260985 w 914400"/>
                <a:gd name="connsiteY429" fmla="*/ 1703070 h 1733550"/>
                <a:gd name="connsiteX430" fmla="*/ 259080 w 914400"/>
                <a:gd name="connsiteY430" fmla="*/ 1700213 h 1733550"/>
                <a:gd name="connsiteX431" fmla="*/ 256222 w 914400"/>
                <a:gd name="connsiteY431" fmla="*/ 1694498 h 1733550"/>
                <a:gd name="connsiteX432" fmla="*/ 252413 w 914400"/>
                <a:gd name="connsiteY432" fmla="*/ 1690688 h 1733550"/>
                <a:gd name="connsiteX433" fmla="*/ 246697 w 914400"/>
                <a:gd name="connsiteY433" fmla="*/ 1691640 h 1733550"/>
                <a:gd name="connsiteX434" fmla="*/ 241935 w 914400"/>
                <a:gd name="connsiteY434" fmla="*/ 1703070 h 1733550"/>
                <a:gd name="connsiteX435" fmla="*/ 249555 w 914400"/>
                <a:gd name="connsiteY435" fmla="*/ 1730693 h 1733550"/>
                <a:gd name="connsiteX436" fmla="*/ 240983 w 914400"/>
                <a:gd name="connsiteY436" fmla="*/ 1735455 h 1733550"/>
                <a:gd name="connsiteX437" fmla="*/ 229552 w 914400"/>
                <a:gd name="connsiteY437" fmla="*/ 1734503 h 1733550"/>
                <a:gd name="connsiteX438" fmla="*/ 220980 w 914400"/>
                <a:gd name="connsiteY438" fmla="*/ 1731645 h 1733550"/>
                <a:gd name="connsiteX439" fmla="*/ 213360 w 914400"/>
                <a:gd name="connsiteY439" fmla="*/ 1724978 h 1733550"/>
                <a:gd name="connsiteX440" fmla="*/ 206692 w 914400"/>
                <a:gd name="connsiteY440" fmla="*/ 1714500 h 1733550"/>
                <a:gd name="connsiteX441" fmla="*/ 197167 w 914400"/>
                <a:gd name="connsiteY441" fmla="*/ 1691640 h 1733550"/>
                <a:gd name="connsiteX442" fmla="*/ 193358 w 914400"/>
                <a:gd name="connsiteY442" fmla="*/ 1685925 h 1733550"/>
                <a:gd name="connsiteX443" fmla="*/ 180022 w 914400"/>
                <a:gd name="connsiteY443" fmla="*/ 1672590 h 1733550"/>
                <a:gd name="connsiteX444" fmla="*/ 169545 w 914400"/>
                <a:gd name="connsiteY444" fmla="*/ 1666875 h 1733550"/>
                <a:gd name="connsiteX445" fmla="*/ 144780 w 914400"/>
                <a:gd name="connsiteY445" fmla="*/ 1673543 h 1733550"/>
                <a:gd name="connsiteX446" fmla="*/ 135255 w 914400"/>
                <a:gd name="connsiteY446" fmla="*/ 1669732 h 1733550"/>
                <a:gd name="connsiteX447" fmla="*/ 122872 w 914400"/>
                <a:gd name="connsiteY447" fmla="*/ 1684020 h 1733550"/>
                <a:gd name="connsiteX448" fmla="*/ 114300 w 914400"/>
                <a:gd name="connsiteY448" fmla="*/ 1664970 h 1733550"/>
                <a:gd name="connsiteX449" fmla="*/ 110490 w 914400"/>
                <a:gd name="connsiteY449" fmla="*/ 1654493 h 1733550"/>
                <a:gd name="connsiteX450" fmla="*/ 108585 w 914400"/>
                <a:gd name="connsiteY450" fmla="*/ 1647825 h 1733550"/>
                <a:gd name="connsiteX451" fmla="*/ 109538 w 914400"/>
                <a:gd name="connsiteY451" fmla="*/ 1644968 h 1733550"/>
                <a:gd name="connsiteX452" fmla="*/ 114300 w 914400"/>
                <a:gd name="connsiteY452" fmla="*/ 1643063 h 1733550"/>
                <a:gd name="connsiteX453" fmla="*/ 116205 w 914400"/>
                <a:gd name="connsiteY453" fmla="*/ 1642110 h 1733550"/>
                <a:gd name="connsiteX454" fmla="*/ 118110 w 914400"/>
                <a:gd name="connsiteY454" fmla="*/ 1638300 h 1733550"/>
                <a:gd name="connsiteX455" fmla="*/ 116205 w 914400"/>
                <a:gd name="connsiteY455" fmla="*/ 1636395 h 1733550"/>
                <a:gd name="connsiteX456" fmla="*/ 109538 w 914400"/>
                <a:gd name="connsiteY456" fmla="*/ 1632585 h 1733550"/>
                <a:gd name="connsiteX457" fmla="*/ 104775 w 914400"/>
                <a:gd name="connsiteY457" fmla="*/ 1627823 h 1733550"/>
                <a:gd name="connsiteX458" fmla="*/ 101917 w 914400"/>
                <a:gd name="connsiteY458" fmla="*/ 1625918 h 1733550"/>
                <a:gd name="connsiteX459" fmla="*/ 91440 w 914400"/>
                <a:gd name="connsiteY459" fmla="*/ 1619250 h 1733550"/>
                <a:gd name="connsiteX460" fmla="*/ 87630 w 914400"/>
                <a:gd name="connsiteY460" fmla="*/ 1617345 h 1733550"/>
                <a:gd name="connsiteX461" fmla="*/ 83820 w 914400"/>
                <a:gd name="connsiteY461" fmla="*/ 1613535 h 1733550"/>
                <a:gd name="connsiteX462" fmla="*/ 82867 w 914400"/>
                <a:gd name="connsiteY462" fmla="*/ 1609725 h 1733550"/>
                <a:gd name="connsiteX463" fmla="*/ 82867 w 914400"/>
                <a:gd name="connsiteY463" fmla="*/ 1606868 h 1733550"/>
                <a:gd name="connsiteX464" fmla="*/ 83820 w 914400"/>
                <a:gd name="connsiteY464" fmla="*/ 1604010 h 1733550"/>
                <a:gd name="connsiteX465" fmla="*/ 87630 w 914400"/>
                <a:gd name="connsiteY465" fmla="*/ 1596390 h 1733550"/>
                <a:gd name="connsiteX466" fmla="*/ 88583 w 914400"/>
                <a:gd name="connsiteY466" fmla="*/ 1591628 h 1733550"/>
                <a:gd name="connsiteX467" fmla="*/ 88583 w 914400"/>
                <a:gd name="connsiteY467" fmla="*/ 1583055 h 1733550"/>
                <a:gd name="connsiteX468" fmla="*/ 86677 w 914400"/>
                <a:gd name="connsiteY468" fmla="*/ 1582103 h 1733550"/>
                <a:gd name="connsiteX469" fmla="*/ 85725 w 914400"/>
                <a:gd name="connsiteY469" fmla="*/ 1583055 h 1733550"/>
                <a:gd name="connsiteX470" fmla="*/ 81915 w 914400"/>
                <a:gd name="connsiteY470" fmla="*/ 1586865 h 1733550"/>
                <a:gd name="connsiteX471" fmla="*/ 80010 w 914400"/>
                <a:gd name="connsiteY471" fmla="*/ 1588770 h 1733550"/>
                <a:gd name="connsiteX472" fmla="*/ 77152 w 914400"/>
                <a:gd name="connsiteY472" fmla="*/ 1587818 h 1733550"/>
                <a:gd name="connsiteX473" fmla="*/ 72390 w 914400"/>
                <a:gd name="connsiteY473" fmla="*/ 1584960 h 1733550"/>
                <a:gd name="connsiteX474" fmla="*/ 70485 w 914400"/>
                <a:gd name="connsiteY474" fmla="*/ 1581150 h 1733550"/>
                <a:gd name="connsiteX475" fmla="*/ 70485 w 914400"/>
                <a:gd name="connsiteY475" fmla="*/ 1578293 h 1733550"/>
                <a:gd name="connsiteX476" fmla="*/ 71438 w 914400"/>
                <a:gd name="connsiteY476" fmla="*/ 1570673 h 1733550"/>
                <a:gd name="connsiteX477" fmla="*/ 70485 w 914400"/>
                <a:gd name="connsiteY477" fmla="*/ 1568768 h 1733550"/>
                <a:gd name="connsiteX478" fmla="*/ 67627 w 914400"/>
                <a:gd name="connsiteY478" fmla="*/ 1567815 h 1733550"/>
                <a:gd name="connsiteX479" fmla="*/ 64770 w 914400"/>
                <a:gd name="connsiteY479" fmla="*/ 1566863 h 1733550"/>
                <a:gd name="connsiteX480" fmla="*/ 60008 w 914400"/>
                <a:gd name="connsiteY480" fmla="*/ 1565910 h 1733550"/>
                <a:gd name="connsiteX481" fmla="*/ 56197 w 914400"/>
                <a:gd name="connsiteY481" fmla="*/ 1564005 h 1733550"/>
                <a:gd name="connsiteX482" fmla="*/ 49530 w 914400"/>
                <a:gd name="connsiteY482" fmla="*/ 1558290 h 1733550"/>
                <a:gd name="connsiteX483" fmla="*/ 46672 w 914400"/>
                <a:gd name="connsiteY483" fmla="*/ 1553528 h 1733550"/>
                <a:gd name="connsiteX484" fmla="*/ 45720 w 914400"/>
                <a:gd name="connsiteY484" fmla="*/ 1549718 h 1733550"/>
                <a:gd name="connsiteX485" fmla="*/ 46672 w 914400"/>
                <a:gd name="connsiteY485" fmla="*/ 1543050 h 1733550"/>
                <a:gd name="connsiteX486" fmla="*/ 49530 w 914400"/>
                <a:gd name="connsiteY486" fmla="*/ 1534478 h 1733550"/>
                <a:gd name="connsiteX487" fmla="*/ 50483 w 914400"/>
                <a:gd name="connsiteY487" fmla="*/ 1527810 h 1733550"/>
                <a:gd name="connsiteX488" fmla="*/ 50483 w 914400"/>
                <a:gd name="connsiteY488" fmla="*/ 1511618 h 1733550"/>
                <a:gd name="connsiteX489" fmla="*/ 51435 w 914400"/>
                <a:gd name="connsiteY489" fmla="*/ 1505903 h 1733550"/>
                <a:gd name="connsiteX490" fmla="*/ 53340 w 914400"/>
                <a:gd name="connsiteY490" fmla="*/ 1500188 h 1733550"/>
                <a:gd name="connsiteX491" fmla="*/ 54292 w 914400"/>
                <a:gd name="connsiteY491" fmla="*/ 1495425 h 1733550"/>
                <a:gd name="connsiteX492" fmla="*/ 53340 w 914400"/>
                <a:gd name="connsiteY492" fmla="*/ 1492568 h 1733550"/>
                <a:gd name="connsiteX493" fmla="*/ 50483 w 914400"/>
                <a:gd name="connsiteY493" fmla="*/ 1488757 h 1733550"/>
                <a:gd name="connsiteX494" fmla="*/ 43815 w 914400"/>
                <a:gd name="connsiteY494" fmla="*/ 1481138 h 1733550"/>
                <a:gd name="connsiteX495" fmla="*/ 42863 w 914400"/>
                <a:gd name="connsiteY495" fmla="*/ 1477328 h 1733550"/>
                <a:gd name="connsiteX496" fmla="*/ 41910 w 914400"/>
                <a:gd name="connsiteY496" fmla="*/ 1474470 h 1733550"/>
                <a:gd name="connsiteX497" fmla="*/ 43815 w 914400"/>
                <a:gd name="connsiteY497" fmla="*/ 1471613 h 1733550"/>
                <a:gd name="connsiteX498" fmla="*/ 47625 w 914400"/>
                <a:gd name="connsiteY498" fmla="*/ 1464945 h 1733550"/>
                <a:gd name="connsiteX499" fmla="*/ 48577 w 914400"/>
                <a:gd name="connsiteY499" fmla="*/ 1459230 h 1733550"/>
                <a:gd name="connsiteX500" fmla="*/ 49530 w 914400"/>
                <a:gd name="connsiteY500" fmla="*/ 1457325 h 1733550"/>
                <a:gd name="connsiteX501" fmla="*/ 51435 w 914400"/>
                <a:gd name="connsiteY501" fmla="*/ 1456373 h 1733550"/>
                <a:gd name="connsiteX502" fmla="*/ 57150 w 914400"/>
                <a:gd name="connsiteY502" fmla="*/ 1455420 h 1733550"/>
                <a:gd name="connsiteX503" fmla="*/ 60008 w 914400"/>
                <a:gd name="connsiteY503" fmla="*/ 1453515 h 1733550"/>
                <a:gd name="connsiteX504" fmla="*/ 60960 w 914400"/>
                <a:gd name="connsiteY504" fmla="*/ 1450657 h 1733550"/>
                <a:gd name="connsiteX505" fmla="*/ 60960 w 914400"/>
                <a:gd name="connsiteY505" fmla="*/ 1448753 h 1733550"/>
                <a:gd name="connsiteX506" fmla="*/ 58102 w 914400"/>
                <a:gd name="connsiteY506" fmla="*/ 1446848 h 1733550"/>
                <a:gd name="connsiteX507" fmla="*/ 47625 w 914400"/>
                <a:gd name="connsiteY507" fmla="*/ 1443038 h 1733550"/>
                <a:gd name="connsiteX508" fmla="*/ 43815 w 914400"/>
                <a:gd name="connsiteY508" fmla="*/ 1439228 h 1733550"/>
                <a:gd name="connsiteX509" fmla="*/ 36195 w 914400"/>
                <a:gd name="connsiteY509" fmla="*/ 1427798 h 1733550"/>
                <a:gd name="connsiteX510" fmla="*/ 35242 w 914400"/>
                <a:gd name="connsiteY510" fmla="*/ 1423988 h 1733550"/>
                <a:gd name="connsiteX511" fmla="*/ 35242 w 914400"/>
                <a:gd name="connsiteY511" fmla="*/ 1420178 h 1733550"/>
                <a:gd name="connsiteX512" fmla="*/ 37147 w 914400"/>
                <a:gd name="connsiteY512" fmla="*/ 1394460 h 1733550"/>
                <a:gd name="connsiteX513" fmla="*/ 39052 w 914400"/>
                <a:gd name="connsiteY513" fmla="*/ 1383982 h 1733550"/>
                <a:gd name="connsiteX514" fmla="*/ 39052 w 914400"/>
                <a:gd name="connsiteY514" fmla="*/ 1380173 h 1733550"/>
                <a:gd name="connsiteX515" fmla="*/ 38100 w 914400"/>
                <a:gd name="connsiteY515" fmla="*/ 1377315 h 1733550"/>
                <a:gd name="connsiteX516" fmla="*/ 36195 w 914400"/>
                <a:gd name="connsiteY516" fmla="*/ 1375410 h 1733550"/>
                <a:gd name="connsiteX517" fmla="*/ 28575 w 914400"/>
                <a:gd name="connsiteY517" fmla="*/ 1377315 h 1733550"/>
                <a:gd name="connsiteX518" fmla="*/ 24765 w 914400"/>
                <a:gd name="connsiteY518" fmla="*/ 1377315 h 1733550"/>
                <a:gd name="connsiteX519" fmla="*/ 23813 w 914400"/>
                <a:gd name="connsiteY519" fmla="*/ 1375410 h 1733550"/>
                <a:gd name="connsiteX520" fmla="*/ 23813 w 914400"/>
                <a:gd name="connsiteY520" fmla="*/ 1372553 h 1733550"/>
                <a:gd name="connsiteX521" fmla="*/ 23813 w 914400"/>
                <a:gd name="connsiteY521" fmla="*/ 1369695 h 1733550"/>
                <a:gd name="connsiteX522" fmla="*/ 27622 w 914400"/>
                <a:gd name="connsiteY522" fmla="*/ 1361123 h 1733550"/>
                <a:gd name="connsiteX523" fmla="*/ 28575 w 914400"/>
                <a:gd name="connsiteY523" fmla="*/ 1356360 h 1733550"/>
                <a:gd name="connsiteX524" fmla="*/ 28575 w 914400"/>
                <a:gd name="connsiteY524" fmla="*/ 1349693 h 1733550"/>
                <a:gd name="connsiteX525" fmla="*/ 27622 w 914400"/>
                <a:gd name="connsiteY525" fmla="*/ 1344930 h 1733550"/>
                <a:gd name="connsiteX526" fmla="*/ 25717 w 914400"/>
                <a:gd name="connsiteY526" fmla="*/ 1342073 h 1733550"/>
                <a:gd name="connsiteX527" fmla="*/ 21908 w 914400"/>
                <a:gd name="connsiteY527" fmla="*/ 1335405 h 1733550"/>
                <a:gd name="connsiteX528" fmla="*/ 20955 w 914400"/>
                <a:gd name="connsiteY528" fmla="*/ 1331595 h 1733550"/>
                <a:gd name="connsiteX529" fmla="*/ 22860 w 914400"/>
                <a:gd name="connsiteY529" fmla="*/ 1329690 h 1733550"/>
                <a:gd name="connsiteX530" fmla="*/ 27622 w 914400"/>
                <a:gd name="connsiteY530" fmla="*/ 1326832 h 1733550"/>
                <a:gd name="connsiteX531" fmla="*/ 29527 w 914400"/>
                <a:gd name="connsiteY531" fmla="*/ 1324928 h 1733550"/>
                <a:gd name="connsiteX532" fmla="*/ 30480 w 914400"/>
                <a:gd name="connsiteY532" fmla="*/ 1321118 h 1733550"/>
                <a:gd name="connsiteX533" fmla="*/ 29527 w 914400"/>
                <a:gd name="connsiteY533" fmla="*/ 1316355 h 1733550"/>
                <a:gd name="connsiteX534" fmla="*/ 26670 w 914400"/>
                <a:gd name="connsiteY534" fmla="*/ 1309688 h 1733550"/>
                <a:gd name="connsiteX535" fmla="*/ 26670 w 914400"/>
                <a:gd name="connsiteY535" fmla="*/ 1306830 h 1733550"/>
                <a:gd name="connsiteX536" fmla="*/ 28575 w 914400"/>
                <a:gd name="connsiteY536" fmla="*/ 1304925 h 1733550"/>
                <a:gd name="connsiteX537" fmla="*/ 35242 w 914400"/>
                <a:gd name="connsiteY537" fmla="*/ 1303020 h 1733550"/>
                <a:gd name="connsiteX538" fmla="*/ 38100 w 914400"/>
                <a:gd name="connsiteY538" fmla="*/ 1297305 h 1733550"/>
                <a:gd name="connsiteX539" fmla="*/ 38100 w 914400"/>
                <a:gd name="connsiteY539" fmla="*/ 1296353 h 1733550"/>
                <a:gd name="connsiteX540" fmla="*/ 37147 w 914400"/>
                <a:gd name="connsiteY540" fmla="*/ 1291590 h 1733550"/>
                <a:gd name="connsiteX541" fmla="*/ 31433 w 914400"/>
                <a:gd name="connsiteY541" fmla="*/ 1282065 h 1733550"/>
                <a:gd name="connsiteX542" fmla="*/ 27622 w 914400"/>
                <a:gd name="connsiteY542" fmla="*/ 1273493 h 1733550"/>
                <a:gd name="connsiteX543" fmla="*/ 26670 w 914400"/>
                <a:gd name="connsiteY543" fmla="*/ 1267778 h 1733550"/>
                <a:gd name="connsiteX544" fmla="*/ 26670 w 914400"/>
                <a:gd name="connsiteY544" fmla="*/ 1263968 h 1733550"/>
                <a:gd name="connsiteX545" fmla="*/ 29527 w 914400"/>
                <a:gd name="connsiteY545" fmla="*/ 1259205 h 1733550"/>
                <a:gd name="connsiteX546" fmla="*/ 33338 w 914400"/>
                <a:gd name="connsiteY546" fmla="*/ 1254443 h 1733550"/>
                <a:gd name="connsiteX547" fmla="*/ 38100 w 914400"/>
                <a:gd name="connsiteY547" fmla="*/ 1249680 h 1733550"/>
                <a:gd name="connsiteX548" fmla="*/ 40958 w 914400"/>
                <a:gd name="connsiteY548" fmla="*/ 1246823 h 1733550"/>
                <a:gd name="connsiteX549" fmla="*/ 41910 w 914400"/>
                <a:gd name="connsiteY549" fmla="*/ 1243013 h 1733550"/>
                <a:gd name="connsiteX550" fmla="*/ 43815 w 914400"/>
                <a:gd name="connsiteY550" fmla="*/ 1237298 h 1733550"/>
                <a:gd name="connsiteX551" fmla="*/ 43815 w 914400"/>
                <a:gd name="connsiteY551" fmla="*/ 1233488 h 1733550"/>
                <a:gd name="connsiteX552" fmla="*/ 42863 w 914400"/>
                <a:gd name="connsiteY552" fmla="*/ 1227773 h 1733550"/>
                <a:gd name="connsiteX553" fmla="*/ 34290 w 914400"/>
                <a:gd name="connsiteY553" fmla="*/ 1209675 h 1733550"/>
                <a:gd name="connsiteX554" fmla="*/ 33338 w 914400"/>
                <a:gd name="connsiteY554" fmla="*/ 1204913 h 1733550"/>
                <a:gd name="connsiteX555" fmla="*/ 33338 w 914400"/>
                <a:gd name="connsiteY555" fmla="*/ 1201103 h 1733550"/>
                <a:gd name="connsiteX556" fmla="*/ 34290 w 914400"/>
                <a:gd name="connsiteY556" fmla="*/ 1194435 h 1733550"/>
                <a:gd name="connsiteX557" fmla="*/ 34290 w 914400"/>
                <a:gd name="connsiteY557" fmla="*/ 1190625 h 1733550"/>
                <a:gd name="connsiteX558" fmla="*/ 38100 w 914400"/>
                <a:gd name="connsiteY558" fmla="*/ 1182053 h 1733550"/>
                <a:gd name="connsiteX559" fmla="*/ 39052 w 914400"/>
                <a:gd name="connsiteY559" fmla="*/ 1178243 h 1733550"/>
                <a:gd name="connsiteX560" fmla="*/ 38100 w 914400"/>
                <a:gd name="connsiteY560" fmla="*/ 1175385 h 1733550"/>
                <a:gd name="connsiteX561" fmla="*/ 37147 w 914400"/>
                <a:gd name="connsiteY561" fmla="*/ 1172528 h 1733550"/>
                <a:gd name="connsiteX562" fmla="*/ 31433 w 914400"/>
                <a:gd name="connsiteY562" fmla="*/ 1165860 h 1733550"/>
                <a:gd name="connsiteX563" fmla="*/ 29527 w 914400"/>
                <a:gd name="connsiteY563" fmla="*/ 1163003 h 1733550"/>
                <a:gd name="connsiteX564" fmla="*/ 26670 w 914400"/>
                <a:gd name="connsiteY564" fmla="*/ 1156335 h 1733550"/>
                <a:gd name="connsiteX565" fmla="*/ 26670 w 914400"/>
                <a:gd name="connsiteY565" fmla="*/ 1152525 h 1733550"/>
                <a:gd name="connsiteX566" fmla="*/ 26670 w 914400"/>
                <a:gd name="connsiteY566" fmla="*/ 1147763 h 1733550"/>
                <a:gd name="connsiteX567" fmla="*/ 29527 w 914400"/>
                <a:gd name="connsiteY567" fmla="*/ 1135380 h 1733550"/>
                <a:gd name="connsiteX568" fmla="*/ 29527 w 914400"/>
                <a:gd name="connsiteY568" fmla="*/ 1127760 h 1733550"/>
                <a:gd name="connsiteX569" fmla="*/ 29527 w 914400"/>
                <a:gd name="connsiteY569" fmla="*/ 1121093 h 1733550"/>
                <a:gd name="connsiteX570" fmla="*/ 30480 w 914400"/>
                <a:gd name="connsiteY570" fmla="*/ 1117282 h 1733550"/>
                <a:gd name="connsiteX571" fmla="*/ 31433 w 914400"/>
                <a:gd name="connsiteY571" fmla="*/ 1114425 h 1733550"/>
                <a:gd name="connsiteX572" fmla="*/ 33338 w 914400"/>
                <a:gd name="connsiteY572" fmla="*/ 1111568 h 1733550"/>
                <a:gd name="connsiteX573" fmla="*/ 37147 w 914400"/>
                <a:gd name="connsiteY573" fmla="*/ 1107757 h 1733550"/>
                <a:gd name="connsiteX574" fmla="*/ 41910 w 914400"/>
                <a:gd name="connsiteY574" fmla="*/ 1105853 h 1733550"/>
                <a:gd name="connsiteX575" fmla="*/ 49530 w 914400"/>
                <a:gd name="connsiteY575" fmla="*/ 1102995 h 1733550"/>
                <a:gd name="connsiteX576" fmla="*/ 51435 w 914400"/>
                <a:gd name="connsiteY576" fmla="*/ 1100138 h 1733550"/>
                <a:gd name="connsiteX577" fmla="*/ 52388 w 914400"/>
                <a:gd name="connsiteY577" fmla="*/ 1096328 h 1733550"/>
                <a:gd name="connsiteX578" fmla="*/ 52388 w 914400"/>
                <a:gd name="connsiteY578" fmla="*/ 1087755 h 1733550"/>
                <a:gd name="connsiteX579" fmla="*/ 52388 w 914400"/>
                <a:gd name="connsiteY579" fmla="*/ 1082993 h 1733550"/>
                <a:gd name="connsiteX580" fmla="*/ 53340 w 914400"/>
                <a:gd name="connsiteY580" fmla="*/ 1079182 h 1733550"/>
                <a:gd name="connsiteX581" fmla="*/ 56197 w 914400"/>
                <a:gd name="connsiteY581" fmla="*/ 1072515 h 1733550"/>
                <a:gd name="connsiteX582" fmla="*/ 58102 w 914400"/>
                <a:gd name="connsiteY582" fmla="*/ 1066800 h 1733550"/>
                <a:gd name="connsiteX583" fmla="*/ 58102 w 914400"/>
                <a:gd name="connsiteY583" fmla="*/ 1062990 h 1733550"/>
                <a:gd name="connsiteX584" fmla="*/ 57150 w 914400"/>
                <a:gd name="connsiteY584" fmla="*/ 1060132 h 1733550"/>
                <a:gd name="connsiteX585" fmla="*/ 51435 w 914400"/>
                <a:gd name="connsiteY585" fmla="*/ 1051560 h 1733550"/>
                <a:gd name="connsiteX586" fmla="*/ 47625 w 914400"/>
                <a:gd name="connsiteY586" fmla="*/ 1044893 h 1733550"/>
                <a:gd name="connsiteX587" fmla="*/ 45720 w 914400"/>
                <a:gd name="connsiteY587" fmla="*/ 1039178 h 1733550"/>
                <a:gd name="connsiteX588" fmla="*/ 44767 w 914400"/>
                <a:gd name="connsiteY588" fmla="*/ 1035368 h 1733550"/>
                <a:gd name="connsiteX589" fmla="*/ 45720 w 914400"/>
                <a:gd name="connsiteY589" fmla="*/ 1030605 h 1733550"/>
                <a:gd name="connsiteX590" fmla="*/ 47625 w 914400"/>
                <a:gd name="connsiteY590" fmla="*/ 1021080 h 1733550"/>
                <a:gd name="connsiteX591" fmla="*/ 47625 w 914400"/>
                <a:gd name="connsiteY591" fmla="*/ 1017270 h 1733550"/>
                <a:gd name="connsiteX592" fmla="*/ 47625 w 914400"/>
                <a:gd name="connsiteY592" fmla="*/ 1012507 h 1733550"/>
                <a:gd name="connsiteX593" fmla="*/ 43815 w 914400"/>
                <a:gd name="connsiteY593" fmla="*/ 997268 h 1733550"/>
                <a:gd name="connsiteX594" fmla="*/ 42863 w 914400"/>
                <a:gd name="connsiteY594" fmla="*/ 989647 h 1733550"/>
                <a:gd name="connsiteX595" fmla="*/ 42863 w 914400"/>
                <a:gd name="connsiteY595" fmla="*/ 981075 h 1733550"/>
                <a:gd name="connsiteX596" fmla="*/ 42863 w 914400"/>
                <a:gd name="connsiteY596" fmla="*/ 976313 h 1733550"/>
                <a:gd name="connsiteX597" fmla="*/ 41910 w 914400"/>
                <a:gd name="connsiteY597" fmla="*/ 973455 h 1733550"/>
                <a:gd name="connsiteX598" fmla="*/ 40005 w 914400"/>
                <a:gd name="connsiteY598" fmla="*/ 971550 h 1733550"/>
                <a:gd name="connsiteX599" fmla="*/ 26670 w 914400"/>
                <a:gd name="connsiteY599" fmla="*/ 962025 h 1733550"/>
                <a:gd name="connsiteX600" fmla="*/ 24765 w 914400"/>
                <a:gd name="connsiteY600" fmla="*/ 959168 h 1733550"/>
                <a:gd name="connsiteX601" fmla="*/ 22860 w 914400"/>
                <a:gd name="connsiteY601" fmla="*/ 954405 h 1733550"/>
                <a:gd name="connsiteX602" fmla="*/ 18097 w 914400"/>
                <a:gd name="connsiteY602" fmla="*/ 932497 h 1733550"/>
                <a:gd name="connsiteX603" fmla="*/ 13335 w 914400"/>
                <a:gd name="connsiteY603" fmla="*/ 918210 h 1733550"/>
                <a:gd name="connsiteX604" fmla="*/ 3810 w 914400"/>
                <a:gd name="connsiteY604" fmla="*/ 898208 h 1733550"/>
                <a:gd name="connsiteX605" fmla="*/ 952 w 914400"/>
                <a:gd name="connsiteY605" fmla="*/ 888683 h 1733550"/>
                <a:gd name="connsiteX606" fmla="*/ 0 w 914400"/>
                <a:gd name="connsiteY606" fmla="*/ 883920 h 1733550"/>
                <a:gd name="connsiteX607" fmla="*/ 0 w 914400"/>
                <a:gd name="connsiteY607" fmla="*/ 880110 h 1733550"/>
                <a:gd name="connsiteX608" fmla="*/ 952 w 914400"/>
                <a:gd name="connsiteY608" fmla="*/ 875347 h 1733550"/>
                <a:gd name="connsiteX609" fmla="*/ 8572 w 914400"/>
                <a:gd name="connsiteY609" fmla="*/ 857250 h 1733550"/>
                <a:gd name="connsiteX610" fmla="*/ 10477 w 914400"/>
                <a:gd name="connsiteY610" fmla="*/ 853440 h 1733550"/>
                <a:gd name="connsiteX611" fmla="*/ 14288 w 914400"/>
                <a:gd name="connsiteY611" fmla="*/ 850583 h 1733550"/>
                <a:gd name="connsiteX612" fmla="*/ 28575 w 914400"/>
                <a:gd name="connsiteY612" fmla="*/ 842963 h 1733550"/>
                <a:gd name="connsiteX613" fmla="*/ 31433 w 914400"/>
                <a:gd name="connsiteY613" fmla="*/ 838200 h 1733550"/>
                <a:gd name="connsiteX614" fmla="*/ 33338 w 914400"/>
                <a:gd name="connsiteY614" fmla="*/ 835343 h 1733550"/>
                <a:gd name="connsiteX615" fmla="*/ 35242 w 914400"/>
                <a:gd name="connsiteY615" fmla="*/ 825818 h 1733550"/>
                <a:gd name="connsiteX616" fmla="*/ 37147 w 914400"/>
                <a:gd name="connsiteY616" fmla="*/ 804863 h 1733550"/>
                <a:gd name="connsiteX617" fmla="*/ 38100 w 914400"/>
                <a:gd name="connsiteY617" fmla="*/ 798195 h 1733550"/>
                <a:gd name="connsiteX618" fmla="*/ 40005 w 914400"/>
                <a:gd name="connsiteY618" fmla="*/ 792480 h 1733550"/>
                <a:gd name="connsiteX619" fmla="*/ 43815 w 914400"/>
                <a:gd name="connsiteY619" fmla="*/ 788670 h 1733550"/>
                <a:gd name="connsiteX620" fmla="*/ 49530 w 914400"/>
                <a:gd name="connsiteY620" fmla="*/ 782955 h 1733550"/>
                <a:gd name="connsiteX621" fmla="*/ 51435 w 914400"/>
                <a:gd name="connsiteY621" fmla="*/ 780097 h 1733550"/>
                <a:gd name="connsiteX622" fmla="*/ 53340 w 914400"/>
                <a:gd name="connsiteY622" fmla="*/ 776288 h 1733550"/>
                <a:gd name="connsiteX623" fmla="*/ 55245 w 914400"/>
                <a:gd name="connsiteY623" fmla="*/ 769620 h 1733550"/>
                <a:gd name="connsiteX624" fmla="*/ 55245 w 914400"/>
                <a:gd name="connsiteY624" fmla="*/ 764858 h 1733550"/>
                <a:gd name="connsiteX625" fmla="*/ 55245 w 914400"/>
                <a:gd name="connsiteY625" fmla="*/ 761047 h 1733550"/>
                <a:gd name="connsiteX626" fmla="*/ 51435 w 914400"/>
                <a:gd name="connsiteY626" fmla="*/ 757238 h 1733550"/>
                <a:gd name="connsiteX627" fmla="*/ 37147 w 914400"/>
                <a:gd name="connsiteY627" fmla="*/ 744855 h 1733550"/>
                <a:gd name="connsiteX628" fmla="*/ 33338 w 914400"/>
                <a:gd name="connsiteY628" fmla="*/ 739140 h 1733550"/>
                <a:gd name="connsiteX629" fmla="*/ 30480 w 914400"/>
                <a:gd name="connsiteY629" fmla="*/ 733425 h 1733550"/>
                <a:gd name="connsiteX630" fmla="*/ 29527 w 914400"/>
                <a:gd name="connsiteY630" fmla="*/ 728663 h 1733550"/>
                <a:gd name="connsiteX631" fmla="*/ 29527 w 914400"/>
                <a:gd name="connsiteY631" fmla="*/ 724853 h 1733550"/>
                <a:gd name="connsiteX632" fmla="*/ 30480 w 914400"/>
                <a:gd name="connsiteY632" fmla="*/ 721995 h 1733550"/>
                <a:gd name="connsiteX633" fmla="*/ 32385 w 914400"/>
                <a:gd name="connsiteY633" fmla="*/ 717233 h 1733550"/>
                <a:gd name="connsiteX634" fmla="*/ 36195 w 914400"/>
                <a:gd name="connsiteY634" fmla="*/ 712470 h 1733550"/>
                <a:gd name="connsiteX635" fmla="*/ 41910 w 914400"/>
                <a:gd name="connsiteY635" fmla="*/ 706755 h 1733550"/>
                <a:gd name="connsiteX636" fmla="*/ 43815 w 914400"/>
                <a:gd name="connsiteY636" fmla="*/ 701993 h 1733550"/>
                <a:gd name="connsiteX637" fmla="*/ 44767 w 914400"/>
                <a:gd name="connsiteY637" fmla="*/ 695325 h 1733550"/>
                <a:gd name="connsiteX638" fmla="*/ 45720 w 914400"/>
                <a:gd name="connsiteY638" fmla="*/ 679133 h 1733550"/>
                <a:gd name="connsiteX639" fmla="*/ 45720 w 914400"/>
                <a:gd name="connsiteY639" fmla="*/ 671513 h 1733550"/>
                <a:gd name="connsiteX640" fmla="*/ 44767 w 914400"/>
                <a:gd name="connsiteY640" fmla="*/ 665797 h 1733550"/>
                <a:gd name="connsiteX641" fmla="*/ 43815 w 914400"/>
                <a:gd name="connsiteY641" fmla="*/ 662940 h 1733550"/>
                <a:gd name="connsiteX642" fmla="*/ 41910 w 914400"/>
                <a:gd name="connsiteY642" fmla="*/ 658178 h 1733550"/>
                <a:gd name="connsiteX643" fmla="*/ 39052 w 914400"/>
                <a:gd name="connsiteY643" fmla="*/ 653415 h 1733550"/>
                <a:gd name="connsiteX644" fmla="*/ 26670 w 914400"/>
                <a:gd name="connsiteY644" fmla="*/ 643890 h 1733550"/>
                <a:gd name="connsiteX645" fmla="*/ 22860 w 914400"/>
                <a:gd name="connsiteY645" fmla="*/ 637222 h 1733550"/>
                <a:gd name="connsiteX646" fmla="*/ 20002 w 914400"/>
                <a:gd name="connsiteY646" fmla="*/ 630555 h 1733550"/>
                <a:gd name="connsiteX647" fmla="*/ 20002 w 914400"/>
                <a:gd name="connsiteY647" fmla="*/ 626745 h 1733550"/>
                <a:gd name="connsiteX648" fmla="*/ 20955 w 914400"/>
                <a:gd name="connsiteY648" fmla="*/ 622935 h 1733550"/>
                <a:gd name="connsiteX649" fmla="*/ 22860 w 914400"/>
                <a:gd name="connsiteY649" fmla="*/ 613410 h 1733550"/>
                <a:gd name="connsiteX650" fmla="*/ 23813 w 914400"/>
                <a:gd name="connsiteY650" fmla="*/ 603885 h 1733550"/>
                <a:gd name="connsiteX651" fmla="*/ 23813 w 914400"/>
                <a:gd name="connsiteY651" fmla="*/ 599122 h 1733550"/>
                <a:gd name="connsiteX652" fmla="*/ 23813 w 914400"/>
                <a:gd name="connsiteY652" fmla="*/ 594360 h 1733550"/>
                <a:gd name="connsiteX653" fmla="*/ 20955 w 914400"/>
                <a:gd name="connsiteY653" fmla="*/ 589597 h 1733550"/>
                <a:gd name="connsiteX654" fmla="*/ 17145 w 914400"/>
                <a:gd name="connsiteY654" fmla="*/ 585788 h 1733550"/>
                <a:gd name="connsiteX655" fmla="*/ 10477 w 914400"/>
                <a:gd name="connsiteY655" fmla="*/ 580072 h 1733550"/>
                <a:gd name="connsiteX656" fmla="*/ 7620 w 914400"/>
                <a:gd name="connsiteY656" fmla="*/ 577215 h 1733550"/>
                <a:gd name="connsiteX657" fmla="*/ 4763 w 914400"/>
                <a:gd name="connsiteY657" fmla="*/ 571500 h 1733550"/>
                <a:gd name="connsiteX658" fmla="*/ 3810 w 914400"/>
                <a:gd name="connsiteY658" fmla="*/ 567690 h 1733550"/>
                <a:gd name="connsiteX659" fmla="*/ 3810 w 914400"/>
                <a:gd name="connsiteY659" fmla="*/ 563880 h 1733550"/>
                <a:gd name="connsiteX660" fmla="*/ 7620 w 914400"/>
                <a:gd name="connsiteY660" fmla="*/ 554355 h 1733550"/>
                <a:gd name="connsiteX661" fmla="*/ 9525 w 914400"/>
                <a:gd name="connsiteY661" fmla="*/ 548640 h 1733550"/>
                <a:gd name="connsiteX662" fmla="*/ 8572 w 914400"/>
                <a:gd name="connsiteY662" fmla="*/ 541972 h 1733550"/>
                <a:gd name="connsiteX663" fmla="*/ 6667 w 914400"/>
                <a:gd name="connsiteY663" fmla="*/ 533400 h 1733550"/>
                <a:gd name="connsiteX664" fmla="*/ 1905 w 914400"/>
                <a:gd name="connsiteY664" fmla="*/ 520065 h 1733550"/>
                <a:gd name="connsiteX665" fmla="*/ 952 w 914400"/>
                <a:gd name="connsiteY665" fmla="*/ 513397 h 1733550"/>
                <a:gd name="connsiteX666" fmla="*/ 3810 w 914400"/>
                <a:gd name="connsiteY666" fmla="*/ 509588 h 1733550"/>
                <a:gd name="connsiteX667" fmla="*/ 7620 w 914400"/>
                <a:gd name="connsiteY667" fmla="*/ 505778 h 1733550"/>
                <a:gd name="connsiteX668" fmla="*/ 11430 w 914400"/>
                <a:gd name="connsiteY668" fmla="*/ 501967 h 1733550"/>
                <a:gd name="connsiteX669" fmla="*/ 41910 w 914400"/>
                <a:gd name="connsiteY669" fmla="*/ 492442 h 1733550"/>
                <a:gd name="connsiteX670" fmla="*/ 43815 w 914400"/>
                <a:gd name="connsiteY670" fmla="*/ 489585 h 1733550"/>
                <a:gd name="connsiteX671" fmla="*/ 44767 w 914400"/>
                <a:gd name="connsiteY671" fmla="*/ 485775 h 1733550"/>
                <a:gd name="connsiteX672" fmla="*/ 45720 w 914400"/>
                <a:gd name="connsiteY672" fmla="*/ 479108 h 1733550"/>
                <a:gd name="connsiteX673" fmla="*/ 44767 w 914400"/>
                <a:gd name="connsiteY673" fmla="*/ 475297 h 1733550"/>
                <a:gd name="connsiteX674" fmla="*/ 41910 w 914400"/>
                <a:gd name="connsiteY674" fmla="*/ 473392 h 1733550"/>
                <a:gd name="connsiteX675" fmla="*/ 35242 w 914400"/>
                <a:gd name="connsiteY675" fmla="*/ 473392 h 1733550"/>
                <a:gd name="connsiteX676" fmla="*/ 31433 w 914400"/>
                <a:gd name="connsiteY676" fmla="*/ 471488 h 1733550"/>
                <a:gd name="connsiteX677" fmla="*/ 28575 w 914400"/>
                <a:gd name="connsiteY677" fmla="*/ 469583 h 1733550"/>
                <a:gd name="connsiteX678" fmla="*/ 25717 w 914400"/>
                <a:gd name="connsiteY678" fmla="*/ 465772 h 1733550"/>
                <a:gd name="connsiteX679" fmla="*/ 24765 w 914400"/>
                <a:gd name="connsiteY679" fmla="*/ 462915 h 1733550"/>
                <a:gd name="connsiteX680" fmla="*/ 25717 w 914400"/>
                <a:gd name="connsiteY680" fmla="*/ 460058 h 1733550"/>
                <a:gd name="connsiteX681" fmla="*/ 27622 w 914400"/>
                <a:gd name="connsiteY681" fmla="*/ 459105 h 1733550"/>
                <a:gd name="connsiteX682" fmla="*/ 37147 w 914400"/>
                <a:gd name="connsiteY682" fmla="*/ 453390 h 1733550"/>
                <a:gd name="connsiteX683" fmla="*/ 39052 w 914400"/>
                <a:gd name="connsiteY683" fmla="*/ 451485 h 1733550"/>
                <a:gd name="connsiteX684" fmla="*/ 41910 w 914400"/>
                <a:gd name="connsiteY684" fmla="*/ 445770 h 1733550"/>
                <a:gd name="connsiteX685" fmla="*/ 43815 w 914400"/>
                <a:gd name="connsiteY685" fmla="*/ 436245 h 1733550"/>
                <a:gd name="connsiteX686" fmla="*/ 43815 w 914400"/>
                <a:gd name="connsiteY686" fmla="*/ 432435 h 1733550"/>
                <a:gd name="connsiteX687" fmla="*/ 41910 w 914400"/>
                <a:gd name="connsiteY687" fmla="*/ 430530 h 1733550"/>
                <a:gd name="connsiteX688" fmla="*/ 35242 w 914400"/>
                <a:gd name="connsiteY688" fmla="*/ 424815 h 1733550"/>
                <a:gd name="connsiteX689" fmla="*/ 31433 w 914400"/>
                <a:gd name="connsiteY689" fmla="*/ 420053 h 1733550"/>
                <a:gd name="connsiteX690" fmla="*/ 29527 w 914400"/>
                <a:gd name="connsiteY690" fmla="*/ 417195 h 1733550"/>
                <a:gd name="connsiteX691" fmla="*/ 30480 w 914400"/>
                <a:gd name="connsiteY691" fmla="*/ 414338 h 1733550"/>
                <a:gd name="connsiteX692" fmla="*/ 31433 w 914400"/>
                <a:gd name="connsiteY692" fmla="*/ 411480 h 1733550"/>
                <a:gd name="connsiteX693" fmla="*/ 33338 w 914400"/>
                <a:gd name="connsiteY693" fmla="*/ 410528 h 1733550"/>
                <a:gd name="connsiteX694" fmla="*/ 53340 w 914400"/>
                <a:gd name="connsiteY694" fmla="*/ 408622 h 1733550"/>
                <a:gd name="connsiteX695" fmla="*/ 59055 w 914400"/>
                <a:gd name="connsiteY695" fmla="*/ 407670 h 1733550"/>
                <a:gd name="connsiteX696" fmla="*/ 61913 w 914400"/>
                <a:gd name="connsiteY696" fmla="*/ 405765 h 1733550"/>
                <a:gd name="connsiteX697" fmla="*/ 63817 w 914400"/>
                <a:gd name="connsiteY697" fmla="*/ 401955 h 1733550"/>
                <a:gd name="connsiteX698" fmla="*/ 65722 w 914400"/>
                <a:gd name="connsiteY698" fmla="*/ 395288 h 1733550"/>
                <a:gd name="connsiteX699" fmla="*/ 65722 w 914400"/>
                <a:gd name="connsiteY699" fmla="*/ 391478 h 1733550"/>
                <a:gd name="connsiteX700" fmla="*/ 64770 w 914400"/>
                <a:gd name="connsiteY700" fmla="*/ 388620 h 1733550"/>
                <a:gd name="connsiteX701" fmla="*/ 61913 w 914400"/>
                <a:gd name="connsiteY701" fmla="*/ 383858 h 1733550"/>
                <a:gd name="connsiteX702" fmla="*/ 58102 w 914400"/>
                <a:gd name="connsiteY702" fmla="*/ 380047 h 1733550"/>
                <a:gd name="connsiteX703" fmla="*/ 53340 w 914400"/>
                <a:gd name="connsiteY703" fmla="*/ 377190 h 1733550"/>
                <a:gd name="connsiteX704" fmla="*/ 35242 w 914400"/>
                <a:gd name="connsiteY704" fmla="*/ 371475 h 1733550"/>
                <a:gd name="connsiteX705" fmla="*/ 32385 w 914400"/>
                <a:gd name="connsiteY705" fmla="*/ 370522 h 1733550"/>
                <a:gd name="connsiteX706" fmla="*/ 30480 w 914400"/>
                <a:gd name="connsiteY706" fmla="*/ 368617 h 1733550"/>
                <a:gd name="connsiteX707" fmla="*/ 33338 w 914400"/>
                <a:gd name="connsiteY707" fmla="*/ 365760 h 1733550"/>
                <a:gd name="connsiteX708" fmla="*/ 44767 w 914400"/>
                <a:gd name="connsiteY708" fmla="*/ 360045 h 1733550"/>
                <a:gd name="connsiteX709" fmla="*/ 70485 w 914400"/>
                <a:gd name="connsiteY709" fmla="*/ 347663 h 1733550"/>
                <a:gd name="connsiteX710" fmla="*/ 81915 w 914400"/>
                <a:gd name="connsiteY710" fmla="*/ 340042 h 1733550"/>
                <a:gd name="connsiteX711" fmla="*/ 90488 w 914400"/>
                <a:gd name="connsiteY711" fmla="*/ 329565 h 1733550"/>
                <a:gd name="connsiteX712" fmla="*/ 112395 w 914400"/>
                <a:gd name="connsiteY712" fmla="*/ 295275 h 1733550"/>
                <a:gd name="connsiteX713" fmla="*/ 116205 w 914400"/>
                <a:gd name="connsiteY713" fmla="*/ 291465 h 1733550"/>
                <a:gd name="connsiteX714" fmla="*/ 123825 w 914400"/>
                <a:gd name="connsiteY714" fmla="*/ 283845 h 1733550"/>
                <a:gd name="connsiteX715" fmla="*/ 127635 w 914400"/>
                <a:gd name="connsiteY715" fmla="*/ 281940 h 1733550"/>
                <a:gd name="connsiteX716" fmla="*/ 132397 w 914400"/>
                <a:gd name="connsiteY716" fmla="*/ 280035 h 1733550"/>
                <a:gd name="connsiteX717" fmla="*/ 139065 w 914400"/>
                <a:gd name="connsiteY717" fmla="*/ 279083 h 1733550"/>
                <a:gd name="connsiteX718" fmla="*/ 143827 w 914400"/>
                <a:gd name="connsiteY718" fmla="*/ 279083 h 1733550"/>
                <a:gd name="connsiteX719" fmla="*/ 150495 w 914400"/>
                <a:gd name="connsiteY719" fmla="*/ 280988 h 1733550"/>
                <a:gd name="connsiteX720" fmla="*/ 154305 w 914400"/>
                <a:gd name="connsiteY720" fmla="*/ 281940 h 1733550"/>
                <a:gd name="connsiteX721" fmla="*/ 166688 w 914400"/>
                <a:gd name="connsiteY721" fmla="*/ 280035 h 1733550"/>
                <a:gd name="connsiteX722" fmla="*/ 170497 w 914400"/>
                <a:gd name="connsiteY722" fmla="*/ 279083 h 1733550"/>
                <a:gd name="connsiteX723" fmla="*/ 175260 w 914400"/>
                <a:gd name="connsiteY723" fmla="*/ 276225 h 1733550"/>
                <a:gd name="connsiteX724" fmla="*/ 183833 w 914400"/>
                <a:gd name="connsiteY724" fmla="*/ 266700 h 1733550"/>
                <a:gd name="connsiteX725" fmla="*/ 187642 w 914400"/>
                <a:gd name="connsiteY725" fmla="*/ 262890 h 1733550"/>
                <a:gd name="connsiteX726" fmla="*/ 193358 w 914400"/>
                <a:gd name="connsiteY726" fmla="*/ 253365 h 1733550"/>
                <a:gd name="connsiteX727" fmla="*/ 195263 w 914400"/>
                <a:gd name="connsiteY727" fmla="*/ 251460 h 1733550"/>
                <a:gd name="connsiteX728" fmla="*/ 214313 w 914400"/>
                <a:gd name="connsiteY728" fmla="*/ 237172 h 1733550"/>
                <a:gd name="connsiteX729" fmla="*/ 219075 w 914400"/>
                <a:gd name="connsiteY729" fmla="*/ 233363 h 1733550"/>
                <a:gd name="connsiteX730" fmla="*/ 221933 w 914400"/>
                <a:gd name="connsiteY730" fmla="*/ 229553 h 1733550"/>
                <a:gd name="connsiteX731" fmla="*/ 225742 w 914400"/>
                <a:gd name="connsiteY731" fmla="*/ 220980 h 1733550"/>
                <a:gd name="connsiteX732" fmla="*/ 230505 w 914400"/>
                <a:gd name="connsiteY732" fmla="*/ 213360 h 1733550"/>
                <a:gd name="connsiteX733" fmla="*/ 233363 w 914400"/>
                <a:gd name="connsiteY733" fmla="*/ 209550 h 1733550"/>
                <a:gd name="connsiteX734" fmla="*/ 258127 w 914400"/>
                <a:gd name="connsiteY734" fmla="*/ 191453 h 1733550"/>
                <a:gd name="connsiteX735" fmla="*/ 260985 w 914400"/>
                <a:gd name="connsiteY735" fmla="*/ 188595 h 1733550"/>
                <a:gd name="connsiteX736" fmla="*/ 262890 w 914400"/>
                <a:gd name="connsiteY736" fmla="*/ 183833 h 1733550"/>
                <a:gd name="connsiteX737" fmla="*/ 263842 w 914400"/>
                <a:gd name="connsiteY737" fmla="*/ 179070 h 1733550"/>
                <a:gd name="connsiteX738" fmla="*/ 263842 w 914400"/>
                <a:gd name="connsiteY738" fmla="*/ 173355 h 1733550"/>
                <a:gd name="connsiteX739" fmla="*/ 263842 w 914400"/>
                <a:gd name="connsiteY739" fmla="*/ 170497 h 1733550"/>
                <a:gd name="connsiteX740" fmla="*/ 264795 w 914400"/>
                <a:gd name="connsiteY740" fmla="*/ 167640 h 1733550"/>
                <a:gd name="connsiteX741" fmla="*/ 287655 w 914400"/>
                <a:gd name="connsiteY741" fmla="*/ 149542 h 1733550"/>
                <a:gd name="connsiteX742" fmla="*/ 292417 w 914400"/>
                <a:gd name="connsiteY742" fmla="*/ 143828 h 1733550"/>
                <a:gd name="connsiteX743" fmla="*/ 295275 w 914400"/>
                <a:gd name="connsiteY743" fmla="*/ 138113 h 1733550"/>
                <a:gd name="connsiteX744" fmla="*/ 295275 w 914400"/>
                <a:gd name="connsiteY744" fmla="*/ 135255 h 1733550"/>
                <a:gd name="connsiteX745" fmla="*/ 297180 w 914400"/>
                <a:gd name="connsiteY745" fmla="*/ 131445 h 1733550"/>
                <a:gd name="connsiteX746" fmla="*/ 300038 w 914400"/>
                <a:gd name="connsiteY746" fmla="*/ 127635 h 1733550"/>
                <a:gd name="connsiteX747" fmla="*/ 305752 w 914400"/>
                <a:gd name="connsiteY747" fmla="*/ 122872 h 1733550"/>
                <a:gd name="connsiteX748" fmla="*/ 307658 w 914400"/>
                <a:gd name="connsiteY748" fmla="*/ 119063 h 1733550"/>
                <a:gd name="connsiteX749" fmla="*/ 309563 w 914400"/>
                <a:gd name="connsiteY749" fmla="*/ 114300 h 1733550"/>
                <a:gd name="connsiteX750" fmla="*/ 309563 w 914400"/>
                <a:gd name="connsiteY750" fmla="*/ 107633 h 1733550"/>
                <a:gd name="connsiteX751" fmla="*/ 310515 w 914400"/>
                <a:gd name="connsiteY751" fmla="*/ 103822 h 1733550"/>
                <a:gd name="connsiteX752" fmla="*/ 312420 w 914400"/>
                <a:gd name="connsiteY752" fmla="*/ 100965 h 1733550"/>
                <a:gd name="connsiteX753" fmla="*/ 315277 w 914400"/>
                <a:gd name="connsiteY753" fmla="*/ 100013 h 1733550"/>
                <a:gd name="connsiteX754" fmla="*/ 320992 w 914400"/>
                <a:gd name="connsiteY754" fmla="*/ 100965 h 1733550"/>
                <a:gd name="connsiteX755" fmla="*/ 333375 w 914400"/>
                <a:gd name="connsiteY755" fmla="*/ 105728 h 1733550"/>
                <a:gd name="connsiteX756" fmla="*/ 336233 w 914400"/>
                <a:gd name="connsiteY756" fmla="*/ 106680 h 1733550"/>
                <a:gd name="connsiteX757" fmla="*/ 339090 w 914400"/>
                <a:gd name="connsiteY757" fmla="*/ 105728 h 1733550"/>
                <a:gd name="connsiteX758" fmla="*/ 341948 w 914400"/>
                <a:gd name="connsiteY758" fmla="*/ 103822 h 1733550"/>
                <a:gd name="connsiteX759" fmla="*/ 343852 w 914400"/>
                <a:gd name="connsiteY759" fmla="*/ 100965 h 1733550"/>
                <a:gd name="connsiteX760" fmla="*/ 343852 w 914400"/>
                <a:gd name="connsiteY760" fmla="*/ 97155 h 1733550"/>
                <a:gd name="connsiteX761" fmla="*/ 342900 w 914400"/>
                <a:gd name="connsiteY761" fmla="*/ 87630 h 1733550"/>
                <a:gd name="connsiteX762" fmla="*/ 342900 w 914400"/>
                <a:gd name="connsiteY762" fmla="*/ 80963 h 1733550"/>
                <a:gd name="connsiteX763" fmla="*/ 344805 w 914400"/>
                <a:gd name="connsiteY763" fmla="*/ 75247 h 1733550"/>
                <a:gd name="connsiteX764" fmla="*/ 347662 w 914400"/>
                <a:gd name="connsiteY764" fmla="*/ 71438 h 1733550"/>
                <a:gd name="connsiteX765" fmla="*/ 383858 w 914400"/>
                <a:gd name="connsiteY765" fmla="*/ 56197 h 1733550"/>
                <a:gd name="connsiteX766" fmla="*/ 394335 w 914400"/>
                <a:gd name="connsiteY766" fmla="*/ 46672 h 1733550"/>
                <a:gd name="connsiteX767" fmla="*/ 397192 w 914400"/>
                <a:gd name="connsiteY767" fmla="*/ 45720 h 1733550"/>
                <a:gd name="connsiteX768" fmla="*/ 401002 w 914400"/>
                <a:gd name="connsiteY768" fmla="*/ 45720 h 1733550"/>
                <a:gd name="connsiteX769" fmla="*/ 411480 w 914400"/>
                <a:gd name="connsiteY769" fmla="*/ 50483 h 1733550"/>
                <a:gd name="connsiteX770" fmla="*/ 421958 w 914400"/>
                <a:gd name="connsiteY770" fmla="*/ 56197 h 1733550"/>
                <a:gd name="connsiteX771" fmla="*/ 428625 w 914400"/>
                <a:gd name="connsiteY771" fmla="*/ 58103 h 1733550"/>
                <a:gd name="connsiteX772" fmla="*/ 432435 w 914400"/>
                <a:gd name="connsiteY772" fmla="*/ 58103 h 1733550"/>
                <a:gd name="connsiteX773" fmla="*/ 437198 w 914400"/>
                <a:gd name="connsiteY773" fmla="*/ 56197 h 1733550"/>
                <a:gd name="connsiteX774" fmla="*/ 441960 w 914400"/>
                <a:gd name="connsiteY774" fmla="*/ 52388 h 1733550"/>
                <a:gd name="connsiteX775" fmla="*/ 444817 w 914400"/>
                <a:gd name="connsiteY775" fmla="*/ 49530 h 1733550"/>
                <a:gd name="connsiteX776" fmla="*/ 448627 w 914400"/>
                <a:gd name="connsiteY776" fmla="*/ 44767 h 1733550"/>
                <a:gd name="connsiteX777" fmla="*/ 457200 w 914400"/>
                <a:gd name="connsiteY777" fmla="*/ 37147 h 1733550"/>
                <a:gd name="connsiteX778" fmla="*/ 461010 w 914400"/>
                <a:gd name="connsiteY778" fmla="*/ 34290 h 1733550"/>
                <a:gd name="connsiteX779" fmla="*/ 471487 w 914400"/>
                <a:gd name="connsiteY779" fmla="*/ 29528 h 1733550"/>
                <a:gd name="connsiteX780" fmla="*/ 482917 w 914400"/>
                <a:gd name="connsiteY780" fmla="*/ 26670 h 1733550"/>
                <a:gd name="connsiteX781" fmla="*/ 487680 w 914400"/>
                <a:gd name="connsiteY781" fmla="*/ 23813 h 1733550"/>
                <a:gd name="connsiteX782" fmla="*/ 488633 w 914400"/>
                <a:gd name="connsiteY782" fmla="*/ 20955 h 1733550"/>
                <a:gd name="connsiteX783" fmla="*/ 491490 w 914400"/>
                <a:gd name="connsiteY783" fmla="*/ 11430 h 1733550"/>
                <a:gd name="connsiteX784" fmla="*/ 493395 w 914400"/>
                <a:gd name="connsiteY784" fmla="*/ 5715 h 1733550"/>
                <a:gd name="connsiteX785" fmla="*/ 497205 w 914400"/>
                <a:gd name="connsiteY785" fmla="*/ 1905 h 1733550"/>
                <a:gd name="connsiteX786" fmla="*/ 501015 w 914400"/>
                <a:gd name="connsiteY786" fmla="*/ 0 h 1733550"/>
                <a:gd name="connsiteX787" fmla="*/ 508635 w 914400"/>
                <a:gd name="connsiteY787" fmla="*/ 0 h 1733550"/>
                <a:gd name="connsiteX788" fmla="*/ 512445 w 914400"/>
                <a:gd name="connsiteY788" fmla="*/ 1905 h 1733550"/>
                <a:gd name="connsiteX789" fmla="*/ 515302 w 914400"/>
                <a:gd name="connsiteY789" fmla="*/ 3810 h 1733550"/>
                <a:gd name="connsiteX790" fmla="*/ 518160 w 914400"/>
                <a:gd name="connsiteY790" fmla="*/ 10478 h 1733550"/>
                <a:gd name="connsiteX791" fmla="*/ 519112 w 914400"/>
                <a:gd name="connsiteY791" fmla="*/ 15240 h 1733550"/>
                <a:gd name="connsiteX792" fmla="*/ 519112 w 914400"/>
                <a:gd name="connsiteY792" fmla="*/ 19050 h 1733550"/>
                <a:gd name="connsiteX793" fmla="*/ 519112 w 914400"/>
                <a:gd name="connsiteY793" fmla="*/ 26670 h 1733550"/>
                <a:gd name="connsiteX794" fmla="*/ 521970 w 914400"/>
                <a:gd name="connsiteY794" fmla="*/ 29528 h 1733550"/>
                <a:gd name="connsiteX795" fmla="*/ 524827 w 914400"/>
                <a:gd name="connsiteY795" fmla="*/ 32385 h 1733550"/>
                <a:gd name="connsiteX796" fmla="*/ 550545 w 914400"/>
                <a:gd name="connsiteY796" fmla="*/ 38100 h 17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</a:cxnLst>
              <a:rect l="l" t="t" r="r" b="b"/>
              <a:pathLst>
                <a:path w="914400" h="1733550">
                  <a:moveTo>
                    <a:pt x="550545" y="38100"/>
                  </a:moveTo>
                  <a:lnTo>
                    <a:pt x="558165" y="41910"/>
                  </a:lnTo>
                  <a:lnTo>
                    <a:pt x="561023" y="44767"/>
                  </a:lnTo>
                  <a:lnTo>
                    <a:pt x="567690" y="55245"/>
                  </a:lnTo>
                  <a:lnTo>
                    <a:pt x="575310" y="60960"/>
                  </a:lnTo>
                  <a:lnTo>
                    <a:pt x="579120" y="63817"/>
                  </a:lnTo>
                  <a:lnTo>
                    <a:pt x="581977" y="71438"/>
                  </a:lnTo>
                  <a:lnTo>
                    <a:pt x="583883" y="76200"/>
                  </a:lnTo>
                  <a:lnTo>
                    <a:pt x="586740" y="80010"/>
                  </a:lnTo>
                  <a:lnTo>
                    <a:pt x="590550" y="83820"/>
                  </a:lnTo>
                  <a:lnTo>
                    <a:pt x="594360" y="84772"/>
                  </a:lnTo>
                  <a:lnTo>
                    <a:pt x="604837" y="87630"/>
                  </a:lnTo>
                  <a:lnTo>
                    <a:pt x="609600" y="90488"/>
                  </a:lnTo>
                  <a:lnTo>
                    <a:pt x="609600" y="93345"/>
                  </a:lnTo>
                  <a:lnTo>
                    <a:pt x="605790" y="97155"/>
                  </a:lnTo>
                  <a:lnTo>
                    <a:pt x="594360" y="103822"/>
                  </a:lnTo>
                  <a:lnTo>
                    <a:pt x="589598" y="106680"/>
                  </a:lnTo>
                  <a:lnTo>
                    <a:pt x="585787" y="110490"/>
                  </a:lnTo>
                  <a:lnTo>
                    <a:pt x="582930" y="115253"/>
                  </a:lnTo>
                  <a:lnTo>
                    <a:pt x="580073" y="120967"/>
                  </a:lnTo>
                  <a:lnTo>
                    <a:pt x="569595" y="159067"/>
                  </a:lnTo>
                  <a:lnTo>
                    <a:pt x="569595" y="165735"/>
                  </a:lnTo>
                  <a:lnTo>
                    <a:pt x="570548" y="169545"/>
                  </a:lnTo>
                  <a:lnTo>
                    <a:pt x="573405" y="171450"/>
                  </a:lnTo>
                  <a:lnTo>
                    <a:pt x="578168" y="175260"/>
                  </a:lnTo>
                  <a:lnTo>
                    <a:pt x="581977" y="176213"/>
                  </a:lnTo>
                  <a:lnTo>
                    <a:pt x="596265" y="179070"/>
                  </a:lnTo>
                  <a:lnTo>
                    <a:pt x="601027" y="181928"/>
                  </a:lnTo>
                  <a:lnTo>
                    <a:pt x="602933" y="183833"/>
                  </a:lnTo>
                  <a:lnTo>
                    <a:pt x="604837" y="187642"/>
                  </a:lnTo>
                  <a:lnTo>
                    <a:pt x="606743" y="197167"/>
                  </a:lnTo>
                  <a:lnTo>
                    <a:pt x="608648" y="200978"/>
                  </a:lnTo>
                  <a:lnTo>
                    <a:pt x="611505" y="204788"/>
                  </a:lnTo>
                  <a:lnTo>
                    <a:pt x="617220" y="209550"/>
                  </a:lnTo>
                  <a:lnTo>
                    <a:pt x="640080" y="222885"/>
                  </a:lnTo>
                  <a:lnTo>
                    <a:pt x="657225" y="236220"/>
                  </a:lnTo>
                  <a:lnTo>
                    <a:pt x="661987" y="239078"/>
                  </a:lnTo>
                  <a:lnTo>
                    <a:pt x="663893" y="240983"/>
                  </a:lnTo>
                  <a:lnTo>
                    <a:pt x="664845" y="243840"/>
                  </a:lnTo>
                  <a:lnTo>
                    <a:pt x="662940" y="246697"/>
                  </a:lnTo>
                  <a:lnTo>
                    <a:pt x="660083" y="251460"/>
                  </a:lnTo>
                  <a:lnTo>
                    <a:pt x="659130" y="254317"/>
                  </a:lnTo>
                  <a:lnTo>
                    <a:pt x="660083" y="257175"/>
                  </a:lnTo>
                  <a:lnTo>
                    <a:pt x="661987" y="259080"/>
                  </a:lnTo>
                  <a:lnTo>
                    <a:pt x="665798" y="259080"/>
                  </a:lnTo>
                  <a:lnTo>
                    <a:pt x="671512" y="258128"/>
                  </a:lnTo>
                  <a:lnTo>
                    <a:pt x="674370" y="259080"/>
                  </a:lnTo>
                  <a:lnTo>
                    <a:pt x="677227" y="260985"/>
                  </a:lnTo>
                  <a:lnTo>
                    <a:pt x="680085" y="267653"/>
                  </a:lnTo>
                  <a:lnTo>
                    <a:pt x="682943" y="271463"/>
                  </a:lnTo>
                  <a:lnTo>
                    <a:pt x="687705" y="274320"/>
                  </a:lnTo>
                  <a:lnTo>
                    <a:pt x="698183" y="277178"/>
                  </a:lnTo>
                  <a:lnTo>
                    <a:pt x="702945" y="280988"/>
                  </a:lnTo>
                  <a:lnTo>
                    <a:pt x="703898" y="283845"/>
                  </a:lnTo>
                  <a:lnTo>
                    <a:pt x="704850" y="286703"/>
                  </a:lnTo>
                  <a:lnTo>
                    <a:pt x="705802" y="297180"/>
                  </a:lnTo>
                  <a:lnTo>
                    <a:pt x="706755" y="300990"/>
                  </a:lnTo>
                  <a:lnTo>
                    <a:pt x="710565" y="302895"/>
                  </a:lnTo>
                  <a:lnTo>
                    <a:pt x="712470" y="302895"/>
                  </a:lnTo>
                  <a:lnTo>
                    <a:pt x="736283" y="305753"/>
                  </a:lnTo>
                  <a:lnTo>
                    <a:pt x="739140" y="304800"/>
                  </a:lnTo>
                  <a:lnTo>
                    <a:pt x="741045" y="303847"/>
                  </a:lnTo>
                  <a:lnTo>
                    <a:pt x="743902" y="299085"/>
                  </a:lnTo>
                  <a:lnTo>
                    <a:pt x="747712" y="289560"/>
                  </a:lnTo>
                  <a:lnTo>
                    <a:pt x="752475" y="282892"/>
                  </a:lnTo>
                  <a:lnTo>
                    <a:pt x="756285" y="275272"/>
                  </a:lnTo>
                  <a:lnTo>
                    <a:pt x="758190" y="273367"/>
                  </a:lnTo>
                  <a:lnTo>
                    <a:pt x="762000" y="273367"/>
                  </a:lnTo>
                  <a:lnTo>
                    <a:pt x="764858" y="273367"/>
                  </a:lnTo>
                  <a:lnTo>
                    <a:pt x="767715" y="276225"/>
                  </a:lnTo>
                  <a:lnTo>
                    <a:pt x="769620" y="280035"/>
                  </a:lnTo>
                  <a:lnTo>
                    <a:pt x="770573" y="286703"/>
                  </a:lnTo>
                  <a:lnTo>
                    <a:pt x="770573" y="292417"/>
                  </a:lnTo>
                  <a:lnTo>
                    <a:pt x="768668" y="311467"/>
                  </a:lnTo>
                  <a:lnTo>
                    <a:pt x="768668" y="315278"/>
                  </a:lnTo>
                  <a:lnTo>
                    <a:pt x="769620" y="318135"/>
                  </a:lnTo>
                  <a:lnTo>
                    <a:pt x="771525" y="321945"/>
                  </a:lnTo>
                  <a:lnTo>
                    <a:pt x="775335" y="327660"/>
                  </a:lnTo>
                  <a:lnTo>
                    <a:pt x="783908" y="337185"/>
                  </a:lnTo>
                  <a:lnTo>
                    <a:pt x="789623" y="345758"/>
                  </a:lnTo>
                  <a:lnTo>
                    <a:pt x="791527" y="352425"/>
                  </a:lnTo>
                  <a:lnTo>
                    <a:pt x="791527" y="359092"/>
                  </a:lnTo>
                  <a:lnTo>
                    <a:pt x="790575" y="362903"/>
                  </a:lnTo>
                  <a:lnTo>
                    <a:pt x="787718" y="364808"/>
                  </a:lnTo>
                  <a:lnTo>
                    <a:pt x="782955" y="367665"/>
                  </a:lnTo>
                  <a:lnTo>
                    <a:pt x="781050" y="368617"/>
                  </a:lnTo>
                  <a:lnTo>
                    <a:pt x="780098" y="371475"/>
                  </a:lnTo>
                  <a:lnTo>
                    <a:pt x="780098" y="374333"/>
                  </a:lnTo>
                  <a:lnTo>
                    <a:pt x="781050" y="378142"/>
                  </a:lnTo>
                  <a:lnTo>
                    <a:pt x="787718" y="383858"/>
                  </a:lnTo>
                  <a:lnTo>
                    <a:pt x="789623" y="386715"/>
                  </a:lnTo>
                  <a:lnTo>
                    <a:pt x="790575" y="388620"/>
                  </a:lnTo>
                  <a:lnTo>
                    <a:pt x="789623" y="392430"/>
                  </a:lnTo>
                  <a:lnTo>
                    <a:pt x="782955" y="401003"/>
                  </a:lnTo>
                  <a:lnTo>
                    <a:pt x="780098" y="406717"/>
                  </a:lnTo>
                  <a:lnTo>
                    <a:pt x="777240" y="415290"/>
                  </a:lnTo>
                  <a:lnTo>
                    <a:pt x="776287" y="420053"/>
                  </a:lnTo>
                  <a:lnTo>
                    <a:pt x="777240" y="422910"/>
                  </a:lnTo>
                  <a:lnTo>
                    <a:pt x="779145" y="425767"/>
                  </a:lnTo>
                  <a:lnTo>
                    <a:pt x="782955" y="428625"/>
                  </a:lnTo>
                  <a:lnTo>
                    <a:pt x="793433" y="433388"/>
                  </a:lnTo>
                  <a:lnTo>
                    <a:pt x="795337" y="434340"/>
                  </a:lnTo>
                  <a:lnTo>
                    <a:pt x="797243" y="437197"/>
                  </a:lnTo>
                  <a:lnTo>
                    <a:pt x="799148" y="441008"/>
                  </a:lnTo>
                  <a:lnTo>
                    <a:pt x="800100" y="448628"/>
                  </a:lnTo>
                  <a:lnTo>
                    <a:pt x="799148" y="458153"/>
                  </a:lnTo>
                  <a:lnTo>
                    <a:pt x="797243" y="464820"/>
                  </a:lnTo>
                  <a:lnTo>
                    <a:pt x="795337" y="466725"/>
                  </a:lnTo>
                  <a:lnTo>
                    <a:pt x="786765" y="467678"/>
                  </a:lnTo>
                  <a:lnTo>
                    <a:pt x="783908" y="469583"/>
                  </a:lnTo>
                  <a:lnTo>
                    <a:pt x="780098" y="473392"/>
                  </a:lnTo>
                  <a:lnTo>
                    <a:pt x="777240" y="477203"/>
                  </a:lnTo>
                  <a:lnTo>
                    <a:pt x="773430" y="481013"/>
                  </a:lnTo>
                  <a:lnTo>
                    <a:pt x="767715" y="481965"/>
                  </a:lnTo>
                  <a:lnTo>
                    <a:pt x="763905" y="482917"/>
                  </a:lnTo>
                  <a:lnTo>
                    <a:pt x="738187" y="478155"/>
                  </a:lnTo>
                  <a:lnTo>
                    <a:pt x="736283" y="479108"/>
                  </a:lnTo>
                  <a:lnTo>
                    <a:pt x="736283" y="481965"/>
                  </a:lnTo>
                  <a:lnTo>
                    <a:pt x="737235" y="486728"/>
                  </a:lnTo>
                  <a:lnTo>
                    <a:pt x="752475" y="513397"/>
                  </a:lnTo>
                  <a:lnTo>
                    <a:pt x="754380" y="519113"/>
                  </a:lnTo>
                  <a:lnTo>
                    <a:pt x="755333" y="524828"/>
                  </a:lnTo>
                  <a:lnTo>
                    <a:pt x="755333" y="526733"/>
                  </a:lnTo>
                  <a:lnTo>
                    <a:pt x="753427" y="528638"/>
                  </a:lnTo>
                  <a:lnTo>
                    <a:pt x="750570" y="529590"/>
                  </a:lnTo>
                  <a:lnTo>
                    <a:pt x="741045" y="530543"/>
                  </a:lnTo>
                  <a:lnTo>
                    <a:pt x="738187" y="531495"/>
                  </a:lnTo>
                  <a:lnTo>
                    <a:pt x="737235" y="533400"/>
                  </a:lnTo>
                  <a:lnTo>
                    <a:pt x="736283" y="536258"/>
                  </a:lnTo>
                  <a:lnTo>
                    <a:pt x="734377" y="554355"/>
                  </a:lnTo>
                  <a:lnTo>
                    <a:pt x="736283" y="558165"/>
                  </a:lnTo>
                  <a:lnTo>
                    <a:pt x="740093" y="561022"/>
                  </a:lnTo>
                  <a:lnTo>
                    <a:pt x="759143" y="568643"/>
                  </a:lnTo>
                  <a:lnTo>
                    <a:pt x="762000" y="570547"/>
                  </a:lnTo>
                  <a:lnTo>
                    <a:pt x="763905" y="572453"/>
                  </a:lnTo>
                  <a:lnTo>
                    <a:pt x="765810" y="577215"/>
                  </a:lnTo>
                  <a:lnTo>
                    <a:pt x="765810" y="580072"/>
                  </a:lnTo>
                  <a:lnTo>
                    <a:pt x="763905" y="588645"/>
                  </a:lnTo>
                  <a:lnTo>
                    <a:pt x="764858" y="594360"/>
                  </a:lnTo>
                  <a:lnTo>
                    <a:pt x="767715" y="599122"/>
                  </a:lnTo>
                  <a:lnTo>
                    <a:pt x="782002" y="618172"/>
                  </a:lnTo>
                  <a:lnTo>
                    <a:pt x="787718" y="626745"/>
                  </a:lnTo>
                  <a:lnTo>
                    <a:pt x="789623" y="632460"/>
                  </a:lnTo>
                  <a:lnTo>
                    <a:pt x="790575" y="638175"/>
                  </a:lnTo>
                  <a:lnTo>
                    <a:pt x="791527" y="641033"/>
                  </a:lnTo>
                  <a:lnTo>
                    <a:pt x="794385" y="645795"/>
                  </a:lnTo>
                  <a:lnTo>
                    <a:pt x="797243" y="649605"/>
                  </a:lnTo>
                  <a:lnTo>
                    <a:pt x="906780" y="681038"/>
                  </a:lnTo>
                  <a:lnTo>
                    <a:pt x="897255" y="693420"/>
                  </a:lnTo>
                  <a:lnTo>
                    <a:pt x="890587" y="695325"/>
                  </a:lnTo>
                  <a:lnTo>
                    <a:pt x="880110" y="696278"/>
                  </a:lnTo>
                  <a:lnTo>
                    <a:pt x="878205" y="697230"/>
                  </a:lnTo>
                  <a:lnTo>
                    <a:pt x="877252" y="698183"/>
                  </a:lnTo>
                  <a:lnTo>
                    <a:pt x="879158" y="700088"/>
                  </a:lnTo>
                  <a:lnTo>
                    <a:pt x="888683" y="706755"/>
                  </a:lnTo>
                  <a:lnTo>
                    <a:pt x="890587" y="709613"/>
                  </a:lnTo>
                  <a:lnTo>
                    <a:pt x="890587" y="712470"/>
                  </a:lnTo>
                  <a:lnTo>
                    <a:pt x="886777" y="718185"/>
                  </a:lnTo>
                  <a:lnTo>
                    <a:pt x="882968" y="722947"/>
                  </a:lnTo>
                  <a:lnTo>
                    <a:pt x="878205" y="726758"/>
                  </a:lnTo>
                  <a:lnTo>
                    <a:pt x="873443" y="729615"/>
                  </a:lnTo>
                  <a:lnTo>
                    <a:pt x="870585" y="729615"/>
                  </a:lnTo>
                  <a:lnTo>
                    <a:pt x="857250" y="726758"/>
                  </a:lnTo>
                  <a:lnTo>
                    <a:pt x="854393" y="726758"/>
                  </a:lnTo>
                  <a:lnTo>
                    <a:pt x="852487" y="727710"/>
                  </a:lnTo>
                  <a:lnTo>
                    <a:pt x="851535" y="730568"/>
                  </a:lnTo>
                  <a:lnTo>
                    <a:pt x="845820" y="741045"/>
                  </a:lnTo>
                  <a:lnTo>
                    <a:pt x="844868" y="743903"/>
                  </a:lnTo>
                  <a:lnTo>
                    <a:pt x="844868" y="747713"/>
                  </a:lnTo>
                  <a:lnTo>
                    <a:pt x="845820" y="751522"/>
                  </a:lnTo>
                  <a:lnTo>
                    <a:pt x="847725" y="754380"/>
                  </a:lnTo>
                  <a:lnTo>
                    <a:pt x="849630" y="756285"/>
                  </a:lnTo>
                  <a:lnTo>
                    <a:pt x="862965" y="762953"/>
                  </a:lnTo>
                  <a:lnTo>
                    <a:pt x="867727" y="765810"/>
                  </a:lnTo>
                  <a:lnTo>
                    <a:pt x="871537" y="769620"/>
                  </a:lnTo>
                  <a:lnTo>
                    <a:pt x="875348" y="773430"/>
                  </a:lnTo>
                  <a:lnTo>
                    <a:pt x="877252" y="778193"/>
                  </a:lnTo>
                  <a:lnTo>
                    <a:pt x="879158" y="783908"/>
                  </a:lnTo>
                  <a:lnTo>
                    <a:pt x="879158" y="786765"/>
                  </a:lnTo>
                  <a:lnTo>
                    <a:pt x="878205" y="791528"/>
                  </a:lnTo>
                  <a:lnTo>
                    <a:pt x="876300" y="797243"/>
                  </a:lnTo>
                  <a:lnTo>
                    <a:pt x="860108" y="829628"/>
                  </a:lnTo>
                  <a:lnTo>
                    <a:pt x="855345" y="836295"/>
                  </a:lnTo>
                  <a:lnTo>
                    <a:pt x="853440" y="839153"/>
                  </a:lnTo>
                  <a:lnTo>
                    <a:pt x="853440" y="842010"/>
                  </a:lnTo>
                  <a:lnTo>
                    <a:pt x="854393" y="844868"/>
                  </a:lnTo>
                  <a:lnTo>
                    <a:pt x="856298" y="847725"/>
                  </a:lnTo>
                  <a:lnTo>
                    <a:pt x="862012" y="853440"/>
                  </a:lnTo>
                  <a:lnTo>
                    <a:pt x="863918" y="855345"/>
                  </a:lnTo>
                  <a:lnTo>
                    <a:pt x="863918" y="859155"/>
                  </a:lnTo>
                  <a:lnTo>
                    <a:pt x="862965" y="863918"/>
                  </a:lnTo>
                  <a:lnTo>
                    <a:pt x="858202" y="870585"/>
                  </a:lnTo>
                  <a:lnTo>
                    <a:pt x="854393" y="873443"/>
                  </a:lnTo>
                  <a:lnTo>
                    <a:pt x="850583" y="873443"/>
                  </a:lnTo>
                  <a:lnTo>
                    <a:pt x="845820" y="870585"/>
                  </a:lnTo>
                  <a:lnTo>
                    <a:pt x="842962" y="869633"/>
                  </a:lnTo>
                  <a:lnTo>
                    <a:pt x="837248" y="870585"/>
                  </a:lnTo>
                  <a:lnTo>
                    <a:pt x="835343" y="871538"/>
                  </a:lnTo>
                  <a:lnTo>
                    <a:pt x="833437" y="875347"/>
                  </a:lnTo>
                  <a:lnTo>
                    <a:pt x="831533" y="881063"/>
                  </a:lnTo>
                  <a:lnTo>
                    <a:pt x="831533" y="893445"/>
                  </a:lnTo>
                  <a:lnTo>
                    <a:pt x="832485" y="898208"/>
                  </a:lnTo>
                  <a:lnTo>
                    <a:pt x="833437" y="902018"/>
                  </a:lnTo>
                  <a:lnTo>
                    <a:pt x="848677" y="913447"/>
                  </a:lnTo>
                  <a:lnTo>
                    <a:pt x="850583" y="915353"/>
                  </a:lnTo>
                  <a:lnTo>
                    <a:pt x="851535" y="918210"/>
                  </a:lnTo>
                  <a:lnTo>
                    <a:pt x="851535" y="920115"/>
                  </a:lnTo>
                  <a:lnTo>
                    <a:pt x="848677" y="922972"/>
                  </a:lnTo>
                  <a:lnTo>
                    <a:pt x="842010" y="927735"/>
                  </a:lnTo>
                  <a:lnTo>
                    <a:pt x="840105" y="929640"/>
                  </a:lnTo>
                  <a:lnTo>
                    <a:pt x="839152" y="932497"/>
                  </a:lnTo>
                  <a:lnTo>
                    <a:pt x="838200" y="936307"/>
                  </a:lnTo>
                  <a:lnTo>
                    <a:pt x="839152" y="942022"/>
                  </a:lnTo>
                  <a:lnTo>
                    <a:pt x="841058" y="944880"/>
                  </a:lnTo>
                  <a:lnTo>
                    <a:pt x="842962" y="946785"/>
                  </a:lnTo>
                  <a:lnTo>
                    <a:pt x="845820" y="948690"/>
                  </a:lnTo>
                  <a:lnTo>
                    <a:pt x="852487" y="949643"/>
                  </a:lnTo>
                  <a:lnTo>
                    <a:pt x="884873" y="949643"/>
                  </a:lnTo>
                  <a:lnTo>
                    <a:pt x="886777" y="951547"/>
                  </a:lnTo>
                  <a:lnTo>
                    <a:pt x="889635" y="956310"/>
                  </a:lnTo>
                  <a:lnTo>
                    <a:pt x="891540" y="961072"/>
                  </a:lnTo>
                  <a:lnTo>
                    <a:pt x="895350" y="971550"/>
                  </a:lnTo>
                  <a:lnTo>
                    <a:pt x="895350" y="974407"/>
                  </a:lnTo>
                  <a:lnTo>
                    <a:pt x="894398" y="977265"/>
                  </a:lnTo>
                  <a:lnTo>
                    <a:pt x="891540" y="979170"/>
                  </a:lnTo>
                  <a:lnTo>
                    <a:pt x="875348" y="984885"/>
                  </a:lnTo>
                  <a:lnTo>
                    <a:pt x="873443" y="987743"/>
                  </a:lnTo>
                  <a:lnTo>
                    <a:pt x="872490" y="991553"/>
                  </a:lnTo>
                  <a:lnTo>
                    <a:pt x="873443" y="996315"/>
                  </a:lnTo>
                  <a:lnTo>
                    <a:pt x="875348" y="999172"/>
                  </a:lnTo>
                  <a:lnTo>
                    <a:pt x="877252" y="1004888"/>
                  </a:lnTo>
                  <a:lnTo>
                    <a:pt x="878205" y="1007745"/>
                  </a:lnTo>
                  <a:lnTo>
                    <a:pt x="879158" y="1016318"/>
                  </a:lnTo>
                  <a:lnTo>
                    <a:pt x="881062" y="1022032"/>
                  </a:lnTo>
                  <a:lnTo>
                    <a:pt x="885825" y="1024890"/>
                  </a:lnTo>
                  <a:lnTo>
                    <a:pt x="894398" y="1026795"/>
                  </a:lnTo>
                  <a:lnTo>
                    <a:pt x="896302" y="1028700"/>
                  </a:lnTo>
                  <a:lnTo>
                    <a:pt x="898208" y="1030605"/>
                  </a:lnTo>
                  <a:lnTo>
                    <a:pt x="899160" y="1032510"/>
                  </a:lnTo>
                  <a:lnTo>
                    <a:pt x="899160" y="1036320"/>
                  </a:lnTo>
                  <a:lnTo>
                    <a:pt x="898208" y="1043940"/>
                  </a:lnTo>
                  <a:lnTo>
                    <a:pt x="898208" y="1051560"/>
                  </a:lnTo>
                  <a:lnTo>
                    <a:pt x="900112" y="1056323"/>
                  </a:lnTo>
                  <a:lnTo>
                    <a:pt x="902018" y="1058228"/>
                  </a:lnTo>
                  <a:lnTo>
                    <a:pt x="908685" y="1066800"/>
                  </a:lnTo>
                  <a:lnTo>
                    <a:pt x="911543" y="1073468"/>
                  </a:lnTo>
                  <a:lnTo>
                    <a:pt x="911543" y="1077278"/>
                  </a:lnTo>
                  <a:lnTo>
                    <a:pt x="909637" y="1081088"/>
                  </a:lnTo>
                  <a:lnTo>
                    <a:pt x="905827" y="1086803"/>
                  </a:lnTo>
                  <a:lnTo>
                    <a:pt x="902970" y="1091565"/>
                  </a:lnTo>
                  <a:lnTo>
                    <a:pt x="901065" y="1096328"/>
                  </a:lnTo>
                  <a:lnTo>
                    <a:pt x="900112" y="1102043"/>
                  </a:lnTo>
                  <a:lnTo>
                    <a:pt x="901065" y="1109663"/>
                  </a:lnTo>
                  <a:lnTo>
                    <a:pt x="903923" y="1114425"/>
                  </a:lnTo>
                  <a:lnTo>
                    <a:pt x="909637" y="1122998"/>
                  </a:lnTo>
                  <a:lnTo>
                    <a:pt x="912495" y="1127760"/>
                  </a:lnTo>
                  <a:lnTo>
                    <a:pt x="913448" y="1133475"/>
                  </a:lnTo>
                  <a:lnTo>
                    <a:pt x="913448" y="1140143"/>
                  </a:lnTo>
                  <a:lnTo>
                    <a:pt x="913448" y="1146810"/>
                  </a:lnTo>
                  <a:lnTo>
                    <a:pt x="914400" y="1152525"/>
                  </a:lnTo>
                  <a:lnTo>
                    <a:pt x="915352" y="1158240"/>
                  </a:lnTo>
                  <a:lnTo>
                    <a:pt x="917258" y="1163955"/>
                  </a:lnTo>
                  <a:lnTo>
                    <a:pt x="918210" y="1165860"/>
                  </a:lnTo>
                  <a:lnTo>
                    <a:pt x="917258" y="1169670"/>
                  </a:lnTo>
                  <a:lnTo>
                    <a:pt x="915352" y="1172528"/>
                  </a:lnTo>
                  <a:lnTo>
                    <a:pt x="909637" y="1175385"/>
                  </a:lnTo>
                  <a:lnTo>
                    <a:pt x="905827" y="1176338"/>
                  </a:lnTo>
                  <a:lnTo>
                    <a:pt x="888683" y="1177290"/>
                  </a:lnTo>
                  <a:lnTo>
                    <a:pt x="876300" y="1183005"/>
                  </a:lnTo>
                  <a:lnTo>
                    <a:pt x="872490" y="1186815"/>
                  </a:lnTo>
                  <a:lnTo>
                    <a:pt x="862012" y="1200150"/>
                  </a:lnTo>
                  <a:lnTo>
                    <a:pt x="859155" y="1203007"/>
                  </a:lnTo>
                  <a:lnTo>
                    <a:pt x="853440" y="1203960"/>
                  </a:lnTo>
                  <a:lnTo>
                    <a:pt x="847725" y="1203007"/>
                  </a:lnTo>
                  <a:lnTo>
                    <a:pt x="842010" y="1200150"/>
                  </a:lnTo>
                  <a:lnTo>
                    <a:pt x="837248" y="1197293"/>
                  </a:lnTo>
                  <a:lnTo>
                    <a:pt x="826770" y="1189673"/>
                  </a:lnTo>
                  <a:lnTo>
                    <a:pt x="821055" y="1186815"/>
                  </a:lnTo>
                  <a:lnTo>
                    <a:pt x="811530" y="1185863"/>
                  </a:lnTo>
                  <a:lnTo>
                    <a:pt x="808673" y="1184910"/>
                  </a:lnTo>
                  <a:lnTo>
                    <a:pt x="802958" y="1181100"/>
                  </a:lnTo>
                  <a:lnTo>
                    <a:pt x="794385" y="1175385"/>
                  </a:lnTo>
                  <a:lnTo>
                    <a:pt x="786765" y="1171575"/>
                  </a:lnTo>
                  <a:lnTo>
                    <a:pt x="773430" y="1168718"/>
                  </a:lnTo>
                  <a:lnTo>
                    <a:pt x="770573" y="1170623"/>
                  </a:lnTo>
                  <a:lnTo>
                    <a:pt x="766762" y="1174432"/>
                  </a:lnTo>
                  <a:lnTo>
                    <a:pt x="755333" y="1195388"/>
                  </a:lnTo>
                  <a:lnTo>
                    <a:pt x="751523" y="1198245"/>
                  </a:lnTo>
                  <a:lnTo>
                    <a:pt x="748665" y="1199198"/>
                  </a:lnTo>
                  <a:lnTo>
                    <a:pt x="725805" y="1195388"/>
                  </a:lnTo>
                  <a:lnTo>
                    <a:pt x="713423" y="1195388"/>
                  </a:lnTo>
                  <a:lnTo>
                    <a:pt x="710565" y="1198245"/>
                  </a:lnTo>
                  <a:lnTo>
                    <a:pt x="706755" y="1202055"/>
                  </a:lnTo>
                  <a:lnTo>
                    <a:pt x="702945" y="1212532"/>
                  </a:lnTo>
                  <a:lnTo>
                    <a:pt x="701040" y="1218248"/>
                  </a:lnTo>
                  <a:lnTo>
                    <a:pt x="699135" y="1223010"/>
                  </a:lnTo>
                  <a:lnTo>
                    <a:pt x="698183" y="1225868"/>
                  </a:lnTo>
                  <a:lnTo>
                    <a:pt x="698183" y="1232535"/>
                  </a:lnTo>
                  <a:lnTo>
                    <a:pt x="697230" y="1236345"/>
                  </a:lnTo>
                  <a:lnTo>
                    <a:pt x="694373" y="1240155"/>
                  </a:lnTo>
                  <a:lnTo>
                    <a:pt x="685800" y="1243965"/>
                  </a:lnTo>
                  <a:lnTo>
                    <a:pt x="683895" y="1245870"/>
                  </a:lnTo>
                  <a:lnTo>
                    <a:pt x="681037" y="1250632"/>
                  </a:lnTo>
                  <a:lnTo>
                    <a:pt x="679133" y="1259205"/>
                  </a:lnTo>
                  <a:lnTo>
                    <a:pt x="676275" y="1265873"/>
                  </a:lnTo>
                  <a:lnTo>
                    <a:pt x="672465" y="1269682"/>
                  </a:lnTo>
                  <a:lnTo>
                    <a:pt x="668655" y="1272540"/>
                  </a:lnTo>
                  <a:lnTo>
                    <a:pt x="662940" y="1278255"/>
                  </a:lnTo>
                  <a:lnTo>
                    <a:pt x="659130" y="1280160"/>
                  </a:lnTo>
                  <a:lnTo>
                    <a:pt x="657225" y="1283018"/>
                  </a:lnTo>
                  <a:lnTo>
                    <a:pt x="656273" y="1286828"/>
                  </a:lnTo>
                  <a:lnTo>
                    <a:pt x="653415" y="1297305"/>
                  </a:lnTo>
                  <a:lnTo>
                    <a:pt x="650558" y="1300163"/>
                  </a:lnTo>
                  <a:lnTo>
                    <a:pt x="649605" y="1303973"/>
                  </a:lnTo>
                  <a:lnTo>
                    <a:pt x="649605" y="1307782"/>
                  </a:lnTo>
                  <a:lnTo>
                    <a:pt x="651510" y="1315403"/>
                  </a:lnTo>
                  <a:lnTo>
                    <a:pt x="653415" y="1319213"/>
                  </a:lnTo>
                  <a:lnTo>
                    <a:pt x="658177" y="1326832"/>
                  </a:lnTo>
                  <a:lnTo>
                    <a:pt x="659130" y="1328738"/>
                  </a:lnTo>
                  <a:lnTo>
                    <a:pt x="659130" y="1331595"/>
                  </a:lnTo>
                  <a:lnTo>
                    <a:pt x="658177" y="1335405"/>
                  </a:lnTo>
                  <a:lnTo>
                    <a:pt x="655320" y="1339215"/>
                  </a:lnTo>
                  <a:lnTo>
                    <a:pt x="652462" y="1341120"/>
                  </a:lnTo>
                  <a:lnTo>
                    <a:pt x="647700" y="1343978"/>
                  </a:lnTo>
                  <a:lnTo>
                    <a:pt x="645795" y="1345882"/>
                  </a:lnTo>
                  <a:lnTo>
                    <a:pt x="644843" y="1349693"/>
                  </a:lnTo>
                  <a:lnTo>
                    <a:pt x="645795" y="1353503"/>
                  </a:lnTo>
                  <a:lnTo>
                    <a:pt x="647700" y="1362075"/>
                  </a:lnTo>
                  <a:lnTo>
                    <a:pt x="653415" y="1371600"/>
                  </a:lnTo>
                  <a:lnTo>
                    <a:pt x="657225" y="1384935"/>
                  </a:lnTo>
                  <a:lnTo>
                    <a:pt x="659130" y="1396365"/>
                  </a:lnTo>
                  <a:lnTo>
                    <a:pt x="660083" y="1402080"/>
                  </a:lnTo>
                  <a:lnTo>
                    <a:pt x="661987" y="1445895"/>
                  </a:lnTo>
                  <a:lnTo>
                    <a:pt x="663893" y="1456373"/>
                  </a:lnTo>
                  <a:lnTo>
                    <a:pt x="667702" y="1466850"/>
                  </a:lnTo>
                  <a:lnTo>
                    <a:pt x="670560" y="1471613"/>
                  </a:lnTo>
                  <a:lnTo>
                    <a:pt x="673418" y="1476375"/>
                  </a:lnTo>
                  <a:lnTo>
                    <a:pt x="673418" y="1479232"/>
                  </a:lnTo>
                  <a:lnTo>
                    <a:pt x="673418" y="1482090"/>
                  </a:lnTo>
                  <a:lnTo>
                    <a:pt x="670560" y="1484948"/>
                  </a:lnTo>
                  <a:lnTo>
                    <a:pt x="667702" y="1484948"/>
                  </a:lnTo>
                  <a:lnTo>
                    <a:pt x="661987" y="1484948"/>
                  </a:lnTo>
                  <a:lnTo>
                    <a:pt x="659130" y="1485900"/>
                  </a:lnTo>
                  <a:lnTo>
                    <a:pt x="658177" y="1488757"/>
                  </a:lnTo>
                  <a:lnTo>
                    <a:pt x="658177" y="1496378"/>
                  </a:lnTo>
                  <a:lnTo>
                    <a:pt x="659130" y="1504950"/>
                  </a:lnTo>
                  <a:lnTo>
                    <a:pt x="661035" y="1508760"/>
                  </a:lnTo>
                  <a:lnTo>
                    <a:pt x="661035" y="1512570"/>
                  </a:lnTo>
                  <a:lnTo>
                    <a:pt x="660083" y="1530668"/>
                  </a:lnTo>
                  <a:lnTo>
                    <a:pt x="656273" y="1550670"/>
                  </a:lnTo>
                  <a:lnTo>
                    <a:pt x="644843" y="1593532"/>
                  </a:lnTo>
                  <a:lnTo>
                    <a:pt x="638175" y="1598295"/>
                  </a:lnTo>
                  <a:lnTo>
                    <a:pt x="631508" y="1611630"/>
                  </a:lnTo>
                  <a:lnTo>
                    <a:pt x="625793" y="1616393"/>
                  </a:lnTo>
                  <a:lnTo>
                    <a:pt x="619125" y="1617345"/>
                  </a:lnTo>
                  <a:lnTo>
                    <a:pt x="614362" y="1613535"/>
                  </a:lnTo>
                  <a:lnTo>
                    <a:pt x="609600" y="1608773"/>
                  </a:lnTo>
                  <a:lnTo>
                    <a:pt x="604837" y="1604963"/>
                  </a:lnTo>
                  <a:lnTo>
                    <a:pt x="583883" y="1601153"/>
                  </a:lnTo>
                  <a:lnTo>
                    <a:pt x="572452" y="1603057"/>
                  </a:lnTo>
                  <a:lnTo>
                    <a:pt x="573405" y="1613535"/>
                  </a:lnTo>
                  <a:lnTo>
                    <a:pt x="578168" y="1616393"/>
                  </a:lnTo>
                  <a:lnTo>
                    <a:pt x="583883" y="1617345"/>
                  </a:lnTo>
                  <a:lnTo>
                    <a:pt x="586740" y="1621155"/>
                  </a:lnTo>
                  <a:lnTo>
                    <a:pt x="586740" y="1631632"/>
                  </a:lnTo>
                  <a:lnTo>
                    <a:pt x="583883" y="1638300"/>
                  </a:lnTo>
                  <a:lnTo>
                    <a:pt x="580073" y="1641157"/>
                  </a:lnTo>
                  <a:lnTo>
                    <a:pt x="574358" y="1642110"/>
                  </a:lnTo>
                  <a:lnTo>
                    <a:pt x="568643" y="1643063"/>
                  </a:lnTo>
                  <a:lnTo>
                    <a:pt x="561975" y="1641157"/>
                  </a:lnTo>
                  <a:lnTo>
                    <a:pt x="550545" y="1633538"/>
                  </a:lnTo>
                  <a:lnTo>
                    <a:pt x="544830" y="1631632"/>
                  </a:lnTo>
                  <a:lnTo>
                    <a:pt x="526733" y="1631632"/>
                  </a:lnTo>
                  <a:lnTo>
                    <a:pt x="523875" y="1634490"/>
                  </a:lnTo>
                  <a:lnTo>
                    <a:pt x="517208" y="1644968"/>
                  </a:lnTo>
                  <a:lnTo>
                    <a:pt x="514350" y="1648778"/>
                  </a:lnTo>
                  <a:lnTo>
                    <a:pt x="508635" y="1649730"/>
                  </a:lnTo>
                  <a:lnTo>
                    <a:pt x="485775" y="1647825"/>
                  </a:lnTo>
                  <a:lnTo>
                    <a:pt x="475298" y="1644015"/>
                  </a:lnTo>
                  <a:lnTo>
                    <a:pt x="468630" y="1643063"/>
                  </a:lnTo>
                  <a:lnTo>
                    <a:pt x="465773" y="1644968"/>
                  </a:lnTo>
                  <a:lnTo>
                    <a:pt x="463867" y="1647825"/>
                  </a:lnTo>
                  <a:lnTo>
                    <a:pt x="461962" y="1648778"/>
                  </a:lnTo>
                  <a:lnTo>
                    <a:pt x="458152" y="1645920"/>
                  </a:lnTo>
                  <a:lnTo>
                    <a:pt x="451485" y="1637348"/>
                  </a:lnTo>
                  <a:lnTo>
                    <a:pt x="431483" y="1632585"/>
                  </a:lnTo>
                  <a:lnTo>
                    <a:pt x="420052" y="1632585"/>
                  </a:lnTo>
                  <a:lnTo>
                    <a:pt x="409575" y="1637348"/>
                  </a:lnTo>
                  <a:lnTo>
                    <a:pt x="401955" y="1646873"/>
                  </a:lnTo>
                  <a:lnTo>
                    <a:pt x="396240" y="1656398"/>
                  </a:lnTo>
                  <a:lnTo>
                    <a:pt x="388620" y="1663065"/>
                  </a:lnTo>
                  <a:lnTo>
                    <a:pt x="375285" y="1664970"/>
                  </a:lnTo>
                  <a:lnTo>
                    <a:pt x="365760" y="1660207"/>
                  </a:lnTo>
                  <a:lnTo>
                    <a:pt x="358140" y="1648778"/>
                  </a:lnTo>
                  <a:lnTo>
                    <a:pt x="355283" y="1632585"/>
                  </a:lnTo>
                  <a:lnTo>
                    <a:pt x="359092" y="1616393"/>
                  </a:lnTo>
                  <a:lnTo>
                    <a:pt x="353377" y="1612582"/>
                  </a:lnTo>
                  <a:lnTo>
                    <a:pt x="347662" y="1610678"/>
                  </a:lnTo>
                  <a:lnTo>
                    <a:pt x="342900" y="1611630"/>
                  </a:lnTo>
                  <a:lnTo>
                    <a:pt x="337185" y="1616393"/>
                  </a:lnTo>
                  <a:lnTo>
                    <a:pt x="334327" y="1623060"/>
                  </a:lnTo>
                  <a:lnTo>
                    <a:pt x="338137" y="1634490"/>
                  </a:lnTo>
                  <a:lnTo>
                    <a:pt x="337185" y="1643063"/>
                  </a:lnTo>
                  <a:lnTo>
                    <a:pt x="329565" y="1656398"/>
                  </a:lnTo>
                  <a:lnTo>
                    <a:pt x="321945" y="1657350"/>
                  </a:lnTo>
                  <a:lnTo>
                    <a:pt x="317183" y="1647825"/>
                  </a:lnTo>
                  <a:lnTo>
                    <a:pt x="315277" y="1634490"/>
                  </a:lnTo>
                  <a:lnTo>
                    <a:pt x="312420" y="1626870"/>
                  </a:lnTo>
                  <a:lnTo>
                    <a:pt x="306705" y="1621155"/>
                  </a:lnTo>
                  <a:lnTo>
                    <a:pt x="300038" y="1622107"/>
                  </a:lnTo>
                  <a:lnTo>
                    <a:pt x="297180" y="1629728"/>
                  </a:lnTo>
                  <a:lnTo>
                    <a:pt x="299085" y="1635443"/>
                  </a:lnTo>
                  <a:lnTo>
                    <a:pt x="309563" y="1646873"/>
                  </a:lnTo>
                  <a:lnTo>
                    <a:pt x="311467" y="1651635"/>
                  </a:lnTo>
                  <a:lnTo>
                    <a:pt x="308610" y="1664970"/>
                  </a:lnTo>
                  <a:lnTo>
                    <a:pt x="302895" y="1669732"/>
                  </a:lnTo>
                  <a:lnTo>
                    <a:pt x="294322" y="1668780"/>
                  </a:lnTo>
                  <a:lnTo>
                    <a:pt x="286702" y="1664970"/>
                  </a:lnTo>
                  <a:lnTo>
                    <a:pt x="267652" y="1650682"/>
                  </a:lnTo>
                  <a:lnTo>
                    <a:pt x="255270" y="1647825"/>
                  </a:lnTo>
                  <a:lnTo>
                    <a:pt x="244792" y="1656398"/>
                  </a:lnTo>
                  <a:lnTo>
                    <a:pt x="245745" y="1664970"/>
                  </a:lnTo>
                  <a:lnTo>
                    <a:pt x="256222" y="1670685"/>
                  </a:lnTo>
                  <a:lnTo>
                    <a:pt x="275272" y="1676400"/>
                  </a:lnTo>
                  <a:lnTo>
                    <a:pt x="284797" y="1683068"/>
                  </a:lnTo>
                  <a:lnTo>
                    <a:pt x="293370" y="1691640"/>
                  </a:lnTo>
                  <a:lnTo>
                    <a:pt x="295275" y="1700213"/>
                  </a:lnTo>
                  <a:lnTo>
                    <a:pt x="284797" y="1703070"/>
                  </a:lnTo>
                  <a:lnTo>
                    <a:pt x="266700" y="1704023"/>
                  </a:lnTo>
                  <a:lnTo>
                    <a:pt x="260985" y="1703070"/>
                  </a:lnTo>
                  <a:lnTo>
                    <a:pt x="259080" y="1700213"/>
                  </a:lnTo>
                  <a:lnTo>
                    <a:pt x="256222" y="1694498"/>
                  </a:lnTo>
                  <a:lnTo>
                    <a:pt x="252413" y="1690688"/>
                  </a:lnTo>
                  <a:lnTo>
                    <a:pt x="246697" y="1691640"/>
                  </a:lnTo>
                  <a:lnTo>
                    <a:pt x="241935" y="1703070"/>
                  </a:lnTo>
                  <a:lnTo>
                    <a:pt x="249555" y="1730693"/>
                  </a:lnTo>
                  <a:lnTo>
                    <a:pt x="240983" y="1735455"/>
                  </a:lnTo>
                  <a:lnTo>
                    <a:pt x="229552" y="1734503"/>
                  </a:lnTo>
                  <a:lnTo>
                    <a:pt x="220980" y="1731645"/>
                  </a:lnTo>
                  <a:lnTo>
                    <a:pt x="213360" y="1724978"/>
                  </a:lnTo>
                  <a:lnTo>
                    <a:pt x="206692" y="1714500"/>
                  </a:lnTo>
                  <a:lnTo>
                    <a:pt x="197167" y="1691640"/>
                  </a:lnTo>
                  <a:lnTo>
                    <a:pt x="193358" y="1685925"/>
                  </a:lnTo>
                  <a:lnTo>
                    <a:pt x="180022" y="1672590"/>
                  </a:lnTo>
                  <a:lnTo>
                    <a:pt x="169545" y="1666875"/>
                  </a:lnTo>
                  <a:lnTo>
                    <a:pt x="144780" y="1673543"/>
                  </a:lnTo>
                  <a:lnTo>
                    <a:pt x="135255" y="1669732"/>
                  </a:lnTo>
                  <a:lnTo>
                    <a:pt x="122872" y="1684020"/>
                  </a:lnTo>
                  <a:lnTo>
                    <a:pt x="114300" y="1664970"/>
                  </a:lnTo>
                  <a:lnTo>
                    <a:pt x="110490" y="1654493"/>
                  </a:lnTo>
                  <a:lnTo>
                    <a:pt x="108585" y="1647825"/>
                  </a:lnTo>
                  <a:lnTo>
                    <a:pt x="109538" y="1644968"/>
                  </a:lnTo>
                  <a:lnTo>
                    <a:pt x="114300" y="1643063"/>
                  </a:lnTo>
                  <a:lnTo>
                    <a:pt x="116205" y="1642110"/>
                  </a:lnTo>
                  <a:lnTo>
                    <a:pt x="118110" y="1638300"/>
                  </a:lnTo>
                  <a:lnTo>
                    <a:pt x="116205" y="1636395"/>
                  </a:lnTo>
                  <a:lnTo>
                    <a:pt x="109538" y="1632585"/>
                  </a:lnTo>
                  <a:lnTo>
                    <a:pt x="104775" y="1627823"/>
                  </a:lnTo>
                  <a:lnTo>
                    <a:pt x="101917" y="1625918"/>
                  </a:lnTo>
                  <a:lnTo>
                    <a:pt x="91440" y="1619250"/>
                  </a:lnTo>
                  <a:lnTo>
                    <a:pt x="87630" y="1617345"/>
                  </a:lnTo>
                  <a:lnTo>
                    <a:pt x="83820" y="1613535"/>
                  </a:lnTo>
                  <a:lnTo>
                    <a:pt x="82867" y="1609725"/>
                  </a:lnTo>
                  <a:lnTo>
                    <a:pt x="82867" y="1606868"/>
                  </a:lnTo>
                  <a:lnTo>
                    <a:pt x="83820" y="1604010"/>
                  </a:lnTo>
                  <a:lnTo>
                    <a:pt x="87630" y="1596390"/>
                  </a:lnTo>
                  <a:lnTo>
                    <a:pt x="88583" y="1591628"/>
                  </a:lnTo>
                  <a:lnTo>
                    <a:pt x="88583" y="1583055"/>
                  </a:lnTo>
                  <a:lnTo>
                    <a:pt x="86677" y="1582103"/>
                  </a:lnTo>
                  <a:lnTo>
                    <a:pt x="85725" y="1583055"/>
                  </a:lnTo>
                  <a:lnTo>
                    <a:pt x="81915" y="1586865"/>
                  </a:lnTo>
                  <a:lnTo>
                    <a:pt x="80010" y="1588770"/>
                  </a:lnTo>
                  <a:lnTo>
                    <a:pt x="77152" y="1587818"/>
                  </a:lnTo>
                  <a:lnTo>
                    <a:pt x="72390" y="1584960"/>
                  </a:lnTo>
                  <a:lnTo>
                    <a:pt x="70485" y="1581150"/>
                  </a:lnTo>
                  <a:lnTo>
                    <a:pt x="70485" y="1578293"/>
                  </a:lnTo>
                  <a:lnTo>
                    <a:pt x="71438" y="1570673"/>
                  </a:lnTo>
                  <a:lnTo>
                    <a:pt x="70485" y="1568768"/>
                  </a:lnTo>
                  <a:lnTo>
                    <a:pt x="67627" y="1567815"/>
                  </a:lnTo>
                  <a:lnTo>
                    <a:pt x="64770" y="1566863"/>
                  </a:lnTo>
                  <a:lnTo>
                    <a:pt x="60008" y="1565910"/>
                  </a:lnTo>
                  <a:lnTo>
                    <a:pt x="56197" y="1564005"/>
                  </a:lnTo>
                  <a:lnTo>
                    <a:pt x="49530" y="1558290"/>
                  </a:lnTo>
                  <a:lnTo>
                    <a:pt x="46672" y="1553528"/>
                  </a:lnTo>
                  <a:lnTo>
                    <a:pt x="45720" y="1549718"/>
                  </a:lnTo>
                  <a:lnTo>
                    <a:pt x="46672" y="1543050"/>
                  </a:lnTo>
                  <a:lnTo>
                    <a:pt x="49530" y="1534478"/>
                  </a:lnTo>
                  <a:lnTo>
                    <a:pt x="50483" y="1527810"/>
                  </a:lnTo>
                  <a:lnTo>
                    <a:pt x="50483" y="1511618"/>
                  </a:lnTo>
                  <a:lnTo>
                    <a:pt x="51435" y="1505903"/>
                  </a:lnTo>
                  <a:lnTo>
                    <a:pt x="53340" y="1500188"/>
                  </a:lnTo>
                  <a:lnTo>
                    <a:pt x="54292" y="1495425"/>
                  </a:lnTo>
                  <a:lnTo>
                    <a:pt x="53340" y="1492568"/>
                  </a:lnTo>
                  <a:lnTo>
                    <a:pt x="50483" y="1488757"/>
                  </a:lnTo>
                  <a:lnTo>
                    <a:pt x="43815" y="1481138"/>
                  </a:lnTo>
                  <a:lnTo>
                    <a:pt x="42863" y="1477328"/>
                  </a:lnTo>
                  <a:lnTo>
                    <a:pt x="41910" y="1474470"/>
                  </a:lnTo>
                  <a:lnTo>
                    <a:pt x="43815" y="1471613"/>
                  </a:lnTo>
                  <a:lnTo>
                    <a:pt x="47625" y="1464945"/>
                  </a:lnTo>
                  <a:lnTo>
                    <a:pt x="48577" y="1459230"/>
                  </a:lnTo>
                  <a:lnTo>
                    <a:pt x="49530" y="1457325"/>
                  </a:lnTo>
                  <a:lnTo>
                    <a:pt x="51435" y="1456373"/>
                  </a:lnTo>
                  <a:lnTo>
                    <a:pt x="57150" y="1455420"/>
                  </a:lnTo>
                  <a:lnTo>
                    <a:pt x="60008" y="1453515"/>
                  </a:lnTo>
                  <a:lnTo>
                    <a:pt x="60960" y="1450657"/>
                  </a:lnTo>
                  <a:lnTo>
                    <a:pt x="60960" y="1448753"/>
                  </a:lnTo>
                  <a:lnTo>
                    <a:pt x="58102" y="1446848"/>
                  </a:lnTo>
                  <a:lnTo>
                    <a:pt x="47625" y="1443038"/>
                  </a:lnTo>
                  <a:lnTo>
                    <a:pt x="43815" y="1439228"/>
                  </a:lnTo>
                  <a:lnTo>
                    <a:pt x="36195" y="1427798"/>
                  </a:lnTo>
                  <a:lnTo>
                    <a:pt x="35242" y="1423988"/>
                  </a:lnTo>
                  <a:lnTo>
                    <a:pt x="35242" y="1420178"/>
                  </a:lnTo>
                  <a:lnTo>
                    <a:pt x="37147" y="1394460"/>
                  </a:lnTo>
                  <a:lnTo>
                    <a:pt x="39052" y="1383982"/>
                  </a:lnTo>
                  <a:lnTo>
                    <a:pt x="39052" y="1380173"/>
                  </a:lnTo>
                  <a:lnTo>
                    <a:pt x="38100" y="1377315"/>
                  </a:lnTo>
                  <a:lnTo>
                    <a:pt x="36195" y="1375410"/>
                  </a:lnTo>
                  <a:lnTo>
                    <a:pt x="28575" y="1377315"/>
                  </a:lnTo>
                  <a:lnTo>
                    <a:pt x="24765" y="1377315"/>
                  </a:lnTo>
                  <a:lnTo>
                    <a:pt x="23813" y="1375410"/>
                  </a:lnTo>
                  <a:lnTo>
                    <a:pt x="23813" y="1372553"/>
                  </a:lnTo>
                  <a:lnTo>
                    <a:pt x="23813" y="1369695"/>
                  </a:lnTo>
                  <a:lnTo>
                    <a:pt x="27622" y="1361123"/>
                  </a:lnTo>
                  <a:lnTo>
                    <a:pt x="28575" y="1356360"/>
                  </a:lnTo>
                  <a:lnTo>
                    <a:pt x="28575" y="1349693"/>
                  </a:lnTo>
                  <a:lnTo>
                    <a:pt x="27622" y="1344930"/>
                  </a:lnTo>
                  <a:lnTo>
                    <a:pt x="25717" y="1342073"/>
                  </a:lnTo>
                  <a:lnTo>
                    <a:pt x="21908" y="1335405"/>
                  </a:lnTo>
                  <a:lnTo>
                    <a:pt x="20955" y="1331595"/>
                  </a:lnTo>
                  <a:lnTo>
                    <a:pt x="22860" y="1329690"/>
                  </a:lnTo>
                  <a:lnTo>
                    <a:pt x="27622" y="1326832"/>
                  </a:lnTo>
                  <a:lnTo>
                    <a:pt x="29527" y="1324928"/>
                  </a:lnTo>
                  <a:lnTo>
                    <a:pt x="30480" y="1321118"/>
                  </a:lnTo>
                  <a:lnTo>
                    <a:pt x="29527" y="1316355"/>
                  </a:lnTo>
                  <a:lnTo>
                    <a:pt x="26670" y="1309688"/>
                  </a:lnTo>
                  <a:lnTo>
                    <a:pt x="26670" y="1306830"/>
                  </a:lnTo>
                  <a:lnTo>
                    <a:pt x="28575" y="1304925"/>
                  </a:lnTo>
                  <a:lnTo>
                    <a:pt x="35242" y="1303020"/>
                  </a:lnTo>
                  <a:lnTo>
                    <a:pt x="38100" y="1297305"/>
                  </a:lnTo>
                  <a:lnTo>
                    <a:pt x="38100" y="1296353"/>
                  </a:lnTo>
                  <a:lnTo>
                    <a:pt x="37147" y="1291590"/>
                  </a:lnTo>
                  <a:lnTo>
                    <a:pt x="31433" y="1282065"/>
                  </a:lnTo>
                  <a:lnTo>
                    <a:pt x="27622" y="1273493"/>
                  </a:lnTo>
                  <a:lnTo>
                    <a:pt x="26670" y="1267778"/>
                  </a:lnTo>
                  <a:lnTo>
                    <a:pt x="26670" y="1263968"/>
                  </a:lnTo>
                  <a:lnTo>
                    <a:pt x="29527" y="1259205"/>
                  </a:lnTo>
                  <a:lnTo>
                    <a:pt x="33338" y="1254443"/>
                  </a:lnTo>
                  <a:lnTo>
                    <a:pt x="38100" y="1249680"/>
                  </a:lnTo>
                  <a:lnTo>
                    <a:pt x="40958" y="1246823"/>
                  </a:lnTo>
                  <a:lnTo>
                    <a:pt x="41910" y="1243013"/>
                  </a:lnTo>
                  <a:lnTo>
                    <a:pt x="43815" y="1237298"/>
                  </a:lnTo>
                  <a:lnTo>
                    <a:pt x="43815" y="1233488"/>
                  </a:lnTo>
                  <a:lnTo>
                    <a:pt x="42863" y="1227773"/>
                  </a:lnTo>
                  <a:lnTo>
                    <a:pt x="34290" y="1209675"/>
                  </a:lnTo>
                  <a:lnTo>
                    <a:pt x="33338" y="1204913"/>
                  </a:lnTo>
                  <a:lnTo>
                    <a:pt x="33338" y="1201103"/>
                  </a:lnTo>
                  <a:lnTo>
                    <a:pt x="34290" y="1194435"/>
                  </a:lnTo>
                  <a:lnTo>
                    <a:pt x="34290" y="1190625"/>
                  </a:lnTo>
                  <a:lnTo>
                    <a:pt x="38100" y="1182053"/>
                  </a:lnTo>
                  <a:lnTo>
                    <a:pt x="39052" y="1178243"/>
                  </a:lnTo>
                  <a:lnTo>
                    <a:pt x="38100" y="1175385"/>
                  </a:lnTo>
                  <a:lnTo>
                    <a:pt x="37147" y="1172528"/>
                  </a:lnTo>
                  <a:lnTo>
                    <a:pt x="31433" y="1165860"/>
                  </a:lnTo>
                  <a:lnTo>
                    <a:pt x="29527" y="1163003"/>
                  </a:lnTo>
                  <a:lnTo>
                    <a:pt x="26670" y="1156335"/>
                  </a:lnTo>
                  <a:lnTo>
                    <a:pt x="26670" y="1152525"/>
                  </a:lnTo>
                  <a:lnTo>
                    <a:pt x="26670" y="1147763"/>
                  </a:lnTo>
                  <a:lnTo>
                    <a:pt x="29527" y="1135380"/>
                  </a:lnTo>
                  <a:lnTo>
                    <a:pt x="29527" y="1127760"/>
                  </a:lnTo>
                  <a:lnTo>
                    <a:pt x="29527" y="1121093"/>
                  </a:lnTo>
                  <a:lnTo>
                    <a:pt x="30480" y="1117282"/>
                  </a:lnTo>
                  <a:lnTo>
                    <a:pt x="31433" y="1114425"/>
                  </a:lnTo>
                  <a:lnTo>
                    <a:pt x="33338" y="1111568"/>
                  </a:lnTo>
                  <a:lnTo>
                    <a:pt x="37147" y="1107757"/>
                  </a:lnTo>
                  <a:lnTo>
                    <a:pt x="41910" y="1105853"/>
                  </a:lnTo>
                  <a:lnTo>
                    <a:pt x="49530" y="1102995"/>
                  </a:lnTo>
                  <a:lnTo>
                    <a:pt x="51435" y="1100138"/>
                  </a:lnTo>
                  <a:lnTo>
                    <a:pt x="52388" y="1096328"/>
                  </a:lnTo>
                  <a:lnTo>
                    <a:pt x="52388" y="1087755"/>
                  </a:lnTo>
                  <a:lnTo>
                    <a:pt x="52388" y="1082993"/>
                  </a:lnTo>
                  <a:lnTo>
                    <a:pt x="53340" y="1079182"/>
                  </a:lnTo>
                  <a:lnTo>
                    <a:pt x="56197" y="1072515"/>
                  </a:lnTo>
                  <a:lnTo>
                    <a:pt x="58102" y="1066800"/>
                  </a:lnTo>
                  <a:lnTo>
                    <a:pt x="58102" y="1062990"/>
                  </a:lnTo>
                  <a:lnTo>
                    <a:pt x="57150" y="1060132"/>
                  </a:lnTo>
                  <a:lnTo>
                    <a:pt x="51435" y="1051560"/>
                  </a:lnTo>
                  <a:lnTo>
                    <a:pt x="47625" y="1044893"/>
                  </a:lnTo>
                  <a:lnTo>
                    <a:pt x="45720" y="1039178"/>
                  </a:lnTo>
                  <a:lnTo>
                    <a:pt x="44767" y="1035368"/>
                  </a:lnTo>
                  <a:lnTo>
                    <a:pt x="45720" y="1030605"/>
                  </a:lnTo>
                  <a:lnTo>
                    <a:pt x="47625" y="1021080"/>
                  </a:lnTo>
                  <a:lnTo>
                    <a:pt x="47625" y="1017270"/>
                  </a:lnTo>
                  <a:lnTo>
                    <a:pt x="47625" y="1012507"/>
                  </a:lnTo>
                  <a:lnTo>
                    <a:pt x="43815" y="997268"/>
                  </a:lnTo>
                  <a:lnTo>
                    <a:pt x="42863" y="989647"/>
                  </a:lnTo>
                  <a:lnTo>
                    <a:pt x="42863" y="981075"/>
                  </a:lnTo>
                  <a:lnTo>
                    <a:pt x="42863" y="976313"/>
                  </a:lnTo>
                  <a:lnTo>
                    <a:pt x="41910" y="973455"/>
                  </a:lnTo>
                  <a:lnTo>
                    <a:pt x="40005" y="971550"/>
                  </a:lnTo>
                  <a:lnTo>
                    <a:pt x="26670" y="962025"/>
                  </a:lnTo>
                  <a:lnTo>
                    <a:pt x="24765" y="959168"/>
                  </a:lnTo>
                  <a:lnTo>
                    <a:pt x="22860" y="954405"/>
                  </a:lnTo>
                  <a:lnTo>
                    <a:pt x="18097" y="932497"/>
                  </a:lnTo>
                  <a:lnTo>
                    <a:pt x="13335" y="918210"/>
                  </a:lnTo>
                  <a:lnTo>
                    <a:pt x="3810" y="898208"/>
                  </a:lnTo>
                  <a:lnTo>
                    <a:pt x="952" y="888683"/>
                  </a:lnTo>
                  <a:lnTo>
                    <a:pt x="0" y="883920"/>
                  </a:lnTo>
                  <a:lnTo>
                    <a:pt x="0" y="880110"/>
                  </a:lnTo>
                  <a:lnTo>
                    <a:pt x="952" y="875347"/>
                  </a:lnTo>
                  <a:lnTo>
                    <a:pt x="8572" y="857250"/>
                  </a:lnTo>
                  <a:lnTo>
                    <a:pt x="10477" y="853440"/>
                  </a:lnTo>
                  <a:lnTo>
                    <a:pt x="14288" y="850583"/>
                  </a:lnTo>
                  <a:lnTo>
                    <a:pt x="28575" y="842963"/>
                  </a:lnTo>
                  <a:lnTo>
                    <a:pt x="31433" y="838200"/>
                  </a:lnTo>
                  <a:lnTo>
                    <a:pt x="33338" y="835343"/>
                  </a:lnTo>
                  <a:lnTo>
                    <a:pt x="35242" y="825818"/>
                  </a:lnTo>
                  <a:lnTo>
                    <a:pt x="37147" y="804863"/>
                  </a:lnTo>
                  <a:lnTo>
                    <a:pt x="38100" y="798195"/>
                  </a:lnTo>
                  <a:lnTo>
                    <a:pt x="40005" y="792480"/>
                  </a:lnTo>
                  <a:lnTo>
                    <a:pt x="43815" y="788670"/>
                  </a:lnTo>
                  <a:lnTo>
                    <a:pt x="49530" y="782955"/>
                  </a:lnTo>
                  <a:lnTo>
                    <a:pt x="51435" y="780097"/>
                  </a:lnTo>
                  <a:lnTo>
                    <a:pt x="53340" y="776288"/>
                  </a:lnTo>
                  <a:lnTo>
                    <a:pt x="55245" y="769620"/>
                  </a:lnTo>
                  <a:lnTo>
                    <a:pt x="55245" y="764858"/>
                  </a:lnTo>
                  <a:lnTo>
                    <a:pt x="55245" y="761047"/>
                  </a:lnTo>
                  <a:lnTo>
                    <a:pt x="51435" y="757238"/>
                  </a:lnTo>
                  <a:lnTo>
                    <a:pt x="37147" y="744855"/>
                  </a:lnTo>
                  <a:lnTo>
                    <a:pt x="33338" y="739140"/>
                  </a:lnTo>
                  <a:lnTo>
                    <a:pt x="30480" y="733425"/>
                  </a:lnTo>
                  <a:lnTo>
                    <a:pt x="29527" y="728663"/>
                  </a:lnTo>
                  <a:lnTo>
                    <a:pt x="29527" y="724853"/>
                  </a:lnTo>
                  <a:lnTo>
                    <a:pt x="30480" y="721995"/>
                  </a:lnTo>
                  <a:lnTo>
                    <a:pt x="32385" y="717233"/>
                  </a:lnTo>
                  <a:lnTo>
                    <a:pt x="36195" y="712470"/>
                  </a:lnTo>
                  <a:lnTo>
                    <a:pt x="41910" y="706755"/>
                  </a:lnTo>
                  <a:lnTo>
                    <a:pt x="43815" y="701993"/>
                  </a:lnTo>
                  <a:lnTo>
                    <a:pt x="44767" y="695325"/>
                  </a:lnTo>
                  <a:lnTo>
                    <a:pt x="45720" y="679133"/>
                  </a:lnTo>
                  <a:lnTo>
                    <a:pt x="45720" y="671513"/>
                  </a:lnTo>
                  <a:lnTo>
                    <a:pt x="44767" y="665797"/>
                  </a:lnTo>
                  <a:lnTo>
                    <a:pt x="43815" y="662940"/>
                  </a:lnTo>
                  <a:lnTo>
                    <a:pt x="41910" y="658178"/>
                  </a:lnTo>
                  <a:lnTo>
                    <a:pt x="39052" y="653415"/>
                  </a:lnTo>
                  <a:lnTo>
                    <a:pt x="26670" y="643890"/>
                  </a:lnTo>
                  <a:lnTo>
                    <a:pt x="22860" y="637222"/>
                  </a:lnTo>
                  <a:lnTo>
                    <a:pt x="20002" y="630555"/>
                  </a:lnTo>
                  <a:lnTo>
                    <a:pt x="20002" y="626745"/>
                  </a:lnTo>
                  <a:lnTo>
                    <a:pt x="20955" y="622935"/>
                  </a:lnTo>
                  <a:lnTo>
                    <a:pt x="22860" y="613410"/>
                  </a:lnTo>
                  <a:lnTo>
                    <a:pt x="23813" y="603885"/>
                  </a:lnTo>
                  <a:lnTo>
                    <a:pt x="23813" y="599122"/>
                  </a:lnTo>
                  <a:lnTo>
                    <a:pt x="23813" y="594360"/>
                  </a:lnTo>
                  <a:lnTo>
                    <a:pt x="20955" y="589597"/>
                  </a:lnTo>
                  <a:lnTo>
                    <a:pt x="17145" y="585788"/>
                  </a:lnTo>
                  <a:lnTo>
                    <a:pt x="10477" y="580072"/>
                  </a:lnTo>
                  <a:lnTo>
                    <a:pt x="7620" y="577215"/>
                  </a:lnTo>
                  <a:lnTo>
                    <a:pt x="4763" y="571500"/>
                  </a:lnTo>
                  <a:lnTo>
                    <a:pt x="3810" y="567690"/>
                  </a:lnTo>
                  <a:lnTo>
                    <a:pt x="3810" y="563880"/>
                  </a:lnTo>
                  <a:lnTo>
                    <a:pt x="7620" y="554355"/>
                  </a:lnTo>
                  <a:lnTo>
                    <a:pt x="9525" y="548640"/>
                  </a:lnTo>
                  <a:lnTo>
                    <a:pt x="8572" y="541972"/>
                  </a:lnTo>
                  <a:lnTo>
                    <a:pt x="6667" y="533400"/>
                  </a:lnTo>
                  <a:lnTo>
                    <a:pt x="1905" y="520065"/>
                  </a:lnTo>
                  <a:lnTo>
                    <a:pt x="952" y="513397"/>
                  </a:lnTo>
                  <a:lnTo>
                    <a:pt x="3810" y="509588"/>
                  </a:lnTo>
                  <a:lnTo>
                    <a:pt x="7620" y="505778"/>
                  </a:lnTo>
                  <a:lnTo>
                    <a:pt x="11430" y="501967"/>
                  </a:lnTo>
                  <a:lnTo>
                    <a:pt x="41910" y="492442"/>
                  </a:lnTo>
                  <a:lnTo>
                    <a:pt x="43815" y="489585"/>
                  </a:lnTo>
                  <a:lnTo>
                    <a:pt x="44767" y="485775"/>
                  </a:lnTo>
                  <a:lnTo>
                    <a:pt x="45720" y="479108"/>
                  </a:lnTo>
                  <a:lnTo>
                    <a:pt x="44767" y="475297"/>
                  </a:lnTo>
                  <a:lnTo>
                    <a:pt x="41910" y="473392"/>
                  </a:lnTo>
                  <a:lnTo>
                    <a:pt x="35242" y="473392"/>
                  </a:lnTo>
                  <a:lnTo>
                    <a:pt x="31433" y="471488"/>
                  </a:lnTo>
                  <a:lnTo>
                    <a:pt x="28575" y="469583"/>
                  </a:lnTo>
                  <a:lnTo>
                    <a:pt x="25717" y="465772"/>
                  </a:lnTo>
                  <a:lnTo>
                    <a:pt x="24765" y="462915"/>
                  </a:lnTo>
                  <a:lnTo>
                    <a:pt x="25717" y="460058"/>
                  </a:lnTo>
                  <a:lnTo>
                    <a:pt x="27622" y="459105"/>
                  </a:lnTo>
                  <a:lnTo>
                    <a:pt x="37147" y="453390"/>
                  </a:lnTo>
                  <a:lnTo>
                    <a:pt x="39052" y="451485"/>
                  </a:lnTo>
                  <a:lnTo>
                    <a:pt x="41910" y="445770"/>
                  </a:lnTo>
                  <a:lnTo>
                    <a:pt x="43815" y="436245"/>
                  </a:lnTo>
                  <a:lnTo>
                    <a:pt x="43815" y="432435"/>
                  </a:lnTo>
                  <a:lnTo>
                    <a:pt x="41910" y="430530"/>
                  </a:lnTo>
                  <a:lnTo>
                    <a:pt x="35242" y="424815"/>
                  </a:lnTo>
                  <a:lnTo>
                    <a:pt x="31433" y="420053"/>
                  </a:lnTo>
                  <a:lnTo>
                    <a:pt x="29527" y="417195"/>
                  </a:lnTo>
                  <a:lnTo>
                    <a:pt x="30480" y="414338"/>
                  </a:lnTo>
                  <a:lnTo>
                    <a:pt x="31433" y="411480"/>
                  </a:lnTo>
                  <a:lnTo>
                    <a:pt x="33338" y="410528"/>
                  </a:lnTo>
                  <a:lnTo>
                    <a:pt x="53340" y="408622"/>
                  </a:lnTo>
                  <a:lnTo>
                    <a:pt x="59055" y="407670"/>
                  </a:lnTo>
                  <a:lnTo>
                    <a:pt x="61913" y="405765"/>
                  </a:lnTo>
                  <a:lnTo>
                    <a:pt x="63817" y="401955"/>
                  </a:lnTo>
                  <a:lnTo>
                    <a:pt x="65722" y="395288"/>
                  </a:lnTo>
                  <a:lnTo>
                    <a:pt x="65722" y="391478"/>
                  </a:lnTo>
                  <a:lnTo>
                    <a:pt x="64770" y="388620"/>
                  </a:lnTo>
                  <a:lnTo>
                    <a:pt x="61913" y="383858"/>
                  </a:lnTo>
                  <a:lnTo>
                    <a:pt x="58102" y="380047"/>
                  </a:lnTo>
                  <a:lnTo>
                    <a:pt x="53340" y="377190"/>
                  </a:lnTo>
                  <a:lnTo>
                    <a:pt x="35242" y="371475"/>
                  </a:lnTo>
                  <a:lnTo>
                    <a:pt x="32385" y="370522"/>
                  </a:lnTo>
                  <a:lnTo>
                    <a:pt x="30480" y="368617"/>
                  </a:lnTo>
                  <a:lnTo>
                    <a:pt x="33338" y="365760"/>
                  </a:lnTo>
                  <a:lnTo>
                    <a:pt x="44767" y="360045"/>
                  </a:lnTo>
                  <a:lnTo>
                    <a:pt x="70485" y="347663"/>
                  </a:lnTo>
                  <a:lnTo>
                    <a:pt x="81915" y="340042"/>
                  </a:lnTo>
                  <a:lnTo>
                    <a:pt x="90488" y="329565"/>
                  </a:lnTo>
                  <a:lnTo>
                    <a:pt x="112395" y="295275"/>
                  </a:lnTo>
                  <a:lnTo>
                    <a:pt x="116205" y="291465"/>
                  </a:lnTo>
                  <a:lnTo>
                    <a:pt x="123825" y="283845"/>
                  </a:lnTo>
                  <a:lnTo>
                    <a:pt x="127635" y="281940"/>
                  </a:lnTo>
                  <a:lnTo>
                    <a:pt x="132397" y="280035"/>
                  </a:lnTo>
                  <a:lnTo>
                    <a:pt x="139065" y="279083"/>
                  </a:lnTo>
                  <a:lnTo>
                    <a:pt x="143827" y="279083"/>
                  </a:lnTo>
                  <a:lnTo>
                    <a:pt x="150495" y="280988"/>
                  </a:lnTo>
                  <a:lnTo>
                    <a:pt x="154305" y="281940"/>
                  </a:lnTo>
                  <a:lnTo>
                    <a:pt x="166688" y="280035"/>
                  </a:lnTo>
                  <a:lnTo>
                    <a:pt x="170497" y="279083"/>
                  </a:lnTo>
                  <a:lnTo>
                    <a:pt x="175260" y="276225"/>
                  </a:lnTo>
                  <a:lnTo>
                    <a:pt x="183833" y="266700"/>
                  </a:lnTo>
                  <a:lnTo>
                    <a:pt x="187642" y="262890"/>
                  </a:lnTo>
                  <a:lnTo>
                    <a:pt x="193358" y="253365"/>
                  </a:lnTo>
                  <a:lnTo>
                    <a:pt x="195263" y="251460"/>
                  </a:lnTo>
                  <a:lnTo>
                    <a:pt x="214313" y="237172"/>
                  </a:lnTo>
                  <a:lnTo>
                    <a:pt x="219075" y="233363"/>
                  </a:lnTo>
                  <a:lnTo>
                    <a:pt x="221933" y="229553"/>
                  </a:lnTo>
                  <a:lnTo>
                    <a:pt x="225742" y="220980"/>
                  </a:lnTo>
                  <a:lnTo>
                    <a:pt x="230505" y="213360"/>
                  </a:lnTo>
                  <a:lnTo>
                    <a:pt x="233363" y="209550"/>
                  </a:lnTo>
                  <a:lnTo>
                    <a:pt x="258127" y="191453"/>
                  </a:lnTo>
                  <a:lnTo>
                    <a:pt x="260985" y="188595"/>
                  </a:lnTo>
                  <a:lnTo>
                    <a:pt x="262890" y="183833"/>
                  </a:lnTo>
                  <a:lnTo>
                    <a:pt x="263842" y="179070"/>
                  </a:lnTo>
                  <a:lnTo>
                    <a:pt x="263842" y="173355"/>
                  </a:lnTo>
                  <a:lnTo>
                    <a:pt x="263842" y="170497"/>
                  </a:lnTo>
                  <a:lnTo>
                    <a:pt x="264795" y="167640"/>
                  </a:lnTo>
                  <a:lnTo>
                    <a:pt x="287655" y="149542"/>
                  </a:lnTo>
                  <a:lnTo>
                    <a:pt x="292417" y="143828"/>
                  </a:lnTo>
                  <a:lnTo>
                    <a:pt x="295275" y="138113"/>
                  </a:lnTo>
                  <a:lnTo>
                    <a:pt x="295275" y="135255"/>
                  </a:lnTo>
                  <a:lnTo>
                    <a:pt x="297180" y="131445"/>
                  </a:lnTo>
                  <a:lnTo>
                    <a:pt x="300038" y="127635"/>
                  </a:lnTo>
                  <a:lnTo>
                    <a:pt x="305752" y="122872"/>
                  </a:lnTo>
                  <a:lnTo>
                    <a:pt x="307658" y="119063"/>
                  </a:lnTo>
                  <a:lnTo>
                    <a:pt x="309563" y="114300"/>
                  </a:lnTo>
                  <a:lnTo>
                    <a:pt x="309563" y="107633"/>
                  </a:lnTo>
                  <a:lnTo>
                    <a:pt x="310515" y="103822"/>
                  </a:lnTo>
                  <a:lnTo>
                    <a:pt x="312420" y="100965"/>
                  </a:lnTo>
                  <a:lnTo>
                    <a:pt x="315277" y="100013"/>
                  </a:lnTo>
                  <a:lnTo>
                    <a:pt x="320992" y="100965"/>
                  </a:lnTo>
                  <a:lnTo>
                    <a:pt x="333375" y="105728"/>
                  </a:lnTo>
                  <a:lnTo>
                    <a:pt x="336233" y="106680"/>
                  </a:lnTo>
                  <a:lnTo>
                    <a:pt x="339090" y="105728"/>
                  </a:lnTo>
                  <a:lnTo>
                    <a:pt x="341948" y="103822"/>
                  </a:lnTo>
                  <a:lnTo>
                    <a:pt x="343852" y="100965"/>
                  </a:lnTo>
                  <a:lnTo>
                    <a:pt x="343852" y="97155"/>
                  </a:lnTo>
                  <a:lnTo>
                    <a:pt x="342900" y="87630"/>
                  </a:lnTo>
                  <a:lnTo>
                    <a:pt x="342900" y="80963"/>
                  </a:lnTo>
                  <a:lnTo>
                    <a:pt x="344805" y="75247"/>
                  </a:lnTo>
                  <a:lnTo>
                    <a:pt x="347662" y="71438"/>
                  </a:lnTo>
                  <a:lnTo>
                    <a:pt x="383858" y="56197"/>
                  </a:lnTo>
                  <a:lnTo>
                    <a:pt x="394335" y="46672"/>
                  </a:lnTo>
                  <a:lnTo>
                    <a:pt x="397192" y="45720"/>
                  </a:lnTo>
                  <a:lnTo>
                    <a:pt x="401002" y="45720"/>
                  </a:lnTo>
                  <a:lnTo>
                    <a:pt x="411480" y="50483"/>
                  </a:lnTo>
                  <a:lnTo>
                    <a:pt x="421958" y="56197"/>
                  </a:lnTo>
                  <a:lnTo>
                    <a:pt x="428625" y="58103"/>
                  </a:lnTo>
                  <a:lnTo>
                    <a:pt x="432435" y="58103"/>
                  </a:lnTo>
                  <a:lnTo>
                    <a:pt x="437198" y="56197"/>
                  </a:lnTo>
                  <a:lnTo>
                    <a:pt x="441960" y="52388"/>
                  </a:lnTo>
                  <a:lnTo>
                    <a:pt x="444817" y="49530"/>
                  </a:lnTo>
                  <a:lnTo>
                    <a:pt x="448627" y="44767"/>
                  </a:lnTo>
                  <a:lnTo>
                    <a:pt x="457200" y="37147"/>
                  </a:lnTo>
                  <a:lnTo>
                    <a:pt x="461010" y="34290"/>
                  </a:lnTo>
                  <a:lnTo>
                    <a:pt x="471487" y="29528"/>
                  </a:lnTo>
                  <a:lnTo>
                    <a:pt x="482917" y="26670"/>
                  </a:lnTo>
                  <a:lnTo>
                    <a:pt x="487680" y="23813"/>
                  </a:lnTo>
                  <a:lnTo>
                    <a:pt x="488633" y="20955"/>
                  </a:lnTo>
                  <a:lnTo>
                    <a:pt x="491490" y="11430"/>
                  </a:lnTo>
                  <a:lnTo>
                    <a:pt x="493395" y="5715"/>
                  </a:lnTo>
                  <a:lnTo>
                    <a:pt x="497205" y="1905"/>
                  </a:lnTo>
                  <a:lnTo>
                    <a:pt x="501015" y="0"/>
                  </a:lnTo>
                  <a:lnTo>
                    <a:pt x="508635" y="0"/>
                  </a:lnTo>
                  <a:lnTo>
                    <a:pt x="512445" y="1905"/>
                  </a:lnTo>
                  <a:lnTo>
                    <a:pt x="515302" y="3810"/>
                  </a:lnTo>
                  <a:lnTo>
                    <a:pt x="518160" y="10478"/>
                  </a:lnTo>
                  <a:lnTo>
                    <a:pt x="519112" y="15240"/>
                  </a:lnTo>
                  <a:lnTo>
                    <a:pt x="519112" y="19050"/>
                  </a:lnTo>
                  <a:lnTo>
                    <a:pt x="519112" y="26670"/>
                  </a:lnTo>
                  <a:lnTo>
                    <a:pt x="521970" y="29528"/>
                  </a:lnTo>
                  <a:lnTo>
                    <a:pt x="524827" y="32385"/>
                  </a:lnTo>
                  <a:lnTo>
                    <a:pt x="550545" y="3810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D13CA0-7045-3EDE-1571-6BEFE8C88864}"/>
                </a:ext>
              </a:extLst>
            </p:cNvPr>
            <p:cNvSpPr/>
            <p:nvPr/>
          </p:nvSpPr>
          <p:spPr>
            <a:xfrm>
              <a:off x="1610678" y="1709738"/>
              <a:ext cx="1466850" cy="1562100"/>
            </a:xfrm>
            <a:custGeom>
              <a:avLst/>
              <a:gdLst>
                <a:gd name="connsiteX0" fmla="*/ 1277303 w 1466850"/>
                <a:gd name="connsiteY0" fmla="*/ 289560 h 1562100"/>
                <a:gd name="connsiteX1" fmla="*/ 1281113 w 1466850"/>
                <a:gd name="connsiteY1" fmla="*/ 298133 h 1562100"/>
                <a:gd name="connsiteX2" fmla="*/ 1288733 w 1466850"/>
                <a:gd name="connsiteY2" fmla="*/ 301942 h 1562100"/>
                <a:gd name="connsiteX3" fmla="*/ 1299210 w 1466850"/>
                <a:gd name="connsiteY3" fmla="*/ 302895 h 1562100"/>
                <a:gd name="connsiteX4" fmla="*/ 1305878 w 1466850"/>
                <a:gd name="connsiteY4" fmla="*/ 301942 h 1562100"/>
                <a:gd name="connsiteX5" fmla="*/ 1310640 w 1466850"/>
                <a:gd name="connsiteY5" fmla="*/ 300038 h 1562100"/>
                <a:gd name="connsiteX6" fmla="*/ 1324928 w 1466850"/>
                <a:gd name="connsiteY6" fmla="*/ 291465 h 1562100"/>
                <a:gd name="connsiteX7" fmla="*/ 1330643 w 1466850"/>
                <a:gd name="connsiteY7" fmla="*/ 290513 h 1562100"/>
                <a:gd name="connsiteX8" fmla="*/ 1333500 w 1466850"/>
                <a:gd name="connsiteY8" fmla="*/ 289560 h 1562100"/>
                <a:gd name="connsiteX9" fmla="*/ 1337310 w 1466850"/>
                <a:gd name="connsiteY9" fmla="*/ 290513 h 1562100"/>
                <a:gd name="connsiteX10" fmla="*/ 1343025 w 1466850"/>
                <a:gd name="connsiteY10" fmla="*/ 292417 h 1562100"/>
                <a:gd name="connsiteX11" fmla="*/ 1347788 w 1466850"/>
                <a:gd name="connsiteY11" fmla="*/ 295275 h 1562100"/>
                <a:gd name="connsiteX12" fmla="*/ 1349693 w 1466850"/>
                <a:gd name="connsiteY12" fmla="*/ 299085 h 1562100"/>
                <a:gd name="connsiteX13" fmla="*/ 1351598 w 1466850"/>
                <a:gd name="connsiteY13" fmla="*/ 304800 h 1562100"/>
                <a:gd name="connsiteX14" fmla="*/ 1353503 w 1466850"/>
                <a:gd name="connsiteY14" fmla="*/ 315278 h 1562100"/>
                <a:gd name="connsiteX15" fmla="*/ 1354455 w 1466850"/>
                <a:gd name="connsiteY15" fmla="*/ 321945 h 1562100"/>
                <a:gd name="connsiteX16" fmla="*/ 1353503 w 1466850"/>
                <a:gd name="connsiteY16" fmla="*/ 326708 h 1562100"/>
                <a:gd name="connsiteX17" fmla="*/ 1351598 w 1466850"/>
                <a:gd name="connsiteY17" fmla="*/ 331470 h 1562100"/>
                <a:gd name="connsiteX18" fmla="*/ 1347788 w 1466850"/>
                <a:gd name="connsiteY18" fmla="*/ 336233 h 1562100"/>
                <a:gd name="connsiteX19" fmla="*/ 1332548 w 1466850"/>
                <a:gd name="connsiteY19" fmla="*/ 351472 h 1562100"/>
                <a:gd name="connsiteX20" fmla="*/ 1331595 w 1466850"/>
                <a:gd name="connsiteY20" fmla="*/ 353378 h 1562100"/>
                <a:gd name="connsiteX21" fmla="*/ 1331595 w 1466850"/>
                <a:gd name="connsiteY21" fmla="*/ 357188 h 1562100"/>
                <a:gd name="connsiteX22" fmla="*/ 1333500 w 1466850"/>
                <a:gd name="connsiteY22" fmla="*/ 362903 h 1562100"/>
                <a:gd name="connsiteX23" fmla="*/ 1343978 w 1466850"/>
                <a:gd name="connsiteY23" fmla="*/ 374333 h 1562100"/>
                <a:gd name="connsiteX24" fmla="*/ 1345883 w 1466850"/>
                <a:gd name="connsiteY24" fmla="*/ 379095 h 1562100"/>
                <a:gd name="connsiteX25" fmla="*/ 1345883 w 1466850"/>
                <a:gd name="connsiteY25" fmla="*/ 382905 h 1562100"/>
                <a:gd name="connsiteX26" fmla="*/ 1342073 w 1466850"/>
                <a:gd name="connsiteY26" fmla="*/ 402908 h 1562100"/>
                <a:gd name="connsiteX27" fmla="*/ 1341120 w 1466850"/>
                <a:gd name="connsiteY27" fmla="*/ 417195 h 1562100"/>
                <a:gd name="connsiteX28" fmla="*/ 1342073 w 1466850"/>
                <a:gd name="connsiteY28" fmla="*/ 427672 h 1562100"/>
                <a:gd name="connsiteX29" fmla="*/ 1345883 w 1466850"/>
                <a:gd name="connsiteY29" fmla="*/ 447675 h 1562100"/>
                <a:gd name="connsiteX30" fmla="*/ 1350645 w 1466850"/>
                <a:gd name="connsiteY30" fmla="*/ 454342 h 1562100"/>
                <a:gd name="connsiteX31" fmla="*/ 1400175 w 1466850"/>
                <a:gd name="connsiteY31" fmla="*/ 498158 h 1562100"/>
                <a:gd name="connsiteX32" fmla="*/ 1438275 w 1466850"/>
                <a:gd name="connsiteY32" fmla="*/ 521970 h 1562100"/>
                <a:gd name="connsiteX33" fmla="*/ 1438275 w 1466850"/>
                <a:gd name="connsiteY33" fmla="*/ 527685 h 1562100"/>
                <a:gd name="connsiteX34" fmla="*/ 1439228 w 1466850"/>
                <a:gd name="connsiteY34" fmla="*/ 532447 h 1562100"/>
                <a:gd name="connsiteX35" fmla="*/ 1441133 w 1466850"/>
                <a:gd name="connsiteY35" fmla="*/ 535305 h 1562100"/>
                <a:gd name="connsiteX36" fmla="*/ 1443990 w 1466850"/>
                <a:gd name="connsiteY36" fmla="*/ 539115 h 1562100"/>
                <a:gd name="connsiteX37" fmla="*/ 1445895 w 1466850"/>
                <a:gd name="connsiteY37" fmla="*/ 541020 h 1562100"/>
                <a:gd name="connsiteX38" fmla="*/ 1457325 w 1466850"/>
                <a:gd name="connsiteY38" fmla="*/ 548640 h 1562100"/>
                <a:gd name="connsiteX39" fmla="*/ 1460183 w 1466850"/>
                <a:gd name="connsiteY39" fmla="*/ 553403 h 1562100"/>
                <a:gd name="connsiteX40" fmla="*/ 1462088 w 1466850"/>
                <a:gd name="connsiteY40" fmla="*/ 558165 h 1562100"/>
                <a:gd name="connsiteX41" fmla="*/ 1463993 w 1466850"/>
                <a:gd name="connsiteY41" fmla="*/ 561022 h 1562100"/>
                <a:gd name="connsiteX42" fmla="*/ 1469708 w 1466850"/>
                <a:gd name="connsiteY42" fmla="*/ 569595 h 1562100"/>
                <a:gd name="connsiteX43" fmla="*/ 1472565 w 1466850"/>
                <a:gd name="connsiteY43" fmla="*/ 574358 h 1562100"/>
                <a:gd name="connsiteX44" fmla="*/ 1473518 w 1466850"/>
                <a:gd name="connsiteY44" fmla="*/ 580072 h 1562100"/>
                <a:gd name="connsiteX45" fmla="*/ 1472565 w 1466850"/>
                <a:gd name="connsiteY45" fmla="*/ 582930 h 1562100"/>
                <a:gd name="connsiteX46" fmla="*/ 1469708 w 1466850"/>
                <a:gd name="connsiteY46" fmla="*/ 585788 h 1562100"/>
                <a:gd name="connsiteX47" fmla="*/ 1464945 w 1466850"/>
                <a:gd name="connsiteY47" fmla="*/ 586740 h 1562100"/>
                <a:gd name="connsiteX48" fmla="*/ 1457325 w 1466850"/>
                <a:gd name="connsiteY48" fmla="*/ 587693 h 1562100"/>
                <a:gd name="connsiteX49" fmla="*/ 1454468 w 1466850"/>
                <a:gd name="connsiteY49" fmla="*/ 589597 h 1562100"/>
                <a:gd name="connsiteX50" fmla="*/ 1451610 w 1466850"/>
                <a:gd name="connsiteY50" fmla="*/ 592455 h 1562100"/>
                <a:gd name="connsiteX51" fmla="*/ 1448753 w 1466850"/>
                <a:gd name="connsiteY51" fmla="*/ 599122 h 1562100"/>
                <a:gd name="connsiteX52" fmla="*/ 1448753 w 1466850"/>
                <a:gd name="connsiteY52" fmla="*/ 602933 h 1562100"/>
                <a:gd name="connsiteX53" fmla="*/ 1448753 w 1466850"/>
                <a:gd name="connsiteY53" fmla="*/ 606743 h 1562100"/>
                <a:gd name="connsiteX54" fmla="*/ 1451610 w 1466850"/>
                <a:gd name="connsiteY54" fmla="*/ 611505 h 1562100"/>
                <a:gd name="connsiteX55" fmla="*/ 1452563 w 1466850"/>
                <a:gd name="connsiteY55" fmla="*/ 617220 h 1562100"/>
                <a:gd name="connsiteX56" fmla="*/ 1453515 w 1466850"/>
                <a:gd name="connsiteY56" fmla="*/ 622935 h 1562100"/>
                <a:gd name="connsiteX57" fmla="*/ 1452563 w 1466850"/>
                <a:gd name="connsiteY57" fmla="*/ 625793 h 1562100"/>
                <a:gd name="connsiteX58" fmla="*/ 1449705 w 1466850"/>
                <a:gd name="connsiteY58" fmla="*/ 630555 h 1562100"/>
                <a:gd name="connsiteX59" fmla="*/ 1446848 w 1466850"/>
                <a:gd name="connsiteY59" fmla="*/ 633413 h 1562100"/>
                <a:gd name="connsiteX60" fmla="*/ 1442085 w 1466850"/>
                <a:gd name="connsiteY60" fmla="*/ 637222 h 1562100"/>
                <a:gd name="connsiteX61" fmla="*/ 1433513 w 1466850"/>
                <a:gd name="connsiteY61" fmla="*/ 641985 h 1562100"/>
                <a:gd name="connsiteX62" fmla="*/ 1427798 w 1466850"/>
                <a:gd name="connsiteY62" fmla="*/ 642938 h 1562100"/>
                <a:gd name="connsiteX63" fmla="*/ 1420178 w 1466850"/>
                <a:gd name="connsiteY63" fmla="*/ 643890 h 1562100"/>
                <a:gd name="connsiteX64" fmla="*/ 1417320 w 1466850"/>
                <a:gd name="connsiteY64" fmla="*/ 644843 h 1562100"/>
                <a:gd name="connsiteX65" fmla="*/ 1406843 w 1466850"/>
                <a:gd name="connsiteY65" fmla="*/ 651510 h 1562100"/>
                <a:gd name="connsiteX66" fmla="*/ 1403985 w 1466850"/>
                <a:gd name="connsiteY66" fmla="*/ 653415 h 1562100"/>
                <a:gd name="connsiteX67" fmla="*/ 1392555 w 1466850"/>
                <a:gd name="connsiteY67" fmla="*/ 656272 h 1562100"/>
                <a:gd name="connsiteX68" fmla="*/ 1373505 w 1466850"/>
                <a:gd name="connsiteY68" fmla="*/ 666750 h 1562100"/>
                <a:gd name="connsiteX69" fmla="*/ 1370648 w 1466850"/>
                <a:gd name="connsiteY69" fmla="*/ 667703 h 1562100"/>
                <a:gd name="connsiteX70" fmla="*/ 1331595 w 1466850"/>
                <a:gd name="connsiteY70" fmla="*/ 675322 h 1562100"/>
                <a:gd name="connsiteX71" fmla="*/ 1326833 w 1466850"/>
                <a:gd name="connsiteY71" fmla="*/ 677228 h 1562100"/>
                <a:gd name="connsiteX72" fmla="*/ 1321118 w 1466850"/>
                <a:gd name="connsiteY72" fmla="*/ 679133 h 1562100"/>
                <a:gd name="connsiteX73" fmla="*/ 1296353 w 1466850"/>
                <a:gd name="connsiteY73" fmla="*/ 681990 h 1562100"/>
                <a:gd name="connsiteX74" fmla="*/ 1293495 w 1466850"/>
                <a:gd name="connsiteY74" fmla="*/ 682943 h 1562100"/>
                <a:gd name="connsiteX75" fmla="*/ 1290638 w 1466850"/>
                <a:gd name="connsiteY75" fmla="*/ 685800 h 1562100"/>
                <a:gd name="connsiteX76" fmla="*/ 1288733 w 1466850"/>
                <a:gd name="connsiteY76" fmla="*/ 691515 h 1562100"/>
                <a:gd name="connsiteX77" fmla="*/ 1285875 w 1466850"/>
                <a:gd name="connsiteY77" fmla="*/ 705803 h 1562100"/>
                <a:gd name="connsiteX78" fmla="*/ 1285875 w 1466850"/>
                <a:gd name="connsiteY78" fmla="*/ 712470 h 1562100"/>
                <a:gd name="connsiteX79" fmla="*/ 1285875 w 1466850"/>
                <a:gd name="connsiteY79" fmla="*/ 715328 h 1562100"/>
                <a:gd name="connsiteX80" fmla="*/ 1289685 w 1466850"/>
                <a:gd name="connsiteY80" fmla="*/ 722947 h 1562100"/>
                <a:gd name="connsiteX81" fmla="*/ 1298258 w 1466850"/>
                <a:gd name="connsiteY81" fmla="*/ 736283 h 1562100"/>
                <a:gd name="connsiteX82" fmla="*/ 1300163 w 1466850"/>
                <a:gd name="connsiteY82" fmla="*/ 739140 h 1562100"/>
                <a:gd name="connsiteX83" fmla="*/ 1301115 w 1466850"/>
                <a:gd name="connsiteY83" fmla="*/ 744855 h 1562100"/>
                <a:gd name="connsiteX84" fmla="*/ 1301115 w 1466850"/>
                <a:gd name="connsiteY84" fmla="*/ 747713 h 1562100"/>
                <a:gd name="connsiteX85" fmla="*/ 1300163 w 1466850"/>
                <a:gd name="connsiteY85" fmla="*/ 754380 h 1562100"/>
                <a:gd name="connsiteX86" fmla="*/ 1297305 w 1466850"/>
                <a:gd name="connsiteY86" fmla="*/ 757238 h 1562100"/>
                <a:gd name="connsiteX87" fmla="*/ 1294448 w 1466850"/>
                <a:gd name="connsiteY87" fmla="*/ 761047 h 1562100"/>
                <a:gd name="connsiteX88" fmla="*/ 1283018 w 1466850"/>
                <a:gd name="connsiteY88" fmla="*/ 767715 h 1562100"/>
                <a:gd name="connsiteX89" fmla="*/ 1279208 w 1466850"/>
                <a:gd name="connsiteY89" fmla="*/ 768668 h 1562100"/>
                <a:gd name="connsiteX90" fmla="*/ 1274445 w 1466850"/>
                <a:gd name="connsiteY90" fmla="*/ 769620 h 1562100"/>
                <a:gd name="connsiteX91" fmla="*/ 1268730 w 1466850"/>
                <a:gd name="connsiteY91" fmla="*/ 768668 h 1562100"/>
                <a:gd name="connsiteX92" fmla="*/ 1265873 w 1466850"/>
                <a:gd name="connsiteY92" fmla="*/ 767715 h 1562100"/>
                <a:gd name="connsiteX93" fmla="*/ 1261110 w 1466850"/>
                <a:gd name="connsiteY93" fmla="*/ 762000 h 1562100"/>
                <a:gd name="connsiteX94" fmla="*/ 1258253 w 1466850"/>
                <a:gd name="connsiteY94" fmla="*/ 762000 h 1562100"/>
                <a:gd name="connsiteX95" fmla="*/ 1255395 w 1466850"/>
                <a:gd name="connsiteY95" fmla="*/ 763905 h 1562100"/>
                <a:gd name="connsiteX96" fmla="*/ 1252538 w 1466850"/>
                <a:gd name="connsiteY96" fmla="*/ 766763 h 1562100"/>
                <a:gd name="connsiteX97" fmla="*/ 1241108 w 1466850"/>
                <a:gd name="connsiteY97" fmla="*/ 789622 h 1562100"/>
                <a:gd name="connsiteX98" fmla="*/ 1238250 w 1466850"/>
                <a:gd name="connsiteY98" fmla="*/ 798195 h 1562100"/>
                <a:gd name="connsiteX99" fmla="*/ 1234440 w 1466850"/>
                <a:gd name="connsiteY99" fmla="*/ 806768 h 1562100"/>
                <a:gd name="connsiteX100" fmla="*/ 1220153 w 1466850"/>
                <a:gd name="connsiteY100" fmla="*/ 834390 h 1562100"/>
                <a:gd name="connsiteX101" fmla="*/ 1217295 w 1466850"/>
                <a:gd name="connsiteY101" fmla="*/ 837247 h 1562100"/>
                <a:gd name="connsiteX102" fmla="*/ 1125855 w 1466850"/>
                <a:gd name="connsiteY102" fmla="*/ 888683 h 1562100"/>
                <a:gd name="connsiteX103" fmla="*/ 1121093 w 1466850"/>
                <a:gd name="connsiteY103" fmla="*/ 890588 h 1562100"/>
                <a:gd name="connsiteX104" fmla="*/ 1116330 w 1466850"/>
                <a:gd name="connsiteY104" fmla="*/ 890588 h 1562100"/>
                <a:gd name="connsiteX105" fmla="*/ 1113473 w 1466850"/>
                <a:gd name="connsiteY105" fmla="*/ 889635 h 1562100"/>
                <a:gd name="connsiteX106" fmla="*/ 1106805 w 1466850"/>
                <a:gd name="connsiteY106" fmla="*/ 889635 h 1562100"/>
                <a:gd name="connsiteX107" fmla="*/ 1103948 w 1466850"/>
                <a:gd name="connsiteY107" fmla="*/ 891540 h 1562100"/>
                <a:gd name="connsiteX108" fmla="*/ 1101090 w 1466850"/>
                <a:gd name="connsiteY108" fmla="*/ 896303 h 1562100"/>
                <a:gd name="connsiteX109" fmla="*/ 1098233 w 1466850"/>
                <a:gd name="connsiteY109" fmla="*/ 922020 h 1562100"/>
                <a:gd name="connsiteX110" fmla="*/ 1096328 w 1466850"/>
                <a:gd name="connsiteY110" fmla="*/ 932497 h 1562100"/>
                <a:gd name="connsiteX111" fmla="*/ 1089660 w 1466850"/>
                <a:gd name="connsiteY111" fmla="*/ 947738 h 1562100"/>
                <a:gd name="connsiteX112" fmla="*/ 1082040 w 1466850"/>
                <a:gd name="connsiteY112" fmla="*/ 947738 h 1562100"/>
                <a:gd name="connsiteX113" fmla="*/ 1076325 w 1466850"/>
                <a:gd name="connsiteY113" fmla="*/ 946785 h 1562100"/>
                <a:gd name="connsiteX114" fmla="*/ 1071563 w 1466850"/>
                <a:gd name="connsiteY114" fmla="*/ 943928 h 1562100"/>
                <a:gd name="connsiteX115" fmla="*/ 1066800 w 1466850"/>
                <a:gd name="connsiteY115" fmla="*/ 942022 h 1562100"/>
                <a:gd name="connsiteX116" fmla="*/ 1062038 w 1466850"/>
                <a:gd name="connsiteY116" fmla="*/ 942975 h 1562100"/>
                <a:gd name="connsiteX117" fmla="*/ 1059180 w 1466850"/>
                <a:gd name="connsiteY117" fmla="*/ 942975 h 1562100"/>
                <a:gd name="connsiteX118" fmla="*/ 1055370 w 1466850"/>
                <a:gd name="connsiteY118" fmla="*/ 940118 h 1562100"/>
                <a:gd name="connsiteX119" fmla="*/ 1053465 w 1466850"/>
                <a:gd name="connsiteY119" fmla="*/ 938213 h 1562100"/>
                <a:gd name="connsiteX120" fmla="*/ 1041082 w 1466850"/>
                <a:gd name="connsiteY120" fmla="*/ 927735 h 1562100"/>
                <a:gd name="connsiteX121" fmla="*/ 1036320 w 1466850"/>
                <a:gd name="connsiteY121" fmla="*/ 924878 h 1562100"/>
                <a:gd name="connsiteX122" fmla="*/ 1031557 w 1466850"/>
                <a:gd name="connsiteY122" fmla="*/ 922972 h 1562100"/>
                <a:gd name="connsiteX123" fmla="*/ 1024890 w 1466850"/>
                <a:gd name="connsiteY123" fmla="*/ 921068 h 1562100"/>
                <a:gd name="connsiteX124" fmla="*/ 1019175 w 1466850"/>
                <a:gd name="connsiteY124" fmla="*/ 921068 h 1562100"/>
                <a:gd name="connsiteX125" fmla="*/ 979170 w 1466850"/>
                <a:gd name="connsiteY125" fmla="*/ 931545 h 1562100"/>
                <a:gd name="connsiteX126" fmla="*/ 972502 w 1466850"/>
                <a:gd name="connsiteY126" fmla="*/ 931545 h 1562100"/>
                <a:gd name="connsiteX127" fmla="*/ 954405 w 1466850"/>
                <a:gd name="connsiteY127" fmla="*/ 926783 h 1562100"/>
                <a:gd name="connsiteX128" fmla="*/ 950595 w 1466850"/>
                <a:gd name="connsiteY128" fmla="*/ 926783 h 1562100"/>
                <a:gd name="connsiteX129" fmla="*/ 948690 w 1466850"/>
                <a:gd name="connsiteY129" fmla="*/ 927735 h 1562100"/>
                <a:gd name="connsiteX130" fmla="*/ 945832 w 1466850"/>
                <a:gd name="connsiteY130" fmla="*/ 930593 h 1562100"/>
                <a:gd name="connsiteX131" fmla="*/ 942023 w 1466850"/>
                <a:gd name="connsiteY131" fmla="*/ 935355 h 1562100"/>
                <a:gd name="connsiteX132" fmla="*/ 937260 w 1466850"/>
                <a:gd name="connsiteY132" fmla="*/ 944880 h 1562100"/>
                <a:gd name="connsiteX133" fmla="*/ 935355 w 1466850"/>
                <a:gd name="connsiteY133" fmla="*/ 949643 h 1562100"/>
                <a:gd name="connsiteX134" fmla="*/ 934402 w 1466850"/>
                <a:gd name="connsiteY134" fmla="*/ 954405 h 1562100"/>
                <a:gd name="connsiteX135" fmla="*/ 935355 w 1466850"/>
                <a:gd name="connsiteY135" fmla="*/ 957263 h 1562100"/>
                <a:gd name="connsiteX136" fmla="*/ 939165 w 1466850"/>
                <a:gd name="connsiteY136" fmla="*/ 963930 h 1562100"/>
                <a:gd name="connsiteX137" fmla="*/ 941070 w 1466850"/>
                <a:gd name="connsiteY137" fmla="*/ 969645 h 1562100"/>
                <a:gd name="connsiteX138" fmla="*/ 942975 w 1466850"/>
                <a:gd name="connsiteY138" fmla="*/ 975360 h 1562100"/>
                <a:gd name="connsiteX139" fmla="*/ 942023 w 1466850"/>
                <a:gd name="connsiteY139" fmla="*/ 982028 h 1562100"/>
                <a:gd name="connsiteX140" fmla="*/ 939165 w 1466850"/>
                <a:gd name="connsiteY140" fmla="*/ 987743 h 1562100"/>
                <a:gd name="connsiteX141" fmla="*/ 922973 w 1466850"/>
                <a:gd name="connsiteY141" fmla="*/ 1013460 h 1562100"/>
                <a:gd name="connsiteX142" fmla="*/ 920115 w 1466850"/>
                <a:gd name="connsiteY142" fmla="*/ 1022032 h 1562100"/>
                <a:gd name="connsiteX143" fmla="*/ 919163 w 1466850"/>
                <a:gd name="connsiteY143" fmla="*/ 1026795 h 1562100"/>
                <a:gd name="connsiteX144" fmla="*/ 921068 w 1466850"/>
                <a:gd name="connsiteY144" fmla="*/ 1028700 h 1562100"/>
                <a:gd name="connsiteX145" fmla="*/ 937260 w 1466850"/>
                <a:gd name="connsiteY145" fmla="*/ 1039178 h 1562100"/>
                <a:gd name="connsiteX146" fmla="*/ 940118 w 1466850"/>
                <a:gd name="connsiteY146" fmla="*/ 1042988 h 1562100"/>
                <a:gd name="connsiteX147" fmla="*/ 941070 w 1466850"/>
                <a:gd name="connsiteY147" fmla="*/ 1045845 h 1562100"/>
                <a:gd name="connsiteX148" fmla="*/ 940118 w 1466850"/>
                <a:gd name="connsiteY148" fmla="*/ 1048703 h 1562100"/>
                <a:gd name="connsiteX149" fmla="*/ 937260 w 1466850"/>
                <a:gd name="connsiteY149" fmla="*/ 1052513 h 1562100"/>
                <a:gd name="connsiteX150" fmla="*/ 920115 w 1466850"/>
                <a:gd name="connsiteY150" fmla="*/ 1070610 h 1562100"/>
                <a:gd name="connsiteX151" fmla="*/ 915352 w 1466850"/>
                <a:gd name="connsiteY151" fmla="*/ 1078230 h 1562100"/>
                <a:gd name="connsiteX152" fmla="*/ 911543 w 1466850"/>
                <a:gd name="connsiteY152" fmla="*/ 1082040 h 1562100"/>
                <a:gd name="connsiteX153" fmla="*/ 905827 w 1466850"/>
                <a:gd name="connsiteY153" fmla="*/ 1084898 h 1562100"/>
                <a:gd name="connsiteX154" fmla="*/ 898208 w 1466850"/>
                <a:gd name="connsiteY154" fmla="*/ 1086803 h 1562100"/>
                <a:gd name="connsiteX155" fmla="*/ 886777 w 1466850"/>
                <a:gd name="connsiteY155" fmla="*/ 1086803 h 1562100"/>
                <a:gd name="connsiteX156" fmla="*/ 881063 w 1466850"/>
                <a:gd name="connsiteY156" fmla="*/ 1087755 h 1562100"/>
                <a:gd name="connsiteX157" fmla="*/ 870585 w 1466850"/>
                <a:gd name="connsiteY157" fmla="*/ 1091565 h 1562100"/>
                <a:gd name="connsiteX158" fmla="*/ 868680 w 1466850"/>
                <a:gd name="connsiteY158" fmla="*/ 1093470 h 1562100"/>
                <a:gd name="connsiteX159" fmla="*/ 866775 w 1466850"/>
                <a:gd name="connsiteY159" fmla="*/ 1096328 h 1562100"/>
                <a:gd name="connsiteX160" fmla="*/ 865823 w 1466850"/>
                <a:gd name="connsiteY160" fmla="*/ 1102043 h 1562100"/>
                <a:gd name="connsiteX161" fmla="*/ 865823 w 1466850"/>
                <a:gd name="connsiteY161" fmla="*/ 1105853 h 1562100"/>
                <a:gd name="connsiteX162" fmla="*/ 866775 w 1466850"/>
                <a:gd name="connsiteY162" fmla="*/ 1108710 h 1562100"/>
                <a:gd name="connsiteX163" fmla="*/ 869633 w 1466850"/>
                <a:gd name="connsiteY163" fmla="*/ 1113473 h 1562100"/>
                <a:gd name="connsiteX164" fmla="*/ 872490 w 1466850"/>
                <a:gd name="connsiteY164" fmla="*/ 1114425 h 1562100"/>
                <a:gd name="connsiteX165" fmla="*/ 875348 w 1466850"/>
                <a:gd name="connsiteY165" fmla="*/ 1114425 h 1562100"/>
                <a:gd name="connsiteX166" fmla="*/ 877252 w 1466850"/>
                <a:gd name="connsiteY166" fmla="*/ 1114425 h 1562100"/>
                <a:gd name="connsiteX167" fmla="*/ 882015 w 1466850"/>
                <a:gd name="connsiteY167" fmla="*/ 1111568 h 1562100"/>
                <a:gd name="connsiteX168" fmla="*/ 893445 w 1466850"/>
                <a:gd name="connsiteY168" fmla="*/ 1101090 h 1562100"/>
                <a:gd name="connsiteX169" fmla="*/ 896302 w 1466850"/>
                <a:gd name="connsiteY169" fmla="*/ 1100138 h 1562100"/>
                <a:gd name="connsiteX170" fmla="*/ 899160 w 1466850"/>
                <a:gd name="connsiteY170" fmla="*/ 1099185 h 1562100"/>
                <a:gd name="connsiteX171" fmla="*/ 902018 w 1466850"/>
                <a:gd name="connsiteY171" fmla="*/ 1100138 h 1562100"/>
                <a:gd name="connsiteX172" fmla="*/ 906780 w 1466850"/>
                <a:gd name="connsiteY172" fmla="*/ 1102995 h 1562100"/>
                <a:gd name="connsiteX173" fmla="*/ 909638 w 1466850"/>
                <a:gd name="connsiteY173" fmla="*/ 1106805 h 1562100"/>
                <a:gd name="connsiteX174" fmla="*/ 910590 w 1466850"/>
                <a:gd name="connsiteY174" fmla="*/ 1109663 h 1562100"/>
                <a:gd name="connsiteX175" fmla="*/ 909638 w 1466850"/>
                <a:gd name="connsiteY175" fmla="*/ 1112520 h 1562100"/>
                <a:gd name="connsiteX176" fmla="*/ 908685 w 1466850"/>
                <a:gd name="connsiteY176" fmla="*/ 1116330 h 1562100"/>
                <a:gd name="connsiteX177" fmla="*/ 904875 w 1466850"/>
                <a:gd name="connsiteY177" fmla="*/ 1124903 h 1562100"/>
                <a:gd name="connsiteX178" fmla="*/ 903923 w 1466850"/>
                <a:gd name="connsiteY178" fmla="*/ 1127760 h 1562100"/>
                <a:gd name="connsiteX179" fmla="*/ 903923 w 1466850"/>
                <a:gd name="connsiteY179" fmla="*/ 1131570 h 1562100"/>
                <a:gd name="connsiteX180" fmla="*/ 904875 w 1466850"/>
                <a:gd name="connsiteY180" fmla="*/ 1150620 h 1562100"/>
                <a:gd name="connsiteX181" fmla="*/ 908685 w 1466850"/>
                <a:gd name="connsiteY181" fmla="*/ 1154430 h 1562100"/>
                <a:gd name="connsiteX182" fmla="*/ 921068 w 1466850"/>
                <a:gd name="connsiteY182" fmla="*/ 1158240 h 1562100"/>
                <a:gd name="connsiteX183" fmla="*/ 930593 w 1466850"/>
                <a:gd name="connsiteY183" fmla="*/ 1159193 h 1562100"/>
                <a:gd name="connsiteX184" fmla="*/ 937260 w 1466850"/>
                <a:gd name="connsiteY184" fmla="*/ 1155382 h 1562100"/>
                <a:gd name="connsiteX185" fmla="*/ 941070 w 1466850"/>
                <a:gd name="connsiteY185" fmla="*/ 1161098 h 1562100"/>
                <a:gd name="connsiteX186" fmla="*/ 951548 w 1466850"/>
                <a:gd name="connsiteY186" fmla="*/ 1174432 h 1562100"/>
                <a:gd name="connsiteX187" fmla="*/ 952500 w 1466850"/>
                <a:gd name="connsiteY187" fmla="*/ 1177290 h 1562100"/>
                <a:gd name="connsiteX188" fmla="*/ 952500 w 1466850"/>
                <a:gd name="connsiteY188" fmla="*/ 1183005 h 1562100"/>
                <a:gd name="connsiteX189" fmla="*/ 949643 w 1466850"/>
                <a:gd name="connsiteY189" fmla="*/ 1188720 h 1562100"/>
                <a:gd name="connsiteX190" fmla="*/ 945832 w 1466850"/>
                <a:gd name="connsiteY190" fmla="*/ 1191578 h 1562100"/>
                <a:gd name="connsiteX191" fmla="*/ 941070 w 1466850"/>
                <a:gd name="connsiteY191" fmla="*/ 1195388 h 1562100"/>
                <a:gd name="connsiteX192" fmla="*/ 930593 w 1466850"/>
                <a:gd name="connsiteY192" fmla="*/ 1199198 h 1562100"/>
                <a:gd name="connsiteX193" fmla="*/ 925830 w 1466850"/>
                <a:gd name="connsiteY193" fmla="*/ 1200150 h 1562100"/>
                <a:gd name="connsiteX194" fmla="*/ 922020 w 1466850"/>
                <a:gd name="connsiteY194" fmla="*/ 1199198 h 1562100"/>
                <a:gd name="connsiteX195" fmla="*/ 920115 w 1466850"/>
                <a:gd name="connsiteY195" fmla="*/ 1198245 h 1562100"/>
                <a:gd name="connsiteX196" fmla="*/ 913448 w 1466850"/>
                <a:gd name="connsiteY196" fmla="*/ 1197293 h 1562100"/>
                <a:gd name="connsiteX197" fmla="*/ 910590 w 1466850"/>
                <a:gd name="connsiteY197" fmla="*/ 1197293 h 1562100"/>
                <a:gd name="connsiteX198" fmla="*/ 904875 w 1466850"/>
                <a:gd name="connsiteY198" fmla="*/ 1198245 h 1562100"/>
                <a:gd name="connsiteX199" fmla="*/ 883920 w 1466850"/>
                <a:gd name="connsiteY199" fmla="*/ 1206818 h 1562100"/>
                <a:gd name="connsiteX200" fmla="*/ 861060 w 1466850"/>
                <a:gd name="connsiteY200" fmla="*/ 1220153 h 1562100"/>
                <a:gd name="connsiteX201" fmla="*/ 856298 w 1466850"/>
                <a:gd name="connsiteY201" fmla="*/ 1222057 h 1562100"/>
                <a:gd name="connsiteX202" fmla="*/ 843915 w 1466850"/>
                <a:gd name="connsiteY202" fmla="*/ 1224915 h 1562100"/>
                <a:gd name="connsiteX203" fmla="*/ 830580 w 1466850"/>
                <a:gd name="connsiteY203" fmla="*/ 1223963 h 1562100"/>
                <a:gd name="connsiteX204" fmla="*/ 824865 w 1466850"/>
                <a:gd name="connsiteY204" fmla="*/ 1224915 h 1562100"/>
                <a:gd name="connsiteX205" fmla="*/ 800100 w 1466850"/>
                <a:gd name="connsiteY205" fmla="*/ 1236345 h 1562100"/>
                <a:gd name="connsiteX206" fmla="*/ 794385 w 1466850"/>
                <a:gd name="connsiteY206" fmla="*/ 1236345 h 1562100"/>
                <a:gd name="connsiteX207" fmla="*/ 790575 w 1466850"/>
                <a:gd name="connsiteY207" fmla="*/ 1236345 h 1562100"/>
                <a:gd name="connsiteX208" fmla="*/ 767715 w 1466850"/>
                <a:gd name="connsiteY208" fmla="*/ 1228725 h 1562100"/>
                <a:gd name="connsiteX209" fmla="*/ 761048 w 1466850"/>
                <a:gd name="connsiteY209" fmla="*/ 1227773 h 1562100"/>
                <a:gd name="connsiteX210" fmla="*/ 758190 w 1466850"/>
                <a:gd name="connsiteY210" fmla="*/ 1227773 h 1562100"/>
                <a:gd name="connsiteX211" fmla="*/ 753427 w 1466850"/>
                <a:gd name="connsiteY211" fmla="*/ 1229678 h 1562100"/>
                <a:gd name="connsiteX212" fmla="*/ 729615 w 1466850"/>
                <a:gd name="connsiteY212" fmla="*/ 1246823 h 1562100"/>
                <a:gd name="connsiteX213" fmla="*/ 722948 w 1466850"/>
                <a:gd name="connsiteY213" fmla="*/ 1249680 h 1562100"/>
                <a:gd name="connsiteX214" fmla="*/ 719138 w 1466850"/>
                <a:gd name="connsiteY214" fmla="*/ 1250632 h 1562100"/>
                <a:gd name="connsiteX215" fmla="*/ 700088 w 1466850"/>
                <a:gd name="connsiteY215" fmla="*/ 1243013 h 1562100"/>
                <a:gd name="connsiteX216" fmla="*/ 693420 w 1466850"/>
                <a:gd name="connsiteY216" fmla="*/ 1242060 h 1562100"/>
                <a:gd name="connsiteX217" fmla="*/ 690563 w 1466850"/>
                <a:gd name="connsiteY217" fmla="*/ 1242060 h 1562100"/>
                <a:gd name="connsiteX218" fmla="*/ 686752 w 1466850"/>
                <a:gd name="connsiteY218" fmla="*/ 1243965 h 1562100"/>
                <a:gd name="connsiteX219" fmla="*/ 675323 w 1466850"/>
                <a:gd name="connsiteY219" fmla="*/ 1254443 h 1562100"/>
                <a:gd name="connsiteX220" fmla="*/ 670560 w 1466850"/>
                <a:gd name="connsiteY220" fmla="*/ 1257300 h 1562100"/>
                <a:gd name="connsiteX221" fmla="*/ 666750 w 1466850"/>
                <a:gd name="connsiteY221" fmla="*/ 1258253 h 1562100"/>
                <a:gd name="connsiteX222" fmla="*/ 640080 w 1466850"/>
                <a:gd name="connsiteY222" fmla="*/ 1260157 h 1562100"/>
                <a:gd name="connsiteX223" fmla="*/ 587693 w 1466850"/>
                <a:gd name="connsiteY223" fmla="*/ 1252538 h 1562100"/>
                <a:gd name="connsiteX224" fmla="*/ 579120 w 1466850"/>
                <a:gd name="connsiteY224" fmla="*/ 1253490 h 1562100"/>
                <a:gd name="connsiteX225" fmla="*/ 573405 w 1466850"/>
                <a:gd name="connsiteY225" fmla="*/ 1255395 h 1562100"/>
                <a:gd name="connsiteX226" fmla="*/ 564833 w 1466850"/>
                <a:gd name="connsiteY226" fmla="*/ 1261110 h 1562100"/>
                <a:gd name="connsiteX227" fmla="*/ 555308 w 1466850"/>
                <a:gd name="connsiteY227" fmla="*/ 1268730 h 1562100"/>
                <a:gd name="connsiteX228" fmla="*/ 550545 w 1466850"/>
                <a:gd name="connsiteY228" fmla="*/ 1275398 h 1562100"/>
                <a:gd name="connsiteX229" fmla="*/ 548640 w 1466850"/>
                <a:gd name="connsiteY229" fmla="*/ 1278255 h 1562100"/>
                <a:gd name="connsiteX230" fmla="*/ 535305 w 1466850"/>
                <a:gd name="connsiteY230" fmla="*/ 1320165 h 1562100"/>
                <a:gd name="connsiteX231" fmla="*/ 531495 w 1466850"/>
                <a:gd name="connsiteY231" fmla="*/ 1329690 h 1562100"/>
                <a:gd name="connsiteX232" fmla="*/ 527685 w 1466850"/>
                <a:gd name="connsiteY232" fmla="*/ 1336357 h 1562100"/>
                <a:gd name="connsiteX233" fmla="*/ 518160 w 1466850"/>
                <a:gd name="connsiteY233" fmla="*/ 1344930 h 1562100"/>
                <a:gd name="connsiteX234" fmla="*/ 516255 w 1466850"/>
                <a:gd name="connsiteY234" fmla="*/ 1346835 h 1562100"/>
                <a:gd name="connsiteX235" fmla="*/ 504825 w 1466850"/>
                <a:gd name="connsiteY235" fmla="*/ 1357313 h 1562100"/>
                <a:gd name="connsiteX236" fmla="*/ 496252 w 1466850"/>
                <a:gd name="connsiteY236" fmla="*/ 1363028 h 1562100"/>
                <a:gd name="connsiteX237" fmla="*/ 493395 w 1466850"/>
                <a:gd name="connsiteY237" fmla="*/ 1369695 h 1562100"/>
                <a:gd name="connsiteX238" fmla="*/ 481012 w 1466850"/>
                <a:gd name="connsiteY238" fmla="*/ 1428750 h 1562100"/>
                <a:gd name="connsiteX239" fmla="*/ 479108 w 1466850"/>
                <a:gd name="connsiteY239" fmla="*/ 1434465 h 1562100"/>
                <a:gd name="connsiteX240" fmla="*/ 479108 w 1466850"/>
                <a:gd name="connsiteY240" fmla="*/ 1437323 h 1562100"/>
                <a:gd name="connsiteX241" fmla="*/ 479108 w 1466850"/>
                <a:gd name="connsiteY241" fmla="*/ 1441132 h 1562100"/>
                <a:gd name="connsiteX242" fmla="*/ 481012 w 1466850"/>
                <a:gd name="connsiteY242" fmla="*/ 1444943 h 1562100"/>
                <a:gd name="connsiteX243" fmla="*/ 486727 w 1466850"/>
                <a:gd name="connsiteY243" fmla="*/ 1452563 h 1562100"/>
                <a:gd name="connsiteX244" fmla="*/ 489585 w 1466850"/>
                <a:gd name="connsiteY244" fmla="*/ 1457325 h 1562100"/>
                <a:gd name="connsiteX245" fmla="*/ 491490 w 1466850"/>
                <a:gd name="connsiteY245" fmla="*/ 1463040 h 1562100"/>
                <a:gd name="connsiteX246" fmla="*/ 492443 w 1466850"/>
                <a:gd name="connsiteY246" fmla="*/ 1471613 h 1562100"/>
                <a:gd name="connsiteX247" fmla="*/ 493395 w 1466850"/>
                <a:gd name="connsiteY247" fmla="*/ 1478280 h 1562100"/>
                <a:gd name="connsiteX248" fmla="*/ 470535 w 1466850"/>
                <a:gd name="connsiteY248" fmla="*/ 1566863 h 1562100"/>
                <a:gd name="connsiteX249" fmla="*/ 458152 w 1466850"/>
                <a:gd name="connsiteY249" fmla="*/ 1561148 h 1562100"/>
                <a:gd name="connsiteX250" fmla="*/ 452437 w 1466850"/>
                <a:gd name="connsiteY250" fmla="*/ 1560195 h 1562100"/>
                <a:gd name="connsiteX251" fmla="*/ 424815 w 1466850"/>
                <a:gd name="connsiteY251" fmla="*/ 1564005 h 1562100"/>
                <a:gd name="connsiteX252" fmla="*/ 414337 w 1466850"/>
                <a:gd name="connsiteY252" fmla="*/ 1563053 h 1562100"/>
                <a:gd name="connsiteX253" fmla="*/ 399098 w 1466850"/>
                <a:gd name="connsiteY253" fmla="*/ 1560195 h 1562100"/>
                <a:gd name="connsiteX254" fmla="*/ 393383 w 1466850"/>
                <a:gd name="connsiteY254" fmla="*/ 1558290 h 1562100"/>
                <a:gd name="connsiteX255" fmla="*/ 388620 w 1466850"/>
                <a:gd name="connsiteY255" fmla="*/ 1555432 h 1562100"/>
                <a:gd name="connsiteX256" fmla="*/ 387668 w 1466850"/>
                <a:gd name="connsiteY256" fmla="*/ 1553528 h 1562100"/>
                <a:gd name="connsiteX257" fmla="*/ 385762 w 1466850"/>
                <a:gd name="connsiteY257" fmla="*/ 1548765 h 1562100"/>
                <a:gd name="connsiteX258" fmla="*/ 384810 w 1466850"/>
                <a:gd name="connsiteY258" fmla="*/ 1545907 h 1562100"/>
                <a:gd name="connsiteX259" fmla="*/ 384810 w 1466850"/>
                <a:gd name="connsiteY259" fmla="*/ 1541145 h 1562100"/>
                <a:gd name="connsiteX260" fmla="*/ 384810 w 1466850"/>
                <a:gd name="connsiteY260" fmla="*/ 1537335 h 1562100"/>
                <a:gd name="connsiteX261" fmla="*/ 382905 w 1466850"/>
                <a:gd name="connsiteY261" fmla="*/ 1533525 h 1562100"/>
                <a:gd name="connsiteX262" fmla="*/ 378143 w 1466850"/>
                <a:gd name="connsiteY262" fmla="*/ 1528763 h 1562100"/>
                <a:gd name="connsiteX263" fmla="*/ 374333 w 1466850"/>
                <a:gd name="connsiteY263" fmla="*/ 1527810 h 1562100"/>
                <a:gd name="connsiteX264" fmla="*/ 371475 w 1466850"/>
                <a:gd name="connsiteY264" fmla="*/ 1528763 h 1562100"/>
                <a:gd name="connsiteX265" fmla="*/ 369570 w 1466850"/>
                <a:gd name="connsiteY265" fmla="*/ 1530668 h 1562100"/>
                <a:gd name="connsiteX266" fmla="*/ 361950 w 1466850"/>
                <a:gd name="connsiteY266" fmla="*/ 1541145 h 1562100"/>
                <a:gd name="connsiteX267" fmla="*/ 359093 w 1466850"/>
                <a:gd name="connsiteY267" fmla="*/ 1543050 h 1562100"/>
                <a:gd name="connsiteX268" fmla="*/ 355283 w 1466850"/>
                <a:gd name="connsiteY268" fmla="*/ 1544955 h 1562100"/>
                <a:gd name="connsiteX269" fmla="*/ 352425 w 1466850"/>
                <a:gd name="connsiteY269" fmla="*/ 1544955 h 1562100"/>
                <a:gd name="connsiteX270" fmla="*/ 349568 w 1466850"/>
                <a:gd name="connsiteY270" fmla="*/ 1541145 h 1562100"/>
                <a:gd name="connsiteX271" fmla="*/ 348615 w 1466850"/>
                <a:gd name="connsiteY271" fmla="*/ 1536382 h 1562100"/>
                <a:gd name="connsiteX272" fmla="*/ 348615 w 1466850"/>
                <a:gd name="connsiteY272" fmla="*/ 1526857 h 1562100"/>
                <a:gd name="connsiteX273" fmla="*/ 346710 w 1466850"/>
                <a:gd name="connsiteY273" fmla="*/ 1520190 h 1562100"/>
                <a:gd name="connsiteX274" fmla="*/ 344805 w 1466850"/>
                <a:gd name="connsiteY274" fmla="*/ 1520190 h 1562100"/>
                <a:gd name="connsiteX275" fmla="*/ 342900 w 1466850"/>
                <a:gd name="connsiteY275" fmla="*/ 1520190 h 1562100"/>
                <a:gd name="connsiteX276" fmla="*/ 338137 w 1466850"/>
                <a:gd name="connsiteY276" fmla="*/ 1525905 h 1562100"/>
                <a:gd name="connsiteX277" fmla="*/ 332423 w 1466850"/>
                <a:gd name="connsiteY277" fmla="*/ 1526857 h 1562100"/>
                <a:gd name="connsiteX278" fmla="*/ 325755 w 1466850"/>
                <a:gd name="connsiteY278" fmla="*/ 1527810 h 1562100"/>
                <a:gd name="connsiteX279" fmla="*/ 300990 w 1466850"/>
                <a:gd name="connsiteY279" fmla="*/ 1524953 h 1562100"/>
                <a:gd name="connsiteX280" fmla="*/ 296228 w 1466850"/>
                <a:gd name="connsiteY280" fmla="*/ 1524000 h 1562100"/>
                <a:gd name="connsiteX281" fmla="*/ 291465 w 1466850"/>
                <a:gd name="connsiteY281" fmla="*/ 1520190 h 1562100"/>
                <a:gd name="connsiteX282" fmla="*/ 287655 w 1466850"/>
                <a:gd name="connsiteY282" fmla="*/ 1517332 h 1562100"/>
                <a:gd name="connsiteX283" fmla="*/ 284798 w 1466850"/>
                <a:gd name="connsiteY283" fmla="*/ 1513523 h 1562100"/>
                <a:gd name="connsiteX284" fmla="*/ 274320 w 1466850"/>
                <a:gd name="connsiteY284" fmla="*/ 1494473 h 1562100"/>
                <a:gd name="connsiteX285" fmla="*/ 261937 w 1466850"/>
                <a:gd name="connsiteY285" fmla="*/ 1463040 h 1562100"/>
                <a:gd name="connsiteX286" fmla="*/ 258128 w 1466850"/>
                <a:gd name="connsiteY286" fmla="*/ 1456373 h 1562100"/>
                <a:gd name="connsiteX287" fmla="*/ 252412 w 1466850"/>
                <a:gd name="connsiteY287" fmla="*/ 1451610 h 1562100"/>
                <a:gd name="connsiteX288" fmla="*/ 248603 w 1466850"/>
                <a:gd name="connsiteY288" fmla="*/ 1448753 h 1562100"/>
                <a:gd name="connsiteX289" fmla="*/ 244792 w 1466850"/>
                <a:gd name="connsiteY289" fmla="*/ 1447800 h 1562100"/>
                <a:gd name="connsiteX290" fmla="*/ 230505 w 1466850"/>
                <a:gd name="connsiteY290" fmla="*/ 1450657 h 1562100"/>
                <a:gd name="connsiteX291" fmla="*/ 208598 w 1466850"/>
                <a:gd name="connsiteY291" fmla="*/ 1457325 h 1562100"/>
                <a:gd name="connsiteX292" fmla="*/ 203835 w 1466850"/>
                <a:gd name="connsiteY292" fmla="*/ 1460182 h 1562100"/>
                <a:gd name="connsiteX293" fmla="*/ 200025 w 1466850"/>
                <a:gd name="connsiteY293" fmla="*/ 1461135 h 1562100"/>
                <a:gd name="connsiteX294" fmla="*/ 196215 w 1466850"/>
                <a:gd name="connsiteY294" fmla="*/ 1461135 h 1562100"/>
                <a:gd name="connsiteX295" fmla="*/ 187642 w 1466850"/>
                <a:gd name="connsiteY295" fmla="*/ 1461135 h 1562100"/>
                <a:gd name="connsiteX296" fmla="*/ 183833 w 1466850"/>
                <a:gd name="connsiteY296" fmla="*/ 1460182 h 1562100"/>
                <a:gd name="connsiteX297" fmla="*/ 180023 w 1466850"/>
                <a:gd name="connsiteY297" fmla="*/ 1458278 h 1562100"/>
                <a:gd name="connsiteX298" fmla="*/ 176212 w 1466850"/>
                <a:gd name="connsiteY298" fmla="*/ 1451610 h 1562100"/>
                <a:gd name="connsiteX299" fmla="*/ 174308 w 1466850"/>
                <a:gd name="connsiteY299" fmla="*/ 1445895 h 1562100"/>
                <a:gd name="connsiteX300" fmla="*/ 172403 w 1466850"/>
                <a:gd name="connsiteY300" fmla="*/ 1442085 h 1562100"/>
                <a:gd name="connsiteX301" fmla="*/ 169545 w 1466850"/>
                <a:gd name="connsiteY301" fmla="*/ 1437323 h 1562100"/>
                <a:gd name="connsiteX302" fmla="*/ 150495 w 1466850"/>
                <a:gd name="connsiteY302" fmla="*/ 1422082 h 1562100"/>
                <a:gd name="connsiteX303" fmla="*/ 137160 w 1466850"/>
                <a:gd name="connsiteY303" fmla="*/ 1405890 h 1562100"/>
                <a:gd name="connsiteX304" fmla="*/ 134303 w 1466850"/>
                <a:gd name="connsiteY304" fmla="*/ 1402080 h 1562100"/>
                <a:gd name="connsiteX305" fmla="*/ 132398 w 1466850"/>
                <a:gd name="connsiteY305" fmla="*/ 1396365 h 1562100"/>
                <a:gd name="connsiteX306" fmla="*/ 131445 w 1466850"/>
                <a:gd name="connsiteY306" fmla="*/ 1387793 h 1562100"/>
                <a:gd name="connsiteX307" fmla="*/ 131445 w 1466850"/>
                <a:gd name="connsiteY307" fmla="*/ 1384935 h 1562100"/>
                <a:gd name="connsiteX308" fmla="*/ 131445 w 1466850"/>
                <a:gd name="connsiteY308" fmla="*/ 1374457 h 1562100"/>
                <a:gd name="connsiteX309" fmla="*/ 133350 w 1466850"/>
                <a:gd name="connsiteY309" fmla="*/ 1368743 h 1562100"/>
                <a:gd name="connsiteX310" fmla="*/ 138112 w 1466850"/>
                <a:gd name="connsiteY310" fmla="*/ 1358265 h 1562100"/>
                <a:gd name="connsiteX311" fmla="*/ 137160 w 1466850"/>
                <a:gd name="connsiteY311" fmla="*/ 1351598 h 1562100"/>
                <a:gd name="connsiteX312" fmla="*/ 127635 w 1466850"/>
                <a:gd name="connsiteY312" fmla="*/ 1340168 h 1562100"/>
                <a:gd name="connsiteX313" fmla="*/ 118110 w 1466850"/>
                <a:gd name="connsiteY313" fmla="*/ 1334453 h 1562100"/>
                <a:gd name="connsiteX314" fmla="*/ 118110 w 1466850"/>
                <a:gd name="connsiteY314" fmla="*/ 1332548 h 1562100"/>
                <a:gd name="connsiteX315" fmla="*/ 109537 w 1466850"/>
                <a:gd name="connsiteY315" fmla="*/ 1317307 h 1562100"/>
                <a:gd name="connsiteX316" fmla="*/ 106680 w 1466850"/>
                <a:gd name="connsiteY316" fmla="*/ 1309688 h 1562100"/>
                <a:gd name="connsiteX317" fmla="*/ 107633 w 1466850"/>
                <a:gd name="connsiteY317" fmla="*/ 1299210 h 1562100"/>
                <a:gd name="connsiteX318" fmla="*/ 112395 w 1466850"/>
                <a:gd name="connsiteY318" fmla="*/ 1283018 h 1562100"/>
                <a:gd name="connsiteX319" fmla="*/ 112395 w 1466850"/>
                <a:gd name="connsiteY319" fmla="*/ 1276350 h 1562100"/>
                <a:gd name="connsiteX320" fmla="*/ 105728 w 1466850"/>
                <a:gd name="connsiteY320" fmla="*/ 1268730 h 1562100"/>
                <a:gd name="connsiteX321" fmla="*/ 81915 w 1466850"/>
                <a:gd name="connsiteY321" fmla="*/ 1255395 h 1562100"/>
                <a:gd name="connsiteX322" fmla="*/ 72390 w 1466850"/>
                <a:gd name="connsiteY322" fmla="*/ 1247775 h 1562100"/>
                <a:gd name="connsiteX323" fmla="*/ 57150 w 1466850"/>
                <a:gd name="connsiteY323" fmla="*/ 1227773 h 1562100"/>
                <a:gd name="connsiteX324" fmla="*/ 40005 w 1466850"/>
                <a:gd name="connsiteY324" fmla="*/ 1215390 h 1562100"/>
                <a:gd name="connsiteX325" fmla="*/ 42862 w 1466850"/>
                <a:gd name="connsiteY325" fmla="*/ 1214438 h 1562100"/>
                <a:gd name="connsiteX326" fmla="*/ 34290 w 1466850"/>
                <a:gd name="connsiteY326" fmla="*/ 1208723 h 1562100"/>
                <a:gd name="connsiteX327" fmla="*/ 27622 w 1466850"/>
                <a:gd name="connsiteY327" fmla="*/ 1217295 h 1562100"/>
                <a:gd name="connsiteX328" fmla="*/ 24765 w 1466850"/>
                <a:gd name="connsiteY328" fmla="*/ 1219200 h 1562100"/>
                <a:gd name="connsiteX329" fmla="*/ 21907 w 1466850"/>
                <a:gd name="connsiteY329" fmla="*/ 1215390 h 1562100"/>
                <a:gd name="connsiteX330" fmla="*/ 24765 w 1466850"/>
                <a:gd name="connsiteY330" fmla="*/ 1204913 h 1562100"/>
                <a:gd name="connsiteX331" fmla="*/ 33337 w 1466850"/>
                <a:gd name="connsiteY331" fmla="*/ 1187768 h 1562100"/>
                <a:gd name="connsiteX332" fmla="*/ 40005 w 1466850"/>
                <a:gd name="connsiteY332" fmla="*/ 1159193 h 1562100"/>
                <a:gd name="connsiteX333" fmla="*/ 49530 w 1466850"/>
                <a:gd name="connsiteY333" fmla="*/ 1134428 h 1562100"/>
                <a:gd name="connsiteX334" fmla="*/ 51435 w 1466850"/>
                <a:gd name="connsiteY334" fmla="*/ 1122998 h 1562100"/>
                <a:gd name="connsiteX335" fmla="*/ 43815 w 1466850"/>
                <a:gd name="connsiteY335" fmla="*/ 1048703 h 1562100"/>
                <a:gd name="connsiteX336" fmla="*/ 41910 w 1466850"/>
                <a:gd name="connsiteY336" fmla="*/ 1035368 h 1562100"/>
                <a:gd name="connsiteX337" fmla="*/ 39053 w 1466850"/>
                <a:gd name="connsiteY337" fmla="*/ 1029653 h 1562100"/>
                <a:gd name="connsiteX338" fmla="*/ 27622 w 1466850"/>
                <a:gd name="connsiteY338" fmla="*/ 1017270 h 1562100"/>
                <a:gd name="connsiteX339" fmla="*/ 20955 w 1466850"/>
                <a:gd name="connsiteY339" fmla="*/ 1006793 h 1562100"/>
                <a:gd name="connsiteX340" fmla="*/ 19050 w 1466850"/>
                <a:gd name="connsiteY340" fmla="*/ 1002030 h 1562100"/>
                <a:gd name="connsiteX341" fmla="*/ 17145 w 1466850"/>
                <a:gd name="connsiteY341" fmla="*/ 992505 h 1562100"/>
                <a:gd name="connsiteX342" fmla="*/ 14288 w 1466850"/>
                <a:gd name="connsiteY342" fmla="*/ 958215 h 1562100"/>
                <a:gd name="connsiteX343" fmla="*/ 10478 w 1466850"/>
                <a:gd name="connsiteY343" fmla="*/ 946785 h 1562100"/>
                <a:gd name="connsiteX344" fmla="*/ 0 w 1466850"/>
                <a:gd name="connsiteY344" fmla="*/ 917258 h 1562100"/>
                <a:gd name="connsiteX345" fmla="*/ 13335 w 1466850"/>
                <a:gd name="connsiteY345" fmla="*/ 885825 h 1562100"/>
                <a:gd name="connsiteX346" fmla="*/ 53340 w 1466850"/>
                <a:gd name="connsiteY346" fmla="*/ 831533 h 1562100"/>
                <a:gd name="connsiteX347" fmla="*/ 62865 w 1466850"/>
                <a:gd name="connsiteY347" fmla="*/ 805815 h 1562100"/>
                <a:gd name="connsiteX348" fmla="*/ 66675 w 1466850"/>
                <a:gd name="connsiteY348" fmla="*/ 799147 h 1562100"/>
                <a:gd name="connsiteX349" fmla="*/ 72390 w 1466850"/>
                <a:gd name="connsiteY349" fmla="*/ 793433 h 1562100"/>
                <a:gd name="connsiteX350" fmla="*/ 83820 w 1466850"/>
                <a:gd name="connsiteY350" fmla="*/ 791528 h 1562100"/>
                <a:gd name="connsiteX351" fmla="*/ 89535 w 1466850"/>
                <a:gd name="connsiteY351" fmla="*/ 788670 h 1562100"/>
                <a:gd name="connsiteX352" fmla="*/ 98108 w 1466850"/>
                <a:gd name="connsiteY352" fmla="*/ 780097 h 1562100"/>
                <a:gd name="connsiteX353" fmla="*/ 130492 w 1466850"/>
                <a:gd name="connsiteY353" fmla="*/ 721043 h 1562100"/>
                <a:gd name="connsiteX354" fmla="*/ 136208 w 1466850"/>
                <a:gd name="connsiteY354" fmla="*/ 714375 h 1562100"/>
                <a:gd name="connsiteX355" fmla="*/ 140017 w 1466850"/>
                <a:gd name="connsiteY355" fmla="*/ 711518 h 1562100"/>
                <a:gd name="connsiteX356" fmla="*/ 149542 w 1466850"/>
                <a:gd name="connsiteY356" fmla="*/ 707708 h 1562100"/>
                <a:gd name="connsiteX357" fmla="*/ 154305 w 1466850"/>
                <a:gd name="connsiteY357" fmla="*/ 703897 h 1562100"/>
                <a:gd name="connsiteX358" fmla="*/ 157162 w 1466850"/>
                <a:gd name="connsiteY358" fmla="*/ 698183 h 1562100"/>
                <a:gd name="connsiteX359" fmla="*/ 160973 w 1466850"/>
                <a:gd name="connsiteY359" fmla="*/ 681038 h 1562100"/>
                <a:gd name="connsiteX360" fmla="*/ 163830 w 1466850"/>
                <a:gd name="connsiteY360" fmla="*/ 674370 h 1562100"/>
                <a:gd name="connsiteX361" fmla="*/ 185737 w 1466850"/>
                <a:gd name="connsiteY361" fmla="*/ 651510 h 1562100"/>
                <a:gd name="connsiteX362" fmla="*/ 242887 w 1466850"/>
                <a:gd name="connsiteY362" fmla="*/ 567690 h 1562100"/>
                <a:gd name="connsiteX363" fmla="*/ 263843 w 1466850"/>
                <a:gd name="connsiteY363" fmla="*/ 543878 h 1562100"/>
                <a:gd name="connsiteX364" fmla="*/ 283845 w 1466850"/>
                <a:gd name="connsiteY364" fmla="*/ 529590 h 1562100"/>
                <a:gd name="connsiteX365" fmla="*/ 299085 w 1466850"/>
                <a:gd name="connsiteY365" fmla="*/ 504825 h 1562100"/>
                <a:gd name="connsiteX366" fmla="*/ 420052 w 1466850"/>
                <a:gd name="connsiteY366" fmla="*/ 373380 h 1562100"/>
                <a:gd name="connsiteX367" fmla="*/ 443865 w 1466850"/>
                <a:gd name="connsiteY367" fmla="*/ 354330 h 1562100"/>
                <a:gd name="connsiteX368" fmla="*/ 472440 w 1466850"/>
                <a:gd name="connsiteY368" fmla="*/ 332422 h 1562100"/>
                <a:gd name="connsiteX369" fmla="*/ 487680 w 1466850"/>
                <a:gd name="connsiteY369" fmla="*/ 320040 h 1562100"/>
                <a:gd name="connsiteX370" fmla="*/ 529590 w 1466850"/>
                <a:gd name="connsiteY370" fmla="*/ 275272 h 1562100"/>
                <a:gd name="connsiteX371" fmla="*/ 536258 w 1466850"/>
                <a:gd name="connsiteY371" fmla="*/ 263842 h 1562100"/>
                <a:gd name="connsiteX372" fmla="*/ 543877 w 1466850"/>
                <a:gd name="connsiteY372" fmla="*/ 240983 h 1562100"/>
                <a:gd name="connsiteX373" fmla="*/ 549593 w 1466850"/>
                <a:gd name="connsiteY373" fmla="*/ 228600 h 1562100"/>
                <a:gd name="connsiteX374" fmla="*/ 556260 w 1466850"/>
                <a:gd name="connsiteY374" fmla="*/ 221933 h 1562100"/>
                <a:gd name="connsiteX375" fmla="*/ 565785 w 1466850"/>
                <a:gd name="connsiteY375" fmla="*/ 217170 h 1562100"/>
                <a:gd name="connsiteX376" fmla="*/ 583883 w 1466850"/>
                <a:gd name="connsiteY376" fmla="*/ 211455 h 1562100"/>
                <a:gd name="connsiteX377" fmla="*/ 679133 w 1466850"/>
                <a:gd name="connsiteY377" fmla="*/ 210503 h 1562100"/>
                <a:gd name="connsiteX378" fmla="*/ 706755 w 1466850"/>
                <a:gd name="connsiteY378" fmla="*/ 199072 h 1562100"/>
                <a:gd name="connsiteX379" fmla="*/ 718185 w 1466850"/>
                <a:gd name="connsiteY379" fmla="*/ 171450 h 1562100"/>
                <a:gd name="connsiteX380" fmla="*/ 721043 w 1466850"/>
                <a:gd name="connsiteY380" fmla="*/ 162878 h 1562100"/>
                <a:gd name="connsiteX381" fmla="*/ 721995 w 1466850"/>
                <a:gd name="connsiteY381" fmla="*/ 151447 h 1562100"/>
                <a:gd name="connsiteX382" fmla="*/ 721043 w 1466850"/>
                <a:gd name="connsiteY382" fmla="*/ 136208 h 1562100"/>
                <a:gd name="connsiteX383" fmla="*/ 722948 w 1466850"/>
                <a:gd name="connsiteY383" fmla="*/ 125730 h 1562100"/>
                <a:gd name="connsiteX384" fmla="*/ 756285 w 1466850"/>
                <a:gd name="connsiteY384" fmla="*/ 107633 h 1562100"/>
                <a:gd name="connsiteX385" fmla="*/ 766763 w 1466850"/>
                <a:gd name="connsiteY385" fmla="*/ 97155 h 1562100"/>
                <a:gd name="connsiteX386" fmla="*/ 773430 w 1466850"/>
                <a:gd name="connsiteY386" fmla="*/ 87630 h 1562100"/>
                <a:gd name="connsiteX387" fmla="*/ 773430 w 1466850"/>
                <a:gd name="connsiteY387" fmla="*/ 85725 h 1562100"/>
                <a:gd name="connsiteX388" fmla="*/ 770573 w 1466850"/>
                <a:gd name="connsiteY388" fmla="*/ 83820 h 1562100"/>
                <a:gd name="connsiteX389" fmla="*/ 767715 w 1466850"/>
                <a:gd name="connsiteY389" fmla="*/ 72390 h 1562100"/>
                <a:gd name="connsiteX390" fmla="*/ 762000 w 1466850"/>
                <a:gd name="connsiteY390" fmla="*/ 33338 h 1562100"/>
                <a:gd name="connsiteX391" fmla="*/ 774383 w 1466850"/>
                <a:gd name="connsiteY391" fmla="*/ 12383 h 1562100"/>
                <a:gd name="connsiteX392" fmla="*/ 774383 w 1466850"/>
                <a:gd name="connsiteY392" fmla="*/ 11430 h 1562100"/>
                <a:gd name="connsiteX393" fmla="*/ 778193 w 1466850"/>
                <a:gd name="connsiteY393" fmla="*/ 5715 h 1562100"/>
                <a:gd name="connsiteX394" fmla="*/ 782955 w 1466850"/>
                <a:gd name="connsiteY394" fmla="*/ 1905 h 1562100"/>
                <a:gd name="connsiteX395" fmla="*/ 789623 w 1466850"/>
                <a:gd name="connsiteY395" fmla="*/ 0 h 1562100"/>
                <a:gd name="connsiteX396" fmla="*/ 797243 w 1466850"/>
                <a:gd name="connsiteY396" fmla="*/ 0 h 1562100"/>
                <a:gd name="connsiteX397" fmla="*/ 803910 w 1466850"/>
                <a:gd name="connsiteY397" fmla="*/ 3810 h 1562100"/>
                <a:gd name="connsiteX398" fmla="*/ 806768 w 1466850"/>
                <a:gd name="connsiteY398" fmla="*/ 19050 h 1562100"/>
                <a:gd name="connsiteX399" fmla="*/ 811530 w 1466850"/>
                <a:gd name="connsiteY399" fmla="*/ 22860 h 1562100"/>
                <a:gd name="connsiteX400" fmla="*/ 819150 w 1466850"/>
                <a:gd name="connsiteY400" fmla="*/ 25717 h 1562100"/>
                <a:gd name="connsiteX401" fmla="*/ 823913 w 1466850"/>
                <a:gd name="connsiteY401" fmla="*/ 31433 h 1562100"/>
                <a:gd name="connsiteX402" fmla="*/ 826770 w 1466850"/>
                <a:gd name="connsiteY402" fmla="*/ 40005 h 1562100"/>
                <a:gd name="connsiteX403" fmla="*/ 831533 w 1466850"/>
                <a:gd name="connsiteY403" fmla="*/ 45720 h 1562100"/>
                <a:gd name="connsiteX404" fmla="*/ 838200 w 1466850"/>
                <a:gd name="connsiteY404" fmla="*/ 48578 h 1562100"/>
                <a:gd name="connsiteX405" fmla="*/ 847725 w 1466850"/>
                <a:gd name="connsiteY405" fmla="*/ 52388 h 1562100"/>
                <a:gd name="connsiteX406" fmla="*/ 853440 w 1466850"/>
                <a:gd name="connsiteY406" fmla="*/ 57150 h 1562100"/>
                <a:gd name="connsiteX407" fmla="*/ 853440 w 1466850"/>
                <a:gd name="connsiteY407" fmla="*/ 51435 h 1562100"/>
                <a:gd name="connsiteX408" fmla="*/ 862965 w 1466850"/>
                <a:gd name="connsiteY408" fmla="*/ 49530 h 1562100"/>
                <a:gd name="connsiteX409" fmla="*/ 867727 w 1466850"/>
                <a:gd name="connsiteY409" fmla="*/ 46672 h 1562100"/>
                <a:gd name="connsiteX410" fmla="*/ 873443 w 1466850"/>
                <a:gd name="connsiteY410" fmla="*/ 44767 h 1562100"/>
                <a:gd name="connsiteX411" fmla="*/ 886777 w 1466850"/>
                <a:gd name="connsiteY411" fmla="*/ 42863 h 1562100"/>
                <a:gd name="connsiteX412" fmla="*/ 888683 w 1466850"/>
                <a:gd name="connsiteY412" fmla="*/ 41910 h 1562100"/>
                <a:gd name="connsiteX413" fmla="*/ 893445 w 1466850"/>
                <a:gd name="connsiteY413" fmla="*/ 38100 h 1562100"/>
                <a:gd name="connsiteX414" fmla="*/ 896302 w 1466850"/>
                <a:gd name="connsiteY414" fmla="*/ 33338 h 1562100"/>
                <a:gd name="connsiteX415" fmla="*/ 899160 w 1466850"/>
                <a:gd name="connsiteY415" fmla="*/ 29528 h 1562100"/>
                <a:gd name="connsiteX416" fmla="*/ 901065 w 1466850"/>
                <a:gd name="connsiteY416" fmla="*/ 28575 h 1562100"/>
                <a:gd name="connsiteX417" fmla="*/ 905827 w 1466850"/>
                <a:gd name="connsiteY417" fmla="*/ 28575 h 1562100"/>
                <a:gd name="connsiteX418" fmla="*/ 910590 w 1466850"/>
                <a:gd name="connsiteY418" fmla="*/ 31433 h 1562100"/>
                <a:gd name="connsiteX419" fmla="*/ 917258 w 1466850"/>
                <a:gd name="connsiteY419" fmla="*/ 36195 h 1562100"/>
                <a:gd name="connsiteX420" fmla="*/ 926783 w 1466850"/>
                <a:gd name="connsiteY420" fmla="*/ 45720 h 1562100"/>
                <a:gd name="connsiteX421" fmla="*/ 929640 w 1466850"/>
                <a:gd name="connsiteY421" fmla="*/ 51435 h 1562100"/>
                <a:gd name="connsiteX422" fmla="*/ 929640 w 1466850"/>
                <a:gd name="connsiteY422" fmla="*/ 55245 h 1562100"/>
                <a:gd name="connsiteX423" fmla="*/ 929640 w 1466850"/>
                <a:gd name="connsiteY423" fmla="*/ 58103 h 1562100"/>
                <a:gd name="connsiteX424" fmla="*/ 929640 w 1466850"/>
                <a:gd name="connsiteY424" fmla="*/ 61913 h 1562100"/>
                <a:gd name="connsiteX425" fmla="*/ 930593 w 1466850"/>
                <a:gd name="connsiteY425" fmla="*/ 63817 h 1562100"/>
                <a:gd name="connsiteX426" fmla="*/ 945832 w 1466850"/>
                <a:gd name="connsiteY426" fmla="*/ 79058 h 1562100"/>
                <a:gd name="connsiteX427" fmla="*/ 948690 w 1466850"/>
                <a:gd name="connsiteY427" fmla="*/ 80963 h 1562100"/>
                <a:gd name="connsiteX428" fmla="*/ 952500 w 1466850"/>
                <a:gd name="connsiteY428" fmla="*/ 81915 h 1562100"/>
                <a:gd name="connsiteX429" fmla="*/ 958215 w 1466850"/>
                <a:gd name="connsiteY429" fmla="*/ 80963 h 1562100"/>
                <a:gd name="connsiteX430" fmla="*/ 967740 w 1466850"/>
                <a:gd name="connsiteY430" fmla="*/ 78105 h 1562100"/>
                <a:gd name="connsiteX431" fmla="*/ 970598 w 1466850"/>
                <a:gd name="connsiteY431" fmla="*/ 77153 h 1562100"/>
                <a:gd name="connsiteX432" fmla="*/ 976313 w 1466850"/>
                <a:gd name="connsiteY432" fmla="*/ 79058 h 1562100"/>
                <a:gd name="connsiteX433" fmla="*/ 981075 w 1466850"/>
                <a:gd name="connsiteY433" fmla="*/ 81915 h 1562100"/>
                <a:gd name="connsiteX434" fmla="*/ 996315 w 1466850"/>
                <a:gd name="connsiteY434" fmla="*/ 100013 h 1562100"/>
                <a:gd name="connsiteX435" fmla="*/ 999173 w 1466850"/>
                <a:gd name="connsiteY435" fmla="*/ 104775 h 1562100"/>
                <a:gd name="connsiteX436" fmla="*/ 1001077 w 1466850"/>
                <a:gd name="connsiteY436" fmla="*/ 110490 h 1562100"/>
                <a:gd name="connsiteX437" fmla="*/ 1000125 w 1466850"/>
                <a:gd name="connsiteY437" fmla="*/ 117158 h 1562100"/>
                <a:gd name="connsiteX438" fmla="*/ 999173 w 1466850"/>
                <a:gd name="connsiteY438" fmla="*/ 120015 h 1562100"/>
                <a:gd name="connsiteX439" fmla="*/ 996315 w 1466850"/>
                <a:gd name="connsiteY439" fmla="*/ 124778 h 1562100"/>
                <a:gd name="connsiteX440" fmla="*/ 992505 w 1466850"/>
                <a:gd name="connsiteY440" fmla="*/ 128588 h 1562100"/>
                <a:gd name="connsiteX441" fmla="*/ 987743 w 1466850"/>
                <a:gd name="connsiteY441" fmla="*/ 130492 h 1562100"/>
                <a:gd name="connsiteX442" fmla="*/ 961073 w 1466850"/>
                <a:gd name="connsiteY442" fmla="*/ 137160 h 1562100"/>
                <a:gd name="connsiteX443" fmla="*/ 956310 w 1466850"/>
                <a:gd name="connsiteY443" fmla="*/ 140017 h 1562100"/>
                <a:gd name="connsiteX444" fmla="*/ 955357 w 1466850"/>
                <a:gd name="connsiteY444" fmla="*/ 141922 h 1562100"/>
                <a:gd name="connsiteX445" fmla="*/ 954405 w 1466850"/>
                <a:gd name="connsiteY445" fmla="*/ 144780 h 1562100"/>
                <a:gd name="connsiteX446" fmla="*/ 955357 w 1466850"/>
                <a:gd name="connsiteY446" fmla="*/ 147638 h 1562100"/>
                <a:gd name="connsiteX447" fmla="*/ 958215 w 1466850"/>
                <a:gd name="connsiteY447" fmla="*/ 151447 h 1562100"/>
                <a:gd name="connsiteX448" fmla="*/ 980123 w 1466850"/>
                <a:gd name="connsiteY448" fmla="*/ 169545 h 1562100"/>
                <a:gd name="connsiteX449" fmla="*/ 982980 w 1466850"/>
                <a:gd name="connsiteY449" fmla="*/ 173355 h 1562100"/>
                <a:gd name="connsiteX450" fmla="*/ 983932 w 1466850"/>
                <a:gd name="connsiteY450" fmla="*/ 178117 h 1562100"/>
                <a:gd name="connsiteX451" fmla="*/ 983932 w 1466850"/>
                <a:gd name="connsiteY451" fmla="*/ 181928 h 1562100"/>
                <a:gd name="connsiteX452" fmla="*/ 982980 w 1466850"/>
                <a:gd name="connsiteY452" fmla="*/ 187642 h 1562100"/>
                <a:gd name="connsiteX453" fmla="*/ 982027 w 1466850"/>
                <a:gd name="connsiteY453" fmla="*/ 191453 h 1562100"/>
                <a:gd name="connsiteX454" fmla="*/ 982980 w 1466850"/>
                <a:gd name="connsiteY454" fmla="*/ 194310 h 1562100"/>
                <a:gd name="connsiteX455" fmla="*/ 984885 w 1466850"/>
                <a:gd name="connsiteY455" fmla="*/ 196215 h 1562100"/>
                <a:gd name="connsiteX456" fmla="*/ 988695 w 1466850"/>
                <a:gd name="connsiteY456" fmla="*/ 198120 h 1562100"/>
                <a:gd name="connsiteX457" fmla="*/ 996315 w 1466850"/>
                <a:gd name="connsiteY457" fmla="*/ 197167 h 1562100"/>
                <a:gd name="connsiteX458" fmla="*/ 1000125 w 1466850"/>
                <a:gd name="connsiteY458" fmla="*/ 196215 h 1562100"/>
                <a:gd name="connsiteX459" fmla="*/ 1002982 w 1466850"/>
                <a:gd name="connsiteY459" fmla="*/ 193358 h 1562100"/>
                <a:gd name="connsiteX460" fmla="*/ 1004888 w 1466850"/>
                <a:gd name="connsiteY460" fmla="*/ 188595 h 1562100"/>
                <a:gd name="connsiteX461" fmla="*/ 1004888 w 1466850"/>
                <a:gd name="connsiteY461" fmla="*/ 179070 h 1562100"/>
                <a:gd name="connsiteX462" fmla="*/ 1004888 w 1466850"/>
                <a:gd name="connsiteY462" fmla="*/ 175260 h 1562100"/>
                <a:gd name="connsiteX463" fmla="*/ 1006793 w 1466850"/>
                <a:gd name="connsiteY463" fmla="*/ 172403 h 1562100"/>
                <a:gd name="connsiteX464" fmla="*/ 1008698 w 1466850"/>
                <a:gd name="connsiteY464" fmla="*/ 170497 h 1562100"/>
                <a:gd name="connsiteX465" fmla="*/ 1011555 w 1466850"/>
                <a:gd name="connsiteY465" fmla="*/ 170497 h 1562100"/>
                <a:gd name="connsiteX466" fmla="*/ 1014413 w 1466850"/>
                <a:gd name="connsiteY466" fmla="*/ 172403 h 1562100"/>
                <a:gd name="connsiteX467" fmla="*/ 1017270 w 1466850"/>
                <a:gd name="connsiteY467" fmla="*/ 176213 h 1562100"/>
                <a:gd name="connsiteX468" fmla="*/ 1019175 w 1466850"/>
                <a:gd name="connsiteY468" fmla="*/ 179070 h 1562100"/>
                <a:gd name="connsiteX469" fmla="*/ 1022032 w 1466850"/>
                <a:gd name="connsiteY469" fmla="*/ 184785 h 1562100"/>
                <a:gd name="connsiteX470" fmla="*/ 1024890 w 1466850"/>
                <a:gd name="connsiteY470" fmla="*/ 187642 h 1562100"/>
                <a:gd name="connsiteX471" fmla="*/ 1028700 w 1466850"/>
                <a:gd name="connsiteY471" fmla="*/ 188595 h 1562100"/>
                <a:gd name="connsiteX472" fmla="*/ 1045845 w 1466850"/>
                <a:gd name="connsiteY472" fmla="*/ 189547 h 1562100"/>
                <a:gd name="connsiteX473" fmla="*/ 1048703 w 1466850"/>
                <a:gd name="connsiteY473" fmla="*/ 190500 h 1562100"/>
                <a:gd name="connsiteX474" fmla="*/ 1051560 w 1466850"/>
                <a:gd name="connsiteY474" fmla="*/ 191453 h 1562100"/>
                <a:gd name="connsiteX475" fmla="*/ 1053465 w 1466850"/>
                <a:gd name="connsiteY475" fmla="*/ 195263 h 1562100"/>
                <a:gd name="connsiteX476" fmla="*/ 1053465 w 1466850"/>
                <a:gd name="connsiteY476" fmla="*/ 199072 h 1562100"/>
                <a:gd name="connsiteX477" fmla="*/ 1054418 w 1466850"/>
                <a:gd name="connsiteY477" fmla="*/ 204788 h 1562100"/>
                <a:gd name="connsiteX478" fmla="*/ 1058228 w 1466850"/>
                <a:gd name="connsiteY478" fmla="*/ 208597 h 1562100"/>
                <a:gd name="connsiteX479" fmla="*/ 1080135 w 1466850"/>
                <a:gd name="connsiteY479" fmla="*/ 221933 h 1562100"/>
                <a:gd name="connsiteX480" fmla="*/ 1084898 w 1466850"/>
                <a:gd name="connsiteY480" fmla="*/ 227647 h 1562100"/>
                <a:gd name="connsiteX481" fmla="*/ 1087755 w 1466850"/>
                <a:gd name="connsiteY481" fmla="*/ 232410 h 1562100"/>
                <a:gd name="connsiteX482" fmla="*/ 1086803 w 1466850"/>
                <a:gd name="connsiteY482" fmla="*/ 239078 h 1562100"/>
                <a:gd name="connsiteX483" fmla="*/ 1087755 w 1466850"/>
                <a:gd name="connsiteY483" fmla="*/ 241935 h 1562100"/>
                <a:gd name="connsiteX484" fmla="*/ 1088708 w 1466850"/>
                <a:gd name="connsiteY484" fmla="*/ 244792 h 1562100"/>
                <a:gd name="connsiteX485" fmla="*/ 1092518 w 1466850"/>
                <a:gd name="connsiteY485" fmla="*/ 247650 h 1562100"/>
                <a:gd name="connsiteX486" fmla="*/ 1098233 w 1466850"/>
                <a:gd name="connsiteY486" fmla="*/ 249555 h 1562100"/>
                <a:gd name="connsiteX487" fmla="*/ 1124903 w 1466850"/>
                <a:gd name="connsiteY487" fmla="*/ 251460 h 1562100"/>
                <a:gd name="connsiteX488" fmla="*/ 1132523 w 1466850"/>
                <a:gd name="connsiteY488" fmla="*/ 251460 h 1562100"/>
                <a:gd name="connsiteX489" fmla="*/ 1137285 w 1466850"/>
                <a:gd name="connsiteY489" fmla="*/ 249555 h 1562100"/>
                <a:gd name="connsiteX490" fmla="*/ 1142048 w 1466850"/>
                <a:gd name="connsiteY490" fmla="*/ 246697 h 1562100"/>
                <a:gd name="connsiteX491" fmla="*/ 1146810 w 1466850"/>
                <a:gd name="connsiteY491" fmla="*/ 244792 h 1562100"/>
                <a:gd name="connsiteX492" fmla="*/ 1152525 w 1466850"/>
                <a:gd name="connsiteY492" fmla="*/ 242888 h 1562100"/>
                <a:gd name="connsiteX493" fmla="*/ 1163955 w 1466850"/>
                <a:gd name="connsiteY493" fmla="*/ 240030 h 1562100"/>
                <a:gd name="connsiteX494" fmla="*/ 1197293 w 1466850"/>
                <a:gd name="connsiteY494" fmla="*/ 245745 h 1562100"/>
                <a:gd name="connsiteX495" fmla="*/ 1203960 w 1466850"/>
                <a:gd name="connsiteY495" fmla="*/ 244792 h 1562100"/>
                <a:gd name="connsiteX496" fmla="*/ 1207770 w 1466850"/>
                <a:gd name="connsiteY496" fmla="*/ 241935 h 1562100"/>
                <a:gd name="connsiteX497" fmla="*/ 1206818 w 1466850"/>
                <a:gd name="connsiteY497" fmla="*/ 232410 h 1562100"/>
                <a:gd name="connsiteX498" fmla="*/ 1206818 w 1466850"/>
                <a:gd name="connsiteY498" fmla="*/ 229553 h 1562100"/>
                <a:gd name="connsiteX499" fmla="*/ 1208723 w 1466850"/>
                <a:gd name="connsiteY499" fmla="*/ 227647 h 1562100"/>
                <a:gd name="connsiteX500" fmla="*/ 1213485 w 1466850"/>
                <a:gd name="connsiteY500" fmla="*/ 228600 h 1562100"/>
                <a:gd name="connsiteX501" fmla="*/ 1220153 w 1466850"/>
                <a:gd name="connsiteY501" fmla="*/ 232410 h 1562100"/>
                <a:gd name="connsiteX502" fmla="*/ 1235393 w 1466850"/>
                <a:gd name="connsiteY502" fmla="*/ 241935 h 1562100"/>
                <a:gd name="connsiteX503" fmla="*/ 1245870 w 1466850"/>
                <a:gd name="connsiteY503" fmla="*/ 247650 h 1562100"/>
                <a:gd name="connsiteX504" fmla="*/ 1262063 w 1466850"/>
                <a:gd name="connsiteY504" fmla="*/ 244792 h 1562100"/>
                <a:gd name="connsiteX505" fmla="*/ 1267778 w 1466850"/>
                <a:gd name="connsiteY505" fmla="*/ 244792 h 1562100"/>
                <a:gd name="connsiteX506" fmla="*/ 1269683 w 1466850"/>
                <a:gd name="connsiteY506" fmla="*/ 246697 h 1562100"/>
                <a:gd name="connsiteX507" fmla="*/ 1272540 w 1466850"/>
                <a:gd name="connsiteY507" fmla="*/ 248603 h 1562100"/>
                <a:gd name="connsiteX508" fmla="*/ 1275398 w 1466850"/>
                <a:gd name="connsiteY508" fmla="*/ 251460 h 1562100"/>
                <a:gd name="connsiteX509" fmla="*/ 1278255 w 1466850"/>
                <a:gd name="connsiteY509" fmla="*/ 257175 h 1562100"/>
                <a:gd name="connsiteX510" fmla="*/ 1279208 w 1466850"/>
                <a:gd name="connsiteY510" fmla="*/ 265747 h 1562100"/>
                <a:gd name="connsiteX511" fmla="*/ 1277303 w 1466850"/>
                <a:gd name="connsiteY511" fmla="*/ 289560 h 15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</a:cxnLst>
              <a:rect l="l" t="t" r="r" b="b"/>
              <a:pathLst>
                <a:path w="1466850" h="1562100">
                  <a:moveTo>
                    <a:pt x="1277303" y="289560"/>
                  </a:moveTo>
                  <a:lnTo>
                    <a:pt x="1281113" y="298133"/>
                  </a:lnTo>
                  <a:lnTo>
                    <a:pt x="1288733" y="301942"/>
                  </a:lnTo>
                  <a:lnTo>
                    <a:pt x="1299210" y="302895"/>
                  </a:lnTo>
                  <a:lnTo>
                    <a:pt x="1305878" y="301942"/>
                  </a:lnTo>
                  <a:lnTo>
                    <a:pt x="1310640" y="300038"/>
                  </a:lnTo>
                  <a:lnTo>
                    <a:pt x="1324928" y="291465"/>
                  </a:lnTo>
                  <a:lnTo>
                    <a:pt x="1330643" y="290513"/>
                  </a:lnTo>
                  <a:lnTo>
                    <a:pt x="1333500" y="289560"/>
                  </a:lnTo>
                  <a:lnTo>
                    <a:pt x="1337310" y="290513"/>
                  </a:lnTo>
                  <a:lnTo>
                    <a:pt x="1343025" y="292417"/>
                  </a:lnTo>
                  <a:lnTo>
                    <a:pt x="1347788" y="295275"/>
                  </a:lnTo>
                  <a:lnTo>
                    <a:pt x="1349693" y="299085"/>
                  </a:lnTo>
                  <a:lnTo>
                    <a:pt x="1351598" y="304800"/>
                  </a:lnTo>
                  <a:lnTo>
                    <a:pt x="1353503" y="315278"/>
                  </a:lnTo>
                  <a:lnTo>
                    <a:pt x="1354455" y="321945"/>
                  </a:lnTo>
                  <a:lnTo>
                    <a:pt x="1353503" y="326708"/>
                  </a:lnTo>
                  <a:lnTo>
                    <a:pt x="1351598" y="331470"/>
                  </a:lnTo>
                  <a:lnTo>
                    <a:pt x="1347788" y="336233"/>
                  </a:lnTo>
                  <a:lnTo>
                    <a:pt x="1332548" y="351472"/>
                  </a:lnTo>
                  <a:lnTo>
                    <a:pt x="1331595" y="353378"/>
                  </a:lnTo>
                  <a:lnTo>
                    <a:pt x="1331595" y="357188"/>
                  </a:lnTo>
                  <a:lnTo>
                    <a:pt x="1333500" y="362903"/>
                  </a:lnTo>
                  <a:lnTo>
                    <a:pt x="1343978" y="374333"/>
                  </a:lnTo>
                  <a:lnTo>
                    <a:pt x="1345883" y="379095"/>
                  </a:lnTo>
                  <a:lnTo>
                    <a:pt x="1345883" y="382905"/>
                  </a:lnTo>
                  <a:lnTo>
                    <a:pt x="1342073" y="402908"/>
                  </a:lnTo>
                  <a:lnTo>
                    <a:pt x="1341120" y="417195"/>
                  </a:lnTo>
                  <a:lnTo>
                    <a:pt x="1342073" y="427672"/>
                  </a:lnTo>
                  <a:lnTo>
                    <a:pt x="1345883" y="447675"/>
                  </a:lnTo>
                  <a:lnTo>
                    <a:pt x="1350645" y="454342"/>
                  </a:lnTo>
                  <a:lnTo>
                    <a:pt x="1400175" y="498158"/>
                  </a:lnTo>
                  <a:lnTo>
                    <a:pt x="1438275" y="521970"/>
                  </a:lnTo>
                  <a:lnTo>
                    <a:pt x="1438275" y="527685"/>
                  </a:lnTo>
                  <a:lnTo>
                    <a:pt x="1439228" y="532447"/>
                  </a:lnTo>
                  <a:lnTo>
                    <a:pt x="1441133" y="535305"/>
                  </a:lnTo>
                  <a:lnTo>
                    <a:pt x="1443990" y="539115"/>
                  </a:lnTo>
                  <a:lnTo>
                    <a:pt x="1445895" y="541020"/>
                  </a:lnTo>
                  <a:lnTo>
                    <a:pt x="1457325" y="548640"/>
                  </a:lnTo>
                  <a:lnTo>
                    <a:pt x="1460183" y="553403"/>
                  </a:lnTo>
                  <a:lnTo>
                    <a:pt x="1462088" y="558165"/>
                  </a:lnTo>
                  <a:lnTo>
                    <a:pt x="1463993" y="561022"/>
                  </a:lnTo>
                  <a:lnTo>
                    <a:pt x="1469708" y="569595"/>
                  </a:lnTo>
                  <a:lnTo>
                    <a:pt x="1472565" y="574358"/>
                  </a:lnTo>
                  <a:lnTo>
                    <a:pt x="1473518" y="580072"/>
                  </a:lnTo>
                  <a:lnTo>
                    <a:pt x="1472565" y="582930"/>
                  </a:lnTo>
                  <a:lnTo>
                    <a:pt x="1469708" y="585788"/>
                  </a:lnTo>
                  <a:lnTo>
                    <a:pt x="1464945" y="586740"/>
                  </a:lnTo>
                  <a:lnTo>
                    <a:pt x="1457325" y="587693"/>
                  </a:lnTo>
                  <a:lnTo>
                    <a:pt x="1454468" y="589597"/>
                  </a:lnTo>
                  <a:lnTo>
                    <a:pt x="1451610" y="592455"/>
                  </a:lnTo>
                  <a:lnTo>
                    <a:pt x="1448753" y="599122"/>
                  </a:lnTo>
                  <a:lnTo>
                    <a:pt x="1448753" y="602933"/>
                  </a:lnTo>
                  <a:lnTo>
                    <a:pt x="1448753" y="606743"/>
                  </a:lnTo>
                  <a:lnTo>
                    <a:pt x="1451610" y="611505"/>
                  </a:lnTo>
                  <a:lnTo>
                    <a:pt x="1452563" y="617220"/>
                  </a:lnTo>
                  <a:lnTo>
                    <a:pt x="1453515" y="622935"/>
                  </a:lnTo>
                  <a:lnTo>
                    <a:pt x="1452563" y="625793"/>
                  </a:lnTo>
                  <a:lnTo>
                    <a:pt x="1449705" y="630555"/>
                  </a:lnTo>
                  <a:lnTo>
                    <a:pt x="1446848" y="633413"/>
                  </a:lnTo>
                  <a:lnTo>
                    <a:pt x="1442085" y="637222"/>
                  </a:lnTo>
                  <a:lnTo>
                    <a:pt x="1433513" y="641985"/>
                  </a:lnTo>
                  <a:lnTo>
                    <a:pt x="1427798" y="642938"/>
                  </a:lnTo>
                  <a:lnTo>
                    <a:pt x="1420178" y="643890"/>
                  </a:lnTo>
                  <a:lnTo>
                    <a:pt x="1417320" y="644843"/>
                  </a:lnTo>
                  <a:lnTo>
                    <a:pt x="1406843" y="651510"/>
                  </a:lnTo>
                  <a:lnTo>
                    <a:pt x="1403985" y="653415"/>
                  </a:lnTo>
                  <a:lnTo>
                    <a:pt x="1392555" y="656272"/>
                  </a:lnTo>
                  <a:lnTo>
                    <a:pt x="1373505" y="666750"/>
                  </a:lnTo>
                  <a:lnTo>
                    <a:pt x="1370648" y="667703"/>
                  </a:lnTo>
                  <a:lnTo>
                    <a:pt x="1331595" y="675322"/>
                  </a:lnTo>
                  <a:lnTo>
                    <a:pt x="1326833" y="677228"/>
                  </a:lnTo>
                  <a:lnTo>
                    <a:pt x="1321118" y="679133"/>
                  </a:lnTo>
                  <a:lnTo>
                    <a:pt x="1296353" y="681990"/>
                  </a:lnTo>
                  <a:lnTo>
                    <a:pt x="1293495" y="682943"/>
                  </a:lnTo>
                  <a:lnTo>
                    <a:pt x="1290638" y="685800"/>
                  </a:lnTo>
                  <a:lnTo>
                    <a:pt x="1288733" y="691515"/>
                  </a:lnTo>
                  <a:lnTo>
                    <a:pt x="1285875" y="705803"/>
                  </a:lnTo>
                  <a:lnTo>
                    <a:pt x="1285875" y="712470"/>
                  </a:lnTo>
                  <a:lnTo>
                    <a:pt x="1285875" y="715328"/>
                  </a:lnTo>
                  <a:lnTo>
                    <a:pt x="1289685" y="722947"/>
                  </a:lnTo>
                  <a:lnTo>
                    <a:pt x="1298258" y="736283"/>
                  </a:lnTo>
                  <a:lnTo>
                    <a:pt x="1300163" y="739140"/>
                  </a:lnTo>
                  <a:lnTo>
                    <a:pt x="1301115" y="744855"/>
                  </a:lnTo>
                  <a:lnTo>
                    <a:pt x="1301115" y="747713"/>
                  </a:lnTo>
                  <a:lnTo>
                    <a:pt x="1300163" y="754380"/>
                  </a:lnTo>
                  <a:lnTo>
                    <a:pt x="1297305" y="757238"/>
                  </a:lnTo>
                  <a:lnTo>
                    <a:pt x="1294448" y="761047"/>
                  </a:lnTo>
                  <a:lnTo>
                    <a:pt x="1283018" y="767715"/>
                  </a:lnTo>
                  <a:lnTo>
                    <a:pt x="1279208" y="768668"/>
                  </a:lnTo>
                  <a:lnTo>
                    <a:pt x="1274445" y="769620"/>
                  </a:lnTo>
                  <a:lnTo>
                    <a:pt x="1268730" y="768668"/>
                  </a:lnTo>
                  <a:lnTo>
                    <a:pt x="1265873" y="767715"/>
                  </a:lnTo>
                  <a:lnTo>
                    <a:pt x="1261110" y="762000"/>
                  </a:lnTo>
                  <a:lnTo>
                    <a:pt x="1258253" y="762000"/>
                  </a:lnTo>
                  <a:lnTo>
                    <a:pt x="1255395" y="763905"/>
                  </a:lnTo>
                  <a:lnTo>
                    <a:pt x="1252538" y="766763"/>
                  </a:lnTo>
                  <a:lnTo>
                    <a:pt x="1241108" y="789622"/>
                  </a:lnTo>
                  <a:lnTo>
                    <a:pt x="1238250" y="798195"/>
                  </a:lnTo>
                  <a:lnTo>
                    <a:pt x="1234440" y="806768"/>
                  </a:lnTo>
                  <a:lnTo>
                    <a:pt x="1220153" y="834390"/>
                  </a:lnTo>
                  <a:lnTo>
                    <a:pt x="1217295" y="837247"/>
                  </a:lnTo>
                  <a:lnTo>
                    <a:pt x="1125855" y="888683"/>
                  </a:lnTo>
                  <a:lnTo>
                    <a:pt x="1121093" y="890588"/>
                  </a:lnTo>
                  <a:lnTo>
                    <a:pt x="1116330" y="890588"/>
                  </a:lnTo>
                  <a:lnTo>
                    <a:pt x="1113473" y="889635"/>
                  </a:lnTo>
                  <a:lnTo>
                    <a:pt x="1106805" y="889635"/>
                  </a:lnTo>
                  <a:lnTo>
                    <a:pt x="1103948" y="891540"/>
                  </a:lnTo>
                  <a:lnTo>
                    <a:pt x="1101090" y="896303"/>
                  </a:lnTo>
                  <a:lnTo>
                    <a:pt x="1098233" y="922020"/>
                  </a:lnTo>
                  <a:lnTo>
                    <a:pt x="1096328" y="932497"/>
                  </a:lnTo>
                  <a:lnTo>
                    <a:pt x="1089660" y="947738"/>
                  </a:lnTo>
                  <a:lnTo>
                    <a:pt x="1082040" y="947738"/>
                  </a:lnTo>
                  <a:lnTo>
                    <a:pt x="1076325" y="946785"/>
                  </a:lnTo>
                  <a:lnTo>
                    <a:pt x="1071563" y="943928"/>
                  </a:lnTo>
                  <a:lnTo>
                    <a:pt x="1066800" y="942022"/>
                  </a:lnTo>
                  <a:lnTo>
                    <a:pt x="1062038" y="942975"/>
                  </a:lnTo>
                  <a:lnTo>
                    <a:pt x="1059180" y="942975"/>
                  </a:lnTo>
                  <a:lnTo>
                    <a:pt x="1055370" y="940118"/>
                  </a:lnTo>
                  <a:lnTo>
                    <a:pt x="1053465" y="938213"/>
                  </a:lnTo>
                  <a:lnTo>
                    <a:pt x="1041082" y="927735"/>
                  </a:lnTo>
                  <a:lnTo>
                    <a:pt x="1036320" y="924878"/>
                  </a:lnTo>
                  <a:lnTo>
                    <a:pt x="1031557" y="922972"/>
                  </a:lnTo>
                  <a:lnTo>
                    <a:pt x="1024890" y="921068"/>
                  </a:lnTo>
                  <a:lnTo>
                    <a:pt x="1019175" y="921068"/>
                  </a:lnTo>
                  <a:lnTo>
                    <a:pt x="979170" y="931545"/>
                  </a:lnTo>
                  <a:lnTo>
                    <a:pt x="972502" y="931545"/>
                  </a:lnTo>
                  <a:lnTo>
                    <a:pt x="954405" y="926783"/>
                  </a:lnTo>
                  <a:lnTo>
                    <a:pt x="950595" y="926783"/>
                  </a:lnTo>
                  <a:lnTo>
                    <a:pt x="948690" y="927735"/>
                  </a:lnTo>
                  <a:lnTo>
                    <a:pt x="945832" y="930593"/>
                  </a:lnTo>
                  <a:lnTo>
                    <a:pt x="942023" y="935355"/>
                  </a:lnTo>
                  <a:lnTo>
                    <a:pt x="937260" y="944880"/>
                  </a:lnTo>
                  <a:lnTo>
                    <a:pt x="935355" y="949643"/>
                  </a:lnTo>
                  <a:lnTo>
                    <a:pt x="934402" y="954405"/>
                  </a:lnTo>
                  <a:lnTo>
                    <a:pt x="935355" y="957263"/>
                  </a:lnTo>
                  <a:lnTo>
                    <a:pt x="939165" y="963930"/>
                  </a:lnTo>
                  <a:lnTo>
                    <a:pt x="941070" y="969645"/>
                  </a:lnTo>
                  <a:lnTo>
                    <a:pt x="942975" y="975360"/>
                  </a:lnTo>
                  <a:lnTo>
                    <a:pt x="942023" y="982028"/>
                  </a:lnTo>
                  <a:lnTo>
                    <a:pt x="939165" y="987743"/>
                  </a:lnTo>
                  <a:lnTo>
                    <a:pt x="922973" y="1013460"/>
                  </a:lnTo>
                  <a:lnTo>
                    <a:pt x="920115" y="1022032"/>
                  </a:lnTo>
                  <a:lnTo>
                    <a:pt x="919163" y="1026795"/>
                  </a:lnTo>
                  <a:lnTo>
                    <a:pt x="921068" y="1028700"/>
                  </a:lnTo>
                  <a:lnTo>
                    <a:pt x="937260" y="1039178"/>
                  </a:lnTo>
                  <a:lnTo>
                    <a:pt x="940118" y="1042988"/>
                  </a:lnTo>
                  <a:lnTo>
                    <a:pt x="941070" y="1045845"/>
                  </a:lnTo>
                  <a:lnTo>
                    <a:pt x="940118" y="1048703"/>
                  </a:lnTo>
                  <a:lnTo>
                    <a:pt x="937260" y="1052513"/>
                  </a:lnTo>
                  <a:lnTo>
                    <a:pt x="920115" y="1070610"/>
                  </a:lnTo>
                  <a:lnTo>
                    <a:pt x="915352" y="1078230"/>
                  </a:lnTo>
                  <a:lnTo>
                    <a:pt x="911543" y="1082040"/>
                  </a:lnTo>
                  <a:lnTo>
                    <a:pt x="905827" y="1084898"/>
                  </a:lnTo>
                  <a:lnTo>
                    <a:pt x="898208" y="1086803"/>
                  </a:lnTo>
                  <a:lnTo>
                    <a:pt x="886777" y="1086803"/>
                  </a:lnTo>
                  <a:lnTo>
                    <a:pt x="881063" y="1087755"/>
                  </a:lnTo>
                  <a:lnTo>
                    <a:pt x="870585" y="1091565"/>
                  </a:lnTo>
                  <a:lnTo>
                    <a:pt x="868680" y="1093470"/>
                  </a:lnTo>
                  <a:lnTo>
                    <a:pt x="866775" y="1096328"/>
                  </a:lnTo>
                  <a:lnTo>
                    <a:pt x="865823" y="1102043"/>
                  </a:lnTo>
                  <a:lnTo>
                    <a:pt x="865823" y="1105853"/>
                  </a:lnTo>
                  <a:lnTo>
                    <a:pt x="866775" y="1108710"/>
                  </a:lnTo>
                  <a:lnTo>
                    <a:pt x="869633" y="1113473"/>
                  </a:lnTo>
                  <a:lnTo>
                    <a:pt x="872490" y="1114425"/>
                  </a:lnTo>
                  <a:lnTo>
                    <a:pt x="875348" y="1114425"/>
                  </a:lnTo>
                  <a:lnTo>
                    <a:pt x="877252" y="1114425"/>
                  </a:lnTo>
                  <a:lnTo>
                    <a:pt x="882015" y="1111568"/>
                  </a:lnTo>
                  <a:lnTo>
                    <a:pt x="893445" y="1101090"/>
                  </a:lnTo>
                  <a:lnTo>
                    <a:pt x="896302" y="1100138"/>
                  </a:lnTo>
                  <a:lnTo>
                    <a:pt x="899160" y="1099185"/>
                  </a:lnTo>
                  <a:lnTo>
                    <a:pt x="902018" y="1100138"/>
                  </a:lnTo>
                  <a:lnTo>
                    <a:pt x="906780" y="1102995"/>
                  </a:lnTo>
                  <a:lnTo>
                    <a:pt x="909638" y="1106805"/>
                  </a:lnTo>
                  <a:lnTo>
                    <a:pt x="910590" y="1109663"/>
                  </a:lnTo>
                  <a:lnTo>
                    <a:pt x="909638" y="1112520"/>
                  </a:lnTo>
                  <a:lnTo>
                    <a:pt x="908685" y="1116330"/>
                  </a:lnTo>
                  <a:lnTo>
                    <a:pt x="904875" y="1124903"/>
                  </a:lnTo>
                  <a:lnTo>
                    <a:pt x="903923" y="1127760"/>
                  </a:lnTo>
                  <a:lnTo>
                    <a:pt x="903923" y="1131570"/>
                  </a:lnTo>
                  <a:lnTo>
                    <a:pt x="904875" y="1150620"/>
                  </a:lnTo>
                  <a:lnTo>
                    <a:pt x="908685" y="1154430"/>
                  </a:lnTo>
                  <a:lnTo>
                    <a:pt x="921068" y="1158240"/>
                  </a:lnTo>
                  <a:lnTo>
                    <a:pt x="930593" y="1159193"/>
                  </a:lnTo>
                  <a:lnTo>
                    <a:pt x="937260" y="1155382"/>
                  </a:lnTo>
                  <a:lnTo>
                    <a:pt x="941070" y="1161098"/>
                  </a:lnTo>
                  <a:lnTo>
                    <a:pt x="951548" y="1174432"/>
                  </a:lnTo>
                  <a:lnTo>
                    <a:pt x="952500" y="1177290"/>
                  </a:lnTo>
                  <a:lnTo>
                    <a:pt x="952500" y="1183005"/>
                  </a:lnTo>
                  <a:lnTo>
                    <a:pt x="949643" y="1188720"/>
                  </a:lnTo>
                  <a:lnTo>
                    <a:pt x="945832" y="1191578"/>
                  </a:lnTo>
                  <a:lnTo>
                    <a:pt x="941070" y="1195388"/>
                  </a:lnTo>
                  <a:lnTo>
                    <a:pt x="930593" y="1199198"/>
                  </a:lnTo>
                  <a:lnTo>
                    <a:pt x="925830" y="1200150"/>
                  </a:lnTo>
                  <a:lnTo>
                    <a:pt x="922020" y="1199198"/>
                  </a:lnTo>
                  <a:lnTo>
                    <a:pt x="920115" y="1198245"/>
                  </a:lnTo>
                  <a:lnTo>
                    <a:pt x="913448" y="1197293"/>
                  </a:lnTo>
                  <a:lnTo>
                    <a:pt x="910590" y="1197293"/>
                  </a:lnTo>
                  <a:lnTo>
                    <a:pt x="904875" y="1198245"/>
                  </a:lnTo>
                  <a:lnTo>
                    <a:pt x="883920" y="1206818"/>
                  </a:lnTo>
                  <a:lnTo>
                    <a:pt x="861060" y="1220153"/>
                  </a:lnTo>
                  <a:lnTo>
                    <a:pt x="856298" y="1222057"/>
                  </a:lnTo>
                  <a:lnTo>
                    <a:pt x="843915" y="1224915"/>
                  </a:lnTo>
                  <a:lnTo>
                    <a:pt x="830580" y="1223963"/>
                  </a:lnTo>
                  <a:lnTo>
                    <a:pt x="824865" y="1224915"/>
                  </a:lnTo>
                  <a:lnTo>
                    <a:pt x="800100" y="1236345"/>
                  </a:lnTo>
                  <a:lnTo>
                    <a:pt x="794385" y="1236345"/>
                  </a:lnTo>
                  <a:lnTo>
                    <a:pt x="790575" y="1236345"/>
                  </a:lnTo>
                  <a:lnTo>
                    <a:pt x="767715" y="1228725"/>
                  </a:lnTo>
                  <a:lnTo>
                    <a:pt x="761048" y="1227773"/>
                  </a:lnTo>
                  <a:lnTo>
                    <a:pt x="758190" y="1227773"/>
                  </a:lnTo>
                  <a:lnTo>
                    <a:pt x="753427" y="1229678"/>
                  </a:lnTo>
                  <a:lnTo>
                    <a:pt x="729615" y="1246823"/>
                  </a:lnTo>
                  <a:lnTo>
                    <a:pt x="722948" y="1249680"/>
                  </a:lnTo>
                  <a:lnTo>
                    <a:pt x="719138" y="1250632"/>
                  </a:lnTo>
                  <a:lnTo>
                    <a:pt x="700088" y="1243013"/>
                  </a:lnTo>
                  <a:lnTo>
                    <a:pt x="693420" y="1242060"/>
                  </a:lnTo>
                  <a:lnTo>
                    <a:pt x="690563" y="1242060"/>
                  </a:lnTo>
                  <a:lnTo>
                    <a:pt x="686752" y="1243965"/>
                  </a:lnTo>
                  <a:lnTo>
                    <a:pt x="675323" y="1254443"/>
                  </a:lnTo>
                  <a:lnTo>
                    <a:pt x="670560" y="1257300"/>
                  </a:lnTo>
                  <a:lnTo>
                    <a:pt x="666750" y="1258253"/>
                  </a:lnTo>
                  <a:lnTo>
                    <a:pt x="640080" y="1260157"/>
                  </a:lnTo>
                  <a:lnTo>
                    <a:pt x="587693" y="1252538"/>
                  </a:lnTo>
                  <a:lnTo>
                    <a:pt x="579120" y="1253490"/>
                  </a:lnTo>
                  <a:lnTo>
                    <a:pt x="573405" y="1255395"/>
                  </a:lnTo>
                  <a:lnTo>
                    <a:pt x="564833" y="1261110"/>
                  </a:lnTo>
                  <a:lnTo>
                    <a:pt x="555308" y="1268730"/>
                  </a:lnTo>
                  <a:lnTo>
                    <a:pt x="550545" y="1275398"/>
                  </a:lnTo>
                  <a:lnTo>
                    <a:pt x="548640" y="1278255"/>
                  </a:lnTo>
                  <a:lnTo>
                    <a:pt x="535305" y="1320165"/>
                  </a:lnTo>
                  <a:lnTo>
                    <a:pt x="531495" y="1329690"/>
                  </a:lnTo>
                  <a:lnTo>
                    <a:pt x="527685" y="1336357"/>
                  </a:lnTo>
                  <a:lnTo>
                    <a:pt x="518160" y="1344930"/>
                  </a:lnTo>
                  <a:lnTo>
                    <a:pt x="516255" y="1346835"/>
                  </a:lnTo>
                  <a:lnTo>
                    <a:pt x="504825" y="1357313"/>
                  </a:lnTo>
                  <a:lnTo>
                    <a:pt x="496252" y="1363028"/>
                  </a:lnTo>
                  <a:lnTo>
                    <a:pt x="493395" y="1369695"/>
                  </a:lnTo>
                  <a:lnTo>
                    <a:pt x="481012" y="1428750"/>
                  </a:lnTo>
                  <a:lnTo>
                    <a:pt x="479108" y="1434465"/>
                  </a:lnTo>
                  <a:lnTo>
                    <a:pt x="479108" y="1437323"/>
                  </a:lnTo>
                  <a:lnTo>
                    <a:pt x="479108" y="1441132"/>
                  </a:lnTo>
                  <a:lnTo>
                    <a:pt x="481012" y="1444943"/>
                  </a:lnTo>
                  <a:lnTo>
                    <a:pt x="486727" y="1452563"/>
                  </a:lnTo>
                  <a:lnTo>
                    <a:pt x="489585" y="1457325"/>
                  </a:lnTo>
                  <a:lnTo>
                    <a:pt x="491490" y="1463040"/>
                  </a:lnTo>
                  <a:lnTo>
                    <a:pt x="492443" y="1471613"/>
                  </a:lnTo>
                  <a:lnTo>
                    <a:pt x="493395" y="1478280"/>
                  </a:lnTo>
                  <a:lnTo>
                    <a:pt x="470535" y="1566863"/>
                  </a:lnTo>
                  <a:lnTo>
                    <a:pt x="458152" y="1561148"/>
                  </a:lnTo>
                  <a:lnTo>
                    <a:pt x="452437" y="1560195"/>
                  </a:lnTo>
                  <a:lnTo>
                    <a:pt x="424815" y="1564005"/>
                  </a:lnTo>
                  <a:lnTo>
                    <a:pt x="414337" y="1563053"/>
                  </a:lnTo>
                  <a:lnTo>
                    <a:pt x="399098" y="1560195"/>
                  </a:lnTo>
                  <a:lnTo>
                    <a:pt x="393383" y="1558290"/>
                  </a:lnTo>
                  <a:lnTo>
                    <a:pt x="388620" y="1555432"/>
                  </a:lnTo>
                  <a:lnTo>
                    <a:pt x="387668" y="1553528"/>
                  </a:lnTo>
                  <a:lnTo>
                    <a:pt x="385762" y="1548765"/>
                  </a:lnTo>
                  <a:lnTo>
                    <a:pt x="384810" y="1545907"/>
                  </a:lnTo>
                  <a:lnTo>
                    <a:pt x="384810" y="1541145"/>
                  </a:lnTo>
                  <a:lnTo>
                    <a:pt x="384810" y="1537335"/>
                  </a:lnTo>
                  <a:lnTo>
                    <a:pt x="382905" y="1533525"/>
                  </a:lnTo>
                  <a:lnTo>
                    <a:pt x="378143" y="1528763"/>
                  </a:lnTo>
                  <a:lnTo>
                    <a:pt x="374333" y="1527810"/>
                  </a:lnTo>
                  <a:lnTo>
                    <a:pt x="371475" y="1528763"/>
                  </a:lnTo>
                  <a:lnTo>
                    <a:pt x="369570" y="1530668"/>
                  </a:lnTo>
                  <a:lnTo>
                    <a:pt x="361950" y="1541145"/>
                  </a:lnTo>
                  <a:lnTo>
                    <a:pt x="359093" y="1543050"/>
                  </a:lnTo>
                  <a:lnTo>
                    <a:pt x="355283" y="1544955"/>
                  </a:lnTo>
                  <a:lnTo>
                    <a:pt x="352425" y="1544955"/>
                  </a:lnTo>
                  <a:lnTo>
                    <a:pt x="349568" y="1541145"/>
                  </a:lnTo>
                  <a:lnTo>
                    <a:pt x="348615" y="1536382"/>
                  </a:lnTo>
                  <a:lnTo>
                    <a:pt x="348615" y="1526857"/>
                  </a:lnTo>
                  <a:lnTo>
                    <a:pt x="346710" y="1520190"/>
                  </a:lnTo>
                  <a:lnTo>
                    <a:pt x="344805" y="1520190"/>
                  </a:lnTo>
                  <a:lnTo>
                    <a:pt x="342900" y="1520190"/>
                  </a:lnTo>
                  <a:lnTo>
                    <a:pt x="338137" y="1525905"/>
                  </a:lnTo>
                  <a:lnTo>
                    <a:pt x="332423" y="1526857"/>
                  </a:lnTo>
                  <a:lnTo>
                    <a:pt x="325755" y="1527810"/>
                  </a:lnTo>
                  <a:lnTo>
                    <a:pt x="300990" y="1524953"/>
                  </a:lnTo>
                  <a:lnTo>
                    <a:pt x="296228" y="1524000"/>
                  </a:lnTo>
                  <a:lnTo>
                    <a:pt x="291465" y="1520190"/>
                  </a:lnTo>
                  <a:lnTo>
                    <a:pt x="287655" y="1517332"/>
                  </a:lnTo>
                  <a:lnTo>
                    <a:pt x="284798" y="1513523"/>
                  </a:lnTo>
                  <a:lnTo>
                    <a:pt x="274320" y="1494473"/>
                  </a:lnTo>
                  <a:lnTo>
                    <a:pt x="261937" y="1463040"/>
                  </a:lnTo>
                  <a:lnTo>
                    <a:pt x="258128" y="1456373"/>
                  </a:lnTo>
                  <a:lnTo>
                    <a:pt x="252412" y="1451610"/>
                  </a:lnTo>
                  <a:lnTo>
                    <a:pt x="248603" y="1448753"/>
                  </a:lnTo>
                  <a:lnTo>
                    <a:pt x="244792" y="1447800"/>
                  </a:lnTo>
                  <a:lnTo>
                    <a:pt x="230505" y="1450657"/>
                  </a:lnTo>
                  <a:lnTo>
                    <a:pt x="208598" y="1457325"/>
                  </a:lnTo>
                  <a:lnTo>
                    <a:pt x="203835" y="1460182"/>
                  </a:lnTo>
                  <a:lnTo>
                    <a:pt x="200025" y="1461135"/>
                  </a:lnTo>
                  <a:lnTo>
                    <a:pt x="196215" y="1461135"/>
                  </a:lnTo>
                  <a:lnTo>
                    <a:pt x="187642" y="1461135"/>
                  </a:lnTo>
                  <a:lnTo>
                    <a:pt x="183833" y="1460182"/>
                  </a:lnTo>
                  <a:lnTo>
                    <a:pt x="180023" y="1458278"/>
                  </a:lnTo>
                  <a:lnTo>
                    <a:pt x="176212" y="1451610"/>
                  </a:lnTo>
                  <a:lnTo>
                    <a:pt x="174308" y="1445895"/>
                  </a:lnTo>
                  <a:lnTo>
                    <a:pt x="172403" y="1442085"/>
                  </a:lnTo>
                  <a:lnTo>
                    <a:pt x="169545" y="1437323"/>
                  </a:lnTo>
                  <a:lnTo>
                    <a:pt x="150495" y="1422082"/>
                  </a:lnTo>
                  <a:lnTo>
                    <a:pt x="137160" y="1405890"/>
                  </a:lnTo>
                  <a:lnTo>
                    <a:pt x="134303" y="1402080"/>
                  </a:lnTo>
                  <a:lnTo>
                    <a:pt x="132398" y="1396365"/>
                  </a:lnTo>
                  <a:lnTo>
                    <a:pt x="131445" y="1387793"/>
                  </a:lnTo>
                  <a:lnTo>
                    <a:pt x="131445" y="1384935"/>
                  </a:lnTo>
                  <a:lnTo>
                    <a:pt x="131445" y="1374457"/>
                  </a:lnTo>
                  <a:lnTo>
                    <a:pt x="133350" y="1368743"/>
                  </a:lnTo>
                  <a:lnTo>
                    <a:pt x="138112" y="1358265"/>
                  </a:lnTo>
                  <a:lnTo>
                    <a:pt x="137160" y="1351598"/>
                  </a:lnTo>
                  <a:lnTo>
                    <a:pt x="127635" y="1340168"/>
                  </a:lnTo>
                  <a:lnTo>
                    <a:pt x="118110" y="1334453"/>
                  </a:lnTo>
                  <a:lnTo>
                    <a:pt x="118110" y="1332548"/>
                  </a:lnTo>
                  <a:lnTo>
                    <a:pt x="109537" y="1317307"/>
                  </a:lnTo>
                  <a:lnTo>
                    <a:pt x="106680" y="1309688"/>
                  </a:lnTo>
                  <a:lnTo>
                    <a:pt x="107633" y="1299210"/>
                  </a:lnTo>
                  <a:lnTo>
                    <a:pt x="112395" y="1283018"/>
                  </a:lnTo>
                  <a:lnTo>
                    <a:pt x="112395" y="1276350"/>
                  </a:lnTo>
                  <a:lnTo>
                    <a:pt x="105728" y="1268730"/>
                  </a:lnTo>
                  <a:lnTo>
                    <a:pt x="81915" y="1255395"/>
                  </a:lnTo>
                  <a:lnTo>
                    <a:pt x="72390" y="1247775"/>
                  </a:lnTo>
                  <a:lnTo>
                    <a:pt x="57150" y="1227773"/>
                  </a:lnTo>
                  <a:lnTo>
                    <a:pt x="40005" y="1215390"/>
                  </a:lnTo>
                  <a:lnTo>
                    <a:pt x="42862" y="1214438"/>
                  </a:lnTo>
                  <a:lnTo>
                    <a:pt x="34290" y="1208723"/>
                  </a:lnTo>
                  <a:lnTo>
                    <a:pt x="27622" y="1217295"/>
                  </a:lnTo>
                  <a:lnTo>
                    <a:pt x="24765" y="1219200"/>
                  </a:lnTo>
                  <a:lnTo>
                    <a:pt x="21907" y="1215390"/>
                  </a:lnTo>
                  <a:lnTo>
                    <a:pt x="24765" y="1204913"/>
                  </a:lnTo>
                  <a:lnTo>
                    <a:pt x="33337" y="1187768"/>
                  </a:lnTo>
                  <a:lnTo>
                    <a:pt x="40005" y="1159193"/>
                  </a:lnTo>
                  <a:lnTo>
                    <a:pt x="49530" y="1134428"/>
                  </a:lnTo>
                  <a:lnTo>
                    <a:pt x="51435" y="1122998"/>
                  </a:lnTo>
                  <a:lnTo>
                    <a:pt x="43815" y="1048703"/>
                  </a:lnTo>
                  <a:lnTo>
                    <a:pt x="41910" y="1035368"/>
                  </a:lnTo>
                  <a:lnTo>
                    <a:pt x="39053" y="1029653"/>
                  </a:lnTo>
                  <a:lnTo>
                    <a:pt x="27622" y="1017270"/>
                  </a:lnTo>
                  <a:lnTo>
                    <a:pt x="20955" y="1006793"/>
                  </a:lnTo>
                  <a:lnTo>
                    <a:pt x="19050" y="1002030"/>
                  </a:lnTo>
                  <a:lnTo>
                    <a:pt x="17145" y="992505"/>
                  </a:lnTo>
                  <a:lnTo>
                    <a:pt x="14288" y="958215"/>
                  </a:lnTo>
                  <a:lnTo>
                    <a:pt x="10478" y="946785"/>
                  </a:lnTo>
                  <a:lnTo>
                    <a:pt x="0" y="917258"/>
                  </a:lnTo>
                  <a:lnTo>
                    <a:pt x="13335" y="885825"/>
                  </a:lnTo>
                  <a:lnTo>
                    <a:pt x="53340" y="831533"/>
                  </a:lnTo>
                  <a:lnTo>
                    <a:pt x="62865" y="805815"/>
                  </a:lnTo>
                  <a:lnTo>
                    <a:pt x="66675" y="799147"/>
                  </a:lnTo>
                  <a:lnTo>
                    <a:pt x="72390" y="793433"/>
                  </a:lnTo>
                  <a:lnTo>
                    <a:pt x="83820" y="791528"/>
                  </a:lnTo>
                  <a:lnTo>
                    <a:pt x="89535" y="788670"/>
                  </a:lnTo>
                  <a:lnTo>
                    <a:pt x="98108" y="780097"/>
                  </a:lnTo>
                  <a:lnTo>
                    <a:pt x="130492" y="721043"/>
                  </a:lnTo>
                  <a:lnTo>
                    <a:pt x="136208" y="714375"/>
                  </a:lnTo>
                  <a:lnTo>
                    <a:pt x="140017" y="711518"/>
                  </a:lnTo>
                  <a:lnTo>
                    <a:pt x="149542" y="707708"/>
                  </a:lnTo>
                  <a:lnTo>
                    <a:pt x="154305" y="703897"/>
                  </a:lnTo>
                  <a:lnTo>
                    <a:pt x="157162" y="698183"/>
                  </a:lnTo>
                  <a:lnTo>
                    <a:pt x="160973" y="681038"/>
                  </a:lnTo>
                  <a:lnTo>
                    <a:pt x="163830" y="674370"/>
                  </a:lnTo>
                  <a:lnTo>
                    <a:pt x="185737" y="651510"/>
                  </a:lnTo>
                  <a:lnTo>
                    <a:pt x="242887" y="567690"/>
                  </a:lnTo>
                  <a:lnTo>
                    <a:pt x="263843" y="543878"/>
                  </a:lnTo>
                  <a:lnTo>
                    <a:pt x="283845" y="529590"/>
                  </a:lnTo>
                  <a:lnTo>
                    <a:pt x="299085" y="504825"/>
                  </a:lnTo>
                  <a:lnTo>
                    <a:pt x="420052" y="373380"/>
                  </a:lnTo>
                  <a:lnTo>
                    <a:pt x="443865" y="354330"/>
                  </a:lnTo>
                  <a:lnTo>
                    <a:pt x="472440" y="332422"/>
                  </a:lnTo>
                  <a:lnTo>
                    <a:pt x="487680" y="320040"/>
                  </a:lnTo>
                  <a:lnTo>
                    <a:pt x="529590" y="275272"/>
                  </a:lnTo>
                  <a:lnTo>
                    <a:pt x="536258" y="263842"/>
                  </a:lnTo>
                  <a:lnTo>
                    <a:pt x="543877" y="240983"/>
                  </a:lnTo>
                  <a:lnTo>
                    <a:pt x="549593" y="228600"/>
                  </a:lnTo>
                  <a:lnTo>
                    <a:pt x="556260" y="221933"/>
                  </a:lnTo>
                  <a:lnTo>
                    <a:pt x="565785" y="217170"/>
                  </a:lnTo>
                  <a:lnTo>
                    <a:pt x="583883" y="211455"/>
                  </a:lnTo>
                  <a:lnTo>
                    <a:pt x="679133" y="210503"/>
                  </a:lnTo>
                  <a:lnTo>
                    <a:pt x="706755" y="199072"/>
                  </a:lnTo>
                  <a:lnTo>
                    <a:pt x="718185" y="171450"/>
                  </a:lnTo>
                  <a:lnTo>
                    <a:pt x="721043" y="162878"/>
                  </a:lnTo>
                  <a:lnTo>
                    <a:pt x="721995" y="151447"/>
                  </a:lnTo>
                  <a:lnTo>
                    <a:pt x="721043" y="136208"/>
                  </a:lnTo>
                  <a:lnTo>
                    <a:pt x="722948" y="125730"/>
                  </a:lnTo>
                  <a:lnTo>
                    <a:pt x="756285" y="107633"/>
                  </a:lnTo>
                  <a:lnTo>
                    <a:pt x="766763" y="97155"/>
                  </a:lnTo>
                  <a:lnTo>
                    <a:pt x="773430" y="87630"/>
                  </a:lnTo>
                  <a:lnTo>
                    <a:pt x="773430" y="85725"/>
                  </a:lnTo>
                  <a:lnTo>
                    <a:pt x="770573" y="83820"/>
                  </a:lnTo>
                  <a:lnTo>
                    <a:pt x="767715" y="72390"/>
                  </a:lnTo>
                  <a:lnTo>
                    <a:pt x="762000" y="33338"/>
                  </a:lnTo>
                  <a:lnTo>
                    <a:pt x="774383" y="12383"/>
                  </a:lnTo>
                  <a:lnTo>
                    <a:pt x="774383" y="11430"/>
                  </a:lnTo>
                  <a:lnTo>
                    <a:pt x="778193" y="5715"/>
                  </a:lnTo>
                  <a:lnTo>
                    <a:pt x="782955" y="1905"/>
                  </a:lnTo>
                  <a:lnTo>
                    <a:pt x="789623" y="0"/>
                  </a:lnTo>
                  <a:lnTo>
                    <a:pt x="797243" y="0"/>
                  </a:lnTo>
                  <a:lnTo>
                    <a:pt x="803910" y="3810"/>
                  </a:lnTo>
                  <a:lnTo>
                    <a:pt x="806768" y="19050"/>
                  </a:lnTo>
                  <a:lnTo>
                    <a:pt x="811530" y="22860"/>
                  </a:lnTo>
                  <a:lnTo>
                    <a:pt x="819150" y="25717"/>
                  </a:lnTo>
                  <a:lnTo>
                    <a:pt x="823913" y="31433"/>
                  </a:lnTo>
                  <a:lnTo>
                    <a:pt x="826770" y="40005"/>
                  </a:lnTo>
                  <a:lnTo>
                    <a:pt x="831533" y="45720"/>
                  </a:lnTo>
                  <a:lnTo>
                    <a:pt x="838200" y="48578"/>
                  </a:lnTo>
                  <a:lnTo>
                    <a:pt x="847725" y="52388"/>
                  </a:lnTo>
                  <a:lnTo>
                    <a:pt x="853440" y="57150"/>
                  </a:lnTo>
                  <a:lnTo>
                    <a:pt x="853440" y="51435"/>
                  </a:lnTo>
                  <a:lnTo>
                    <a:pt x="862965" y="49530"/>
                  </a:lnTo>
                  <a:lnTo>
                    <a:pt x="867727" y="46672"/>
                  </a:lnTo>
                  <a:lnTo>
                    <a:pt x="873443" y="44767"/>
                  </a:lnTo>
                  <a:lnTo>
                    <a:pt x="886777" y="42863"/>
                  </a:lnTo>
                  <a:lnTo>
                    <a:pt x="888683" y="41910"/>
                  </a:lnTo>
                  <a:lnTo>
                    <a:pt x="893445" y="38100"/>
                  </a:lnTo>
                  <a:lnTo>
                    <a:pt x="896302" y="33338"/>
                  </a:lnTo>
                  <a:lnTo>
                    <a:pt x="899160" y="29528"/>
                  </a:lnTo>
                  <a:lnTo>
                    <a:pt x="901065" y="28575"/>
                  </a:lnTo>
                  <a:lnTo>
                    <a:pt x="905827" y="28575"/>
                  </a:lnTo>
                  <a:lnTo>
                    <a:pt x="910590" y="31433"/>
                  </a:lnTo>
                  <a:lnTo>
                    <a:pt x="917258" y="36195"/>
                  </a:lnTo>
                  <a:lnTo>
                    <a:pt x="926783" y="45720"/>
                  </a:lnTo>
                  <a:lnTo>
                    <a:pt x="929640" y="51435"/>
                  </a:lnTo>
                  <a:lnTo>
                    <a:pt x="929640" y="55245"/>
                  </a:lnTo>
                  <a:lnTo>
                    <a:pt x="929640" y="58103"/>
                  </a:lnTo>
                  <a:lnTo>
                    <a:pt x="929640" y="61913"/>
                  </a:lnTo>
                  <a:lnTo>
                    <a:pt x="930593" y="63817"/>
                  </a:lnTo>
                  <a:lnTo>
                    <a:pt x="945832" y="79058"/>
                  </a:lnTo>
                  <a:lnTo>
                    <a:pt x="948690" y="80963"/>
                  </a:lnTo>
                  <a:lnTo>
                    <a:pt x="952500" y="81915"/>
                  </a:lnTo>
                  <a:lnTo>
                    <a:pt x="958215" y="80963"/>
                  </a:lnTo>
                  <a:lnTo>
                    <a:pt x="967740" y="78105"/>
                  </a:lnTo>
                  <a:lnTo>
                    <a:pt x="970598" y="77153"/>
                  </a:lnTo>
                  <a:lnTo>
                    <a:pt x="976313" y="79058"/>
                  </a:lnTo>
                  <a:lnTo>
                    <a:pt x="981075" y="81915"/>
                  </a:lnTo>
                  <a:lnTo>
                    <a:pt x="996315" y="100013"/>
                  </a:lnTo>
                  <a:lnTo>
                    <a:pt x="999173" y="104775"/>
                  </a:lnTo>
                  <a:lnTo>
                    <a:pt x="1001077" y="110490"/>
                  </a:lnTo>
                  <a:lnTo>
                    <a:pt x="1000125" y="117158"/>
                  </a:lnTo>
                  <a:lnTo>
                    <a:pt x="999173" y="120015"/>
                  </a:lnTo>
                  <a:lnTo>
                    <a:pt x="996315" y="124778"/>
                  </a:lnTo>
                  <a:lnTo>
                    <a:pt x="992505" y="128588"/>
                  </a:lnTo>
                  <a:lnTo>
                    <a:pt x="987743" y="130492"/>
                  </a:lnTo>
                  <a:lnTo>
                    <a:pt x="961073" y="137160"/>
                  </a:lnTo>
                  <a:lnTo>
                    <a:pt x="956310" y="140017"/>
                  </a:lnTo>
                  <a:lnTo>
                    <a:pt x="955357" y="141922"/>
                  </a:lnTo>
                  <a:lnTo>
                    <a:pt x="954405" y="144780"/>
                  </a:lnTo>
                  <a:lnTo>
                    <a:pt x="955357" y="147638"/>
                  </a:lnTo>
                  <a:lnTo>
                    <a:pt x="958215" y="151447"/>
                  </a:lnTo>
                  <a:lnTo>
                    <a:pt x="980123" y="169545"/>
                  </a:lnTo>
                  <a:lnTo>
                    <a:pt x="982980" y="173355"/>
                  </a:lnTo>
                  <a:lnTo>
                    <a:pt x="983932" y="178117"/>
                  </a:lnTo>
                  <a:lnTo>
                    <a:pt x="983932" y="181928"/>
                  </a:lnTo>
                  <a:lnTo>
                    <a:pt x="982980" y="187642"/>
                  </a:lnTo>
                  <a:lnTo>
                    <a:pt x="982027" y="191453"/>
                  </a:lnTo>
                  <a:lnTo>
                    <a:pt x="982980" y="194310"/>
                  </a:lnTo>
                  <a:lnTo>
                    <a:pt x="984885" y="196215"/>
                  </a:lnTo>
                  <a:lnTo>
                    <a:pt x="988695" y="198120"/>
                  </a:lnTo>
                  <a:lnTo>
                    <a:pt x="996315" y="197167"/>
                  </a:lnTo>
                  <a:lnTo>
                    <a:pt x="1000125" y="196215"/>
                  </a:lnTo>
                  <a:lnTo>
                    <a:pt x="1002982" y="193358"/>
                  </a:lnTo>
                  <a:lnTo>
                    <a:pt x="1004888" y="188595"/>
                  </a:lnTo>
                  <a:lnTo>
                    <a:pt x="1004888" y="179070"/>
                  </a:lnTo>
                  <a:lnTo>
                    <a:pt x="1004888" y="175260"/>
                  </a:lnTo>
                  <a:lnTo>
                    <a:pt x="1006793" y="172403"/>
                  </a:lnTo>
                  <a:lnTo>
                    <a:pt x="1008698" y="170497"/>
                  </a:lnTo>
                  <a:lnTo>
                    <a:pt x="1011555" y="170497"/>
                  </a:lnTo>
                  <a:lnTo>
                    <a:pt x="1014413" y="172403"/>
                  </a:lnTo>
                  <a:lnTo>
                    <a:pt x="1017270" y="176213"/>
                  </a:lnTo>
                  <a:lnTo>
                    <a:pt x="1019175" y="179070"/>
                  </a:lnTo>
                  <a:lnTo>
                    <a:pt x="1022032" y="184785"/>
                  </a:lnTo>
                  <a:lnTo>
                    <a:pt x="1024890" y="187642"/>
                  </a:lnTo>
                  <a:lnTo>
                    <a:pt x="1028700" y="188595"/>
                  </a:lnTo>
                  <a:lnTo>
                    <a:pt x="1045845" y="189547"/>
                  </a:lnTo>
                  <a:lnTo>
                    <a:pt x="1048703" y="190500"/>
                  </a:lnTo>
                  <a:lnTo>
                    <a:pt x="1051560" y="191453"/>
                  </a:lnTo>
                  <a:lnTo>
                    <a:pt x="1053465" y="195263"/>
                  </a:lnTo>
                  <a:lnTo>
                    <a:pt x="1053465" y="199072"/>
                  </a:lnTo>
                  <a:lnTo>
                    <a:pt x="1054418" y="204788"/>
                  </a:lnTo>
                  <a:lnTo>
                    <a:pt x="1058228" y="208597"/>
                  </a:lnTo>
                  <a:lnTo>
                    <a:pt x="1080135" y="221933"/>
                  </a:lnTo>
                  <a:lnTo>
                    <a:pt x="1084898" y="227647"/>
                  </a:lnTo>
                  <a:lnTo>
                    <a:pt x="1087755" y="232410"/>
                  </a:lnTo>
                  <a:lnTo>
                    <a:pt x="1086803" y="239078"/>
                  </a:lnTo>
                  <a:lnTo>
                    <a:pt x="1087755" y="241935"/>
                  </a:lnTo>
                  <a:lnTo>
                    <a:pt x="1088708" y="244792"/>
                  </a:lnTo>
                  <a:lnTo>
                    <a:pt x="1092518" y="247650"/>
                  </a:lnTo>
                  <a:lnTo>
                    <a:pt x="1098233" y="249555"/>
                  </a:lnTo>
                  <a:lnTo>
                    <a:pt x="1124903" y="251460"/>
                  </a:lnTo>
                  <a:lnTo>
                    <a:pt x="1132523" y="251460"/>
                  </a:lnTo>
                  <a:lnTo>
                    <a:pt x="1137285" y="249555"/>
                  </a:lnTo>
                  <a:lnTo>
                    <a:pt x="1142048" y="246697"/>
                  </a:lnTo>
                  <a:lnTo>
                    <a:pt x="1146810" y="244792"/>
                  </a:lnTo>
                  <a:lnTo>
                    <a:pt x="1152525" y="242888"/>
                  </a:lnTo>
                  <a:lnTo>
                    <a:pt x="1163955" y="240030"/>
                  </a:lnTo>
                  <a:lnTo>
                    <a:pt x="1197293" y="245745"/>
                  </a:lnTo>
                  <a:lnTo>
                    <a:pt x="1203960" y="244792"/>
                  </a:lnTo>
                  <a:lnTo>
                    <a:pt x="1207770" y="241935"/>
                  </a:lnTo>
                  <a:lnTo>
                    <a:pt x="1206818" y="232410"/>
                  </a:lnTo>
                  <a:lnTo>
                    <a:pt x="1206818" y="229553"/>
                  </a:lnTo>
                  <a:lnTo>
                    <a:pt x="1208723" y="227647"/>
                  </a:lnTo>
                  <a:lnTo>
                    <a:pt x="1213485" y="228600"/>
                  </a:lnTo>
                  <a:lnTo>
                    <a:pt x="1220153" y="232410"/>
                  </a:lnTo>
                  <a:lnTo>
                    <a:pt x="1235393" y="241935"/>
                  </a:lnTo>
                  <a:lnTo>
                    <a:pt x="1245870" y="247650"/>
                  </a:lnTo>
                  <a:lnTo>
                    <a:pt x="1262063" y="244792"/>
                  </a:lnTo>
                  <a:lnTo>
                    <a:pt x="1267778" y="244792"/>
                  </a:lnTo>
                  <a:lnTo>
                    <a:pt x="1269683" y="246697"/>
                  </a:lnTo>
                  <a:lnTo>
                    <a:pt x="1272540" y="248603"/>
                  </a:lnTo>
                  <a:lnTo>
                    <a:pt x="1275398" y="251460"/>
                  </a:lnTo>
                  <a:lnTo>
                    <a:pt x="1278255" y="257175"/>
                  </a:lnTo>
                  <a:lnTo>
                    <a:pt x="1279208" y="265747"/>
                  </a:lnTo>
                  <a:lnTo>
                    <a:pt x="1277303" y="28956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E36DA451-7AEC-4D03-4DEB-724823DC970F}"/>
                </a:ext>
              </a:extLst>
            </p:cNvPr>
            <p:cNvSpPr/>
            <p:nvPr/>
          </p:nvSpPr>
          <p:spPr>
            <a:xfrm>
              <a:off x="2700338" y="2024063"/>
              <a:ext cx="876300" cy="1419225"/>
            </a:xfrm>
            <a:custGeom>
              <a:avLst/>
              <a:gdLst>
                <a:gd name="connsiteX0" fmla="*/ 804863 w 876300"/>
                <a:gd name="connsiteY0" fmla="*/ 93345 h 1419225"/>
                <a:gd name="connsiteX1" fmla="*/ 793433 w 876300"/>
                <a:gd name="connsiteY1" fmla="*/ 99060 h 1419225"/>
                <a:gd name="connsiteX2" fmla="*/ 790575 w 876300"/>
                <a:gd name="connsiteY2" fmla="*/ 101917 h 1419225"/>
                <a:gd name="connsiteX3" fmla="*/ 792480 w 876300"/>
                <a:gd name="connsiteY3" fmla="*/ 103822 h 1419225"/>
                <a:gd name="connsiteX4" fmla="*/ 795338 w 876300"/>
                <a:gd name="connsiteY4" fmla="*/ 104775 h 1419225"/>
                <a:gd name="connsiteX5" fmla="*/ 813435 w 876300"/>
                <a:gd name="connsiteY5" fmla="*/ 110490 h 1419225"/>
                <a:gd name="connsiteX6" fmla="*/ 818197 w 876300"/>
                <a:gd name="connsiteY6" fmla="*/ 113347 h 1419225"/>
                <a:gd name="connsiteX7" fmla="*/ 822008 w 876300"/>
                <a:gd name="connsiteY7" fmla="*/ 117158 h 1419225"/>
                <a:gd name="connsiteX8" fmla="*/ 824865 w 876300"/>
                <a:gd name="connsiteY8" fmla="*/ 121920 h 1419225"/>
                <a:gd name="connsiteX9" fmla="*/ 825818 w 876300"/>
                <a:gd name="connsiteY9" fmla="*/ 124778 h 1419225"/>
                <a:gd name="connsiteX10" fmla="*/ 825818 w 876300"/>
                <a:gd name="connsiteY10" fmla="*/ 128588 h 1419225"/>
                <a:gd name="connsiteX11" fmla="*/ 823913 w 876300"/>
                <a:gd name="connsiteY11" fmla="*/ 135255 h 1419225"/>
                <a:gd name="connsiteX12" fmla="*/ 822008 w 876300"/>
                <a:gd name="connsiteY12" fmla="*/ 139065 h 1419225"/>
                <a:gd name="connsiteX13" fmla="*/ 819150 w 876300"/>
                <a:gd name="connsiteY13" fmla="*/ 140970 h 1419225"/>
                <a:gd name="connsiteX14" fmla="*/ 813435 w 876300"/>
                <a:gd name="connsiteY14" fmla="*/ 141922 h 1419225"/>
                <a:gd name="connsiteX15" fmla="*/ 793433 w 876300"/>
                <a:gd name="connsiteY15" fmla="*/ 143828 h 1419225"/>
                <a:gd name="connsiteX16" fmla="*/ 791528 w 876300"/>
                <a:gd name="connsiteY16" fmla="*/ 144780 h 1419225"/>
                <a:gd name="connsiteX17" fmla="*/ 790575 w 876300"/>
                <a:gd name="connsiteY17" fmla="*/ 147638 h 1419225"/>
                <a:gd name="connsiteX18" fmla="*/ 789622 w 876300"/>
                <a:gd name="connsiteY18" fmla="*/ 150495 h 1419225"/>
                <a:gd name="connsiteX19" fmla="*/ 791528 w 876300"/>
                <a:gd name="connsiteY19" fmla="*/ 153353 h 1419225"/>
                <a:gd name="connsiteX20" fmla="*/ 795338 w 876300"/>
                <a:gd name="connsiteY20" fmla="*/ 158115 h 1419225"/>
                <a:gd name="connsiteX21" fmla="*/ 802005 w 876300"/>
                <a:gd name="connsiteY21" fmla="*/ 163830 h 1419225"/>
                <a:gd name="connsiteX22" fmla="*/ 803910 w 876300"/>
                <a:gd name="connsiteY22" fmla="*/ 165735 h 1419225"/>
                <a:gd name="connsiteX23" fmla="*/ 803910 w 876300"/>
                <a:gd name="connsiteY23" fmla="*/ 169545 h 1419225"/>
                <a:gd name="connsiteX24" fmla="*/ 802005 w 876300"/>
                <a:gd name="connsiteY24" fmla="*/ 179070 h 1419225"/>
                <a:gd name="connsiteX25" fmla="*/ 799147 w 876300"/>
                <a:gd name="connsiteY25" fmla="*/ 184785 h 1419225"/>
                <a:gd name="connsiteX26" fmla="*/ 797243 w 876300"/>
                <a:gd name="connsiteY26" fmla="*/ 186690 h 1419225"/>
                <a:gd name="connsiteX27" fmla="*/ 787718 w 876300"/>
                <a:gd name="connsiteY27" fmla="*/ 192405 h 1419225"/>
                <a:gd name="connsiteX28" fmla="*/ 785813 w 876300"/>
                <a:gd name="connsiteY28" fmla="*/ 193358 h 1419225"/>
                <a:gd name="connsiteX29" fmla="*/ 784860 w 876300"/>
                <a:gd name="connsiteY29" fmla="*/ 196215 h 1419225"/>
                <a:gd name="connsiteX30" fmla="*/ 785813 w 876300"/>
                <a:gd name="connsiteY30" fmla="*/ 199072 h 1419225"/>
                <a:gd name="connsiteX31" fmla="*/ 788670 w 876300"/>
                <a:gd name="connsiteY31" fmla="*/ 202883 h 1419225"/>
                <a:gd name="connsiteX32" fmla="*/ 791528 w 876300"/>
                <a:gd name="connsiteY32" fmla="*/ 204788 h 1419225"/>
                <a:gd name="connsiteX33" fmla="*/ 795338 w 876300"/>
                <a:gd name="connsiteY33" fmla="*/ 206692 h 1419225"/>
                <a:gd name="connsiteX34" fmla="*/ 802005 w 876300"/>
                <a:gd name="connsiteY34" fmla="*/ 206692 h 1419225"/>
                <a:gd name="connsiteX35" fmla="*/ 804863 w 876300"/>
                <a:gd name="connsiteY35" fmla="*/ 208597 h 1419225"/>
                <a:gd name="connsiteX36" fmla="*/ 805815 w 876300"/>
                <a:gd name="connsiteY36" fmla="*/ 212408 h 1419225"/>
                <a:gd name="connsiteX37" fmla="*/ 804863 w 876300"/>
                <a:gd name="connsiteY37" fmla="*/ 219075 h 1419225"/>
                <a:gd name="connsiteX38" fmla="*/ 803910 w 876300"/>
                <a:gd name="connsiteY38" fmla="*/ 222885 h 1419225"/>
                <a:gd name="connsiteX39" fmla="*/ 802005 w 876300"/>
                <a:gd name="connsiteY39" fmla="*/ 225742 h 1419225"/>
                <a:gd name="connsiteX40" fmla="*/ 771525 w 876300"/>
                <a:gd name="connsiteY40" fmla="*/ 235267 h 1419225"/>
                <a:gd name="connsiteX41" fmla="*/ 767715 w 876300"/>
                <a:gd name="connsiteY41" fmla="*/ 239078 h 1419225"/>
                <a:gd name="connsiteX42" fmla="*/ 763905 w 876300"/>
                <a:gd name="connsiteY42" fmla="*/ 242888 h 1419225"/>
                <a:gd name="connsiteX43" fmla="*/ 761047 w 876300"/>
                <a:gd name="connsiteY43" fmla="*/ 246697 h 1419225"/>
                <a:gd name="connsiteX44" fmla="*/ 762000 w 876300"/>
                <a:gd name="connsiteY44" fmla="*/ 253365 h 1419225"/>
                <a:gd name="connsiteX45" fmla="*/ 766763 w 876300"/>
                <a:gd name="connsiteY45" fmla="*/ 266700 h 1419225"/>
                <a:gd name="connsiteX46" fmla="*/ 768668 w 876300"/>
                <a:gd name="connsiteY46" fmla="*/ 275272 h 1419225"/>
                <a:gd name="connsiteX47" fmla="*/ 769620 w 876300"/>
                <a:gd name="connsiteY47" fmla="*/ 281940 h 1419225"/>
                <a:gd name="connsiteX48" fmla="*/ 767715 w 876300"/>
                <a:gd name="connsiteY48" fmla="*/ 287655 h 1419225"/>
                <a:gd name="connsiteX49" fmla="*/ 763905 w 876300"/>
                <a:gd name="connsiteY49" fmla="*/ 297180 h 1419225"/>
                <a:gd name="connsiteX50" fmla="*/ 763905 w 876300"/>
                <a:gd name="connsiteY50" fmla="*/ 300990 h 1419225"/>
                <a:gd name="connsiteX51" fmla="*/ 764858 w 876300"/>
                <a:gd name="connsiteY51" fmla="*/ 304800 h 1419225"/>
                <a:gd name="connsiteX52" fmla="*/ 767715 w 876300"/>
                <a:gd name="connsiteY52" fmla="*/ 310515 h 1419225"/>
                <a:gd name="connsiteX53" fmla="*/ 770572 w 876300"/>
                <a:gd name="connsiteY53" fmla="*/ 313372 h 1419225"/>
                <a:gd name="connsiteX54" fmla="*/ 777240 w 876300"/>
                <a:gd name="connsiteY54" fmla="*/ 319088 h 1419225"/>
                <a:gd name="connsiteX55" fmla="*/ 781050 w 876300"/>
                <a:gd name="connsiteY55" fmla="*/ 322897 h 1419225"/>
                <a:gd name="connsiteX56" fmla="*/ 783908 w 876300"/>
                <a:gd name="connsiteY56" fmla="*/ 327660 h 1419225"/>
                <a:gd name="connsiteX57" fmla="*/ 783908 w 876300"/>
                <a:gd name="connsiteY57" fmla="*/ 332422 h 1419225"/>
                <a:gd name="connsiteX58" fmla="*/ 783908 w 876300"/>
                <a:gd name="connsiteY58" fmla="*/ 337185 h 1419225"/>
                <a:gd name="connsiteX59" fmla="*/ 782955 w 876300"/>
                <a:gd name="connsiteY59" fmla="*/ 346710 h 1419225"/>
                <a:gd name="connsiteX60" fmla="*/ 781050 w 876300"/>
                <a:gd name="connsiteY60" fmla="*/ 356235 h 1419225"/>
                <a:gd name="connsiteX61" fmla="*/ 780097 w 876300"/>
                <a:gd name="connsiteY61" fmla="*/ 360045 h 1419225"/>
                <a:gd name="connsiteX62" fmla="*/ 780097 w 876300"/>
                <a:gd name="connsiteY62" fmla="*/ 363855 h 1419225"/>
                <a:gd name="connsiteX63" fmla="*/ 782955 w 876300"/>
                <a:gd name="connsiteY63" fmla="*/ 370522 h 1419225"/>
                <a:gd name="connsiteX64" fmla="*/ 786765 w 876300"/>
                <a:gd name="connsiteY64" fmla="*/ 377190 h 1419225"/>
                <a:gd name="connsiteX65" fmla="*/ 799147 w 876300"/>
                <a:gd name="connsiteY65" fmla="*/ 386715 h 1419225"/>
                <a:gd name="connsiteX66" fmla="*/ 802005 w 876300"/>
                <a:gd name="connsiteY66" fmla="*/ 391478 h 1419225"/>
                <a:gd name="connsiteX67" fmla="*/ 803910 w 876300"/>
                <a:gd name="connsiteY67" fmla="*/ 396240 h 1419225"/>
                <a:gd name="connsiteX68" fmla="*/ 804863 w 876300"/>
                <a:gd name="connsiteY68" fmla="*/ 399097 h 1419225"/>
                <a:gd name="connsiteX69" fmla="*/ 805815 w 876300"/>
                <a:gd name="connsiteY69" fmla="*/ 404813 h 1419225"/>
                <a:gd name="connsiteX70" fmla="*/ 805815 w 876300"/>
                <a:gd name="connsiteY70" fmla="*/ 412433 h 1419225"/>
                <a:gd name="connsiteX71" fmla="*/ 804863 w 876300"/>
                <a:gd name="connsiteY71" fmla="*/ 428625 h 1419225"/>
                <a:gd name="connsiteX72" fmla="*/ 803910 w 876300"/>
                <a:gd name="connsiteY72" fmla="*/ 435292 h 1419225"/>
                <a:gd name="connsiteX73" fmla="*/ 802005 w 876300"/>
                <a:gd name="connsiteY73" fmla="*/ 440055 h 1419225"/>
                <a:gd name="connsiteX74" fmla="*/ 796290 w 876300"/>
                <a:gd name="connsiteY74" fmla="*/ 445770 h 1419225"/>
                <a:gd name="connsiteX75" fmla="*/ 792480 w 876300"/>
                <a:gd name="connsiteY75" fmla="*/ 450533 h 1419225"/>
                <a:gd name="connsiteX76" fmla="*/ 790575 w 876300"/>
                <a:gd name="connsiteY76" fmla="*/ 455295 h 1419225"/>
                <a:gd name="connsiteX77" fmla="*/ 789622 w 876300"/>
                <a:gd name="connsiteY77" fmla="*/ 458153 h 1419225"/>
                <a:gd name="connsiteX78" fmla="*/ 789622 w 876300"/>
                <a:gd name="connsiteY78" fmla="*/ 461963 h 1419225"/>
                <a:gd name="connsiteX79" fmla="*/ 790575 w 876300"/>
                <a:gd name="connsiteY79" fmla="*/ 466725 h 1419225"/>
                <a:gd name="connsiteX80" fmla="*/ 793433 w 876300"/>
                <a:gd name="connsiteY80" fmla="*/ 472440 h 1419225"/>
                <a:gd name="connsiteX81" fmla="*/ 797243 w 876300"/>
                <a:gd name="connsiteY81" fmla="*/ 478155 h 1419225"/>
                <a:gd name="connsiteX82" fmla="*/ 811530 w 876300"/>
                <a:gd name="connsiteY82" fmla="*/ 490538 h 1419225"/>
                <a:gd name="connsiteX83" fmla="*/ 815340 w 876300"/>
                <a:gd name="connsiteY83" fmla="*/ 494347 h 1419225"/>
                <a:gd name="connsiteX84" fmla="*/ 815340 w 876300"/>
                <a:gd name="connsiteY84" fmla="*/ 498158 h 1419225"/>
                <a:gd name="connsiteX85" fmla="*/ 815340 w 876300"/>
                <a:gd name="connsiteY85" fmla="*/ 502920 h 1419225"/>
                <a:gd name="connsiteX86" fmla="*/ 813435 w 876300"/>
                <a:gd name="connsiteY86" fmla="*/ 509588 h 1419225"/>
                <a:gd name="connsiteX87" fmla="*/ 811530 w 876300"/>
                <a:gd name="connsiteY87" fmla="*/ 513397 h 1419225"/>
                <a:gd name="connsiteX88" fmla="*/ 809625 w 876300"/>
                <a:gd name="connsiteY88" fmla="*/ 516255 h 1419225"/>
                <a:gd name="connsiteX89" fmla="*/ 803910 w 876300"/>
                <a:gd name="connsiteY89" fmla="*/ 521970 h 1419225"/>
                <a:gd name="connsiteX90" fmla="*/ 800100 w 876300"/>
                <a:gd name="connsiteY90" fmla="*/ 525780 h 1419225"/>
                <a:gd name="connsiteX91" fmla="*/ 798195 w 876300"/>
                <a:gd name="connsiteY91" fmla="*/ 531495 h 1419225"/>
                <a:gd name="connsiteX92" fmla="*/ 797243 w 876300"/>
                <a:gd name="connsiteY92" fmla="*/ 538163 h 1419225"/>
                <a:gd name="connsiteX93" fmla="*/ 795338 w 876300"/>
                <a:gd name="connsiteY93" fmla="*/ 559118 h 1419225"/>
                <a:gd name="connsiteX94" fmla="*/ 793433 w 876300"/>
                <a:gd name="connsiteY94" fmla="*/ 568643 h 1419225"/>
                <a:gd name="connsiteX95" fmla="*/ 791528 w 876300"/>
                <a:gd name="connsiteY95" fmla="*/ 571500 h 1419225"/>
                <a:gd name="connsiteX96" fmla="*/ 788670 w 876300"/>
                <a:gd name="connsiteY96" fmla="*/ 576263 h 1419225"/>
                <a:gd name="connsiteX97" fmla="*/ 774383 w 876300"/>
                <a:gd name="connsiteY97" fmla="*/ 583883 h 1419225"/>
                <a:gd name="connsiteX98" fmla="*/ 770572 w 876300"/>
                <a:gd name="connsiteY98" fmla="*/ 586740 h 1419225"/>
                <a:gd name="connsiteX99" fmla="*/ 768668 w 876300"/>
                <a:gd name="connsiteY99" fmla="*/ 590550 h 1419225"/>
                <a:gd name="connsiteX100" fmla="*/ 761047 w 876300"/>
                <a:gd name="connsiteY100" fmla="*/ 608647 h 1419225"/>
                <a:gd name="connsiteX101" fmla="*/ 760095 w 876300"/>
                <a:gd name="connsiteY101" fmla="*/ 613410 h 1419225"/>
                <a:gd name="connsiteX102" fmla="*/ 760095 w 876300"/>
                <a:gd name="connsiteY102" fmla="*/ 617220 h 1419225"/>
                <a:gd name="connsiteX103" fmla="*/ 761047 w 876300"/>
                <a:gd name="connsiteY103" fmla="*/ 621983 h 1419225"/>
                <a:gd name="connsiteX104" fmla="*/ 763905 w 876300"/>
                <a:gd name="connsiteY104" fmla="*/ 631508 h 1419225"/>
                <a:gd name="connsiteX105" fmla="*/ 773430 w 876300"/>
                <a:gd name="connsiteY105" fmla="*/ 651510 h 1419225"/>
                <a:gd name="connsiteX106" fmla="*/ 778193 w 876300"/>
                <a:gd name="connsiteY106" fmla="*/ 665797 h 1419225"/>
                <a:gd name="connsiteX107" fmla="*/ 782955 w 876300"/>
                <a:gd name="connsiteY107" fmla="*/ 687705 h 1419225"/>
                <a:gd name="connsiteX108" fmla="*/ 784860 w 876300"/>
                <a:gd name="connsiteY108" fmla="*/ 692468 h 1419225"/>
                <a:gd name="connsiteX109" fmla="*/ 786765 w 876300"/>
                <a:gd name="connsiteY109" fmla="*/ 695325 h 1419225"/>
                <a:gd name="connsiteX110" fmla="*/ 800100 w 876300"/>
                <a:gd name="connsiteY110" fmla="*/ 704850 h 1419225"/>
                <a:gd name="connsiteX111" fmla="*/ 802005 w 876300"/>
                <a:gd name="connsiteY111" fmla="*/ 706755 h 1419225"/>
                <a:gd name="connsiteX112" fmla="*/ 802958 w 876300"/>
                <a:gd name="connsiteY112" fmla="*/ 709613 h 1419225"/>
                <a:gd name="connsiteX113" fmla="*/ 802958 w 876300"/>
                <a:gd name="connsiteY113" fmla="*/ 714375 h 1419225"/>
                <a:gd name="connsiteX114" fmla="*/ 802958 w 876300"/>
                <a:gd name="connsiteY114" fmla="*/ 722947 h 1419225"/>
                <a:gd name="connsiteX115" fmla="*/ 803910 w 876300"/>
                <a:gd name="connsiteY115" fmla="*/ 730568 h 1419225"/>
                <a:gd name="connsiteX116" fmla="*/ 807720 w 876300"/>
                <a:gd name="connsiteY116" fmla="*/ 745807 h 1419225"/>
                <a:gd name="connsiteX117" fmla="*/ 807720 w 876300"/>
                <a:gd name="connsiteY117" fmla="*/ 750570 h 1419225"/>
                <a:gd name="connsiteX118" fmla="*/ 807720 w 876300"/>
                <a:gd name="connsiteY118" fmla="*/ 754380 h 1419225"/>
                <a:gd name="connsiteX119" fmla="*/ 805815 w 876300"/>
                <a:gd name="connsiteY119" fmla="*/ 763905 h 1419225"/>
                <a:gd name="connsiteX120" fmla="*/ 804863 w 876300"/>
                <a:gd name="connsiteY120" fmla="*/ 768668 h 1419225"/>
                <a:gd name="connsiteX121" fmla="*/ 805815 w 876300"/>
                <a:gd name="connsiteY121" fmla="*/ 772478 h 1419225"/>
                <a:gd name="connsiteX122" fmla="*/ 807720 w 876300"/>
                <a:gd name="connsiteY122" fmla="*/ 778193 h 1419225"/>
                <a:gd name="connsiteX123" fmla="*/ 811530 w 876300"/>
                <a:gd name="connsiteY123" fmla="*/ 784860 h 1419225"/>
                <a:gd name="connsiteX124" fmla="*/ 817245 w 876300"/>
                <a:gd name="connsiteY124" fmla="*/ 793432 h 1419225"/>
                <a:gd name="connsiteX125" fmla="*/ 818197 w 876300"/>
                <a:gd name="connsiteY125" fmla="*/ 796290 h 1419225"/>
                <a:gd name="connsiteX126" fmla="*/ 818197 w 876300"/>
                <a:gd name="connsiteY126" fmla="*/ 800100 h 1419225"/>
                <a:gd name="connsiteX127" fmla="*/ 816293 w 876300"/>
                <a:gd name="connsiteY127" fmla="*/ 805815 h 1419225"/>
                <a:gd name="connsiteX128" fmla="*/ 813435 w 876300"/>
                <a:gd name="connsiteY128" fmla="*/ 812482 h 1419225"/>
                <a:gd name="connsiteX129" fmla="*/ 812483 w 876300"/>
                <a:gd name="connsiteY129" fmla="*/ 816293 h 1419225"/>
                <a:gd name="connsiteX130" fmla="*/ 812483 w 876300"/>
                <a:gd name="connsiteY130" fmla="*/ 821055 h 1419225"/>
                <a:gd name="connsiteX131" fmla="*/ 812483 w 876300"/>
                <a:gd name="connsiteY131" fmla="*/ 829628 h 1419225"/>
                <a:gd name="connsiteX132" fmla="*/ 811530 w 876300"/>
                <a:gd name="connsiteY132" fmla="*/ 833438 h 1419225"/>
                <a:gd name="connsiteX133" fmla="*/ 809625 w 876300"/>
                <a:gd name="connsiteY133" fmla="*/ 836295 h 1419225"/>
                <a:gd name="connsiteX134" fmla="*/ 802005 w 876300"/>
                <a:gd name="connsiteY134" fmla="*/ 839153 h 1419225"/>
                <a:gd name="connsiteX135" fmla="*/ 797243 w 876300"/>
                <a:gd name="connsiteY135" fmla="*/ 841057 h 1419225"/>
                <a:gd name="connsiteX136" fmla="*/ 793433 w 876300"/>
                <a:gd name="connsiteY136" fmla="*/ 844868 h 1419225"/>
                <a:gd name="connsiteX137" fmla="*/ 791528 w 876300"/>
                <a:gd name="connsiteY137" fmla="*/ 847725 h 1419225"/>
                <a:gd name="connsiteX138" fmla="*/ 790575 w 876300"/>
                <a:gd name="connsiteY138" fmla="*/ 850582 h 1419225"/>
                <a:gd name="connsiteX139" fmla="*/ 789622 w 876300"/>
                <a:gd name="connsiteY139" fmla="*/ 854393 h 1419225"/>
                <a:gd name="connsiteX140" fmla="*/ 789622 w 876300"/>
                <a:gd name="connsiteY140" fmla="*/ 861060 h 1419225"/>
                <a:gd name="connsiteX141" fmla="*/ 789622 w 876300"/>
                <a:gd name="connsiteY141" fmla="*/ 868680 h 1419225"/>
                <a:gd name="connsiteX142" fmla="*/ 786765 w 876300"/>
                <a:gd name="connsiteY142" fmla="*/ 881063 h 1419225"/>
                <a:gd name="connsiteX143" fmla="*/ 786765 w 876300"/>
                <a:gd name="connsiteY143" fmla="*/ 885825 h 1419225"/>
                <a:gd name="connsiteX144" fmla="*/ 786765 w 876300"/>
                <a:gd name="connsiteY144" fmla="*/ 889635 h 1419225"/>
                <a:gd name="connsiteX145" fmla="*/ 789622 w 876300"/>
                <a:gd name="connsiteY145" fmla="*/ 896303 h 1419225"/>
                <a:gd name="connsiteX146" fmla="*/ 791528 w 876300"/>
                <a:gd name="connsiteY146" fmla="*/ 899160 h 1419225"/>
                <a:gd name="connsiteX147" fmla="*/ 797243 w 876300"/>
                <a:gd name="connsiteY147" fmla="*/ 905828 h 1419225"/>
                <a:gd name="connsiteX148" fmla="*/ 798195 w 876300"/>
                <a:gd name="connsiteY148" fmla="*/ 908685 h 1419225"/>
                <a:gd name="connsiteX149" fmla="*/ 799147 w 876300"/>
                <a:gd name="connsiteY149" fmla="*/ 911543 h 1419225"/>
                <a:gd name="connsiteX150" fmla="*/ 798195 w 876300"/>
                <a:gd name="connsiteY150" fmla="*/ 915353 h 1419225"/>
                <a:gd name="connsiteX151" fmla="*/ 794385 w 876300"/>
                <a:gd name="connsiteY151" fmla="*/ 923925 h 1419225"/>
                <a:gd name="connsiteX152" fmla="*/ 794385 w 876300"/>
                <a:gd name="connsiteY152" fmla="*/ 927735 h 1419225"/>
                <a:gd name="connsiteX153" fmla="*/ 793433 w 876300"/>
                <a:gd name="connsiteY153" fmla="*/ 934403 h 1419225"/>
                <a:gd name="connsiteX154" fmla="*/ 793433 w 876300"/>
                <a:gd name="connsiteY154" fmla="*/ 938213 h 1419225"/>
                <a:gd name="connsiteX155" fmla="*/ 794385 w 876300"/>
                <a:gd name="connsiteY155" fmla="*/ 942975 h 1419225"/>
                <a:gd name="connsiteX156" fmla="*/ 802958 w 876300"/>
                <a:gd name="connsiteY156" fmla="*/ 961072 h 1419225"/>
                <a:gd name="connsiteX157" fmla="*/ 803910 w 876300"/>
                <a:gd name="connsiteY157" fmla="*/ 966788 h 1419225"/>
                <a:gd name="connsiteX158" fmla="*/ 803910 w 876300"/>
                <a:gd name="connsiteY158" fmla="*/ 970597 h 1419225"/>
                <a:gd name="connsiteX159" fmla="*/ 802005 w 876300"/>
                <a:gd name="connsiteY159" fmla="*/ 976313 h 1419225"/>
                <a:gd name="connsiteX160" fmla="*/ 801053 w 876300"/>
                <a:gd name="connsiteY160" fmla="*/ 980122 h 1419225"/>
                <a:gd name="connsiteX161" fmla="*/ 798195 w 876300"/>
                <a:gd name="connsiteY161" fmla="*/ 982980 h 1419225"/>
                <a:gd name="connsiteX162" fmla="*/ 793433 w 876300"/>
                <a:gd name="connsiteY162" fmla="*/ 987743 h 1419225"/>
                <a:gd name="connsiteX163" fmla="*/ 789622 w 876300"/>
                <a:gd name="connsiteY163" fmla="*/ 992505 h 1419225"/>
                <a:gd name="connsiteX164" fmla="*/ 786765 w 876300"/>
                <a:gd name="connsiteY164" fmla="*/ 997268 h 1419225"/>
                <a:gd name="connsiteX165" fmla="*/ 786765 w 876300"/>
                <a:gd name="connsiteY165" fmla="*/ 1001078 h 1419225"/>
                <a:gd name="connsiteX166" fmla="*/ 787718 w 876300"/>
                <a:gd name="connsiteY166" fmla="*/ 1006793 h 1419225"/>
                <a:gd name="connsiteX167" fmla="*/ 791528 w 876300"/>
                <a:gd name="connsiteY167" fmla="*/ 1015365 h 1419225"/>
                <a:gd name="connsiteX168" fmla="*/ 797243 w 876300"/>
                <a:gd name="connsiteY168" fmla="*/ 1024890 h 1419225"/>
                <a:gd name="connsiteX169" fmla="*/ 798195 w 876300"/>
                <a:gd name="connsiteY169" fmla="*/ 1029653 h 1419225"/>
                <a:gd name="connsiteX170" fmla="*/ 798195 w 876300"/>
                <a:gd name="connsiteY170" fmla="*/ 1030605 h 1419225"/>
                <a:gd name="connsiteX171" fmla="*/ 795338 w 876300"/>
                <a:gd name="connsiteY171" fmla="*/ 1036320 h 1419225"/>
                <a:gd name="connsiteX172" fmla="*/ 788670 w 876300"/>
                <a:gd name="connsiteY172" fmla="*/ 1038225 h 1419225"/>
                <a:gd name="connsiteX173" fmla="*/ 786765 w 876300"/>
                <a:gd name="connsiteY173" fmla="*/ 1040130 h 1419225"/>
                <a:gd name="connsiteX174" fmla="*/ 786765 w 876300"/>
                <a:gd name="connsiteY174" fmla="*/ 1042988 h 1419225"/>
                <a:gd name="connsiteX175" fmla="*/ 789622 w 876300"/>
                <a:gd name="connsiteY175" fmla="*/ 1049655 h 1419225"/>
                <a:gd name="connsiteX176" fmla="*/ 790575 w 876300"/>
                <a:gd name="connsiteY176" fmla="*/ 1054418 h 1419225"/>
                <a:gd name="connsiteX177" fmla="*/ 789622 w 876300"/>
                <a:gd name="connsiteY177" fmla="*/ 1058228 h 1419225"/>
                <a:gd name="connsiteX178" fmla="*/ 787718 w 876300"/>
                <a:gd name="connsiteY178" fmla="*/ 1060132 h 1419225"/>
                <a:gd name="connsiteX179" fmla="*/ 782955 w 876300"/>
                <a:gd name="connsiteY179" fmla="*/ 1062990 h 1419225"/>
                <a:gd name="connsiteX180" fmla="*/ 781050 w 876300"/>
                <a:gd name="connsiteY180" fmla="*/ 1064895 h 1419225"/>
                <a:gd name="connsiteX181" fmla="*/ 782003 w 876300"/>
                <a:gd name="connsiteY181" fmla="*/ 1068705 h 1419225"/>
                <a:gd name="connsiteX182" fmla="*/ 785813 w 876300"/>
                <a:gd name="connsiteY182" fmla="*/ 1075373 h 1419225"/>
                <a:gd name="connsiteX183" fmla="*/ 787718 w 876300"/>
                <a:gd name="connsiteY183" fmla="*/ 1078230 h 1419225"/>
                <a:gd name="connsiteX184" fmla="*/ 788670 w 876300"/>
                <a:gd name="connsiteY184" fmla="*/ 1082993 h 1419225"/>
                <a:gd name="connsiteX185" fmla="*/ 788670 w 876300"/>
                <a:gd name="connsiteY185" fmla="*/ 1089660 h 1419225"/>
                <a:gd name="connsiteX186" fmla="*/ 787718 w 876300"/>
                <a:gd name="connsiteY186" fmla="*/ 1094423 h 1419225"/>
                <a:gd name="connsiteX187" fmla="*/ 783908 w 876300"/>
                <a:gd name="connsiteY187" fmla="*/ 1102995 h 1419225"/>
                <a:gd name="connsiteX188" fmla="*/ 783908 w 876300"/>
                <a:gd name="connsiteY188" fmla="*/ 1105853 h 1419225"/>
                <a:gd name="connsiteX189" fmla="*/ 783908 w 876300"/>
                <a:gd name="connsiteY189" fmla="*/ 1108710 h 1419225"/>
                <a:gd name="connsiteX190" fmla="*/ 784860 w 876300"/>
                <a:gd name="connsiteY190" fmla="*/ 1110615 h 1419225"/>
                <a:gd name="connsiteX191" fmla="*/ 788670 w 876300"/>
                <a:gd name="connsiteY191" fmla="*/ 1110615 h 1419225"/>
                <a:gd name="connsiteX192" fmla="*/ 796290 w 876300"/>
                <a:gd name="connsiteY192" fmla="*/ 1108710 h 1419225"/>
                <a:gd name="connsiteX193" fmla="*/ 798195 w 876300"/>
                <a:gd name="connsiteY193" fmla="*/ 1110615 h 1419225"/>
                <a:gd name="connsiteX194" fmla="*/ 799147 w 876300"/>
                <a:gd name="connsiteY194" fmla="*/ 1113473 h 1419225"/>
                <a:gd name="connsiteX195" fmla="*/ 799147 w 876300"/>
                <a:gd name="connsiteY195" fmla="*/ 1117282 h 1419225"/>
                <a:gd name="connsiteX196" fmla="*/ 797243 w 876300"/>
                <a:gd name="connsiteY196" fmla="*/ 1127760 h 1419225"/>
                <a:gd name="connsiteX197" fmla="*/ 795338 w 876300"/>
                <a:gd name="connsiteY197" fmla="*/ 1153478 h 1419225"/>
                <a:gd name="connsiteX198" fmla="*/ 795338 w 876300"/>
                <a:gd name="connsiteY198" fmla="*/ 1157288 h 1419225"/>
                <a:gd name="connsiteX199" fmla="*/ 796290 w 876300"/>
                <a:gd name="connsiteY199" fmla="*/ 1161098 h 1419225"/>
                <a:gd name="connsiteX200" fmla="*/ 803910 w 876300"/>
                <a:gd name="connsiteY200" fmla="*/ 1172528 h 1419225"/>
                <a:gd name="connsiteX201" fmla="*/ 807720 w 876300"/>
                <a:gd name="connsiteY201" fmla="*/ 1176338 h 1419225"/>
                <a:gd name="connsiteX202" fmla="*/ 818197 w 876300"/>
                <a:gd name="connsiteY202" fmla="*/ 1180148 h 1419225"/>
                <a:gd name="connsiteX203" fmla="*/ 821055 w 876300"/>
                <a:gd name="connsiteY203" fmla="*/ 1182053 h 1419225"/>
                <a:gd name="connsiteX204" fmla="*/ 821055 w 876300"/>
                <a:gd name="connsiteY204" fmla="*/ 1183957 h 1419225"/>
                <a:gd name="connsiteX205" fmla="*/ 820103 w 876300"/>
                <a:gd name="connsiteY205" fmla="*/ 1186815 h 1419225"/>
                <a:gd name="connsiteX206" fmla="*/ 817245 w 876300"/>
                <a:gd name="connsiteY206" fmla="*/ 1188720 h 1419225"/>
                <a:gd name="connsiteX207" fmla="*/ 811530 w 876300"/>
                <a:gd name="connsiteY207" fmla="*/ 1189673 h 1419225"/>
                <a:gd name="connsiteX208" fmla="*/ 809625 w 876300"/>
                <a:gd name="connsiteY208" fmla="*/ 1190625 h 1419225"/>
                <a:gd name="connsiteX209" fmla="*/ 808672 w 876300"/>
                <a:gd name="connsiteY209" fmla="*/ 1192530 h 1419225"/>
                <a:gd name="connsiteX210" fmla="*/ 807720 w 876300"/>
                <a:gd name="connsiteY210" fmla="*/ 1198245 h 1419225"/>
                <a:gd name="connsiteX211" fmla="*/ 803910 w 876300"/>
                <a:gd name="connsiteY211" fmla="*/ 1204913 h 1419225"/>
                <a:gd name="connsiteX212" fmla="*/ 802005 w 876300"/>
                <a:gd name="connsiteY212" fmla="*/ 1207770 h 1419225"/>
                <a:gd name="connsiteX213" fmla="*/ 802958 w 876300"/>
                <a:gd name="connsiteY213" fmla="*/ 1210628 h 1419225"/>
                <a:gd name="connsiteX214" fmla="*/ 803910 w 876300"/>
                <a:gd name="connsiteY214" fmla="*/ 1214438 h 1419225"/>
                <a:gd name="connsiteX215" fmla="*/ 810578 w 876300"/>
                <a:gd name="connsiteY215" fmla="*/ 1222057 h 1419225"/>
                <a:gd name="connsiteX216" fmla="*/ 813435 w 876300"/>
                <a:gd name="connsiteY216" fmla="*/ 1225868 h 1419225"/>
                <a:gd name="connsiteX217" fmla="*/ 814388 w 876300"/>
                <a:gd name="connsiteY217" fmla="*/ 1228725 h 1419225"/>
                <a:gd name="connsiteX218" fmla="*/ 813435 w 876300"/>
                <a:gd name="connsiteY218" fmla="*/ 1233488 h 1419225"/>
                <a:gd name="connsiteX219" fmla="*/ 811530 w 876300"/>
                <a:gd name="connsiteY219" fmla="*/ 1239203 h 1419225"/>
                <a:gd name="connsiteX220" fmla="*/ 810578 w 876300"/>
                <a:gd name="connsiteY220" fmla="*/ 1244918 h 1419225"/>
                <a:gd name="connsiteX221" fmla="*/ 810578 w 876300"/>
                <a:gd name="connsiteY221" fmla="*/ 1261110 h 1419225"/>
                <a:gd name="connsiteX222" fmla="*/ 809625 w 876300"/>
                <a:gd name="connsiteY222" fmla="*/ 1267778 h 1419225"/>
                <a:gd name="connsiteX223" fmla="*/ 806768 w 876300"/>
                <a:gd name="connsiteY223" fmla="*/ 1276350 h 1419225"/>
                <a:gd name="connsiteX224" fmla="*/ 805815 w 876300"/>
                <a:gd name="connsiteY224" fmla="*/ 1283018 h 1419225"/>
                <a:gd name="connsiteX225" fmla="*/ 806768 w 876300"/>
                <a:gd name="connsiteY225" fmla="*/ 1286828 h 1419225"/>
                <a:gd name="connsiteX226" fmla="*/ 809625 w 876300"/>
                <a:gd name="connsiteY226" fmla="*/ 1291590 h 1419225"/>
                <a:gd name="connsiteX227" fmla="*/ 816293 w 876300"/>
                <a:gd name="connsiteY227" fmla="*/ 1297305 h 1419225"/>
                <a:gd name="connsiteX228" fmla="*/ 820103 w 876300"/>
                <a:gd name="connsiteY228" fmla="*/ 1299210 h 1419225"/>
                <a:gd name="connsiteX229" fmla="*/ 824865 w 876300"/>
                <a:gd name="connsiteY229" fmla="*/ 1300163 h 1419225"/>
                <a:gd name="connsiteX230" fmla="*/ 827722 w 876300"/>
                <a:gd name="connsiteY230" fmla="*/ 1301115 h 1419225"/>
                <a:gd name="connsiteX231" fmla="*/ 830580 w 876300"/>
                <a:gd name="connsiteY231" fmla="*/ 1302068 h 1419225"/>
                <a:gd name="connsiteX232" fmla="*/ 831533 w 876300"/>
                <a:gd name="connsiteY232" fmla="*/ 1303973 h 1419225"/>
                <a:gd name="connsiteX233" fmla="*/ 830580 w 876300"/>
                <a:gd name="connsiteY233" fmla="*/ 1311593 h 1419225"/>
                <a:gd name="connsiteX234" fmla="*/ 830580 w 876300"/>
                <a:gd name="connsiteY234" fmla="*/ 1314450 h 1419225"/>
                <a:gd name="connsiteX235" fmla="*/ 832485 w 876300"/>
                <a:gd name="connsiteY235" fmla="*/ 1318260 h 1419225"/>
                <a:gd name="connsiteX236" fmla="*/ 837247 w 876300"/>
                <a:gd name="connsiteY236" fmla="*/ 1321118 h 1419225"/>
                <a:gd name="connsiteX237" fmla="*/ 840105 w 876300"/>
                <a:gd name="connsiteY237" fmla="*/ 1322070 h 1419225"/>
                <a:gd name="connsiteX238" fmla="*/ 842010 w 876300"/>
                <a:gd name="connsiteY238" fmla="*/ 1320165 h 1419225"/>
                <a:gd name="connsiteX239" fmla="*/ 845820 w 876300"/>
                <a:gd name="connsiteY239" fmla="*/ 1316355 h 1419225"/>
                <a:gd name="connsiteX240" fmla="*/ 846772 w 876300"/>
                <a:gd name="connsiteY240" fmla="*/ 1315403 h 1419225"/>
                <a:gd name="connsiteX241" fmla="*/ 848678 w 876300"/>
                <a:gd name="connsiteY241" fmla="*/ 1316355 h 1419225"/>
                <a:gd name="connsiteX242" fmla="*/ 848678 w 876300"/>
                <a:gd name="connsiteY242" fmla="*/ 1324928 h 1419225"/>
                <a:gd name="connsiteX243" fmla="*/ 847725 w 876300"/>
                <a:gd name="connsiteY243" fmla="*/ 1329690 h 1419225"/>
                <a:gd name="connsiteX244" fmla="*/ 843915 w 876300"/>
                <a:gd name="connsiteY244" fmla="*/ 1337310 h 1419225"/>
                <a:gd name="connsiteX245" fmla="*/ 842963 w 876300"/>
                <a:gd name="connsiteY245" fmla="*/ 1340168 h 1419225"/>
                <a:gd name="connsiteX246" fmla="*/ 842963 w 876300"/>
                <a:gd name="connsiteY246" fmla="*/ 1343025 h 1419225"/>
                <a:gd name="connsiteX247" fmla="*/ 843915 w 876300"/>
                <a:gd name="connsiteY247" fmla="*/ 1346835 h 1419225"/>
                <a:gd name="connsiteX248" fmla="*/ 847725 w 876300"/>
                <a:gd name="connsiteY248" fmla="*/ 1350645 h 1419225"/>
                <a:gd name="connsiteX249" fmla="*/ 851535 w 876300"/>
                <a:gd name="connsiteY249" fmla="*/ 1352550 h 1419225"/>
                <a:gd name="connsiteX250" fmla="*/ 862013 w 876300"/>
                <a:gd name="connsiteY250" fmla="*/ 1359218 h 1419225"/>
                <a:gd name="connsiteX251" fmla="*/ 864870 w 876300"/>
                <a:gd name="connsiteY251" fmla="*/ 1361123 h 1419225"/>
                <a:gd name="connsiteX252" fmla="*/ 869633 w 876300"/>
                <a:gd name="connsiteY252" fmla="*/ 1365885 h 1419225"/>
                <a:gd name="connsiteX253" fmla="*/ 876300 w 876300"/>
                <a:gd name="connsiteY253" fmla="*/ 1369695 h 1419225"/>
                <a:gd name="connsiteX254" fmla="*/ 878205 w 876300"/>
                <a:gd name="connsiteY254" fmla="*/ 1371600 h 1419225"/>
                <a:gd name="connsiteX255" fmla="*/ 876300 w 876300"/>
                <a:gd name="connsiteY255" fmla="*/ 1375410 h 1419225"/>
                <a:gd name="connsiteX256" fmla="*/ 874395 w 876300"/>
                <a:gd name="connsiteY256" fmla="*/ 1376363 h 1419225"/>
                <a:gd name="connsiteX257" fmla="*/ 869633 w 876300"/>
                <a:gd name="connsiteY257" fmla="*/ 1378268 h 1419225"/>
                <a:gd name="connsiteX258" fmla="*/ 868680 w 876300"/>
                <a:gd name="connsiteY258" fmla="*/ 1381125 h 1419225"/>
                <a:gd name="connsiteX259" fmla="*/ 870585 w 876300"/>
                <a:gd name="connsiteY259" fmla="*/ 1387793 h 1419225"/>
                <a:gd name="connsiteX260" fmla="*/ 874395 w 876300"/>
                <a:gd name="connsiteY260" fmla="*/ 1398270 h 1419225"/>
                <a:gd name="connsiteX261" fmla="*/ 882968 w 876300"/>
                <a:gd name="connsiteY261" fmla="*/ 1417320 h 1419225"/>
                <a:gd name="connsiteX262" fmla="*/ 868680 w 876300"/>
                <a:gd name="connsiteY262" fmla="*/ 1422082 h 1419225"/>
                <a:gd name="connsiteX263" fmla="*/ 854393 w 876300"/>
                <a:gd name="connsiteY263" fmla="*/ 1421130 h 1419225"/>
                <a:gd name="connsiteX264" fmla="*/ 837247 w 876300"/>
                <a:gd name="connsiteY264" fmla="*/ 1414463 h 1419225"/>
                <a:gd name="connsiteX265" fmla="*/ 823913 w 876300"/>
                <a:gd name="connsiteY265" fmla="*/ 1406843 h 1419225"/>
                <a:gd name="connsiteX266" fmla="*/ 817245 w 876300"/>
                <a:gd name="connsiteY266" fmla="*/ 1403985 h 1419225"/>
                <a:gd name="connsiteX267" fmla="*/ 807720 w 876300"/>
                <a:gd name="connsiteY267" fmla="*/ 1403032 h 1419225"/>
                <a:gd name="connsiteX268" fmla="*/ 777240 w 876300"/>
                <a:gd name="connsiteY268" fmla="*/ 1409700 h 1419225"/>
                <a:gd name="connsiteX269" fmla="*/ 761047 w 876300"/>
                <a:gd name="connsiteY269" fmla="*/ 1399223 h 1419225"/>
                <a:gd name="connsiteX270" fmla="*/ 758190 w 876300"/>
                <a:gd name="connsiteY270" fmla="*/ 1376363 h 1419225"/>
                <a:gd name="connsiteX271" fmla="*/ 759143 w 876300"/>
                <a:gd name="connsiteY271" fmla="*/ 1353503 h 1419225"/>
                <a:gd name="connsiteX272" fmla="*/ 752475 w 876300"/>
                <a:gd name="connsiteY272" fmla="*/ 1343978 h 1419225"/>
                <a:gd name="connsiteX273" fmla="*/ 737235 w 876300"/>
                <a:gd name="connsiteY273" fmla="*/ 1342073 h 1419225"/>
                <a:gd name="connsiteX274" fmla="*/ 736283 w 876300"/>
                <a:gd name="connsiteY274" fmla="*/ 1345882 h 1419225"/>
                <a:gd name="connsiteX275" fmla="*/ 736283 w 876300"/>
                <a:gd name="connsiteY275" fmla="*/ 1357313 h 1419225"/>
                <a:gd name="connsiteX276" fmla="*/ 738188 w 876300"/>
                <a:gd name="connsiteY276" fmla="*/ 1365885 h 1419225"/>
                <a:gd name="connsiteX277" fmla="*/ 741997 w 876300"/>
                <a:gd name="connsiteY277" fmla="*/ 1374457 h 1419225"/>
                <a:gd name="connsiteX278" fmla="*/ 750570 w 876300"/>
                <a:gd name="connsiteY278" fmla="*/ 1386840 h 1419225"/>
                <a:gd name="connsiteX279" fmla="*/ 743903 w 876300"/>
                <a:gd name="connsiteY279" fmla="*/ 1397318 h 1419225"/>
                <a:gd name="connsiteX280" fmla="*/ 734378 w 876300"/>
                <a:gd name="connsiteY280" fmla="*/ 1398270 h 1419225"/>
                <a:gd name="connsiteX281" fmla="*/ 723900 w 876300"/>
                <a:gd name="connsiteY281" fmla="*/ 1392555 h 1419225"/>
                <a:gd name="connsiteX282" fmla="*/ 715328 w 876300"/>
                <a:gd name="connsiteY282" fmla="*/ 1384935 h 1419225"/>
                <a:gd name="connsiteX283" fmla="*/ 709613 w 876300"/>
                <a:gd name="connsiteY283" fmla="*/ 1373505 h 1419225"/>
                <a:gd name="connsiteX284" fmla="*/ 709613 w 876300"/>
                <a:gd name="connsiteY284" fmla="*/ 1363980 h 1419225"/>
                <a:gd name="connsiteX285" fmla="*/ 714375 w 876300"/>
                <a:gd name="connsiteY285" fmla="*/ 1338263 h 1419225"/>
                <a:gd name="connsiteX286" fmla="*/ 714375 w 876300"/>
                <a:gd name="connsiteY286" fmla="*/ 1328738 h 1419225"/>
                <a:gd name="connsiteX287" fmla="*/ 712470 w 876300"/>
                <a:gd name="connsiteY287" fmla="*/ 1317307 h 1419225"/>
                <a:gd name="connsiteX288" fmla="*/ 707708 w 876300"/>
                <a:gd name="connsiteY288" fmla="*/ 1312545 h 1419225"/>
                <a:gd name="connsiteX289" fmla="*/ 699135 w 876300"/>
                <a:gd name="connsiteY289" fmla="*/ 1316355 h 1419225"/>
                <a:gd name="connsiteX290" fmla="*/ 697230 w 876300"/>
                <a:gd name="connsiteY290" fmla="*/ 1321118 h 1419225"/>
                <a:gd name="connsiteX291" fmla="*/ 695325 w 876300"/>
                <a:gd name="connsiteY291" fmla="*/ 1333500 h 1419225"/>
                <a:gd name="connsiteX292" fmla="*/ 692468 w 876300"/>
                <a:gd name="connsiteY292" fmla="*/ 1338263 h 1419225"/>
                <a:gd name="connsiteX293" fmla="*/ 687705 w 876300"/>
                <a:gd name="connsiteY293" fmla="*/ 1338263 h 1419225"/>
                <a:gd name="connsiteX294" fmla="*/ 674370 w 876300"/>
                <a:gd name="connsiteY294" fmla="*/ 1332548 h 1419225"/>
                <a:gd name="connsiteX295" fmla="*/ 667703 w 876300"/>
                <a:gd name="connsiteY295" fmla="*/ 1338263 h 1419225"/>
                <a:gd name="connsiteX296" fmla="*/ 661035 w 876300"/>
                <a:gd name="connsiteY296" fmla="*/ 1353503 h 1419225"/>
                <a:gd name="connsiteX297" fmla="*/ 652463 w 876300"/>
                <a:gd name="connsiteY297" fmla="*/ 1360170 h 1419225"/>
                <a:gd name="connsiteX298" fmla="*/ 643890 w 876300"/>
                <a:gd name="connsiteY298" fmla="*/ 1361123 h 1419225"/>
                <a:gd name="connsiteX299" fmla="*/ 635318 w 876300"/>
                <a:gd name="connsiteY299" fmla="*/ 1360170 h 1419225"/>
                <a:gd name="connsiteX300" fmla="*/ 609600 w 876300"/>
                <a:gd name="connsiteY300" fmla="*/ 1350645 h 1419225"/>
                <a:gd name="connsiteX301" fmla="*/ 609600 w 876300"/>
                <a:gd name="connsiteY301" fmla="*/ 1347788 h 1419225"/>
                <a:gd name="connsiteX302" fmla="*/ 609600 w 876300"/>
                <a:gd name="connsiteY302" fmla="*/ 1341120 h 1419225"/>
                <a:gd name="connsiteX303" fmla="*/ 607695 w 876300"/>
                <a:gd name="connsiteY303" fmla="*/ 1336357 h 1419225"/>
                <a:gd name="connsiteX304" fmla="*/ 597218 w 876300"/>
                <a:gd name="connsiteY304" fmla="*/ 1322070 h 1419225"/>
                <a:gd name="connsiteX305" fmla="*/ 587693 w 876300"/>
                <a:gd name="connsiteY305" fmla="*/ 1314450 h 1419225"/>
                <a:gd name="connsiteX306" fmla="*/ 581025 w 876300"/>
                <a:gd name="connsiteY306" fmla="*/ 1302068 h 1419225"/>
                <a:gd name="connsiteX307" fmla="*/ 573405 w 876300"/>
                <a:gd name="connsiteY307" fmla="*/ 1295400 h 1419225"/>
                <a:gd name="connsiteX308" fmla="*/ 559118 w 876300"/>
                <a:gd name="connsiteY308" fmla="*/ 1304925 h 1419225"/>
                <a:gd name="connsiteX309" fmla="*/ 555308 w 876300"/>
                <a:gd name="connsiteY309" fmla="*/ 1311593 h 1419225"/>
                <a:gd name="connsiteX310" fmla="*/ 554355 w 876300"/>
                <a:gd name="connsiteY310" fmla="*/ 1319213 h 1419225"/>
                <a:gd name="connsiteX311" fmla="*/ 551497 w 876300"/>
                <a:gd name="connsiteY311" fmla="*/ 1324928 h 1419225"/>
                <a:gd name="connsiteX312" fmla="*/ 545783 w 876300"/>
                <a:gd name="connsiteY312" fmla="*/ 1326832 h 1419225"/>
                <a:gd name="connsiteX313" fmla="*/ 540068 w 876300"/>
                <a:gd name="connsiteY313" fmla="*/ 1323023 h 1419225"/>
                <a:gd name="connsiteX314" fmla="*/ 536258 w 876300"/>
                <a:gd name="connsiteY314" fmla="*/ 1303973 h 1419225"/>
                <a:gd name="connsiteX315" fmla="*/ 531495 w 876300"/>
                <a:gd name="connsiteY315" fmla="*/ 1299210 h 1419225"/>
                <a:gd name="connsiteX316" fmla="*/ 508635 w 876300"/>
                <a:gd name="connsiteY316" fmla="*/ 1297305 h 1419225"/>
                <a:gd name="connsiteX317" fmla="*/ 497205 w 876300"/>
                <a:gd name="connsiteY317" fmla="*/ 1293495 h 1419225"/>
                <a:gd name="connsiteX318" fmla="*/ 490538 w 876300"/>
                <a:gd name="connsiteY318" fmla="*/ 1288732 h 1419225"/>
                <a:gd name="connsiteX319" fmla="*/ 490538 w 876300"/>
                <a:gd name="connsiteY319" fmla="*/ 1283970 h 1419225"/>
                <a:gd name="connsiteX320" fmla="*/ 493395 w 876300"/>
                <a:gd name="connsiteY320" fmla="*/ 1279207 h 1419225"/>
                <a:gd name="connsiteX321" fmla="*/ 495300 w 876300"/>
                <a:gd name="connsiteY321" fmla="*/ 1273493 h 1419225"/>
                <a:gd name="connsiteX322" fmla="*/ 492442 w 876300"/>
                <a:gd name="connsiteY322" fmla="*/ 1263968 h 1419225"/>
                <a:gd name="connsiteX323" fmla="*/ 486728 w 876300"/>
                <a:gd name="connsiteY323" fmla="*/ 1257300 h 1419225"/>
                <a:gd name="connsiteX324" fmla="*/ 485775 w 876300"/>
                <a:gd name="connsiteY324" fmla="*/ 1256348 h 1419225"/>
                <a:gd name="connsiteX325" fmla="*/ 485775 w 876300"/>
                <a:gd name="connsiteY325" fmla="*/ 1254443 h 1419225"/>
                <a:gd name="connsiteX326" fmla="*/ 486728 w 876300"/>
                <a:gd name="connsiteY326" fmla="*/ 1247775 h 1419225"/>
                <a:gd name="connsiteX327" fmla="*/ 488633 w 876300"/>
                <a:gd name="connsiteY327" fmla="*/ 1242060 h 1419225"/>
                <a:gd name="connsiteX328" fmla="*/ 491490 w 876300"/>
                <a:gd name="connsiteY328" fmla="*/ 1240155 h 1419225"/>
                <a:gd name="connsiteX329" fmla="*/ 492442 w 876300"/>
                <a:gd name="connsiteY329" fmla="*/ 1235393 h 1419225"/>
                <a:gd name="connsiteX330" fmla="*/ 486728 w 876300"/>
                <a:gd name="connsiteY330" fmla="*/ 1223010 h 1419225"/>
                <a:gd name="connsiteX331" fmla="*/ 482917 w 876300"/>
                <a:gd name="connsiteY331" fmla="*/ 1220153 h 1419225"/>
                <a:gd name="connsiteX332" fmla="*/ 468630 w 876300"/>
                <a:gd name="connsiteY332" fmla="*/ 1211580 h 1419225"/>
                <a:gd name="connsiteX333" fmla="*/ 452438 w 876300"/>
                <a:gd name="connsiteY333" fmla="*/ 1196340 h 1419225"/>
                <a:gd name="connsiteX334" fmla="*/ 443865 w 876300"/>
                <a:gd name="connsiteY334" fmla="*/ 1191578 h 1419225"/>
                <a:gd name="connsiteX335" fmla="*/ 430530 w 876300"/>
                <a:gd name="connsiteY335" fmla="*/ 1190625 h 1419225"/>
                <a:gd name="connsiteX336" fmla="*/ 421005 w 876300"/>
                <a:gd name="connsiteY336" fmla="*/ 1186815 h 1419225"/>
                <a:gd name="connsiteX337" fmla="*/ 408622 w 876300"/>
                <a:gd name="connsiteY337" fmla="*/ 1180148 h 1419225"/>
                <a:gd name="connsiteX338" fmla="*/ 398145 w 876300"/>
                <a:gd name="connsiteY338" fmla="*/ 1170623 h 1419225"/>
                <a:gd name="connsiteX339" fmla="*/ 391478 w 876300"/>
                <a:gd name="connsiteY339" fmla="*/ 1162050 h 1419225"/>
                <a:gd name="connsiteX340" fmla="*/ 396240 w 876300"/>
                <a:gd name="connsiteY340" fmla="*/ 1157288 h 1419225"/>
                <a:gd name="connsiteX341" fmla="*/ 398145 w 876300"/>
                <a:gd name="connsiteY341" fmla="*/ 1152525 h 1419225"/>
                <a:gd name="connsiteX342" fmla="*/ 402908 w 876300"/>
                <a:gd name="connsiteY342" fmla="*/ 1141095 h 1419225"/>
                <a:gd name="connsiteX343" fmla="*/ 398145 w 876300"/>
                <a:gd name="connsiteY343" fmla="*/ 1140143 h 1419225"/>
                <a:gd name="connsiteX344" fmla="*/ 390525 w 876300"/>
                <a:gd name="connsiteY344" fmla="*/ 1136332 h 1419225"/>
                <a:gd name="connsiteX345" fmla="*/ 386715 w 876300"/>
                <a:gd name="connsiteY345" fmla="*/ 1135380 h 1419225"/>
                <a:gd name="connsiteX346" fmla="*/ 381953 w 876300"/>
                <a:gd name="connsiteY346" fmla="*/ 1137285 h 1419225"/>
                <a:gd name="connsiteX347" fmla="*/ 381953 w 876300"/>
                <a:gd name="connsiteY347" fmla="*/ 1142048 h 1419225"/>
                <a:gd name="connsiteX348" fmla="*/ 382905 w 876300"/>
                <a:gd name="connsiteY348" fmla="*/ 1147763 h 1419225"/>
                <a:gd name="connsiteX349" fmla="*/ 381953 w 876300"/>
                <a:gd name="connsiteY349" fmla="*/ 1151573 h 1419225"/>
                <a:gd name="connsiteX350" fmla="*/ 373380 w 876300"/>
                <a:gd name="connsiteY350" fmla="*/ 1153478 h 1419225"/>
                <a:gd name="connsiteX351" fmla="*/ 365760 w 876300"/>
                <a:gd name="connsiteY351" fmla="*/ 1151573 h 1419225"/>
                <a:gd name="connsiteX352" fmla="*/ 360045 w 876300"/>
                <a:gd name="connsiteY352" fmla="*/ 1147763 h 1419225"/>
                <a:gd name="connsiteX353" fmla="*/ 353378 w 876300"/>
                <a:gd name="connsiteY353" fmla="*/ 1145857 h 1419225"/>
                <a:gd name="connsiteX354" fmla="*/ 341947 w 876300"/>
                <a:gd name="connsiteY354" fmla="*/ 1146810 h 1419225"/>
                <a:gd name="connsiteX355" fmla="*/ 340042 w 876300"/>
                <a:gd name="connsiteY355" fmla="*/ 1151573 h 1419225"/>
                <a:gd name="connsiteX356" fmla="*/ 340995 w 876300"/>
                <a:gd name="connsiteY356" fmla="*/ 1158240 h 1419225"/>
                <a:gd name="connsiteX357" fmla="*/ 341947 w 876300"/>
                <a:gd name="connsiteY357" fmla="*/ 1168718 h 1419225"/>
                <a:gd name="connsiteX358" fmla="*/ 340995 w 876300"/>
                <a:gd name="connsiteY358" fmla="*/ 1180148 h 1419225"/>
                <a:gd name="connsiteX359" fmla="*/ 340042 w 876300"/>
                <a:gd name="connsiteY359" fmla="*/ 1180148 h 1419225"/>
                <a:gd name="connsiteX360" fmla="*/ 335280 w 876300"/>
                <a:gd name="connsiteY360" fmla="*/ 1178243 h 1419225"/>
                <a:gd name="connsiteX361" fmla="*/ 327660 w 876300"/>
                <a:gd name="connsiteY361" fmla="*/ 1179195 h 1419225"/>
                <a:gd name="connsiteX362" fmla="*/ 300990 w 876300"/>
                <a:gd name="connsiteY362" fmla="*/ 1205865 h 1419225"/>
                <a:gd name="connsiteX363" fmla="*/ 286703 w 876300"/>
                <a:gd name="connsiteY363" fmla="*/ 1210628 h 1419225"/>
                <a:gd name="connsiteX364" fmla="*/ 280988 w 876300"/>
                <a:gd name="connsiteY364" fmla="*/ 1190625 h 1419225"/>
                <a:gd name="connsiteX365" fmla="*/ 286703 w 876300"/>
                <a:gd name="connsiteY365" fmla="*/ 1177290 h 1419225"/>
                <a:gd name="connsiteX366" fmla="*/ 316230 w 876300"/>
                <a:gd name="connsiteY366" fmla="*/ 1168718 h 1419225"/>
                <a:gd name="connsiteX367" fmla="*/ 327660 w 876300"/>
                <a:gd name="connsiteY367" fmla="*/ 1157288 h 1419225"/>
                <a:gd name="connsiteX368" fmla="*/ 299085 w 876300"/>
                <a:gd name="connsiteY368" fmla="*/ 1143953 h 1419225"/>
                <a:gd name="connsiteX369" fmla="*/ 286703 w 876300"/>
                <a:gd name="connsiteY369" fmla="*/ 1143000 h 1419225"/>
                <a:gd name="connsiteX370" fmla="*/ 273367 w 876300"/>
                <a:gd name="connsiteY370" fmla="*/ 1157288 h 1419225"/>
                <a:gd name="connsiteX371" fmla="*/ 271463 w 876300"/>
                <a:gd name="connsiteY371" fmla="*/ 1143000 h 1419225"/>
                <a:gd name="connsiteX372" fmla="*/ 274320 w 876300"/>
                <a:gd name="connsiteY372" fmla="*/ 1121093 h 1419225"/>
                <a:gd name="connsiteX373" fmla="*/ 279083 w 876300"/>
                <a:gd name="connsiteY373" fmla="*/ 1101090 h 1419225"/>
                <a:gd name="connsiteX374" fmla="*/ 283845 w 876300"/>
                <a:gd name="connsiteY374" fmla="*/ 1091565 h 1419225"/>
                <a:gd name="connsiteX375" fmla="*/ 283845 w 876300"/>
                <a:gd name="connsiteY375" fmla="*/ 1085850 h 1419225"/>
                <a:gd name="connsiteX376" fmla="*/ 276225 w 876300"/>
                <a:gd name="connsiteY376" fmla="*/ 1084898 h 1419225"/>
                <a:gd name="connsiteX377" fmla="*/ 270510 w 876300"/>
                <a:gd name="connsiteY377" fmla="*/ 1086803 h 1419225"/>
                <a:gd name="connsiteX378" fmla="*/ 259080 w 876300"/>
                <a:gd name="connsiteY378" fmla="*/ 1096328 h 1419225"/>
                <a:gd name="connsiteX379" fmla="*/ 254317 w 876300"/>
                <a:gd name="connsiteY379" fmla="*/ 1102043 h 1419225"/>
                <a:gd name="connsiteX380" fmla="*/ 251460 w 876300"/>
                <a:gd name="connsiteY380" fmla="*/ 1107757 h 1419225"/>
                <a:gd name="connsiteX381" fmla="*/ 249555 w 876300"/>
                <a:gd name="connsiteY381" fmla="*/ 1114425 h 1419225"/>
                <a:gd name="connsiteX382" fmla="*/ 248603 w 876300"/>
                <a:gd name="connsiteY382" fmla="*/ 1123950 h 1419225"/>
                <a:gd name="connsiteX383" fmla="*/ 245745 w 876300"/>
                <a:gd name="connsiteY383" fmla="*/ 1133475 h 1419225"/>
                <a:gd name="connsiteX384" fmla="*/ 241935 w 876300"/>
                <a:gd name="connsiteY384" fmla="*/ 1138238 h 1419225"/>
                <a:gd name="connsiteX385" fmla="*/ 235267 w 876300"/>
                <a:gd name="connsiteY385" fmla="*/ 1132523 h 1419225"/>
                <a:gd name="connsiteX386" fmla="*/ 222885 w 876300"/>
                <a:gd name="connsiteY386" fmla="*/ 1112520 h 1419225"/>
                <a:gd name="connsiteX387" fmla="*/ 219075 w 876300"/>
                <a:gd name="connsiteY387" fmla="*/ 1104900 h 1419225"/>
                <a:gd name="connsiteX388" fmla="*/ 219075 w 876300"/>
                <a:gd name="connsiteY388" fmla="*/ 1096328 h 1419225"/>
                <a:gd name="connsiteX389" fmla="*/ 222885 w 876300"/>
                <a:gd name="connsiteY389" fmla="*/ 1082993 h 1419225"/>
                <a:gd name="connsiteX390" fmla="*/ 222885 w 876300"/>
                <a:gd name="connsiteY390" fmla="*/ 1075373 h 1419225"/>
                <a:gd name="connsiteX391" fmla="*/ 218122 w 876300"/>
                <a:gd name="connsiteY391" fmla="*/ 1069657 h 1419225"/>
                <a:gd name="connsiteX392" fmla="*/ 189547 w 876300"/>
                <a:gd name="connsiteY392" fmla="*/ 1052513 h 1419225"/>
                <a:gd name="connsiteX393" fmla="*/ 181928 w 876300"/>
                <a:gd name="connsiteY393" fmla="*/ 1051560 h 1419225"/>
                <a:gd name="connsiteX394" fmla="*/ 160020 w 876300"/>
                <a:gd name="connsiteY394" fmla="*/ 1055370 h 1419225"/>
                <a:gd name="connsiteX395" fmla="*/ 150495 w 876300"/>
                <a:gd name="connsiteY395" fmla="*/ 1055370 h 1419225"/>
                <a:gd name="connsiteX396" fmla="*/ 142875 w 876300"/>
                <a:gd name="connsiteY396" fmla="*/ 1048703 h 1419225"/>
                <a:gd name="connsiteX397" fmla="*/ 135255 w 876300"/>
                <a:gd name="connsiteY397" fmla="*/ 1036320 h 1419225"/>
                <a:gd name="connsiteX398" fmla="*/ 133350 w 876300"/>
                <a:gd name="connsiteY398" fmla="*/ 1029653 h 1419225"/>
                <a:gd name="connsiteX399" fmla="*/ 131445 w 876300"/>
                <a:gd name="connsiteY399" fmla="*/ 1019175 h 1419225"/>
                <a:gd name="connsiteX400" fmla="*/ 128588 w 876300"/>
                <a:gd name="connsiteY400" fmla="*/ 1013460 h 1419225"/>
                <a:gd name="connsiteX401" fmla="*/ 123825 w 876300"/>
                <a:gd name="connsiteY401" fmla="*/ 1010603 h 1419225"/>
                <a:gd name="connsiteX402" fmla="*/ 106680 w 876300"/>
                <a:gd name="connsiteY402" fmla="*/ 1002982 h 1419225"/>
                <a:gd name="connsiteX403" fmla="*/ 100965 w 876300"/>
                <a:gd name="connsiteY403" fmla="*/ 998220 h 1419225"/>
                <a:gd name="connsiteX404" fmla="*/ 99060 w 876300"/>
                <a:gd name="connsiteY404" fmla="*/ 993457 h 1419225"/>
                <a:gd name="connsiteX405" fmla="*/ 99060 w 876300"/>
                <a:gd name="connsiteY405" fmla="*/ 987743 h 1419225"/>
                <a:gd name="connsiteX406" fmla="*/ 100013 w 876300"/>
                <a:gd name="connsiteY406" fmla="*/ 984885 h 1419225"/>
                <a:gd name="connsiteX407" fmla="*/ 100965 w 876300"/>
                <a:gd name="connsiteY407" fmla="*/ 982980 h 1419225"/>
                <a:gd name="connsiteX408" fmla="*/ 103822 w 876300"/>
                <a:gd name="connsiteY408" fmla="*/ 981075 h 1419225"/>
                <a:gd name="connsiteX409" fmla="*/ 109538 w 876300"/>
                <a:gd name="connsiteY409" fmla="*/ 981075 h 1419225"/>
                <a:gd name="connsiteX410" fmla="*/ 116205 w 876300"/>
                <a:gd name="connsiteY410" fmla="*/ 982028 h 1419225"/>
                <a:gd name="connsiteX411" fmla="*/ 131445 w 876300"/>
                <a:gd name="connsiteY411" fmla="*/ 990600 h 1419225"/>
                <a:gd name="connsiteX412" fmla="*/ 137160 w 876300"/>
                <a:gd name="connsiteY412" fmla="*/ 991553 h 1419225"/>
                <a:gd name="connsiteX413" fmla="*/ 140017 w 876300"/>
                <a:gd name="connsiteY413" fmla="*/ 992505 h 1419225"/>
                <a:gd name="connsiteX414" fmla="*/ 144780 w 876300"/>
                <a:gd name="connsiteY414" fmla="*/ 990600 h 1419225"/>
                <a:gd name="connsiteX415" fmla="*/ 146685 w 876300"/>
                <a:gd name="connsiteY415" fmla="*/ 988695 h 1419225"/>
                <a:gd name="connsiteX416" fmla="*/ 150495 w 876300"/>
                <a:gd name="connsiteY416" fmla="*/ 984885 h 1419225"/>
                <a:gd name="connsiteX417" fmla="*/ 150495 w 876300"/>
                <a:gd name="connsiteY417" fmla="*/ 982028 h 1419225"/>
                <a:gd name="connsiteX418" fmla="*/ 150495 w 876300"/>
                <a:gd name="connsiteY418" fmla="*/ 976313 h 1419225"/>
                <a:gd name="connsiteX419" fmla="*/ 147638 w 876300"/>
                <a:gd name="connsiteY419" fmla="*/ 971550 h 1419225"/>
                <a:gd name="connsiteX420" fmla="*/ 146685 w 876300"/>
                <a:gd name="connsiteY420" fmla="*/ 965835 h 1419225"/>
                <a:gd name="connsiteX421" fmla="*/ 146685 w 876300"/>
                <a:gd name="connsiteY421" fmla="*/ 959168 h 1419225"/>
                <a:gd name="connsiteX422" fmla="*/ 145733 w 876300"/>
                <a:gd name="connsiteY422" fmla="*/ 954405 h 1419225"/>
                <a:gd name="connsiteX423" fmla="*/ 144780 w 876300"/>
                <a:gd name="connsiteY423" fmla="*/ 950595 h 1419225"/>
                <a:gd name="connsiteX424" fmla="*/ 141922 w 876300"/>
                <a:gd name="connsiteY424" fmla="*/ 944880 h 1419225"/>
                <a:gd name="connsiteX425" fmla="*/ 140017 w 876300"/>
                <a:gd name="connsiteY425" fmla="*/ 942022 h 1419225"/>
                <a:gd name="connsiteX426" fmla="*/ 137160 w 876300"/>
                <a:gd name="connsiteY426" fmla="*/ 939165 h 1419225"/>
                <a:gd name="connsiteX427" fmla="*/ 120967 w 876300"/>
                <a:gd name="connsiteY427" fmla="*/ 936307 h 1419225"/>
                <a:gd name="connsiteX428" fmla="*/ 110490 w 876300"/>
                <a:gd name="connsiteY428" fmla="*/ 931545 h 1419225"/>
                <a:gd name="connsiteX429" fmla="*/ 108585 w 876300"/>
                <a:gd name="connsiteY429" fmla="*/ 931545 h 1419225"/>
                <a:gd name="connsiteX430" fmla="*/ 102870 w 876300"/>
                <a:gd name="connsiteY430" fmla="*/ 933450 h 1419225"/>
                <a:gd name="connsiteX431" fmla="*/ 94297 w 876300"/>
                <a:gd name="connsiteY431" fmla="*/ 940118 h 1419225"/>
                <a:gd name="connsiteX432" fmla="*/ 91440 w 876300"/>
                <a:gd name="connsiteY432" fmla="*/ 941070 h 1419225"/>
                <a:gd name="connsiteX433" fmla="*/ 86678 w 876300"/>
                <a:gd name="connsiteY433" fmla="*/ 941070 h 1419225"/>
                <a:gd name="connsiteX434" fmla="*/ 83820 w 876300"/>
                <a:gd name="connsiteY434" fmla="*/ 939165 h 1419225"/>
                <a:gd name="connsiteX435" fmla="*/ 80963 w 876300"/>
                <a:gd name="connsiteY435" fmla="*/ 934403 h 1419225"/>
                <a:gd name="connsiteX436" fmla="*/ 79058 w 876300"/>
                <a:gd name="connsiteY436" fmla="*/ 928688 h 1419225"/>
                <a:gd name="connsiteX437" fmla="*/ 80010 w 876300"/>
                <a:gd name="connsiteY437" fmla="*/ 922020 h 1419225"/>
                <a:gd name="connsiteX438" fmla="*/ 80963 w 876300"/>
                <a:gd name="connsiteY438" fmla="*/ 915353 h 1419225"/>
                <a:gd name="connsiteX439" fmla="*/ 80963 w 876300"/>
                <a:gd name="connsiteY439" fmla="*/ 908685 h 1419225"/>
                <a:gd name="connsiteX440" fmla="*/ 80010 w 876300"/>
                <a:gd name="connsiteY440" fmla="*/ 904875 h 1419225"/>
                <a:gd name="connsiteX441" fmla="*/ 76200 w 876300"/>
                <a:gd name="connsiteY441" fmla="*/ 894397 h 1419225"/>
                <a:gd name="connsiteX442" fmla="*/ 76200 w 876300"/>
                <a:gd name="connsiteY442" fmla="*/ 892493 h 1419225"/>
                <a:gd name="connsiteX443" fmla="*/ 77153 w 876300"/>
                <a:gd name="connsiteY443" fmla="*/ 886778 h 1419225"/>
                <a:gd name="connsiteX444" fmla="*/ 80010 w 876300"/>
                <a:gd name="connsiteY444" fmla="*/ 882015 h 1419225"/>
                <a:gd name="connsiteX445" fmla="*/ 87630 w 876300"/>
                <a:gd name="connsiteY445" fmla="*/ 875347 h 1419225"/>
                <a:gd name="connsiteX446" fmla="*/ 89535 w 876300"/>
                <a:gd name="connsiteY446" fmla="*/ 873443 h 1419225"/>
                <a:gd name="connsiteX447" fmla="*/ 91440 w 876300"/>
                <a:gd name="connsiteY447" fmla="*/ 867728 h 1419225"/>
                <a:gd name="connsiteX448" fmla="*/ 92392 w 876300"/>
                <a:gd name="connsiteY448" fmla="*/ 861060 h 1419225"/>
                <a:gd name="connsiteX449" fmla="*/ 92392 w 876300"/>
                <a:gd name="connsiteY449" fmla="*/ 854393 h 1419225"/>
                <a:gd name="connsiteX450" fmla="*/ 90488 w 876300"/>
                <a:gd name="connsiteY450" fmla="*/ 845820 h 1419225"/>
                <a:gd name="connsiteX451" fmla="*/ 88583 w 876300"/>
                <a:gd name="connsiteY451" fmla="*/ 838200 h 1419225"/>
                <a:gd name="connsiteX452" fmla="*/ 86678 w 876300"/>
                <a:gd name="connsiteY452" fmla="*/ 832485 h 1419225"/>
                <a:gd name="connsiteX453" fmla="*/ 83820 w 876300"/>
                <a:gd name="connsiteY453" fmla="*/ 828675 h 1419225"/>
                <a:gd name="connsiteX454" fmla="*/ 73342 w 876300"/>
                <a:gd name="connsiteY454" fmla="*/ 824865 h 1419225"/>
                <a:gd name="connsiteX455" fmla="*/ 70485 w 876300"/>
                <a:gd name="connsiteY455" fmla="*/ 822007 h 1419225"/>
                <a:gd name="connsiteX456" fmla="*/ 69533 w 876300"/>
                <a:gd name="connsiteY456" fmla="*/ 819150 h 1419225"/>
                <a:gd name="connsiteX457" fmla="*/ 68580 w 876300"/>
                <a:gd name="connsiteY457" fmla="*/ 816293 h 1419225"/>
                <a:gd name="connsiteX458" fmla="*/ 67628 w 876300"/>
                <a:gd name="connsiteY458" fmla="*/ 806768 h 1419225"/>
                <a:gd name="connsiteX459" fmla="*/ 65722 w 876300"/>
                <a:gd name="connsiteY459" fmla="*/ 791528 h 1419225"/>
                <a:gd name="connsiteX460" fmla="*/ 63817 w 876300"/>
                <a:gd name="connsiteY460" fmla="*/ 785813 h 1419225"/>
                <a:gd name="connsiteX461" fmla="*/ 62865 w 876300"/>
                <a:gd name="connsiteY461" fmla="*/ 782955 h 1419225"/>
                <a:gd name="connsiteX462" fmla="*/ 61913 w 876300"/>
                <a:gd name="connsiteY462" fmla="*/ 777240 h 1419225"/>
                <a:gd name="connsiteX463" fmla="*/ 61913 w 876300"/>
                <a:gd name="connsiteY463" fmla="*/ 774382 h 1419225"/>
                <a:gd name="connsiteX464" fmla="*/ 62865 w 876300"/>
                <a:gd name="connsiteY464" fmla="*/ 767715 h 1419225"/>
                <a:gd name="connsiteX465" fmla="*/ 65722 w 876300"/>
                <a:gd name="connsiteY465" fmla="*/ 762953 h 1419225"/>
                <a:gd name="connsiteX466" fmla="*/ 66675 w 876300"/>
                <a:gd name="connsiteY466" fmla="*/ 760095 h 1419225"/>
                <a:gd name="connsiteX467" fmla="*/ 66675 w 876300"/>
                <a:gd name="connsiteY467" fmla="*/ 756285 h 1419225"/>
                <a:gd name="connsiteX468" fmla="*/ 62865 w 876300"/>
                <a:gd name="connsiteY468" fmla="*/ 748665 h 1419225"/>
                <a:gd name="connsiteX469" fmla="*/ 60960 w 876300"/>
                <a:gd name="connsiteY469" fmla="*/ 742950 h 1419225"/>
                <a:gd name="connsiteX470" fmla="*/ 51435 w 876300"/>
                <a:gd name="connsiteY470" fmla="*/ 716280 h 1419225"/>
                <a:gd name="connsiteX471" fmla="*/ 42863 w 876300"/>
                <a:gd name="connsiteY471" fmla="*/ 700088 h 1419225"/>
                <a:gd name="connsiteX472" fmla="*/ 0 w 876300"/>
                <a:gd name="connsiteY472" fmla="*/ 633413 h 1419225"/>
                <a:gd name="connsiteX473" fmla="*/ 6667 w 876300"/>
                <a:gd name="connsiteY473" fmla="*/ 618172 h 1419225"/>
                <a:gd name="connsiteX474" fmla="*/ 8572 w 876300"/>
                <a:gd name="connsiteY474" fmla="*/ 607695 h 1419225"/>
                <a:gd name="connsiteX475" fmla="*/ 11430 w 876300"/>
                <a:gd name="connsiteY475" fmla="*/ 581978 h 1419225"/>
                <a:gd name="connsiteX476" fmla="*/ 14288 w 876300"/>
                <a:gd name="connsiteY476" fmla="*/ 577215 h 1419225"/>
                <a:gd name="connsiteX477" fmla="*/ 17145 w 876300"/>
                <a:gd name="connsiteY477" fmla="*/ 575310 h 1419225"/>
                <a:gd name="connsiteX478" fmla="*/ 23813 w 876300"/>
                <a:gd name="connsiteY478" fmla="*/ 575310 h 1419225"/>
                <a:gd name="connsiteX479" fmla="*/ 26670 w 876300"/>
                <a:gd name="connsiteY479" fmla="*/ 576263 h 1419225"/>
                <a:gd name="connsiteX480" fmla="*/ 31433 w 876300"/>
                <a:gd name="connsiteY480" fmla="*/ 576263 h 1419225"/>
                <a:gd name="connsiteX481" fmla="*/ 36195 w 876300"/>
                <a:gd name="connsiteY481" fmla="*/ 574358 h 1419225"/>
                <a:gd name="connsiteX482" fmla="*/ 127635 w 876300"/>
                <a:gd name="connsiteY482" fmla="*/ 522922 h 1419225"/>
                <a:gd name="connsiteX483" fmla="*/ 130492 w 876300"/>
                <a:gd name="connsiteY483" fmla="*/ 520065 h 1419225"/>
                <a:gd name="connsiteX484" fmla="*/ 144780 w 876300"/>
                <a:gd name="connsiteY484" fmla="*/ 492442 h 1419225"/>
                <a:gd name="connsiteX485" fmla="*/ 148590 w 876300"/>
                <a:gd name="connsiteY485" fmla="*/ 483870 h 1419225"/>
                <a:gd name="connsiteX486" fmla="*/ 151447 w 876300"/>
                <a:gd name="connsiteY486" fmla="*/ 475297 h 1419225"/>
                <a:gd name="connsiteX487" fmla="*/ 162878 w 876300"/>
                <a:gd name="connsiteY487" fmla="*/ 452438 h 1419225"/>
                <a:gd name="connsiteX488" fmla="*/ 165735 w 876300"/>
                <a:gd name="connsiteY488" fmla="*/ 449580 h 1419225"/>
                <a:gd name="connsiteX489" fmla="*/ 168592 w 876300"/>
                <a:gd name="connsiteY489" fmla="*/ 447675 h 1419225"/>
                <a:gd name="connsiteX490" fmla="*/ 171450 w 876300"/>
                <a:gd name="connsiteY490" fmla="*/ 447675 h 1419225"/>
                <a:gd name="connsiteX491" fmla="*/ 176213 w 876300"/>
                <a:gd name="connsiteY491" fmla="*/ 453390 h 1419225"/>
                <a:gd name="connsiteX492" fmla="*/ 179070 w 876300"/>
                <a:gd name="connsiteY492" fmla="*/ 454342 h 1419225"/>
                <a:gd name="connsiteX493" fmla="*/ 184785 w 876300"/>
                <a:gd name="connsiteY493" fmla="*/ 455295 h 1419225"/>
                <a:gd name="connsiteX494" fmla="*/ 189547 w 876300"/>
                <a:gd name="connsiteY494" fmla="*/ 454342 h 1419225"/>
                <a:gd name="connsiteX495" fmla="*/ 193358 w 876300"/>
                <a:gd name="connsiteY495" fmla="*/ 453390 h 1419225"/>
                <a:gd name="connsiteX496" fmla="*/ 204788 w 876300"/>
                <a:gd name="connsiteY496" fmla="*/ 446722 h 1419225"/>
                <a:gd name="connsiteX497" fmla="*/ 207645 w 876300"/>
                <a:gd name="connsiteY497" fmla="*/ 442913 h 1419225"/>
                <a:gd name="connsiteX498" fmla="*/ 210503 w 876300"/>
                <a:gd name="connsiteY498" fmla="*/ 440055 h 1419225"/>
                <a:gd name="connsiteX499" fmla="*/ 211455 w 876300"/>
                <a:gd name="connsiteY499" fmla="*/ 433388 h 1419225"/>
                <a:gd name="connsiteX500" fmla="*/ 211455 w 876300"/>
                <a:gd name="connsiteY500" fmla="*/ 430530 h 1419225"/>
                <a:gd name="connsiteX501" fmla="*/ 210503 w 876300"/>
                <a:gd name="connsiteY501" fmla="*/ 424815 h 1419225"/>
                <a:gd name="connsiteX502" fmla="*/ 208597 w 876300"/>
                <a:gd name="connsiteY502" fmla="*/ 421958 h 1419225"/>
                <a:gd name="connsiteX503" fmla="*/ 200025 w 876300"/>
                <a:gd name="connsiteY503" fmla="*/ 408622 h 1419225"/>
                <a:gd name="connsiteX504" fmla="*/ 196215 w 876300"/>
                <a:gd name="connsiteY504" fmla="*/ 401003 h 1419225"/>
                <a:gd name="connsiteX505" fmla="*/ 196215 w 876300"/>
                <a:gd name="connsiteY505" fmla="*/ 398145 h 1419225"/>
                <a:gd name="connsiteX506" fmla="*/ 196215 w 876300"/>
                <a:gd name="connsiteY506" fmla="*/ 391478 h 1419225"/>
                <a:gd name="connsiteX507" fmla="*/ 199072 w 876300"/>
                <a:gd name="connsiteY507" fmla="*/ 377190 h 1419225"/>
                <a:gd name="connsiteX508" fmla="*/ 200978 w 876300"/>
                <a:gd name="connsiteY508" fmla="*/ 371475 h 1419225"/>
                <a:gd name="connsiteX509" fmla="*/ 203835 w 876300"/>
                <a:gd name="connsiteY509" fmla="*/ 368617 h 1419225"/>
                <a:gd name="connsiteX510" fmla="*/ 206692 w 876300"/>
                <a:gd name="connsiteY510" fmla="*/ 367665 h 1419225"/>
                <a:gd name="connsiteX511" fmla="*/ 231458 w 876300"/>
                <a:gd name="connsiteY511" fmla="*/ 364808 h 1419225"/>
                <a:gd name="connsiteX512" fmla="*/ 237172 w 876300"/>
                <a:gd name="connsiteY512" fmla="*/ 362903 h 1419225"/>
                <a:gd name="connsiteX513" fmla="*/ 241935 w 876300"/>
                <a:gd name="connsiteY513" fmla="*/ 360997 h 1419225"/>
                <a:gd name="connsiteX514" fmla="*/ 280988 w 876300"/>
                <a:gd name="connsiteY514" fmla="*/ 353378 h 1419225"/>
                <a:gd name="connsiteX515" fmla="*/ 283845 w 876300"/>
                <a:gd name="connsiteY515" fmla="*/ 352425 h 1419225"/>
                <a:gd name="connsiteX516" fmla="*/ 302895 w 876300"/>
                <a:gd name="connsiteY516" fmla="*/ 341947 h 1419225"/>
                <a:gd name="connsiteX517" fmla="*/ 314325 w 876300"/>
                <a:gd name="connsiteY517" fmla="*/ 339090 h 1419225"/>
                <a:gd name="connsiteX518" fmla="*/ 317183 w 876300"/>
                <a:gd name="connsiteY518" fmla="*/ 337185 h 1419225"/>
                <a:gd name="connsiteX519" fmla="*/ 327660 w 876300"/>
                <a:gd name="connsiteY519" fmla="*/ 330517 h 1419225"/>
                <a:gd name="connsiteX520" fmla="*/ 330517 w 876300"/>
                <a:gd name="connsiteY520" fmla="*/ 329565 h 1419225"/>
                <a:gd name="connsiteX521" fmla="*/ 338138 w 876300"/>
                <a:gd name="connsiteY521" fmla="*/ 328613 h 1419225"/>
                <a:gd name="connsiteX522" fmla="*/ 343853 w 876300"/>
                <a:gd name="connsiteY522" fmla="*/ 327660 h 1419225"/>
                <a:gd name="connsiteX523" fmla="*/ 352425 w 876300"/>
                <a:gd name="connsiteY523" fmla="*/ 322897 h 1419225"/>
                <a:gd name="connsiteX524" fmla="*/ 357188 w 876300"/>
                <a:gd name="connsiteY524" fmla="*/ 319088 h 1419225"/>
                <a:gd name="connsiteX525" fmla="*/ 360045 w 876300"/>
                <a:gd name="connsiteY525" fmla="*/ 316230 h 1419225"/>
                <a:gd name="connsiteX526" fmla="*/ 362903 w 876300"/>
                <a:gd name="connsiteY526" fmla="*/ 311467 h 1419225"/>
                <a:gd name="connsiteX527" fmla="*/ 363855 w 876300"/>
                <a:gd name="connsiteY527" fmla="*/ 308610 h 1419225"/>
                <a:gd name="connsiteX528" fmla="*/ 362903 w 876300"/>
                <a:gd name="connsiteY528" fmla="*/ 302895 h 1419225"/>
                <a:gd name="connsiteX529" fmla="*/ 361950 w 876300"/>
                <a:gd name="connsiteY529" fmla="*/ 297180 h 1419225"/>
                <a:gd name="connsiteX530" fmla="*/ 359092 w 876300"/>
                <a:gd name="connsiteY530" fmla="*/ 292417 h 1419225"/>
                <a:gd name="connsiteX531" fmla="*/ 359092 w 876300"/>
                <a:gd name="connsiteY531" fmla="*/ 288608 h 1419225"/>
                <a:gd name="connsiteX532" fmla="*/ 359092 w 876300"/>
                <a:gd name="connsiteY532" fmla="*/ 284797 h 1419225"/>
                <a:gd name="connsiteX533" fmla="*/ 361950 w 876300"/>
                <a:gd name="connsiteY533" fmla="*/ 278130 h 1419225"/>
                <a:gd name="connsiteX534" fmla="*/ 364808 w 876300"/>
                <a:gd name="connsiteY534" fmla="*/ 275272 h 1419225"/>
                <a:gd name="connsiteX535" fmla="*/ 367665 w 876300"/>
                <a:gd name="connsiteY535" fmla="*/ 273367 h 1419225"/>
                <a:gd name="connsiteX536" fmla="*/ 375285 w 876300"/>
                <a:gd name="connsiteY536" fmla="*/ 272415 h 1419225"/>
                <a:gd name="connsiteX537" fmla="*/ 380047 w 876300"/>
                <a:gd name="connsiteY537" fmla="*/ 271463 h 1419225"/>
                <a:gd name="connsiteX538" fmla="*/ 382905 w 876300"/>
                <a:gd name="connsiteY538" fmla="*/ 268605 h 1419225"/>
                <a:gd name="connsiteX539" fmla="*/ 383858 w 876300"/>
                <a:gd name="connsiteY539" fmla="*/ 265747 h 1419225"/>
                <a:gd name="connsiteX540" fmla="*/ 382905 w 876300"/>
                <a:gd name="connsiteY540" fmla="*/ 260033 h 1419225"/>
                <a:gd name="connsiteX541" fmla="*/ 380047 w 876300"/>
                <a:gd name="connsiteY541" fmla="*/ 255270 h 1419225"/>
                <a:gd name="connsiteX542" fmla="*/ 374333 w 876300"/>
                <a:gd name="connsiteY542" fmla="*/ 246697 h 1419225"/>
                <a:gd name="connsiteX543" fmla="*/ 372428 w 876300"/>
                <a:gd name="connsiteY543" fmla="*/ 243840 h 1419225"/>
                <a:gd name="connsiteX544" fmla="*/ 370522 w 876300"/>
                <a:gd name="connsiteY544" fmla="*/ 239078 h 1419225"/>
                <a:gd name="connsiteX545" fmla="*/ 367665 w 876300"/>
                <a:gd name="connsiteY545" fmla="*/ 234315 h 1419225"/>
                <a:gd name="connsiteX546" fmla="*/ 356235 w 876300"/>
                <a:gd name="connsiteY546" fmla="*/ 226695 h 1419225"/>
                <a:gd name="connsiteX547" fmla="*/ 354330 w 876300"/>
                <a:gd name="connsiteY547" fmla="*/ 224790 h 1419225"/>
                <a:gd name="connsiteX548" fmla="*/ 351472 w 876300"/>
                <a:gd name="connsiteY548" fmla="*/ 220980 h 1419225"/>
                <a:gd name="connsiteX549" fmla="*/ 349567 w 876300"/>
                <a:gd name="connsiteY549" fmla="*/ 218122 h 1419225"/>
                <a:gd name="connsiteX550" fmla="*/ 348615 w 876300"/>
                <a:gd name="connsiteY550" fmla="*/ 213360 h 1419225"/>
                <a:gd name="connsiteX551" fmla="*/ 348615 w 876300"/>
                <a:gd name="connsiteY551" fmla="*/ 207645 h 1419225"/>
                <a:gd name="connsiteX552" fmla="*/ 349567 w 876300"/>
                <a:gd name="connsiteY552" fmla="*/ 195263 h 1419225"/>
                <a:gd name="connsiteX553" fmla="*/ 350520 w 876300"/>
                <a:gd name="connsiteY553" fmla="*/ 191453 h 1419225"/>
                <a:gd name="connsiteX554" fmla="*/ 352425 w 876300"/>
                <a:gd name="connsiteY554" fmla="*/ 188595 h 1419225"/>
                <a:gd name="connsiteX555" fmla="*/ 355283 w 876300"/>
                <a:gd name="connsiteY555" fmla="*/ 187642 h 1419225"/>
                <a:gd name="connsiteX556" fmla="*/ 362903 w 876300"/>
                <a:gd name="connsiteY556" fmla="*/ 189547 h 1419225"/>
                <a:gd name="connsiteX557" fmla="*/ 365760 w 876300"/>
                <a:gd name="connsiteY557" fmla="*/ 191453 h 1419225"/>
                <a:gd name="connsiteX558" fmla="*/ 369570 w 876300"/>
                <a:gd name="connsiteY558" fmla="*/ 195263 h 1419225"/>
                <a:gd name="connsiteX559" fmla="*/ 371475 w 876300"/>
                <a:gd name="connsiteY559" fmla="*/ 195263 h 1419225"/>
                <a:gd name="connsiteX560" fmla="*/ 373380 w 876300"/>
                <a:gd name="connsiteY560" fmla="*/ 187642 h 1419225"/>
                <a:gd name="connsiteX561" fmla="*/ 373380 w 876300"/>
                <a:gd name="connsiteY561" fmla="*/ 180022 h 1419225"/>
                <a:gd name="connsiteX562" fmla="*/ 373380 w 876300"/>
                <a:gd name="connsiteY562" fmla="*/ 177165 h 1419225"/>
                <a:gd name="connsiteX563" fmla="*/ 372428 w 876300"/>
                <a:gd name="connsiteY563" fmla="*/ 167640 h 1419225"/>
                <a:gd name="connsiteX564" fmla="*/ 374333 w 876300"/>
                <a:gd name="connsiteY564" fmla="*/ 160972 h 1419225"/>
                <a:gd name="connsiteX565" fmla="*/ 376238 w 876300"/>
                <a:gd name="connsiteY565" fmla="*/ 159067 h 1419225"/>
                <a:gd name="connsiteX566" fmla="*/ 391478 w 876300"/>
                <a:gd name="connsiteY566" fmla="*/ 149542 h 1419225"/>
                <a:gd name="connsiteX567" fmla="*/ 394335 w 876300"/>
                <a:gd name="connsiteY567" fmla="*/ 145733 h 1419225"/>
                <a:gd name="connsiteX568" fmla="*/ 396240 w 876300"/>
                <a:gd name="connsiteY568" fmla="*/ 141922 h 1419225"/>
                <a:gd name="connsiteX569" fmla="*/ 397192 w 876300"/>
                <a:gd name="connsiteY569" fmla="*/ 139065 h 1419225"/>
                <a:gd name="connsiteX570" fmla="*/ 401003 w 876300"/>
                <a:gd name="connsiteY570" fmla="*/ 131445 h 1419225"/>
                <a:gd name="connsiteX571" fmla="*/ 401003 w 876300"/>
                <a:gd name="connsiteY571" fmla="*/ 128588 h 1419225"/>
                <a:gd name="connsiteX572" fmla="*/ 400050 w 876300"/>
                <a:gd name="connsiteY572" fmla="*/ 126683 h 1419225"/>
                <a:gd name="connsiteX573" fmla="*/ 398145 w 876300"/>
                <a:gd name="connsiteY573" fmla="*/ 124778 h 1419225"/>
                <a:gd name="connsiteX574" fmla="*/ 392430 w 876300"/>
                <a:gd name="connsiteY574" fmla="*/ 119063 h 1419225"/>
                <a:gd name="connsiteX575" fmla="*/ 388620 w 876300"/>
                <a:gd name="connsiteY575" fmla="*/ 115253 h 1419225"/>
                <a:gd name="connsiteX576" fmla="*/ 387667 w 876300"/>
                <a:gd name="connsiteY576" fmla="*/ 109538 h 1419225"/>
                <a:gd name="connsiteX577" fmla="*/ 388620 w 876300"/>
                <a:gd name="connsiteY577" fmla="*/ 102870 h 1419225"/>
                <a:gd name="connsiteX578" fmla="*/ 391478 w 876300"/>
                <a:gd name="connsiteY578" fmla="*/ 89535 h 1419225"/>
                <a:gd name="connsiteX579" fmla="*/ 393383 w 876300"/>
                <a:gd name="connsiteY579" fmla="*/ 84772 h 1419225"/>
                <a:gd name="connsiteX580" fmla="*/ 398145 w 876300"/>
                <a:gd name="connsiteY580" fmla="*/ 82867 h 1419225"/>
                <a:gd name="connsiteX581" fmla="*/ 403860 w 876300"/>
                <a:gd name="connsiteY581" fmla="*/ 83820 h 1419225"/>
                <a:gd name="connsiteX582" fmla="*/ 417195 w 876300"/>
                <a:gd name="connsiteY582" fmla="*/ 87630 h 1419225"/>
                <a:gd name="connsiteX583" fmla="*/ 428625 w 876300"/>
                <a:gd name="connsiteY583" fmla="*/ 92392 h 1419225"/>
                <a:gd name="connsiteX584" fmla="*/ 441960 w 876300"/>
                <a:gd name="connsiteY584" fmla="*/ 96203 h 1419225"/>
                <a:gd name="connsiteX585" fmla="*/ 450533 w 876300"/>
                <a:gd name="connsiteY585" fmla="*/ 101917 h 1419225"/>
                <a:gd name="connsiteX586" fmla="*/ 453390 w 876300"/>
                <a:gd name="connsiteY586" fmla="*/ 102870 h 1419225"/>
                <a:gd name="connsiteX587" fmla="*/ 458153 w 876300"/>
                <a:gd name="connsiteY587" fmla="*/ 100013 h 1419225"/>
                <a:gd name="connsiteX588" fmla="*/ 461010 w 876300"/>
                <a:gd name="connsiteY588" fmla="*/ 98108 h 1419225"/>
                <a:gd name="connsiteX589" fmla="*/ 472440 w 876300"/>
                <a:gd name="connsiteY589" fmla="*/ 86678 h 1419225"/>
                <a:gd name="connsiteX590" fmla="*/ 474345 w 876300"/>
                <a:gd name="connsiteY590" fmla="*/ 85725 h 1419225"/>
                <a:gd name="connsiteX591" fmla="*/ 477203 w 876300"/>
                <a:gd name="connsiteY591" fmla="*/ 85725 h 1419225"/>
                <a:gd name="connsiteX592" fmla="*/ 480060 w 876300"/>
                <a:gd name="connsiteY592" fmla="*/ 87630 h 1419225"/>
                <a:gd name="connsiteX593" fmla="*/ 483870 w 876300"/>
                <a:gd name="connsiteY593" fmla="*/ 93345 h 1419225"/>
                <a:gd name="connsiteX594" fmla="*/ 486728 w 876300"/>
                <a:gd name="connsiteY594" fmla="*/ 94297 h 1419225"/>
                <a:gd name="connsiteX595" fmla="*/ 489585 w 876300"/>
                <a:gd name="connsiteY595" fmla="*/ 94297 h 1419225"/>
                <a:gd name="connsiteX596" fmla="*/ 495300 w 876300"/>
                <a:gd name="connsiteY596" fmla="*/ 91440 h 1419225"/>
                <a:gd name="connsiteX597" fmla="*/ 498158 w 876300"/>
                <a:gd name="connsiteY597" fmla="*/ 88583 h 1419225"/>
                <a:gd name="connsiteX598" fmla="*/ 505778 w 876300"/>
                <a:gd name="connsiteY598" fmla="*/ 80963 h 1419225"/>
                <a:gd name="connsiteX599" fmla="*/ 510540 w 876300"/>
                <a:gd name="connsiteY599" fmla="*/ 78105 h 1419225"/>
                <a:gd name="connsiteX600" fmla="*/ 520065 w 876300"/>
                <a:gd name="connsiteY600" fmla="*/ 76200 h 1419225"/>
                <a:gd name="connsiteX601" fmla="*/ 581025 w 876300"/>
                <a:gd name="connsiteY601" fmla="*/ 70485 h 1419225"/>
                <a:gd name="connsiteX602" fmla="*/ 588645 w 876300"/>
                <a:gd name="connsiteY602" fmla="*/ 66675 h 1419225"/>
                <a:gd name="connsiteX603" fmla="*/ 592455 w 876300"/>
                <a:gd name="connsiteY603" fmla="*/ 63817 h 1419225"/>
                <a:gd name="connsiteX604" fmla="*/ 641033 w 876300"/>
                <a:gd name="connsiteY604" fmla="*/ 10478 h 1419225"/>
                <a:gd name="connsiteX605" fmla="*/ 654368 w 876300"/>
                <a:gd name="connsiteY605" fmla="*/ 0 h 1419225"/>
                <a:gd name="connsiteX606" fmla="*/ 659130 w 876300"/>
                <a:gd name="connsiteY606" fmla="*/ 953 h 1419225"/>
                <a:gd name="connsiteX607" fmla="*/ 665797 w 876300"/>
                <a:gd name="connsiteY607" fmla="*/ 1905 h 1419225"/>
                <a:gd name="connsiteX608" fmla="*/ 681038 w 876300"/>
                <a:gd name="connsiteY608" fmla="*/ 7620 h 1419225"/>
                <a:gd name="connsiteX609" fmla="*/ 688658 w 876300"/>
                <a:gd name="connsiteY609" fmla="*/ 9525 h 1419225"/>
                <a:gd name="connsiteX610" fmla="*/ 693420 w 876300"/>
                <a:gd name="connsiteY610" fmla="*/ 9525 h 1419225"/>
                <a:gd name="connsiteX611" fmla="*/ 707708 w 876300"/>
                <a:gd name="connsiteY611" fmla="*/ 1905 h 1419225"/>
                <a:gd name="connsiteX612" fmla="*/ 713422 w 876300"/>
                <a:gd name="connsiteY612" fmla="*/ 0 h 1419225"/>
                <a:gd name="connsiteX613" fmla="*/ 719138 w 876300"/>
                <a:gd name="connsiteY613" fmla="*/ 0 h 1419225"/>
                <a:gd name="connsiteX614" fmla="*/ 725805 w 876300"/>
                <a:gd name="connsiteY614" fmla="*/ 1905 h 1419225"/>
                <a:gd name="connsiteX615" fmla="*/ 759143 w 876300"/>
                <a:gd name="connsiteY615" fmla="*/ 18097 h 1419225"/>
                <a:gd name="connsiteX616" fmla="*/ 762953 w 876300"/>
                <a:gd name="connsiteY616" fmla="*/ 19050 h 1419225"/>
                <a:gd name="connsiteX617" fmla="*/ 766763 w 876300"/>
                <a:gd name="connsiteY617" fmla="*/ 19050 h 1419225"/>
                <a:gd name="connsiteX618" fmla="*/ 769620 w 876300"/>
                <a:gd name="connsiteY618" fmla="*/ 19050 h 1419225"/>
                <a:gd name="connsiteX619" fmla="*/ 784860 w 876300"/>
                <a:gd name="connsiteY619" fmla="*/ 12383 h 1419225"/>
                <a:gd name="connsiteX620" fmla="*/ 788670 w 876300"/>
                <a:gd name="connsiteY620" fmla="*/ 9525 h 1419225"/>
                <a:gd name="connsiteX621" fmla="*/ 794385 w 876300"/>
                <a:gd name="connsiteY621" fmla="*/ 2858 h 1419225"/>
                <a:gd name="connsiteX622" fmla="*/ 796290 w 876300"/>
                <a:gd name="connsiteY622" fmla="*/ 1905 h 1419225"/>
                <a:gd name="connsiteX623" fmla="*/ 799147 w 876300"/>
                <a:gd name="connsiteY623" fmla="*/ 2858 h 1419225"/>
                <a:gd name="connsiteX624" fmla="*/ 802005 w 876300"/>
                <a:gd name="connsiteY624" fmla="*/ 6667 h 1419225"/>
                <a:gd name="connsiteX625" fmla="*/ 802958 w 876300"/>
                <a:gd name="connsiteY625" fmla="*/ 9525 h 1419225"/>
                <a:gd name="connsiteX626" fmla="*/ 803910 w 876300"/>
                <a:gd name="connsiteY626" fmla="*/ 13335 h 1419225"/>
                <a:gd name="connsiteX627" fmla="*/ 802005 w 876300"/>
                <a:gd name="connsiteY627" fmla="*/ 19050 h 1419225"/>
                <a:gd name="connsiteX628" fmla="*/ 800100 w 876300"/>
                <a:gd name="connsiteY628" fmla="*/ 21908 h 1419225"/>
                <a:gd name="connsiteX629" fmla="*/ 794385 w 876300"/>
                <a:gd name="connsiteY629" fmla="*/ 28575 h 1419225"/>
                <a:gd name="connsiteX630" fmla="*/ 792480 w 876300"/>
                <a:gd name="connsiteY630" fmla="*/ 34290 h 1419225"/>
                <a:gd name="connsiteX631" fmla="*/ 789622 w 876300"/>
                <a:gd name="connsiteY631" fmla="*/ 40005 h 1419225"/>
                <a:gd name="connsiteX632" fmla="*/ 788670 w 876300"/>
                <a:gd name="connsiteY632" fmla="*/ 45720 h 1419225"/>
                <a:gd name="connsiteX633" fmla="*/ 788670 w 876300"/>
                <a:gd name="connsiteY633" fmla="*/ 50483 h 1419225"/>
                <a:gd name="connsiteX634" fmla="*/ 789622 w 876300"/>
                <a:gd name="connsiteY634" fmla="*/ 54292 h 1419225"/>
                <a:gd name="connsiteX635" fmla="*/ 794385 w 876300"/>
                <a:gd name="connsiteY635" fmla="*/ 58103 h 1419225"/>
                <a:gd name="connsiteX636" fmla="*/ 798195 w 876300"/>
                <a:gd name="connsiteY636" fmla="*/ 60960 h 1419225"/>
                <a:gd name="connsiteX637" fmla="*/ 802005 w 876300"/>
                <a:gd name="connsiteY637" fmla="*/ 64770 h 1419225"/>
                <a:gd name="connsiteX638" fmla="*/ 802958 w 876300"/>
                <a:gd name="connsiteY638" fmla="*/ 68580 h 1419225"/>
                <a:gd name="connsiteX639" fmla="*/ 804863 w 876300"/>
                <a:gd name="connsiteY639" fmla="*/ 93345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</a:cxnLst>
              <a:rect l="l" t="t" r="r" b="b"/>
              <a:pathLst>
                <a:path w="876300" h="1419225">
                  <a:moveTo>
                    <a:pt x="804863" y="93345"/>
                  </a:moveTo>
                  <a:lnTo>
                    <a:pt x="793433" y="99060"/>
                  </a:lnTo>
                  <a:lnTo>
                    <a:pt x="790575" y="101917"/>
                  </a:lnTo>
                  <a:lnTo>
                    <a:pt x="792480" y="103822"/>
                  </a:lnTo>
                  <a:lnTo>
                    <a:pt x="795338" y="104775"/>
                  </a:lnTo>
                  <a:lnTo>
                    <a:pt x="813435" y="110490"/>
                  </a:lnTo>
                  <a:lnTo>
                    <a:pt x="818197" y="113347"/>
                  </a:lnTo>
                  <a:lnTo>
                    <a:pt x="822008" y="117158"/>
                  </a:lnTo>
                  <a:lnTo>
                    <a:pt x="824865" y="121920"/>
                  </a:lnTo>
                  <a:lnTo>
                    <a:pt x="825818" y="124778"/>
                  </a:lnTo>
                  <a:lnTo>
                    <a:pt x="825818" y="128588"/>
                  </a:lnTo>
                  <a:lnTo>
                    <a:pt x="823913" y="135255"/>
                  </a:lnTo>
                  <a:lnTo>
                    <a:pt x="822008" y="139065"/>
                  </a:lnTo>
                  <a:lnTo>
                    <a:pt x="819150" y="140970"/>
                  </a:lnTo>
                  <a:lnTo>
                    <a:pt x="813435" y="141922"/>
                  </a:lnTo>
                  <a:lnTo>
                    <a:pt x="793433" y="143828"/>
                  </a:lnTo>
                  <a:lnTo>
                    <a:pt x="791528" y="144780"/>
                  </a:lnTo>
                  <a:lnTo>
                    <a:pt x="790575" y="147638"/>
                  </a:lnTo>
                  <a:lnTo>
                    <a:pt x="789622" y="150495"/>
                  </a:lnTo>
                  <a:lnTo>
                    <a:pt x="791528" y="153353"/>
                  </a:lnTo>
                  <a:lnTo>
                    <a:pt x="795338" y="158115"/>
                  </a:lnTo>
                  <a:lnTo>
                    <a:pt x="802005" y="163830"/>
                  </a:lnTo>
                  <a:lnTo>
                    <a:pt x="803910" y="165735"/>
                  </a:lnTo>
                  <a:lnTo>
                    <a:pt x="803910" y="169545"/>
                  </a:lnTo>
                  <a:lnTo>
                    <a:pt x="802005" y="179070"/>
                  </a:lnTo>
                  <a:lnTo>
                    <a:pt x="799147" y="184785"/>
                  </a:lnTo>
                  <a:lnTo>
                    <a:pt x="797243" y="186690"/>
                  </a:lnTo>
                  <a:lnTo>
                    <a:pt x="787718" y="192405"/>
                  </a:lnTo>
                  <a:lnTo>
                    <a:pt x="785813" y="193358"/>
                  </a:lnTo>
                  <a:lnTo>
                    <a:pt x="784860" y="196215"/>
                  </a:lnTo>
                  <a:lnTo>
                    <a:pt x="785813" y="199072"/>
                  </a:lnTo>
                  <a:lnTo>
                    <a:pt x="788670" y="202883"/>
                  </a:lnTo>
                  <a:lnTo>
                    <a:pt x="791528" y="204788"/>
                  </a:lnTo>
                  <a:lnTo>
                    <a:pt x="795338" y="206692"/>
                  </a:lnTo>
                  <a:lnTo>
                    <a:pt x="802005" y="206692"/>
                  </a:lnTo>
                  <a:lnTo>
                    <a:pt x="804863" y="208597"/>
                  </a:lnTo>
                  <a:lnTo>
                    <a:pt x="805815" y="212408"/>
                  </a:lnTo>
                  <a:lnTo>
                    <a:pt x="804863" y="219075"/>
                  </a:lnTo>
                  <a:lnTo>
                    <a:pt x="803910" y="222885"/>
                  </a:lnTo>
                  <a:lnTo>
                    <a:pt x="802005" y="225742"/>
                  </a:lnTo>
                  <a:lnTo>
                    <a:pt x="771525" y="235267"/>
                  </a:lnTo>
                  <a:lnTo>
                    <a:pt x="767715" y="239078"/>
                  </a:lnTo>
                  <a:lnTo>
                    <a:pt x="763905" y="242888"/>
                  </a:lnTo>
                  <a:lnTo>
                    <a:pt x="761047" y="246697"/>
                  </a:lnTo>
                  <a:lnTo>
                    <a:pt x="762000" y="253365"/>
                  </a:lnTo>
                  <a:lnTo>
                    <a:pt x="766763" y="266700"/>
                  </a:lnTo>
                  <a:lnTo>
                    <a:pt x="768668" y="275272"/>
                  </a:lnTo>
                  <a:lnTo>
                    <a:pt x="769620" y="281940"/>
                  </a:lnTo>
                  <a:lnTo>
                    <a:pt x="767715" y="287655"/>
                  </a:lnTo>
                  <a:lnTo>
                    <a:pt x="763905" y="297180"/>
                  </a:lnTo>
                  <a:lnTo>
                    <a:pt x="763905" y="300990"/>
                  </a:lnTo>
                  <a:lnTo>
                    <a:pt x="764858" y="304800"/>
                  </a:lnTo>
                  <a:lnTo>
                    <a:pt x="767715" y="310515"/>
                  </a:lnTo>
                  <a:lnTo>
                    <a:pt x="770572" y="313372"/>
                  </a:lnTo>
                  <a:lnTo>
                    <a:pt x="777240" y="319088"/>
                  </a:lnTo>
                  <a:lnTo>
                    <a:pt x="781050" y="322897"/>
                  </a:lnTo>
                  <a:lnTo>
                    <a:pt x="783908" y="327660"/>
                  </a:lnTo>
                  <a:lnTo>
                    <a:pt x="783908" y="332422"/>
                  </a:lnTo>
                  <a:lnTo>
                    <a:pt x="783908" y="337185"/>
                  </a:lnTo>
                  <a:lnTo>
                    <a:pt x="782955" y="346710"/>
                  </a:lnTo>
                  <a:lnTo>
                    <a:pt x="781050" y="356235"/>
                  </a:lnTo>
                  <a:lnTo>
                    <a:pt x="780097" y="360045"/>
                  </a:lnTo>
                  <a:lnTo>
                    <a:pt x="780097" y="363855"/>
                  </a:lnTo>
                  <a:lnTo>
                    <a:pt x="782955" y="370522"/>
                  </a:lnTo>
                  <a:lnTo>
                    <a:pt x="786765" y="377190"/>
                  </a:lnTo>
                  <a:lnTo>
                    <a:pt x="799147" y="386715"/>
                  </a:lnTo>
                  <a:lnTo>
                    <a:pt x="802005" y="391478"/>
                  </a:lnTo>
                  <a:lnTo>
                    <a:pt x="803910" y="396240"/>
                  </a:lnTo>
                  <a:lnTo>
                    <a:pt x="804863" y="399097"/>
                  </a:lnTo>
                  <a:lnTo>
                    <a:pt x="805815" y="404813"/>
                  </a:lnTo>
                  <a:lnTo>
                    <a:pt x="805815" y="412433"/>
                  </a:lnTo>
                  <a:lnTo>
                    <a:pt x="804863" y="428625"/>
                  </a:lnTo>
                  <a:lnTo>
                    <a:pt x="803910" y="435292"/>
                  </a:lnTo>
                  <a:lnTo>
                    <a:pt x="802005" y="440055"/>
                  </a:lnTo>
                  <a:lnTo>
                    <a:pt x="796290" y="445770"/>
                  </a:lnTo>
                  <a:lnTo>
                    <a:pt x="792480" y="450533"/>
                  </a:lnTo>
                  <a:lnTo>
                    <a:pt x="790575" y="455295"/>
                  </a:lnTo>
                  <a:lnTo>
                    <a:pt x="789622" y="458153"/>
                  </a:lnTo>
                  <a:lnTo>
                    <a:pt x="789622" y="461963"/>
                  </a:lnTo>
                  <a:lnTo>
                    <a:pt x="790575" y="466725"/>
                  </a:lnTo>
                  <a:lnTo>
                    <a:pt x="793433" y="472440"/>
                  </a:lnTo>
                  <a:lnTo>
                    <a:pt x="797243" y="478155"/>
                  </a:lnTo>
                  <a:lnTo>
                    <a:pt x="811530" y="490538"/>
                  </a:lnTo>
                  <a:lnTo>
                    <a:pt x="815340" y="494347"/>
                  </a:lnTo>
                  <a:lnTo>
                    <a:pt x="815340" y="498158"/>
                  </a:lnTo>
                  <a:lnTo>
                    <a:pt x="815340" y="502920"/>
                  </a:lnTo>
                  <a:lnTo>
                    <a:pt x="813435" y="509588"/>
                  </a:lnTo>
                  <a:lnTo>
                    <a:pt x="811530" y="513397"/>
                  </a:lnTo>
                  <a:lnTo>
                    <a:pt x="809625" y="516255"/>
                  </a:lnTo>
                  <a:lnTo>
                    <a:pt x="803910" y="521970"/>
                  </a:lnTo>
                  <a:lnTo>
                    <a:pt x="800100" y="525780"/>
                  </a:lnTo>
                  <a:lnTo>
                    <a:pt x="798195" y="531495"/>
                  </a:lnTo>
                  <a:lnTo>
                    <a:pt x="797243" y="538163"/>
                  </a:lnTo>
                  <a:lnTo>
                    <a:pt x="795338" y="559118"/>
                  </a:lnTo>
                  <a:lnTo>
                    <a:pt x="793433" y="568643"/>
                  </a:lnTo>
                  <a:lnTo>
                    <a:pt x="791528" y="571500"/>
                  </a:lnTo>
                  <a:lnTo>
                    <a:pt x="788670" y="576263"/>
                  </a:lnTo>
                  <a:lnTo>
                    <a:pt x="774383" y="583883"/>
                  </a:lnTo>
                  <a:lnTo>
                    <a:pt x="770572" y="586740"/>
                  </a:lnTo>
                  <a:lnTo>
                    <a:pt x="768668" y="590550"/>
                  </a:lnTo>
                  <a:lnTo>
                    <a:pt x="761047" y="608647"/>
                  </a:lnTo>
                  <a:lnTo>
                    <a:pt x="760095" y="613410"/>
                  </a:lnTo>
                  <a:lnTo>
                    <a:pt x="760095" y="617220"/>
                  </a:lnTo>
                  <a:lnTo>
                    <a:pt x="761047" y="621983"/>
                  </a:lnTo>
                  <a:lnTo>
                    <a:pt x="763905" y="631508"/>
                  </a:lnTo>
                  <a:lnTo>
                    <a:pt x="773430" y="651510"/>
                  </a:lnTo>
                  <a:lnTo>
                    <a:pt x="778193" y="665797"/>
                  </a:lnTo>
                  <a:lnTo>
                    <a:pt x="782955" y="687705"/>
                  </a:lnTo>
                  <a:lnTo>
                    <a:pt x="784860" y="692468"/>
                  </a:lnTo>
                  <a:lnTo>
                    <a:pt x="786765" y="695325"/>
                  </a:lnTo>
                  <a:lnTo>
                    <a:pt x="800100" y="704850"/>
                  </a:lnTo>
                  <a:lnTo>
                    <a:pt x="802005" y="706755"/>
                  </a:lnTo>
                  <a:lnTo>
                    <a:pt x="802958" y="709613"/>
                  </a:lnTo>
                  <a:lnTo>
                    <a:pt x="802958" y="714375"/>
                  </a:lnTo>
                  <a:lnTo>
                    <a:pt x="802958" y="722947"/>
                  </a:lnTo>
                  <a:lnTo>
                    <a:pt x="803910" y="730568"/>
                  </a:lnTo>
                  <a:lnTo>
                    <a:pt x="807720" y="745807"/>
                  </a:lnTo>
                  <a:lnTo>
                    <a:pt x="807720" y="750570"/>
                  </a:lnTo>
                  <a:lnTo>
                    <a:pt x="807720" y="754380"/>
                  </a:lnTo>
                  <a:lnTo>
                    <a:pt x="805815" y="763905"/>
                  </a:lnTo>
                  <a:lnTo>
                    <a:pt x="804863" y="768668"/>
                  </a:lnTo>
                  <a:lnTo>
                    <a:pt x="805815" y="772478"/>
                  </a:lnTo>
                  <a:lnTo>
                    <a:pt x="807720" y="778193"/>
                  </a:lnTo>
                  <a:lnTo>
                    <a:pt x="811530" y="784860"/>
                  </a:lnTo>
                  <a:lnTo>
                    <a:pt x="817245" y="793432"/>
                  </a:lnTo>
                  <a:lnTo>
                    <a:pt x="818197" y="796290"/>
                  </a:lnTo>
                  <a:lnTo>
                    <a:pt x="818197" y="800100"/>
                  </a:lnTo>
                  <a:lnTo>
                    <a:pt x="816293" y="805815"/>
                  </a:lnTo>
                  <a:lnTo>
                    <a:pt x="813435" y="812482"/>
                  </a:lnTo>
                  <a:lnTo>
                    <a:pt x="812483" y="816293"/>
                  </a:lnTo>
                  <a:lnTo>
                    <a:pt x="812483" y="821055"/>
                  </a:lnTo>
                  <a:lnTo>
                    <a:pt x="812483" y="829628"/>
                  </a:lnTo>
                  <a:lnTo>
                    <a:pt x="811530" y="833438"/>
                  </a:lnTo>
                  <a:lnTo>
                    <a:pt x="809625" y="836295"/>
                  </a:lnTo>
                  <a:lnTo>
                    <a:pt x="802005" y="839153"/>
                  </a:lnTo>
                  <a:lnTo>
                    <a:pt x="797243" y="841057"/>
                  </a:lnTo>
                  <a:lnTo>
                    <a:pt x="793433" y="844868"/>
                  </a:lnTo>
                  <a:lnTo>
                    <a:pt x="791528" y="847725"/>
                  </a:lnTo>
                  <a:lnTo>
                    <a:pt x="790575" y="850582"/>
                  </a:lnTo>
                  <a:lnTo>
                    <a:pt x="789622" y="854393"/>
                  </a:lnTo>
                  <a:lnTo>
                    <a:pt x="789622" y="861060"/>
                  </a:lnTo>
                  <a:lnTo>
                    <a:pt x="789622" y="868680"/>
                  </a:lnTo>
                  <a:lnTo>
                    <a:pt x="786765" y="881063"/>
                  </a:lnTo>
                  <a:lnTo>
                    <a:pt x="786765" y="885825"/>
                  </a:lnTo>
                  <a:lnTo>
                    <a:pt x="786765" y="889635"/>
                  </a:lnTo>
                  <a:lnTo>
                    <a:pt x="789622" y="896303"/>
                  </a:lnTo>
                  <a:lnTo>
                    <a:pt x="791528" y="899160"/>
                  </a:lnTo>
                  <a:lnTo>
                    <a:pt x="797243" y="905828"/>
                  </a:lnTo>
                  <a:lnTo>
                    <a:pt x="798195" y="908685"/>
                  </a:lnTo>
                  <a:lnTo>
                    <a:pt x="799147" y="911543"/>
                  </a:lnTo>
                  <a:lnTo>
                    <a:pt x="798195" y="915353"/>
                  </a:lnTo>
                  <a:lnTo>
                    <a:pt x="794385" y="923925"/>
                  </a:lnTo>
                  <a:lnTo>
                    <a:pt x="794385" y="927735"/>
                  </a:lnTo>
                  <a:lnTo>
                    <a:pt x="793433" y="934403"/>
                  </a:lnTo>
                  <a:lnTo>
                    <a:pt x="793433" y="938213"/>
                  </a:lnTo>
                  <a:lnTo>
                    <a:pt x="794385" y="942975"/>
                  </a:lnTo>
                  <a:lnTo>
                    <a:pt x="802958" y="961072"/>
                  </a:lnTo>
                  <a:lnTo>
                    <a:pt x="803910" y="966788"/>
                  </a:lnTo>
                  <a:lnTo>
                    <a:pt x="803910" y="970597"/>
                  </a:lnTo>
                  <a:lnTo>
                    <a:pt x="802005" y="976313"/>
                  </a:lnTo>
                  <a:lnTo>
                    <a:pt x="801053" y="980122"/>
                  </a:lnTo>
                  <a:lnTo>
                    <a:pt x="798195" y="982980"/>
                  </a:lnTo>
                  <a:lnTo>
                    <a:pt x="793433" y="987743"/>
                  </a:lnTo>
                  <a:lnTo>
                    <a:pt x="789622" y="992505"/>
                  </a:lnTo>
                  <a:lnTo>
                    <a:pt x="786765" y="997268"/>
                  </a:lnTo>
                  <a:lnTo>
                    <a:pt x="786765" y="1001078"/>
                  </a:lnTo>
                  <a:lnTo>
                    <a:pt x="787718" y="1006793"/>
                  </a:lnTo>
                  <a:lnTo>
                    <a:pt x="791528" y="1015365"/>
                  </a:lnTo>
                  <a:lnTo>
                    <a:pt x="797243" y="1024890"/>
                  </a:lnTo>
                  <a:lnTo>
                    <a:pt x="798195" y="1029653"/>
                  </a:lnTo>
                  <a:lnTo>
                    <a:pt x="798195" y="1030605"/>
                  </a:lnTo>
                  <a:lnTo>
                    <a:pt x="795338" y="1036320"/>
                  </a:lnTo>
                  <a:lnTo>
                    <a:pt x="788670" y="1038225"/>
                  </a:lnTo>
                  <a:lnTo>
                    <a:pt x="786765" y="1040130"/>
                  </a:lnTo>
                  <a:lnTo>
                    <a:pt x="786765" y="1042988"/>
                  </a:lnTo>
                  <a:lnTo>
                    <a:pt x="789622" y="1049655"/>
                  </a:lnTo>
                  <a:lnTo>
                    <a:pt x="790575" y="1054418"/>
                  </a:lnTo>
                  <a:lnTo>
                    <a:pt x="789622" y="1058228"/>
                  </a:lnTo>
                  <a:lnTo>
                    <a:pt x="787718" y="1060132"/>
                  </a:lnTo>
                  <a:lnTo>
                    <a:pt x="782955" y="1062990"/>
                  </a:lnTo>
                  <a:lnTo>
                    <a:pt x="781050" y="1064895"/>
                  </a:lnTo>
                  <a:lnTo>
                    <a:pt x="782003" y="1068705"/>
                  </a:lnTo>
                  <a:lnTo>
                    <a:pt x="785813" y="1075373"/>
                  </a:lnTo>
                  <a:lnTo>
                    <a:pt x="787718" y="1078230"/>
                  </a:lnTo>
                  <a:lnTo>
                    <a:pt x="788670" y="1082993"/>
                  </a:lnTo>
                  <a:lnTo>
                    <a:pt x="788670" y="1089660"/>
                  </a:lnTo>
                  <a:lnTo>
                    <a:pt x="787718" y="1094423"/>
                  </a:lnTo>
                  <a:lnTo>
                    <a:pt x="783908" y="1102995"/>
                  </a:lnTo>
                  <a:lnTo>
                    <a:pt x="783908" y="1105853"/>
                  </a:lnTo>
                  <a:lnTo>
                    <a:pt x="783908" y="1108710"/>
                  </a:lnTo>
                  <a:lnTo>
                    <a:pt x="784860" y="1110615"/>
                  </a:lnTo>
                  <a:lnTo>
                    <a:pt x="788670" y="1110615"/>
                  </a:lnTo>
                  <a:lnTo>
                    <a:pt x="796290" y="1108710"/>
                  </a:lnTo>
                  <a:lnTo>
                    <a:pt x="798195" y="1110615"/>
                  </a:lnTo>
                  <a:lnTo>
                    <a:pt x="799147" y="1113473"/>
                  </a:lnTo>
                  <a:lnTo>
                    <a:pt x="799147" y="1117282"/>
                  </a:lnTo>
                  <a:lnTo>
                    <a:pt x="797243" y="1127760"/>
                  </a:lnTo>
                  <a:lnTo>
                    <a:pt x="795338" y="1153478"/>
                  </a:lnTo>
                  <a:lnTo>
                    <a:pt x="795338" y="1157288"/>
                  </a:lnTo>
                  <a:lnTo>
                    <a:pt x="796290" y="1161098"/>
                  </a:lnTo>
                  <a:lnTo>
                    <a:pt x="803910" y="1172528"/>
                  </a:lnTo>
                  <a:lnTo>
                    <a:pt x="807720" y="1176338"/>
                  </a:lnTo>
                  <a:lnTo>
                    <a:pt x="818197" y="1180148"/>
                  </a:lnTo>
                  <a:lnTo>
                    <a:pt x="821055" y="1182053"/>
                  </a:lnTo>
                  <a:lnTo>
                    <a:pt x="821055" y="1183957"/>
                  </a:lnTo>
                  <a:lnTo>
                    <a:pt x="820103" y="1186815"/>
                  </a:lnTo>
                  <a:lnTo>
                    <a:pt x="817245" y="1188720"/>
                  </a:lnTo>
                  <a:lnTo>
                    <a:pt x="811530" y="1189673"/>
                  </a:lnTo>
                  <a:lnTo>
                    <a:pt x="809625" y="1190625"/>
                  </a:lnTo>
                  <a:lnTo>
                    <a:pt x="808672" y="1192530"/>
                  </a:lnTo>
                  <a:lnTo>
                    <a:pt x="807720" y="1198245"/>
                  </a:lnTo>
                  <a:lnTo>
                    <a:pt x="803910" y="1204913"/>
                  </a:lnTo>
                  <a:lnTo>
                    <a:pt x="802005" y="1207770"/>
                  </a:lnTo>
                  <a:lnTo>
                    <a:pt x="802958" y="1210628"/>
                  </a:lnTo>
                  <a:lnTo>
                    <a:pt x="803910" y="1214438"/>
                  </a:lnTo>
                  <a:lnTo>
                    <a:pt x="810578" y="1222057"/>
                  </a:lnTo>
                  <a:lnTo>
                    <a:pt x="813435" y="1225868"/>
                  </a:lnTo>
                  <a:lnTo>
                    <a:pt x="814388" y="1228725"/>
                  </a:lnTo>
                  <a:lnTo>
                    <a:pt x="813435" y="1233488"/>
                  </a:lnTo>
                  <a:lnTo>
                    <a:pt x="811530" y="1239203"/>
                  </a:lnTo>
                  <a:lnTo>
                    <a:pt x="810578" y="1244918"/>
                  </a:lnTo>
                  <a:lnTo>
                    <a:pt x="810578" y="1261110"/>
                  </a:lnTo>
                  <a:lnTo>
                    <a:pt x="809625" y="1267778"/>
                  </a:lnTo>
                  <a:lnTo>
                    <a:pt x="806768" y="1276350"/>
                  </a:lnTo>
                  <a:lnTo>
                    <a:pt x="805815" y="1283018"/>
                  </a:lnTo>
                  <a:lnTo>
                    <a:pt x="806768" y="1286828"/>
                  </a:lnTo>
                  <a:lnTo>
                    <a:pt x="809625" y="1291590"/>
                  </a:lnTo>
                  <a:lnTo>
                    <a:pt x="816293" y="1297305"/>
                  </a:lnTo>
                  <a:lnTo>
                    <a:pt x="820103" y="1299210"/>
                  </a:lnTo>
                  <a:lnTo>
                    <a:pt x="824865" y="1300163"/>
                  </a:lnTo>
                  <a:lnTo>
                    <a:pt x="827722" y="1301115"/>
                  </a:lnTo>
                  <a:lnTo>
                    <a:pt x="830580" y="1302068"/>
                  </a:lnTo>
                  <a:lnTo>
                    <a:pt x="831533" y="1303973"/>
                  </a:lnTo>
                  <a:lnTo>
                    <a:pt x="830580" y="1311593"/>
                  </a:lnTo>
                  <a:lnTo>
                    <a:pt x="830580" y="1314450"/>
                  </a:lnTo>
                  <a:lnTo>
                    <a:pt x="832485" y="1318260"/>
                  </a:lnTo>
                  <a:lnTo>
                    <a:pt x="837247" y="1321118"/>
                  </a:lnTo>
                  <a:lnTo>
                    <a:pt x="840105" y="1322070"/>
                  </a:lnTo>
                  <a:lnTo>
                    <a:pt x="842010" y="1320165"/>
                  </a:lnTo>
                  <a:lnTo>
                    <a:pt x="845820" y="1316355"/>
                  </a:lnTo>
                  <a:lnTo>
                    <a:pt x="846772" y="1315403"/>
                  </a:lnTo>
                  <a:lnTo>
                    <a:pt x="848678" y="1316355"/>
                  </a:lnTo>
                  <a:lnTo>
                    <a:pt x="848678" y="1324928"/>
                  </a:lnTo>
                  <a:lnTo>
                    <a:pt x="847725" y="1329690"/>
                  </a:lnTo>
                  <a:lnTo>
                    <a:pt x="843915" y="1337310"/>
                  </a:lnTo>
                  <a:lnTo>
                    <a:pt x="842963" y="1340168"/>
                  </a:lnTo>
                  <a:lnTo>
                    <a:pt x="842963" y="1343025"/>
                  </a:lnTo>
                  <a:lnTo>
                    <a:pt x="843915" y="1346835"/>
                  </a:lnTo>
                  <a:lnTo>
                    <a:pt x="847725" y="1350645"/>
                  </a:lnTo>
                  <a:lnTo>
                    <a:pt x="851535" y="1352550"/>
                  </a:lnTo>
                  <a:lnTo>
                    <a:pt x="862013" y="1359218"/>
                  </a:lnTo>
                  <a:lnTo>
                    <a:pt x="864870" y="1361123"/>
                  </a:lnTo>
                  <a:lnTo>
                    <a:pt x="869633" y="1365885"/>
                  </a:lnTo>
                  <a:lnTo>
                    <a:pt x="876300" y="1369695"/>
                  </a:lnTo>
                  <a:lnTo>
                    <a:pt x="878205" y="1371600"/>
                  </a:lnTo>
                  <a:lnTo>
                    <a:pt x="876300" y="1375410"/>
                  </a:lnTo>
                  <a:lnTo>
                    <a:pt x="874395" y="1376363"/>
                  </a:lnTo>
                  <a:lnTo>
                    <a:pt x="869633" y="1378268"/>
                  </a:lnTo>
                  <a:lnTo>
                    <a:pt x="868680" y="1381125"/>
                  </a:lnTo>
                  <a:lnTo>
                    <a:pt x="870585" y="1387793"/>
                  </a:lnTo>
                  <a:lnTo>
                    <a:pt x="874395" y="1398270"/>
                  </a:lnTo>
                  <a:lnTo>
                    <a:pt x="882968" y="1417320"/>
                  </a:lnTo>
                  <a:lnTo>
                    <a:pt x="868680" y="1422082"/>
                  </a:lnTo>
                  <a:lnTo>
                    <a:pt x="854393" y="1421130"/>
                  </a:lnTo>
                  <a:lnTo>
                    <a:pt x="837247" y="1414463"/>
                  </a:lnTo>
                  <a:lnTo>
                    <a:pt x="823913" y="1406843"/>
                  </a:lnTo>
                  <a:lnTo>
                    <a:pt x="817245" y="1403985"/>
                  </a:lnTo>
                  <a:lnTo>
                    <a:pt x="807720" y="1403032"/>
                  </a:lnTo>
                  <a:lnTo>
                    <a:pt x="777240" y="1409700"/>
                  </a:lnTo>
                  <a:lnTo>
                    <a:pt x="761047" y="1399223"/>
                  </a:lnTo>
                  <a:lnTo>
                    <a:pt x="758190" y="1376363"/>
                  </a:lnTo>
                  <a:lnTo>
                    <a:pt x="759143" y="1353503"/>
                  </a:lnTo>
                  <a:lnTo>
                    <a:pt x="752475" y="1343978"/>
                  </a:lnTo>
                  <a:lnTo>
                    <a:pt x="737235" y="1342073"/>
                  </a:lnTo>
                  <a:lnTo>
                    <a:pt x="736283" y="1345882"/>
                  </a:lnTo>
                  <a:lnTo>
                    <a:pt x="736283" y="1357313"/>
                  </a:lnTo>
                  <a:lnTo>
                    <a:pt x="738188" y="1365885"/>
                  </a:lnTo>
                  <a:lnTo>
                    <a:pt x="741997" y="1374457"/>
                  </a:lnTo>
                  <a:lnTo>
                    <a:pt x="750570" y="1386840"/>
                  </a:lnTo>
                  <a:lnTo>
                    <a:pt x="743903" y="1397318"/>
                  </a:lnTo>
                  <a:lnTo>
                    <a:pt x="734378" y="1398270"/>
                  </a:lnTo>
                  <a:lnTo>
                    <a:pt x="723900" y="1392555"/>
                  </a:lnTo>
                  <a:lnTo>
                    <a:pt x="715328" y="1384935"/>
                  </a:lnTo>
                  <a:lnTo>
                    <a:pt x="709613" y="1373505"/>
                  </a:lnTo>
                  <a:lnTo>
                    <a:pt x="709613" y="1363980"/>
                  </a:lnTo>
                  <a:lnTo>
                    <a:pt x="714375" y="1338263"/>
                  </a:lnTo>
                  <a:lnTo>
                    <a:pt x="714375" y="1328738"/>
                  </a:lnTo>
                  <a:lnTo>
                    <a:pt x="712470" y="1317307"/>
                  </a:lnTo>
                  <a:lnTo>
                    <a:pt x="707708" y="1312545"/>
                  </a:lnTo>
                  <a:lnTo>
                    <a:pt x="699135" y="1316355"/>
                  </a:lnTo>
                  <a:lnTo>
                    <a:pt x="697230" y="1321118"/>
                  </a:lnTo>
                  <a:lnTo>
                    <a:pt x="695325" y="1333500"/>
                  </a:lnTo>
                  <a:lnTo>
                    <a:pt x="692468" y="1338263"/>
                  </a:lnTo>
                  <a:lnTo>
                    <a:pt x="687705" y="1338263"/>
                  </a:lnTo>
                  <a:lnTo>
                    <a:pt x="674370" y="1332548"/>
                  </a:lnTo>
                  <a:lnTo>
                    <a:pt x="667703" y="1338263"/>
                  </a:lnTo>
                  <a:lnTo>
                    <a:pt x="661035" y="1353503"/>
                  </a:lnTo>
                  <a:lnTo>
                    <a:pt x="652463" y="1360170"/>
                  </a:lnTo>
                  <a:lnTo>
                    <a:pt x="643890" y="1361123"/>
                  </a:lnTo>
                  <a:lnTo>
                    <a:pt x="635318" y="1360170"/>
                  </a:lnTo>
                  <a:lnTo>
                    <a:pt x="609600" y="1350645"/>
                  </a:lnTo>
                  <a:lnTo>
                    <a:pt x="609600" y="1347788"/>
                  </a:lnTo>
                  <a:lnTo>
                    <a:pt x="609600" y="1341120"/>
                  </a:lnTo>
                  <a:lnTo>
                    <a:pt x="607695" y="1336357"/>
                  </a:lnTo>
                  <a:lnTo>
                    <a:pt x="597218" y="1322070"/>
                  </a:lnTo>
                  <a:lnTo>
                    <a:pt x="587693" y="1314450"/>
                  </a:lnTo>
                  <a:lnTo>
                    <a:pt x="581025" y="1302068"/>
                  </a:lnTo>
                  <a:lnTo>
                    <a:pt x="573405" y="1295400"/>
                  </a:lnTo>
                  <a:lnTo>
                    <a:pt x="559118" y="1304925"/>
                  </a:lnTo>
                  <a:lnTo>
                    <a:pt x="555308" y="1311593"/>
                  </a:lnTo>
                  <a:lnTo>
                    <a:pt x="554355" y="1319213"/>
                  </a:lnTo>
                  <a:lnTo>
                    <a:pt x="551497" y="1324928"/>
                  </a:lnTo>
                  <a:lnTo>
                    <a:pt x="545783" y="1326832"/>
                  </a:lnTo>
                  <a:lnTo>
                    <a:pt x="540068" y="1323023"/>
                  </a:lnTo>
                  <a:lnTo>
                    <a:pt x="536258" y="1303973"/>
                  </a:lnTo>
                  <a:lnTo>
                    <a:pt x="531495" y="1299210"/>
                  </a:lnTo>
                  <a:lnTo>
                    <a:pt x="508635" y="1297305"/>
                  </a:lnTo>
                  <a:lnTo>
                    <a:pt x="497205" y="1293495"/>
                  </a:lnTo>
                  <a:lnTo>
                    <a:pt x="490538" y="1288732"/>
                  </a:lnTo>
                  <a:lnTo>
                    <a:pt x="490538" y="1283970"/>
                  </a:lnTo>
                  <a:lnTo>
                    <a:pt x="493395" y="1279207"/>
                  </a:lnTo>
                  <a:lnTo>
                    <a:pt x="495300" y="1273493"/>
                  </a:lnTo>
                  <a:lnTo>
                    <a:pt x="492442" y="1263968"/>
                  </a:lnTo>
                  <a:lnTo>
                    <a:pt x="486728" y="1257300"/>
                  </a:lnTo>
                  <a:lnTo>
                    <a:pt x="485775" y="1256348"/>
                  </a:lnTo>
                  <a:lnTo>
                    <a:pt x="485775" y="1254443"/>
                  </a:lnTo>
                  <a:lnTo>
                    <a:pt x="486728" y="1247775"/>
                  </a:lnTo>
                  <a:lnTo>
                    <a:pt x="488633" y="1242060"/>
                  </a:lnTo>
                  <a:lnTo>
                    <a:pt x="491490" y="1240155"/>
                  </a:lnTo>
                  <a:lnTo>
                    <a:pt x="492442" y="1235393"/>
                  </a:lnTo>
                  <a:lnTo>
                    <a:pt x="486728" y="1223010"/>
                  </a:lnTo>
                  <a:lnTo>
                    <a:pt x="482917" y="1220153"/>
                  </a:lnTo>
                  <a:lnTo>
                    <a:pt x="468630" y="1211580"/>
                  </a:lnTo>
                  <a:lnTo>
                    <a:pt x="452438" y="1196340"/>
                  </a:lnTo>
                  <a:lnTo>
                    <a:pt x="443865" y="1191578"/>
                  </a:lnTo>
                  <a:lnTo>
                    <a:pt x="430530" y="1190625"/>
                  </a:lnTo>
                  <a:lnTo>
                    <a:pt x="421005" y="1186815"/>
                  </a:lnTo>
                  <a:lnTo>
                    <a:pt x="408622" y="1180148"/>
                  </a:lnTo>
                  <a:lnTo>
                    <a:pt x="398145" y="1170623"/>
                  </a:lnTo>
                  <a:lnTo>
                    <a:pt x="391478" y="1162050"/>
                  </a:lnTo>
                  <a:lnTo>
                    <a:pt x="396240" y="1157288"/>
                  </a:lnTo>
                  <a:lnTo>
                    <a:pt x="398145" y="1152525"/>
                  </a:lnTo>
                  <a:lnTo>
                    <a:pt x="402908" y="1141095"/>
                  </a:lnTo>
                  <a:lnTo>
                    <a:pt x="398145" y="1140143"/>
                  </a:lnTo>
                  <a:lnTo>
                    <a:pt x="390525" y="1136332"/>
                  </a:lnTo>
                  <a:lnTo>
                    <a:pt x="386715" y="1135380"/>
                  </a:lnTo>
                  <a:lnTo>
                    <a:pt x="381953" y="1137285"/>
                  </a:lnTo>
                  <a:lnTo>
                    <a:pt x="381953" y="1142048"/>
                  </a:lnTo>
                  <a:lnTo>
                    <a:pt x="382905" y="1147763"/>
                  </a:lnTo>
                  <a:lnTo>
                    <a:pt x="381953" y="1151573"/>
                  </a:lnTo>
                  <a:lnTo>
                    <a:pt x="373380" y="1153478"/>
                  </a:lnTo>
                  <a:lnTo>
                    <a:pt x="365760" y="1151573"/>
                  </a:lnTo>
                  <a:lnTo>
                    <a:pt x="360045" y="1147763"/>
                  </a:lnTo>
                  <a:lnTo>
                    <a:pt x="353378" y="1145857"/>
                  </a:lnTo>
                  <a:lnTo>
                    <a:pt x="341947" y="1146810"/>
                  </a:lnTo>
                  <a:lnTo>
                    <a:pt x="340042" y="1151573"/>
                  </a:lnTo>
                  <a:lnTo>
                    <a:pt x="340995" y="1158240"/>
                  </a:lnTo>
                  <a:lnTo>
                    <a:pt x="341947" y="1168718"/>
                  </a:lnTo>
                  <a:lnTo>
                    <a:pt x="340995" y="1180148"/>
                  </a:lnTo>
                  <a:lnTo>
                    <a:pt x="340042" y="1180148"/>
                  </a:lnTo>
                  <a:lnTo>
                    <a:pt x="335280" y="1178243"/>
                  </a:lnTo>
                  <a:lnTo>
                    <a:pt x="327660" y="1179195"/>
                  </a:lnTo>
                  <a:lnTo>
                    <a:pt x="300990" y="1205865"/>
                  </a:lnTo>
                  <a:lnTo>
                    <a:pt x="286703" y="1210628"/>
                  </a:lnTo>
                  <a:lnTo>
                    <a:pt x="280988" y="1190625"/>
                  </a:lnTo>
                  <a:lnTo>
                    <a:pt x="286703" y="1177290"/>
                  </a:lnTo>
                  <a:lnTo>
                    <a:pt x="316230" y="1168718"/>
                  </a:lnTo>
                  <a:lnTo>
                    <a:pt x="327660" y="1157288"/>
                  </a:lnTo>
                  <a:lnTo>
                    <a:pt x="299085" y="1143953"/>
                  </a:lnTo>
                  <a:lnTo>
                    <a:pt x="286703" y="1143000"/>
                  </a:lnTo>
                  <a:lnTo>
                    <a:pt x="273367" y="1157288"/>
                  </a:lnTo>
                  <a:lnTo>
                    <a:pt x="271463" y="1143000"/>
                  </a:lnTo>
                  <a:lnTo>
                    <a:pt x="274320" y="1121093"/>
                  </a:lnTo>
                  <a:lnTo>
                    <a:pt x="279083" y="1101090"/>
                  </a:lnTo>
                  <a:lnTo>
                    <a:pt x="283845" y="1091565"/>
                  </a:lnTo>
                  <a:lnTo>
                    <a:pt x="283845" y="1085850"/>
                  </a:lnTo>
                  <a:lnTo>
                    <a:pt x="276225" y="1084898"/>
                  </a:lnTo>
                  <a:lnTo>
                    <a:pt x="270510" y="1086803"/>
                  </a:lnTo>
                  <a:lnTo>
                    <a:pt x="259080" y="1096328"/>
                  </a:lnTo>
                  <a:lnTo>
                    <a:pt x="254317" y="1102043"/>
                  </a:lnTo>
                  <a:lnTo>
                    <a:pt x="251460" y="1107757"/>
                  </a:lnTo>
                  <a:lnTo>
                    <a:pt x="249555" y="1114425"/>
                  </a:lnTo>
                  <a:lnTo>
                    <a:pt x="248603" y="1123950"/>
                  </a:lnTo>
                  <a:lnTo>
                    <a:pt x="245745" y="1133475"/>
                  </a:lnTo>
                  <a:lnTo>
                    <a:pt x="241935" y="1138238"/>
                  </a:lnTo>
                  <a:lnTo>
                    <a:pt x="235267" y="1132523"/>
                  </a:lnTo>
                  <a:lnTo>
                    <a:pt x="222885" y="1112520"/>
                  </a:lnTo>
                  <a:lnTo>
                    <a:pt x="219075" y="1104900"/>
                  </a:lnTo>
                  <a:lnTo>
                    <a:pt x="219075" y="1096328"/>
                  </a:lnTo>
                  <a:lnTo>
                    <a:pt x="222885" y="1082993"/>
                  </a:lnTo>
                  <a:lnTo>
                    <a:pt x="222885" y="1075373"/>
                  </a:lnTo>
                  <a:lnTo>
                    <a:pt x="218122" y="1069657"/>
                  </a:lnTo>
                  <a:lnTo>
                    <a:pt x="189547" y="1052513"/>
                  </a:lnTo>
                  <a:lnTo>
                    <a:pt x="181928" y="1051560"/>
                  </a:lnTo>
                  <a:lnTo>
                    <a:pt x="160020" y="1055370"/>
                  </a:lnTo>
                  <a:lnTo>
                    <a:pt x="150495" y="1055370"/>
                  </a:lnTo>
                  <a:lnTo>
                    <a:pt x="142875" y="1048703"/>
                  </a:lnTo>
                  <a:lnTo>
                    <a:pt x="135255" y="1036320"/>
                  </a:lnTo>
                  <a:lnTo>
                    <a:pt x="133350" y="1029653"/>
                  </a:lnTo>
                  <a:lnTo>
                    <a:pt x="131445" y="1019175"/>
                  </a:lnTo>
                  <a:lnTo>
                    <a:pt x="128588" y="1013460"/>
                  </a:lnTo>
                  <a:lnTo>
                    <a:pt x="123825" y="1010603"/>
                  </a:lnTo>
                  <a:lnTo>
                    <a:pt x="106680" y="1002982"/>
                  </a:lnTo>
                  <a:lnTo>
                    <a:pt x="100965" y="998220"/>
                  </a:lnTo>
                  <a:lnTo>
                    <a:pt x="99060" y="993457"/>
                  </a:lnTo>
                  <a:lnTo>
                    <a:pt x="99060" y="987743"/>
                  </a:lnTo>
                  <a:lnTo>
                    <a:pt x="100013" y="984885"/>
                  </a:lnTo>
                  <a:lnTo>
                    <a:pt x="100965" y="982980"/>
                  </a:lnTo>
                  <a:lnTo>
                    <a:pt x="103822" y="981075"/>
                  </a:lnTo>
                  <a:lnTo>
                    <a:pt x="109538" y="981075"/>
                  </a:lnTo>
                  <a:lnTo>
                    <a:pt x="116205" y="982028"/>
                  </a:lnTo>
                  <a:lnTo>
                    <a:pt x="131445" y="990600"/>
                  </a:lnTo>
                  <a:lnTo>
                    <a:pt x="137160" y="991553"/>
                  </a:lnTo>
                  <a:lnTo>
                    <a:pt x="140017" y="992505"/>
                  </a:lnTo>
                  <a:lnTo>
                    <a:pt x="144780" y="990600"/>
                  </a:lnTo>
                  <a:lnTo>
                    <a:pt x="146685" y="988695"/>
                  </a:lnTo>
                  <a:lnTo>
                    <a:pt x="150495" y="984885"/>
                  </a:lnTo>
                  <a:lnTo>
                    <a:pt x="150495" y="982028"/>
                  </a:lnTo>
                  <a:lnTo>
                    <a:pt x="150495" y="976313"/>
                  </a:lnTo>
                  <a:lnTo>
                    <a:pt x="147638" y="971550"/>
                  </a:lnTo>
                  <a:lnTo>
                    <a:pt x="146685" y="965835"/>
                  </a:lnTo>
                  <a:lnTo>
                    <a:pt x="146685" y="959168"/>
                  </a:lnTo>
                  <a:lnTo>
                    <a:pt x="145733" y="954405"/>
                  </a:lnTo>
                  <a:lnTo>
                    <a:pt x="144780" y="950595"/>
                  </a:lnTo>
                  <a:lnTo>
                    <a:pt x="141922" y="944880"/>
                  </a:lnTo>
                  <a:lnTo>
                    <a:pt x="140017" y="942022"/>
                  </a:lnTo>
                  <a:lnTo>
                    <a:pt x="137160" y="939165"/>
                  </a:lnTo>
                  <a:lnTo>
                    <a:pt x="120967" y="936307"/>
                  </a:lnTo>
                  <a:lnTo>
                    <a:pt x="110490" y="931545"/>
                  </a:lnTo>
                  <a:lnTo>
                    <a:pt x="108585" y="931545"/>
                  </a:lnTo>
                  <a:lnTo>
                    <a:pt x="102870" y="933450"/>
                  </a:lnTo>
                  <a:lnTo>
                    <a:pt x="94297" y="940118"/>
                  </a:lnTo>
                  <a:lnTo>
                    <a:pt x="91440" y="941070"/>
                  </a:lnTo>
                  <a:lnTo>
                    <a:pt x="86678" y="941070"/>
                  </a:lnTo>
                  <a:lnTo>
                    <a:pt x="83820" y="939165"/>
                  </a:lnTo>
                  <a:lnTo>
                    <a:pt x="80963" y="934403"/>
                  </a:lnTo>
                  <a:lnTo>
                    <a:pt x="79058" y="928688"/>
                  </a:lnTo>
                  <a:lnTo>
                    <a:pt x="80010" y="922020"/>
                  </a:lnTo>
                  <a:lnTo>
                    <a:pt x="80963" y="915353"/>
                  </a:lnTo>
                  <a:lnTo>
                    <a:pt x="80963" y="908685"/>
                  </a:lnTo>
                  <a:lnTo>
                    <a:pt x="80010" y="904875"/>
                  </a:lnTo>
                  <a:lnTo>
                    <a:pt x="76200" y="894397"/>
                  </a:lnTo>
                  <a:lnTo>
                    <a:pt x="76200" y="892493"/>
                  </a:lnTo>
                  <a:lnTo>
                    <a:pt x="77153" y="886778"/>
                  </a:lnTo>
                  <a:lnTo>
                    <a:pt x="80010" y="882015"/>
                  </a:lnTo>
                  <a:lnTo>
                    <a:pt x="87630" y="875347"/>
                  </a:lnTo>
                  <a:lnTo>
                    <a:pt x="89535" y="873443"/>
                  </a:lnTo>
                  <a:lnTo>
                    <a:pt x="91440" y="867728"/>
                  </a:lnTo>
                  <a:lnTo>
                    <a:pt x="92392" y="861060"/>
                  </a:lnTo>
                  <a:lnTo>
                    <a:pt x="92392" y="854393"/>
                  </a:lnTo>
                  <a:lnTo>
                    <a:pt x="90488" y="845820"/>
                  </a:lnTo>
                  <a:lnTo>
                    <a:pt x="88583" y="838200"/>
                  </a:lnTo>
                  <a:lnTo>
                    <a:pt x="86678" y="832485"/>
                  </a:lnTo>
                  <a:lnTo>
                    <a:pt x="83820" y="828675"/>
                  </a:lnTo>
                  <a:lnTo>
                    <a:pt x="73342" y="824865"/>
                  </a:lnTo>
                  <a:lnTo>
                    <a:pt x="70485" y="822007"/>
                  </a:lnTo>
                  <a:lnTo>
                    <a:pt x="69533" y="819150"/>
                  </a:lnTo>
                  <a:lnTo>
                    <a:pt x="68580" y="816293"/>
                  </a:lnTo>
                  <a:lnTo>
                    <a:pt x="67628" y="806768"/>
                  </a:lnTo>
                  <a:lnTo>
                    <a:pt x="65722" y="791528"/>
                  </a:lnTo>
                  <a:lnTo>
                    <a:pt x="63817" y="785813"/>
                  </a:lnTo>
                  <a:lnTo>
                    <a:pt x="62865" y="782955"/>
                  </a:lnTo>
                  <a:lnTo>
                    <a:pt x="61913" y="777240"/>
                  </a:lnTo>
                  <a:lnTo>
                    <a:pt x="61913" y="774382"/>
                  </a:lnTo>
                  <a:lnTo>
                    <a:pt x="62865" y="767715"/>
                  </a:lnTo>
                  <a:lnTo>
                    <a:pt x="65722" y="762953"/>
                  </a:lnTo>
                  <a:lnTo>
                    <a:pt x="66675" y="760095"/>
                  </a:lnTo>
                  <a:lnTo>
                    <a:pt x="66675" y="756285"/>
                  </a:lnTo>
                  <a:lnTo>
                    <a:pt x="62865" y="748665"/>
                  </a:lnTo>
                  <a:lnTo>
                    <a:pt x="60960" y="742950"/>
                  </a:lnTo>
                  <a:lnTo>
                    <a:pt x="51435" y="716280"/>
                  </a:lnTo>
                  <a:lnTo>
                    <a:pt x="42863" y="700088"/>
                  </a:lnTo>
                  <a:lnTo>
                    <a:pt x="0" y="633413"/>
                  </a:lnTo>
                  <a:lnTo>
                    <a:pt x="6667" y="618172"/>
                  </a:lnTo>
                  <a:lnTo>
                    <a:pt x="8572" y="607695"/>
                  </a:lnTo>
                  <a:lnTo>
                    <a:pt x="11430" y="581978"/>
                  </a:lnTo>
                  <a:lnTo>
                    <a:pt x="14288" y="577215"/>
                  </a:lnTo>
                  <a:lnTo>
                    <a:pt x="17145" y="575310"/>
                  </a:lnTo>
                  <a:lnTo>
                    <a:pt x="23813" y="575310"/>
                  </a:lnTo>
                  <a:lnTo>
                    <a:pt x="26670" y="576263"/>
                  </a:lnTo>
                  <a:lnTo>
                    <a:pt x="31433" y="576263"/>
                  </a:lnTo>
                  <a:lnTo>
                    <a:pt x="36195" y="574358"/>
                  </a:lnTo>
                  <a:lnTo>
                    <a:pt x="127635" y="522922"/>
                  </a:lnTo>
                  <a:lnTo>
                    <a:pt x="130492" y="520065"/>
                  </a:lnTo>
                  <a:lnTo>
                    <a:pt x="144780" y="492442"/>
                  </a:lnTo>
                  <a:lnTo>
                    <a:pt x="148590" y="483870"/>
                  </a:lnTo>
                  <a:lnTo>
                    <a:pt x="151447" y="475297"/>
                  </a:lnTo>
                  <a:lnTo>
                    <a:pt x="162878" y="452438"/>
                  </a:lnTo>
                  <a:lnTo>
                    <a:pt x="165735" y="449580"/>
                  </a:lnTo>
                  <a:lnTo>
                    <a:pt x="168592" y="447675"/>
                  </a:lnTo>
                  <a:lnTo>
                    <a:pt x="171450" y="447675"/>
                  </a:lnTo>
                  <a:lnTo>
                    <a:pt x="176213" y="453390"/>
                  </a:lnTo>
                  <a:lnTo>
                    <a:pt x="179070" y="454342"/>
                  </a:lnTo>
                  <a:lnTo>
                    <a:pt x="184785" y="455295"/>
                  </a:lnTo>
                  <a:lnTo>
                    <a:pt x="189547" y="454342"/>
                  </a:lnTo>
                  <a:lnTo>
                    <a:pt x="193358" y="453390"/>
                  </a:lnTo>
                  <a:lnTo>
                    <a:pt x="204788" y="446722"/>
                  </a:lnTo>
                  <a:lnTo>
                    <a:pt x="207645" y="442913"/>
                  </a:lnTo>
                  <a:lnTo>
                    <a:pt x="210503" y="440055"/>
                  </a:lnTo>
                  <a:lnTo>
                    <a:pt x="211455" y="433388"/>
                  </a:lnTo>
                  <a:lnTo>
                    <a:pt x="211455" y="430530"/>
                  </a:lnTo>
                  <a:lnTo>
                    <a:pt x="210503" y="424815"/>
                  </a:lnTo>
                  <a:lnTo>
                    <a:pt x="208597" y="421958"/>
                  </a:lnTo>
                  <a:lnTo>
                    <a:pt x="200025" y="408622"/>
                  </a:lnTo>
                  <a:lnTo>
                    <a:pt x="196215" y="401003"/>
                  </a:lnTo>
                  <a:lnTo>
                    <a:pt x="196215" y="398145"/>
                  </a:lnTo>
                  <a:lnTo>
                    <a:pt x="196215" y="391478"/>
                  </a:lnTo>
                  <a:lnTo>
                    <a:pt x="199072" y="377190"/>
                  </a:lnTo>
                  <a:lnTo>
                    <a:pt x="200978" y="371475"/>
                  </a:lnTo>
                  <a:lnTo>
                    <a:pt x="203835" y="368617"/>
                  </a:lnTo>
                  <a:lnTo>
                    <a:pt x="206692" y="367665"/>
                  </a:lnTo>
                  <a:lnTo>
                    <a:pt x="231458" y="364808"/>
                  </a:lnTo>
                  <a:lnTo>
                    <a:pt x="237172" y="362903"/>
                  </a:lnTo>
                  <a:lnTo>
                    <a:pt x="241935" y="360997"/>
                  </a:lnTo>
                  <a:lnTo>
                    <a:pt x="280988" y="353378"/>
                  </a:lnTo>
                  <a:lnTo>
                    <a:pt x="283845" y="352425"/>
                  </a:lnTo>
                  <a:lnTo>
                    <a:pt x="302895" y="341947"/>
                  </a:lnTo>
                  <a:lnTo>
                    <a:pt x="314325" y="339090"/>
                  </a:lnTo>
                  <a:lnTo>
                    <a:pt x="317183" y="337185"/>
                  </a:lnTo>
                  <a:lnTo>
                    <a:pt x="327660" y="330517"/>
                  </a:lnTo>
                  <a:lnTo>
                    <a:pt x="330517" y="329565"/>
                  </a:lnTo>
                  <a:lnTo>
                    <a:pt x="338138" y="328613"/>
                  </a:lnTo>
                  <a:lnTo>
                    <a:pt x="343853" y="327660"/>
                  </a:lnTo>
                  <a:lnTo>
                    <a:pt x="352425" y="322897"/>
                  </a:lnTo>
                  <a:lnTo>
                    <a:pt x="357188" y="319088"/>
                  </a:lnTo>
                  <a:lnTo>
                    <a:pt x="360045" y="316230"/>
                  </a:lnTo>
                  <a:lnTo>
                    <a:pt x="362903" y="311467"/>
                  </a:lnTo>
                  <a:lnTo>
                    <a:pt x="363855" y="308610"/>
                  </a:lnTo>
                  <a:lnTo>
                    <a:pt x="362903" y="302895"/>
                  </a:lnTo>
                  <a:lnTo>
                    <a:pt x="361950" y="297180"/>
                  </a:lnTo>
                  <a:lnTo>
                    <a:pt x="359092" y="292417"/>
                  </a:lnTo>
                  <a:lnTo>
                    <a:pt x="359092" y="288608"/>
                  </a:lnTo>
                  <a:lnTo>
                    <a:pt x="359092" y="284797"/>
                  </a:lnTo>
                  <a:lnTo>
                    <a:pt x="361950" y="278130"/>
                  </a:lnTo>
                  <a:lnTo>
                    <a:pt x="364808" y="275272"/>
                  </a:lnTo>
                  <a:lnTo>
                    <a:pt x="367665" y="273367"/>
                  </a:lnTo>
                  <a:lnTo>
                    <a:pt x="375285" y="272415"/>
                  </a:lnTo>
                  <a:lnTo>
                    <a:pt x="380047" y="271463"/>
                  </a:lnTo>
                  <a:lnTo>
                    <a:pt x="382905" y="268605"/>
                  </a:lnTo>
                  <a:lnTo>
                    <a:pt x="383858" y="265747"/>
                  </a:lnTo>
                  <a:lnTo>
                    <a:pt x="382905" y="260033"/>
                  </a:lnTo>
                  <a:lnTo>
                    <a:pt x="380047" y="255270"/>
                  </a:lnTo>
                  <a:lnTo>
                    <a:pt x="374333" y="246697"/>
                  </a:lnTo>
                  <a:lnTo>
                    <a:pt x="372428" y="243840"/>
                  </a:lnTo>
                  <a:lnTo>
                    <a:pt x="370522" y="239078"/>
                  </a:lnTo>
                  <a:lnTo>
                    <a:pt x="367665" y="234315"/>
                  </a:lnTo>
                  <a:lnTo>
                    <a:pt x="356235" y="226695"/>
                  </a:lnTo>
                  <a:lnTo>
                    <a:pt x="354330" y="224790"/>
                  </a:lnTo>
                  <a:lnTo>
                    <a:pt x="351472" y="220980"/>
                  </a:lnTo>
                  <a:lnTo>
                    <a:pt x="349567" y="218122"/>
                  </a:lnTo>
                  <a:lnTo>
                    <a:pt x="348615" y="213360"/>
                  </a:lnTo>
                  <a:lnTo>
                    <a:pt x="348615" y="207645"/>
                  </a:lnTo>
                  <a:lnTo>
                    <a:pt x="349567" y="195263"/>
                  </a:lnTo>
                  <a:lnTo>
                    <a:pt x="350520" y="191453"/>
                  </a:lnTo>
                  <a:lnTo>
                    <a:pt x="352425" y="188595"/>
                  </a:lnTo>
                  <a:lnTo>
                    <a:pt x="355283" y="187642"/>
                  </a:lnTo>
                  <a:lnTo>
                    <a:pt x="362903" y="189547"/>
                  </a:lnTo>
                  <a:lnTo>
                    <a:pt x="365760" y="191453"/>
                  </a:lnTo>
                  <a:lnTo>
                    <a:pt x="369570" y="195263"/>
                  </a:lnTo>
                  <a:lnTo>
                    <a:pt x="371475" y="195263"/>
                  </a:lnTo>
                  <a:lnTo>
                    <a:pt x="373380" y="187642"/>
                  </a:lnTo>
                  <a:lnTo>
                    <a:pt x="373380" y="180022"/>
                  </a:lnTo>
                  <a:lnTo>
                    <a:pt x="373380" y="177165"/>
                  </a:lnTo>
                  <a:lnTo>
                    <a:pt x="372428" y="167640"/>
                  </a:lnTo>
                  <a:lnTo>
                    <a:pt x="374333" y="160972"/>
                  </a:lnTo>
                  <a:lnTo>
                    <a:pt x="376238" y="159067"/>
                  </a:lnTo>
                  <a:lnTo>
                    <a:pt x="391478" y="149542"/>
                  </a:lnTo>
                  <a:lnTo>
                    <a:pt x="394335" y="145733"/>
                  </a:lnTo>
                  <a:lnTo>
                    <a:pt x="396240" y="141922"/>
                  </a:lnTo>
                  <a:lnTo>
                    <a:pt x="397192" y="139065"/>
                  </a:lnTo>
                  <a:lnTo>
                    <a:pt x="401003" y="131445"/>
                  </a:lnTo>
                  <a:lnTo>
                    <a:pt x="401003" y="128588"/>
                  </a:lnTo>
                  <a:lnTo>
                    <a:pt x="400050" y="126683"/>
                  </a:lnTo>
                  <a:lnTo>
                    <a:pt x="398145" y="124778"/>
                  </a:lnTo>
                  <a:lnTo>
                    <a:pt x="392430" y="119063"/>
                  </a:lnTo>
                  <a:lnTo>
                    <a:pt x="388620" y="115253"/>
                  </a:lnTo>
                  <a:lnTo>
                    <a:pt x="387667" y="109538"/>
                  </a:lnTo>
                  <a:lnTo>
                    <a:pt x="388620" y="102870"/>
                  </a:lnTo>
                  <a:lnTo>
                    <a:pt x="391478" y="89535"/>
                  </a:lnTo>
                  <a:lnTo>
                    <a:pt x="393383" y="84772"/>
                  </a:lnTo>
                  <a:lnTo>
                    <a:pt x="398145" y="82867"/>
                  </a:lnTo>
                  <a:lnTo>
                    <a:pt x="403860" y="83820"/>
                  </a:lnTo>
                  <a:lnTo>
                    <a:pt x="417195" y="87630"/>
                  </a:lnTo>
                  <a:lnTo>
                    <a:pt x="428625" y="92392"/>
                  </a:lnTo>
                  <a:lnTo>
                    <a:pt x="441960" y="96203"/>
                  </a:lnTo>
                  <a:lnTo>
                    <a:pt x="450533" y="101917"/>
                  </a:lnTo>
                  <a:lnTo>
                    <a:pt x="453390" y="102870"/>
                  </a:lnTo>
                  <a:lnTo>
                    <a:pt x="458153" y="100013"/>
                  </a:lnTo>
                  <a:lnTo>
                    <a:pt x="461010" y="98108"/>
                  </a:lnTo>
                  <a:lnTo>
                    <a:pt x="472440" y="86678"/>
                  </a:lnTo>
                  <a:lnTo>
                    <a:pt x="474345" y="85725"/>
                  </a:lnTo>
                  <a:lnTo>
                    <a:pt x="477203" y="85725"/>
                  </a:lnTo>
                  <a:lnTo>
                    <a:pt x="480060" y="87630"/>
                  </a:lnTo>
                  <a:lnTo>
                    <a:pt x="483870" y="93345"/>
                  </a:lnTo>
                  <a:lnTo>
                    <a:pt x="486728" y="94297"/>
                  </a:lnTo>
                  <a:lnTo>
                    <a:pt x="489585" y="94297"/>
                  </a:lnTo>
                  <a:lnTo>
                    <a:pt x="495300" y="91440"/>
                  </a:lnTo>
                  <a:lnTo>
                    <a:pt x="498158" y="88583"/>
                  </a:lnTo>
                  <a:lnTo>
                    <a:pt x="505778" y="80963"/>
                  </a:lnTo>
                  <a:lnTo>
                    <a:pt x="510540" y="78105"/>
                  </a:lnTo>
                  <a:lnTo>
                    <a:pt x="520065" y="76200"/>
                  </a:lnTo>
                  <a:lnTo>
                    <a:pt x="581025" y="70485"/>
                  </a:lnTo>
                  <a:lnTo>
                    <a:pt x="588645" y="66675"/>
                  </a:lnTo>
                  <a:lnTo>
                    <a:pt x="592455" y="63817"/>
                  </a:lnTo>
                  <a:lnTo>
                    <a:pt x="641033" y="10478"/>
                  </a:lnTo>
                  <a:lnTo>
                    <a:pt x="654368" y="0"/>
                  </a:lnTo>
                  <a:lnTo>
                    <a:pt x="659130" y="953"/>
                  </a:lnTo>
                  <a:lnTo>
                    <a:pt x="665797" y="1905"/>
                  </a:lnTo>
                  <a:lnTo>
                    <a:pt x="681038" y="7620"/>
                  </a:lnTo>
                  <a:lnTo>
                    <a:pt x="688658" y="9525"/>
                  </a:lnTo>
                  <a:lnTo>
                    <a:pt x="693420" y="9525"/>
                  </a:lnTo>
                  <a:lnTo>
                    <a:pt x="707708" y="1905"/>
                  </a:lnTo>
                  <a:lnTo>
                    <a:pt x="713422" y="0"/>
                  </a:lnTo>
                  <a:lnTo>
                    <a:pt x="719138" y="0"/>
                  </a:lnTo>
                  <a:lnTo>
                    <a:pt x="725805" y="1905"/>
                  </a:lnTo>
                  <a:lnTo>
                    <a:pt x="759143" y="18097"/>
                  </a:lnTo>
                  <a:lnTo>
                    <a:pt x="762953" y="19050"/>
                  </a:lnTo>
                  <a:lnTo>
                    <a:pt x="766763" y="19050"/>
                  </a:lnTo>
                  <a:lnTo>
                    <a:pt x="769620" y="19050"/>
                  </a:lnTo>
                  <a:lnTo>
                    <a:pt x="784860" y="12383"/>
                  </a:lnTo>
                  <a:lnTo>
                    <a:pt x="788670" y="9525"/>
                  </a:lnTo>
                  <a:lnTo>
                    <a:pt x="794385" y="2858"/>
                  </a:lnTo>
                  <a:lnTo>
                    <a:pt x="796290" y="1905"/>
                  </a:lnTo>
                  <a:lnTo>
                    <a:pt x="799147" y="2858"/>
                  </a:lnTo>
                  <a:lnTo>
                    <a:pt x="802005" y="6667"/>
                  </a:lnTo>
                  <a:lnTo>
                    <a:pt x="802958" y="9525"/>
                  </a:lnTo>
                  <a:lnTo>
                    <a:pt x="803910" y="13335"/>
                  </a:lnTo>
                  <a:lnTo>
                    <a:pt x="802005" y="19050"/>
                  </a:lnTo>
                  <a:lnTo>
                    <a:pt x="800100" y="21908"/>
                  </a:lnTo>
                  <a:lnTo>
                    <a:pt x="794385" y="28575"/>
                  </a:lnTo>
                  <a:lnTo>
                    <a:pt x="792480" y="34290"/>
                  </a:lnTo>
                  <a:lnTo>
                    <a:pt x="789622" y="40005"/>
                  </a:lnTo>
                  <a:lnTo>
                    <a:pt x="788670" y="45720"/>
                  </a:lnTo>
                  <a:lnTo>
                    <a:pt x="788670" y="50483"/>
                  </a:lnTo>
                  <a:lnTo>
                    <a:pt x="789622" y="54292"/>
                  </a:lnTo>
                  <a:lnTo>
                    <a:pt x="794385" y="58103"/>
                  </a:lnTo>
                  <a:lnTo>
                    <a:pt x="798195" y="60960"/>
                  </a:lnTo>
                  <a:lnTo>
                    <a:pt x="802005" y="64770"/>
                  </a:lnTo>
                  <a:lnTo>
                    <a:pt x="802958" y="68580"/>
                  </a:lnTo>
                  <a:lnTo>
                    <a:pt x="804863" y="9334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C85555CA-4D55-516E-B48F-6C4FC46D962E}"/>
                </a:ext>
              </a:extLst>
            </p:cNvPr>
            <p:cNvSpPr/>
            <p:nvPr/>
          </p:nvSpPr>
          <p:spPr>
            <a:xfrm>
              <a:off x="1343025" y="2986088"/>
              <a:ext cx="1314450" cy="942975"/>
            </a:xfrm>
            <a:custGeom>
              <a:avLst/>
              <a:gdLst>
                <a:gd name="connsiteX0" fmla="*/ 385763 w 1314450"/>
                <a:gd name="connsiteY0" fmla="*/ 58103 h 942975"/>
                <a:gd name="connsiteX1" fmla="*/ 395288 w 1314450"/>
                <a:gd name="connsiteY1" fmla="*/ 63818 h 942975"/>
                <a:gd name="connsiteX2" fmla="*/ 404813 w 1314450"/>
                <a:gd name="connsiteY2" fmla="*/ 75247 h 942975"/>
                <a:gd name="connsiteX3" fmla="*/ 405765 w 1314450"/>
                <a:gd name="connsiteY3" fmla="*/ 81915 h 942975"/>
                <a:gd name="connsiteX4" fmla="*/ 401003 w 1314450"/>
                <a:gd name="connsiteY4" fmla="*/ 92393 h 942975"/>
                <a:gd name="connsiteX5" fmla="*/ 399098 w 1314450"/>
                <a:gd name="connsiteY5" fmla="*/ 98107 h 942975"/>
                <a:gd name="connsiteX6" fmla="*/ 399098 w 1314450"/>
                <a:gd name="connsiteY6" fmla="*/ 108585 h 942975"/>
                <a:gd name="connsiteX7" fmla="*/ 399098 w 1314450"/>
                <a:gd name="connsiteY7" fmla="*/ 111443 h 942975"/>
                <a:gd name="connsiteX8" fmla="*/ 400050 w 1314450"/>
                <a:gd name="connsiteY8" fmla="*/ 120015 h 942975"/>
                <a:gd name="connsiteX9" fmla="*/ 401955 w 1314450"/>
                <a:gd name="connsiteY9" fmla="*/ 125730 h 942975"/>
                <a:gd name="connsiteX10" fmla="*/ 404813 w 1314450"/>
                <a:gd name="connsiteY10" fmla="*/ 129540 h 942975"/>
                <a:gd name="connsiteX11" fmla="*/ 418148 w 1314450"/>
                <a:gd name="connsiteY11" fmla="*/ 145732 h 942975"/>
                <a:gd name="connsiteX12" fmla="*/ 437198 w 1314450"/>
                <a:gd name="connsiteY12" fmla="*/ 160972 h 942975"/>
                <a:gd name="connsiteX13" fmla="*/ 440055 w 1314450"/>
                <a:gd name="connsiteY13" fmla="*/ 165735 h 942975"/>
                <a:gd name="connsiteX14" fmla="*/ 441960 w 1314450"/>
                <a:gd name="connsiteY14" fmla="*/ 169545 h 942975"/>
                <a:gd name="connsiteX15" fmla="*/ 443865 w 1314450"/>
                <a:gd name="connsiteY15" fmla="*/ 175260 h 942975"/>
                <a:gd name="connsiteX16" fmla="*/ 447675 w 1314450"/>
                <a:gd name="connsiteY16" fmla="*/ 181928 h 942975"/>
                <a:gd name="connsiteX17" fmla="*/ 451485 w 1314450"/>
                <a:gd name="connsiteY17" fmla="*/ 183832 h 942975"/>
                <a:gd name="connsiteX18" fmla="*/ 455295 w 1314450"/>
                <a:gd name="connsiteY18" fmla="*/ 184785 h 942975"/>
                <a:gd name="connsiteX19" fmla="*/ 463868 w 1314450"/>
                <a:gd name="connsiteY19" fmla="*/ 184785 h 942975"/>
                <a:gd name="connsiteX20" fmla="*/ 467678 w 1314450"/>
                <a:gd name="connsiteY20" fmla="*/ 184785 h 942975"/>
                <a:gd name="connsiteX21" fmla="*/ 471488 w 1314450"/>
                <a:gd name="connsiteY21" fmla="*/ 183832 h 942975"/>
                <a:gd name="connsiteX22" fmla="*/ 476250 w 1314450"/>
                <a:gd name="connsiteY22" fmla="*/ 180975 h 942975"/>
                <a:gd name="connsiteX23" fmla="*/ 498158 w 1314450"/>
                <a:gd name="connsiteY23" fmla="*/ 174307 h 942975"/>
                <a:gd name="connsiteX24" fmla="*/ 512445 w 1314450"/>
                <a:gd name="connsiteY24" fmla="*/ 171450 h 942975"/>
                <a:gd name="connsiteX25" fmla="*/ 516255 w 1314450"/>
                <a:gd name="connsiteY25" fmla="*/ 172403 h 942975"/>
                <a:gd name="connsiteX26" fmla="*/ 520065 w 1314450"/>
                <a:gd name="connsiteY26" fmla="*/ 175260 h 942975"/>
                <a:gd name="connsiteX27" fmla="*/ 525780 w 1314450"/>
                <a:gd name="connsiteY27" fmla="*/ 180022 h 942975"/>
                <a:gd name="connsiteX28" fmla="*/ 529590 w 1314450"/>
                <a:gd name="connsiteY28" fmla="*/ 186690 h 942975"/>
                <a:gd name="connsiteX29" fmla="*/ 541973 w 1314450"/>
                <a:gd name="connsiteY29" fmla="*/ 218122 h 942975"/>
                <a:gd name="connsiteX30" fmla="*/ 552450 w 1314450"/>
                <a:gd name="connsiteY30" fmla="*/ 237172 h 942975"/>
                <a:gd name="connsiteX31" fmla="*/ 555308 w 1314450"/>
                <a:gd name="connsiteY31" fmla="*/ 240982 h 942975"/>
                <a:gd name="connsiteX32" fmla="*/ 559118 w 1314450"/>
                <a:gd name="connsiteY32" fmla="*/ 243840 h 942975"/>
                <a:gd name="connsiteX33" fmla="*/ 563880 w 1314450"/>
                <a:gd name="connsiteY33" fmla="*/ 247650 h 942975"/>
                <a:gd name="connsiteX34" fmla="*/ 568643 w 1314450"/>
                <a:gd name="connsiteY34" fmla="*/ 248603 h 942975"/>
                <a:gd name="connsiteX35" fmla="*/ 593408 w 1314450"/>
                <a:gd name="connsiteY35" fmla="*/ 251460 h 942975"/>
                <a:gd name="connsiteX36" fmla="*/ 600075 w 1314450"/>
                <a:gd name="connsiteY36" fmla="*/ 250507 h 942975"/>
                <a:gd name="connsiteX37" fmla="*/ 605790 w 1314450"/>
                <a:gd name="connsiteY37" fmla="*/ 249555 h 942975"/>
                <a:gd name="connsiteX38" fmla="*/ 610553 w 1314450"/>
                <a:gd name="connsiteY38" fmla="*/ 243840 h 942975"/>
                <a:gd name="connsiteX39" fmla="*/ 612458 w 1314450"/>
                <a:gd name="connsiteY39" fmla="*/ 243840 h 942975"/>
                <a:gd name="connsiteX40" fmla="*/ 614363 w 1314450"/>
                <a:gd name="connsiteY40" fmla="*/ 243840 h 942975"/>
                <a:gd name="connsiteX41" fmla="*/ 616268 w 1314450"/>
                <a:gd name="connsiteY41" fmla="*/ 250507 h 942975"/>
                <a:gd name="connsiteX42" fmla="*/ 616268 w 1314450"/>
                <a:gd name="connsiteY42" fmla="*/ 260032 h 942975"/>
                <a:gd name="connsiteX43" fmla="*/ 617220 w 1314450"/>
                <a:gd name="connsiteY43" fmla="*/ 264795 h 942975"/>
                <a:gd name="connsiteX44" fmla="*/ 620078 w 1314450"/>
                <a:gd name="connsiteY44" fmla="*/ 268605 h 942975"/>
                <a:gd name="connsiteX45" fmla="*/ 622935 w 1314450"/>
                <a:gd name="connsiteY45" fmla="*/ 268605 h 942975"/>
                <a:gd name="connsiteX46" fmla="*/ 626745 w 1314450"/>
                <a:gd name="connsiteY46" fmla="*/ 266700 h 942975"/>
                <a:gd name="connsiteX47" fmla="*/ 629603 w 1314450"/>
                <a:gd name="connsiteY47" fmla="*/ 264795 h 942975"/>
                <a:gd name="connsiteX48" fmla="*/ 637223 w 1314450"/>
                <a:gd name="connsiteY48" fmla="*/ 254318 h 942975"/>
                <a:gd name="connsiteX49" fmla="*/ 639128 w 1314450"/>
                <a:gd name="connsiteY49" fmla="*/ 252413 h 942975"/>
                <a:gd name="connsiteX50" fmla="*/ 641985 w 1314450"/>
                <a:gd name="connsiteY50" fmla="*/ 251460 h 942975"/>
                <a:gd name="connsiteX51" fmla="*/ 645795 w 1314450"/>
                <a:gd name="connsiteY51" fmla="*/ 252413 h 942975"/>
                <a:gd name="connsiteX52" fmla="*/ 650558 w 1314450"/>
                <a:gd name="connsiteY52" fmla="*/ 257175 h 942975"/>
                <a:gd name="connsiteX53" fmla="*/ 652463 w 1314450"/>
                <a:gd name="connsiteY53" fmla="*/ 260985 h 942975"/>
                <a:gd name="connsiteX54" fmla="*/ 652463 w 1314450"/>
                <a:gd name="connsiteY54" fmla="*/ 264795 h 942975"/>
                <a:gd name="connsiteX55" fmla="*/ 652463 w 1314450"/>
                <a:gd name="connsiteY55" fmla="*/ 269557 h 942975"/>
                <a:gd name="connsiteX56" fmla="*/ 653415 w 1314450"/>
                <a:gd name="connsiteY56" fmla="*/ 272415 h 942975"/>
                <a:gd name="connsiteX57" fmla="*/ 655320 w 1314450"/>
                <a:gd name="connsiteY57" fmla="*/ 277178 h 942975"/>
                <a:gd name="connsiteX58" fmla="*/ 656273 w 1314450"/>
                <a:gd name="connsiteY58" fmla="*/ 279082 h 942975"/>
                <a:gd name="connsiteX59" fmla="*/ 661035 w 1314450"/>
                <a:gd name="connsiteY59" fmla="*/ 281940 h 942975"/>
                <a:gd name="connsiteX60" fmla="*/ 666750 w 1314450"/>
                <a:gd name="connsiteY60" fmla="*/ 283845 h 942975"/>
                <a:gd name="connsiteX61" fmla="*/ 681990 w 1314450"/>
                <a:gd name="connsiteY61" fmla="*/ 286703 h 942975"/>
                <a:gd name="connsiteX62" fmla="*/ 692468 w 1314450"/>
                <a:gd name="connsiteY62" fmla="*/ 287655 h 942975"/>
                <a:gd name="connsiteX63" fmla="*/ 720090 w 1314450"/>
                <a:gd name="connsiteY63" fmla="*/ 283845 h 942975"/>
                <a:gd name="connsiteX64" fmla="*/ 725805 w 1314450"/>
                <a:gd name="connsiteY64" fmla="*/ 284797 h 942975"/>
                <a:gd name="connsiteX65" fmla="*/ 738188 w 1314450"/>
                <a:gd name="connsiteY65" fmla="*/ 290513 h 942975"/>
                <a:gd name="connsiteX66" fmla="*/ 760095 w 1314450"/>
                <a:gd name="connsiteY66" fmla="*/ 296228 h 942975"/>
                <a:gd name="connsiteX67" fmla="*/ 780098 w 1314450"/>
                <a:gd name="connsiteY67" fmla="*/ 305753 h 942975"/>
                <a:gd name="connsiteX68" fmla="*/ 813435 w 1314450"/>
                <a:gd name="connsiteY68" fmla="*/ 345757 h 942975"/>
                <a:gd name="connsiteX69" fmla="*/ 822960 w 1314450"/>
                <a:gd name="connsiteY69" fmla="*/ 353378 h 942975"/>
                <a:gd name="connsiteX70" fmla="*/ 826770 w 1314450"/>
                <a:gd name="connsiteY70" fmla="*/ 354330 h 942975"/>
                <a:gd name="connsiteX71" fmla="*/ 831533 w 1314450"/>
                <a:gd name="connsiteY71" fmla="*/ 354330 h 942975"/>
                <a:gd name="connsiteX72" fmla="*/ 839153 w 1314450"/>
                <a:gd name="connsiteY72" fmla="*/ 351472 h 942975"/>
                <a:gd name="connsiteX73" fmla="*/ 844868 w 1314450"/>
                <a:gd name="connsiteY73" fmla="*/ 350520 h 942975"/>
                <a:gd name="connsiteX74" fmla="*/ 851535 w 1314450"/>
                <a:gd name="connsiteY74" fmla="*/ 350520 h 942975"/>
                <a:gd name="connsiteX75" fmla="*/ 858203 w 1314450"/>
                <a:gd name="connsiteY75" fmla="*/ 351472 h 942975"/>
                <a:gd name="connsiteX76" fmla="*/ 863918 w 1314450"/>
                <a:gd name="connsiteY76" fmla="*/ 353378 h 942975"/>
                <a:gd name="connsiteX77" fmla="*/ 866775 w 1314450"/>
                <a:gd name="connsiteY77" fmla="*/ 355282 h 942975"/>
                <a:gd name="connsiteX78" fmla="*/ 868680 w 1314450"/>
                <a:gd name="connsiteY78" fmla="*/ 358140 h 942975"/>
                <a:gd name="connsiteX79" fmla="*/ 870585 w 1314450"/>
                <a:gd name="connsiteY79" fmla="*/ 364807 h 942975"/>
                <a:gd name="connsiteX80" fmla="*/ 870585 w 1314450"/>
                <a:gd name="connsiteY80" fmla="*/ 369570 h 942975"/>
                <a:gd name="connsiteX81" fmla="*/ 868680 w 1314450"/>
                <a:gd name="connsiteY81" fmla="*/ 380047 h 942975"/>
                <a:gd name="connsiteX82" fmla="*/ 869633 w 1314450"/>
                <a:gd name="connsiteY82" fmla="*/ 385763 h 942975"/>
                <a:gd name="connsiteX83" fmla="*/ 871538 w 1314450"/>
                <a:gd name="connsiteY83" fmla="*/ 389572 h 942975"/>
                <a:gd name="connsiteX84" fmla="*/ 874395 w 1314450"/>
                <a:gd name="connsiteY84" fmla="*/ 393382 h 942975"/>
                <a:gd name="connsiteX85" fmla="*/ 903923 w 1314450"/>
                <a:gd name="connsiteY85" fmla="*/ 418147 h 942975"/>
                <a:gd name="connsiteX86" fmla="*/ 908685 w 1314450"/>
                <a:gd name="connsiteY86" fmla="*/ 421005 h 942975"/>
                <a:gd name="connsiteX87" fmla="*/ 913448 w 1314450"/>
                <a:gd name="connsiteY87" fmla="*/ 422910 h 942975"/>
                <a:gd name="connsiteX88" fmla="*/ 920115 w 1314450"/>
                <a:gd name="connsiteY88" fmla="*/ 423863 h 942975"/>
                <a:gd name="connsiteX89" fmla="*/ 924878 w 1314450"/>
                <a:gd name="connsiteY89" fmla="*/ 425768 h 942975"/>
                <a:gd name="connsiteX90" fmla="*/ 928688 w 1314450"/>
                <a:gd name="connsiteY90" fmla="*/ 428625 h 942975"/>
                <a:gd name="connsiteX91" fmla="*/ 933450 w 1314450"/>
                <a:gd name="connsiteY91" fmla="*/ 434340 h 942975"/>
                <a:gd name="connsiteX92" fmla="*/ 935355 w 1314450"/>
                <a:gd name="connsiteY92" fmla="*/ 438150 h 942975"/>
                <a:gd name="connsiteX93" fmla="*/ 939165 w 1314450"/>
                <a:gd name="connsiteY93" fmla="*/ 446722 h 942975"/>
                <a:gd name="connsiteX94" fmla="*/ 940118 w 1314450"/>
                <a:gd name="connsiteY94" fmla="*/ 451485 h 942975"/>
                <a:gd name="connsiteX95" fmla="*/ 941070 w 1314450"/>
                <a:gd name="connsiteY95" fmla="*/ 456247 h 942975"/>
                <a:gd name="connsiteX96" fmla="*/ 939165 w 1314450"/>
                <a:gd name="connsiteY96" fmla="*/ 462915 h 942975"/>
                <a:gd name="connsiteX97" fmla="*/ 937260 w 1314450"/>
                <a:gd name="connsiteY97" fmla="*/ 468630 h 942975"/>
                <a:gd name="connsiteX98" fmla="*/ 936308 w 1314450"/>
                <a:gd name="connsiteY98" fmla="*/ 474345 h 942975"/>
                <a:gd name="connsiteX99" fmla="*/ 935355 w 1314450"/>
                <a:gd name="connsiteY99" fmla="*/ 481013 h 942975"/>
                <a:gd name="connsiteX100" fmla="*/ 936308 w 1314450"/>
                <a:gd name="connsiteY100" fmla="*/ 483870 h 942975"/>
                <a:gd name="connsiteX101" fmla="*/ 938213 w 1314450"/>
                <a:gd name="connsiteY101" fmla="*/ 486728 h 942975"/>
                <a:gd name="connsiteX102" fmla="*/ 941070 w 1314450"/>
                <a:gd name="connsiteY102" fmla="*/ 488632 h 942975"/>
                <a:gd name="connsiteX103" fmla="*/ 946785 w 1314450"/>
                <a:gd name="connsiteY103" fmla="*/ 491490 h 942975"/>
                <a:gd name="connsiteX104" fmla="*/ 950595 w 1314450"/>
                <a:gd name="connsiteY104" fmla="*/ 492443 h 942975"/>
                <a:gd name="connsiteX105" fmla="*/ 954405 w 1314450"/>
                <a:gd name="connsiteY105" fmla="*/ 492443 h 942975"/>
                <a:gd name="connsiteX106" fmla="*/ 959168 w 1314450"/>
                <a:gd name="connsiteY106" fmla="*/ 490538 h 942975"/>
                <a:gd name="connsiteX107" fmla="*/ 963930 w 1314450"/>
                <a:gd name="connsiteY107" fmla="*/ 487680 h 942975"/>
                <a:gd name="connsiteX108" fmla="*/ 965835 w 1314450"/>
                <a:gd name="connsiteY108" fmla="*/ 485775 h 942975"/>
                <a:gd name="connsiteX109" fmla="*/ 974408 w 1314450"/>
                <a:gd name="connsiteY109" fmla="*/ 476250 h 942975"/>
                <a:gd name="connsiteX110" fmla="*/ 985838 w 1314450"/>
                <a:gd name="connsiteY110" fmla="*/ 468630 h 942975"/>
                <a:gd name="connsiteX111" fmla="*/ 1008698 w 1314450"/>
                <a:gd name="connsiteY111" fmla="*/ 464820 h 942975"/>
                <a:gd name="connsiteX112" fmla="*/ 1019175 w 1314450"/>
                <a:gd name="connsiteY112" fmla="*/ 460057 h 942975"/>
                <a:gd name="connsiteX113" fmla="*/ 1044893 w 1314450"/>
                <a:gd name="connsiteY113" fmla="*/ 442913 h 942975"/>
                <a:gd name="connsiteX114" fmla="*/ 1049655 w 1314450"/>
                <a:gd name="connsiteY114" fmla="*/ 441960 h 942975"/>
                <a:gd name="connsiteX115" fmla="*/ 1052513 w 1314450"/>
                <a:gd name="connsiteY115" fmla="*/ 441960 h 942975"/>
                <a:gd name="connsiteX116" fmla="*/ 1055370 w 1314450"/>
                <a:gd name="connsiteY116" fmla="*/ 443865 h 942975"/>
                <a:gd name="connsiteX117" fmla="*/ 1057275 w 1314450"/>
                <a:gd name="connsiteY117" fmla="*/ 446722 h 942975"/>
                <a:gd name="connsiteX118" fmla="*/ 1057275 w 1314450"/>
                <a:gd name="connsiteY118" fmla="*/ 452438 h 942975"/>
                <a:gd name="connsiteX119" fmla="*/ 1057275 w 1314450"/>
                <a:gd name="connsiteY119" fmla="*/ 456247 h 942975"/>
                <a:gd name="connsiteX120" fmla="*/ 1056323 w 1314450"/>
                <a:gd name="connsiteY120" fmla="*/ 463868 h 942975"/>
                <a:gd name="connsiteX121" fmla="*/ 1055370 w 1314450"/>
                <a:gd name="connsiteY121" fmla="*/ 468630 h 942975"/>
                <a:gd name="connsiteX122" fmla="*/ 1056323 w 1314450"/>
                <a:gd name="connsiteY122" fmla="*/ 477203 h 942975"/>
                <a:gd name="connsiteX123" fmla="*/ 1058228 w 1314450"/>
                <a:gd name="connsiteY123" fmla="*/ 482918 h 942975"/>
                <a:gd name="connsiteX124" fmla="*/ 1059180 w 1314450"/>
                <a:gd name="connsiteY124" fmla="*/ 488632 h 942975"/>
                <a:gd name="connsiteX125" fmla="*/ 1059180 w 1314450"/>
                <a:gd name="connsiteY125" fmla="*/ 491490 h 942975"/>
                <a:gd name="connsiteX126" fmla="*/ 1058228 w 1314450"/>
                <a:gd name="connsiteY126" fmla="*/ 498157 h 942975"/>
                <a:gd name="connsiteX127" fmla="*/ 1057275 w 1314450"/>
                <a:gd name="connsiteY127" fmla="*/ 501015 h 942975"/>
                <a:gd name="connsiteX128" fmla="*/ 1053465 w 1314450"/>
                <a:gd name="connsiteY128" fmla="*/ 521018 h 942975"/>
                <a:gd name="connsiteX129" fmla="*/ 1053465 w 1314450"/>
                <a:gd name="connsiteY129" fmla="*/ 527685 h 942975"/>
                <a:gd name="connsiteX130" fmla="*/ 1054418 w 1314450"/>
                <a:gd name="connsiteY130" fmla="*/ 537210 h 942975"/>
                <a:gd name="connsiteX131" fmla="*/ 1058228 w 1314450"/>
                <a:gd name="connsiteY131" fmla="*/ 561022 h 942975"/>
                <a:gd name="connsiteX132" fmla="*/ 1059180 w 1314450"/>
                <a:gd name="connsiteY132" fmla="*/ 563880 h 942975"/>
                <a:gd name="connsiteX133" fmla="*/ 1061085 w 1314450"/>
                <a:gd name="connsiteY133" fmla="*/ 567690 h 942975"/>
                <a:gd name="connsiteX134" fmla="*/ 1063943 w 1314450"/>
                <a:gd name="connsiteY134" fmla="*/ 572453 h 942975"/>
                <a:gd name="connsiteX135" fmla="*/ 1070610 w 1314450"/>
                <a:gd name="connsiteY135" fmla="*/ 579120 h 942975"/>
                <a:gd name="connsiteX136" fmla="*/ 1074420 w 1314450"/>
                <a:gd name="connsiteY136" fmla="*/ 581978 h 942975"/>
                <a:gd name="connsiteX137" fmla="*/ 1078230 w 1314450"/>
                <a:gd name="connsiteY137" fmla="*/ 583882 h 942975"/>
                <a:gd name="connsiteX138" fmla="*/ 1094423 w 1314450"/>
                <a:gd name="connsiteY138" fmla="*/ 587693 h 942975"/>
                <a:gd name="connsiteX139" fmla="*/ 1107758 w 1314450"/>
                <a:gd name="connsiteY139" fmla="*/ 587693 h 942975"/>
                <a:gd name="connsiteX140" fmla="*/ 1120140 w 1314450"/>
                <a:gd name="connsiteY140" fmla="*/ 585788 h 942975"/>
                <a:gd name="connsiteX141" fmla="*/ 1124903 w 1314450"/>
                <a:gd name="connsiteY141" fmla="*/ 583882 h 942975"/>
                <a:gd name="connsiteX142" fmla="*/ 1131570 w 1314450"/>
                <a:gd name="connsiteY142" fmla="*/ 579120 h 942975"/>
                <a:gd name="connsiteX143" fmla="*/ 1134428 w 1314450"/>
                <a:gd name="connsiteY143" fmla="*/ 575310 h 942975"/>
                <a:gd name="connsiteX144" fmla="*/ 1139190 w 1314450"/>
                <a:gd name="connsiteY144" fmla="*/ 567690 h 942975"/>
                <a:gd name="connsiteX145" fmla="*/ 1142048 w 1314450"/>
                <a:gd name="connsiteY145" fmla="*/ 560070 h 942975"/>
                <a:gd name="connsiteX146" fmla="*/ 1143953 w 1314450"/>
                <a:gd name="connsiteY146" fmla="*/ 558165 h 942975"/>
                <a:gd name="connsiteX147" fmla="*/ 1145858 w 1314450"/>
                <a:gd name="connsiteY147" fmla="*/ 557213 h 942975"/>
                <a:gd name="connsiteX148" fmla="*/ 1149668 w 1314450"/>
                <a:gd name="connsiteY148" fmla="*/ 560070 h 942975"/>
                <a:gd name="connsiteX149" fmla="*/ 1153478 w 1314450"/>
                <a:gd name="connsiteY149" fmla="*/ 562928 h 942975"/>
                <a:gd name="connsiteX150" fmla="*/ 1159193 w 1314450"/>
                <a:gd name="connsiteY150" fmla="*/ 567690 h 942975"/>
                <a:gd name="connsiteX151" fmla="*/ 1162050 w 1314450"/>
                <a:gd name="connsiteY151" fmla="*/ 571500 h 942975"/>
                <a:gd name="connsiteX152" fmla="*/ 1163955 w 1314450"/>
                <a:gd name="connsiteY152" fmla="*/ 576263 h 942975"/>
                <a:gd name="connsiteX153" fmla="*/ 1165860 w 1314450"/>
                <a:gd name="connsiteY153" fmla="*/ 585788 h 942975"/>
                <a:gd name="connsiteX154" fmla="*/ 1166813 w 1314450"/>
                <a:gd name="connsiteY154" fmla="*/ 595313 h 942975"/>
                <a:gd name="connsiteX155" fmla="*/ 1168718 w 1314450"/>
                <a:gd name="connsiteY155" fmla="*/ 598170 h 942975"/>
                <a:gd name="connsiteX156" fmla="*/ 1170623 w 1314450"/>
                <a:gd name="connsiteY156" fmla="*/ 598170 h 942975"/>
                <a:gd name="connsiteX157" fmla="*/ 1183958 w 1314450"/>
                <a:gd name="connsiteY157" fmla="*/ 598170 h 942975"/>
                <a:gd name="connsiteX158" fmla="*/ 1187768 w 1314450"/>
                <a:gd name="connsiteY158" fmla="*/ 600075 h 942975"/>
                <a:gd name="connsiteX159" fmla="*/ 1190625 w 1314450"/>
                <a:gd name="connsiteY159" fmla="*/ 602932 h 942975"/>
                <a:gd name="connsiteX160" fmla="*/ 1195388 w 1314450"/>
                <a:gd name="connsiteY160" fmla="*/ 608647 h 942975"/>
                <a:gd name="connsiteX161" fmla="*/ 1201103 w 1314450"/>
                <a:gd name="connsiteY161" fmla="*/ 614363 h 942975"/>
                <a:gd name="connsiteX162" fmla="*/ 1211580 w 1314450"/>
                <a:gd name="connsiteY162" fmla="*/ 621982 h 942975"/>
                <a:gd name="connsiteX163" fmla="*/ 1245870 w 1314450"/>
                <a:gd name="connsiteY163" fmla="*/ 654368 h 942975"/>
                <a:gd name="connsiteX164" fmla="*/ 1249680 w 1314450"/>
                <a:gd name="connsiteY164" fmla="*/ 659130 h 942975"/>
                <a:gd name="connsiteX165" fmla="*/ 1259205 w 1314450"/>
                <a:gd name="connsiteY165" fmla="*/ 679132 h 942975"/>
                <a:gd name="connsiteX166" fmla="*/ 1269683 w 1314450"/>
                <a:gd name="connsiteY166" fmla="*/ 696278 h 942975"/>
                <a:gd name="connsiteX167" fmla="*/ 1270635 w 1314450"/>
                <a:gd name="connsiteY167" fmla="*/ 699135 h 942975"/>
                <a:gd name="connsiteX168" fmla="*/ 1271588 w 1314450"/>
                <a:gd name="connsiteY168" fmla="*/ 702945 h 942975"/>
                <a:gd name="connsiteX169" fmla="*/ 1269683 w 1314450"/>
                <a:gd name="connsiteY169" fmla="*/ 707707 h 942975"/>
                <a:gd name="connsiteX170" fmla="*/ 1266825 w 1314450"/>
                <a:gd name="connsiteY170" fmla="*/ 714375 h 942975"/>
                <a:gd name="connsiteX171" fmla="*/ 1263968 w 1314450"/>
                <a:gd name="connsiteY171" fmla="*/ 719138 h 942975"/>
                <a:gd name="connsiteX172" fmla="*/ 1261110 w 1314450"/>
                <a:gd name="connsiteY172" fmla="*/ 723900 h 942975"/>
                <a:gd name="connsiteX173" fmla="*/ 1259205 w 1314450"/>
                <a:gd name="connsiteY173" fmla="*/ 729615 h 942975"/>
                <a:gd name="connsiteX174" fmla="*/ 1259205 w 1314450"/>
                <a:gd name="connsiteY174" fmla="*/ 733425 h 942975"/>
                <a:gd name="connsiteX175" fmla="*/ 1259205 w 1314450"/>
                <a:gd name="connsiteY175" fmla="*/ 737235 h 942975"/>
                <a:gd name="connsiteX176" fmla="*/ 1260158 w 1314450"/>
                <a:gd name="connsiteY176" fmla="*/ 741997 h 942975"/>
                <a:gd name="connsiteX177" fmla="*/ 1263015 w 1314450"/>
                <a:gd name="connsiteY177" fmla="*/ 749618 h 942975"/>
                <a:gd name="connsiteX178" fmla="*/ 1264920 w 1314450"/>
                <a:gd name="connsiteY178" fmla="*/ 753428 h 942975"/>
                <a:gd name="connsiteX179" fmla="*/ 1268730 w 1314450"/>
                <a:gd name="connsiteY179" fmla="*/ 758190 h 942975"/>
                <a:gd name="connsiteX180" fmla="*/ 1304925 w 1314450"/>
                <a:gd name="connsiteY180" fmla="*/ 794385 h 942975"/>
                <a:gd name="connsiteX181" fmla="*/ 1322070 w 1314450"/>
                <a:gd name="connsiteY181" fmla="*/ 820103 h 942975"/>
                <a:gd name="connsiteX182" fmla="*/ 1323023 w 1314450"/>
                <a:gd name="connsiteY182" fmla="*/ 822960 h 942975"/>
                <a:gd name="connsiteX183" fmla="*/ 1322070 w 1314450"/>
                <a:gd name="connsiteY183" fmla="*/ 826770 h 942975"/>
                <a:gd name="connsiteX184" fmla="*/ 1294448 w 1314450"/>
                <a:gd name="connsiteY184" fmla="*/ 867728 h 942975"/>
                <a:gd name="connsiteX185" fmla="*/ 1291590 w 1314450"/>
                <a:gd name="connsiteY185" fmla="*/ 877253 h 942975"/>
                <a:gd name="connsiteX186" fmla="*/ 1286828 w 1314450"/>
                <a:gd name="connsiteY186" fmla="*/ 904875 h 942975"/>
                <a:gd name="connsiteX187" fmla="*/ 1284923 w 1314450"/>
                <a:gd name="connsiteY187" fmla="*/ 914400 h 942975"/>
                <a:gd name="connsiteX188" fmla="*/ 1281113 w 1314450"/>
                <a:gd name="connsiteY188" fmla="*/ 911543 h 942975"/>
                <a:gd name="connsiteX189" fmla="*/ 1270635 w 1314450"/>
                <a:gd name="connsiteY189" fmla="*/ 908685 h 942975"/>
                <a:gd name="connsiteX190" fmla="*/ 1241108 w 1314450"/>
                <a:gd name="connsiteY190" fmla="*/ 909638 h 942975"/>
                <a:gd name="connsiteX191" fmla="*/ 1210628 w 1314450"/>
                <a:gd name="connsiteY191" fmla="*/ 902018 h 942975"/>
                <a:gd name="connsiteX192" fmla="*/ 1200150 w 1314450"/>
                <a:gd name="connsiteY192" fmla="*/ 902970 h 942975"/>
                <a:gd name="connsiteX193" fmla="*/ 1188720 w 1314450"/>
                <a:gd name="connsiteY193" fmla="*/ 908685 h 942975"/>
                <a:gd name="connsiteX194" fmla="*/ 1167765 w 1314450"/>
                <a:gd name="connsiteY194" fmla="*/ 926782 h 942975"/>
                <a:gd name="connsiteX195" fmla="*/ 1142048 w 1314450"/>
                <a:gd name="connsiteY195" fmla="*/ 927735 h 942975"/>
                <a:gd name="connsiteX196" fmla="*/ 1106805 w 1314450"/>
                <a:gd name="connsiteY196" fmla="*/ 945832 h 942975"/>
                <a:gd name="connsiteX197" fmla="*/ 1095375 w 1314450"/>
                <a:gd name="connsiteY197" fmla="*/ 945832 h 942975"/>
                <a:gd name="connsiteX198" fmla="*/ 1063943 w 1314450"/>
                <a:gd name="connsiteY198" fmla="*/ 933450 h 942975"/>
                <a:gd name="connsiteX199" fmla="*/ 1062990 w 1314450"/>
                <a:gd name="connsiteY199" fmla="*/ 934403 h 942975"/>
                <a:gd name="connsiteX200" fmla="*/ 1053465 w 1314450"/>
                <a:gd name="connsiteY200" fmla="*/ 932497 h 942975"/>
                <a:gd name="connsiteX201" fmla="*/ 1034415 w 1314450"/>
                <a:gd name="connsiteY201" fmla="*/ 913447 h 942975"/>
                <a:gd name="connsiteX202" fmla="*/ 1023938 w 1314450"/>
                <a:gd name="connsiteY202" fmla="*/ 908685 h 942975"/>
                <a:gd name="connsiteX203" fmla="*/ 998220 w 1314450"/>
                <a:gd name="connsiteY203" fmla="*/ 902018 h 942975"/>
                <a:gd name="connsiteX204" fmla="*/ 989648 w 1314450"/>
                <a:gd name="connsiteY204" fmla="*/ 895350 h 942975"/>
                <a:gd name="connsiteX205" fmla="*/ 972503 w 1314450"/>
                <a:gd name="connsiteY205" fmla="*/ 894397 h 942975"/>
                <a:gd name="connsiteX206" fmla="*/ 919163 w 1314450"/>
                <a:gd name="connsiteY206" fmla="*/ 916305 h 942975"/>
                <a:gd name="connsiteX207" fmla="*/ 908685 w 1314450"/>
                <a:gd name="connsiteY207" fmla="*/ 916305 h 942975"/>
                <a:gd name="connsiteX208" fmla="*/ 904875 w 1314450"/>
                <a:gd name="connsiteY208" fmla="*/ 904875 h 942975"/>
                <a:gd name="connsiteX209" fmla="*/ 877253 w 1314450"/>
                <a:gd name="connsiteY209" fmla="*/ 879157 h 942975"/>
                <a:gd name="connsiteX210" fmla="*/ 868680 w 1314450"/>
                <a:gd name="connsiteY210" fmla="*/ 874395 h 942975"/>
                <a:gd name="connsiteX211" fmla="*/ 831533 w 1314450"/>
                <a:gd name="connsiteY211" fmla="*/ 876300 h 942975"/>
                <a:gd name="connsiteX212" fmla="*/ 820103 w 1314450"/>
                <a:gd name="connsiteY212" fmla="*/ 874395 h 942975"/>
                <a:gd name="connsiteX213" fmla="*/ 798195 w 1314450"/>
                <a:gd name="connsiteY213" fmla="*/ 867728 h 942975"/>
                <a:gd name="connsiteX214" fmla="*/ 763905 w 1314450"/>
                <a:gd name="connsiteY214" fmla="*/ 863918 h 942975"/>
                <a:gd name="connsiteX215" fmla="*/ 754380 w 1314450"/>
                <a:gd name="connsiteY215" fmla="*/ 860107 h 942975"/>
                <a:gd name="connsiteX216" fmla="*/ 734378 w 1314450"/>
                <a:gd name="connsiteY216" fmla="*/ 863918 h 942975"/>
                <a:gd name="connsiteX217" fmla="*/ 728663 w 1314450"/>
                <a:gd name="connsiteY217" fmla="*/ 865822 h 942975"/>
                <a:gd name="connsiteX218" fmla="*/ 722948 w 1314450"/>
                <a:gd name="connsiteY218" fmla="*/ 870585 h 942975"/>
                <a:gd name="connsiteX219" fmla="*/ 721043 w 1314450"/>
                <a:gd name="connsiteY219" fmla="*/ 875347 h 942975"/>
                <a:gd name="connsiteX220" fmla="*/ 718185 w 1314450"/>
                <a:gd name="connsiteY220" fmla="*/ 880110 h 942975"/>
                <a:gd name="connsiteX221" fmla="*/ 715328 w 1314450"/>
                <a:gd name="connsiteY221" fmla="*/ 883920 h 942975"/>
                <a:gd name="connsiteX222" fmla="*/ 711518 w 1314450"/>
                <a:gd name="connsiteY222" fmla="*/ 886778 h 942975"/>
                <a:gd name="connsiteX223" fmla="*/ 700088 w 1314450"/>
                <a:gd name="connsiteY223" fmla="*/ 887730 h 942975"/>
                <a:gd name="connsiteX224" fmla="*/ 665798 w 1314450"/>
                <a:gd name="connsiteY224" fmla="*/ 870585 h 942975"/>
                <a:gd name="connsiteX225" fmla="*/ 663893 w 1314450"/>
                <a:gd name="connsiteY225" fmla="*/ 869632 h 942975"/>
                <a:gd name="connsiteX226" fmla="*/ 659130 w 1314450"/>
                <a:gd name="connsiteY226" fmla="*/ 871538 h 942975"/>
                <a:gd name="connsiteX227" fmla="*/ 655320 w 1314450"/>
                <a:gd name="connsiteY227" fmla="*/ 872490 h 942975"/>
                <a:gd name="connsiteX228" fmla="*/ 650558 w 1314450"/>
                <a:gd name="connsiteY228" fmla="*/ 871538 h 942975"/>
                <a:gd name="connsiteX229" fmla="*/ 646748 w 1314450"/>
                <a:gd name="connsiteY229" fmla="*/ 870585 h 942975"/>
                <a:gd name="connsiteX230" fmla="*/ 635318 w 1314450"/>
                <a:gd name="connsiteY230" fmla="*/ 856297 h 942975"/>
                <a:gd name="connsiteX231" fmla="*/ 610553 w 1314450"/>
                <a:gd name="connsiteY231" fmla="*/ 834390 h 942975"/>
                <a:gd name="connsiteX232" fmla="*/ 588645 w 1314450"/>
                <a:gd name="connsiteY232" fmla="*/ 808672 h 942975"/>
                <a:gd name="connsiteX233" fmla="*/ 579120 w 1314450"/>
                <a:gd name="connsiteY233" fmla="*/ 802005 h 942975"/>
                <a:gd name="connsiteX234" fmla="*/ 542925 w 1314450"/>
                <a:gd name="connsiteY234" fmla="*/ 788670 h 942975"/>
                <a:gd name="connsiteX235" fmla="*/ 530543 w 1314450"/>
                <a:gd name="connsiteY235" fmla="*/ 787718 h 942975"/>
                <a:gd name="connsiteX236" fmla="*/ 520065 w 1314450"/>
                <a:gd name="connsiteY236" fmla="*/ 792480 h 942975"/>
                <a:gd name="connsiteX237" fmla="*/ 509588 w 1314450"/>
                <a:gd name="connsiteY237" fmla="*/ 808672 h 942975"/>
                <a:gd name="connsiteX238" fmla="*/ 497205 w 1314450"/>
                <a:gd name="connsiteY238" fmla="*/ 845820 h 942975"/>
                <a:gd name="connsiteX239" fmla="*/ 490538 w 1314450"/>
                <a:gd name="connsiteY239" fmla="*/ 859155 h 942975"/>
                <a:gd name="connsiteX240" fmla="*/ 467678 w 1314450"/>
                <a:gd name="connsiteY240" fmla="*/ 876300 h 942975"/>
                <a:gd name="connsiteX241" fmla="*/ 460058 w 1314450"/>
                <a:gd name="connsiteY241" fmla="*/ 878205 h 942975"/>
                <a:gd name="connsiteX242" fmla="*/ 451485 w 1314450"/>
                <a:gd name="connsiteY242" fmla="*/ 875347 h 942975"/>
                <a:gd name="connsiteX243" fmla="*/ 442913 w 1314450"/>
                <a:gd name="connsiteY243" fmla="*/ 870585 h 942975"/>
                <a:gd name="connsiteX244" fmla="*/ 434340 w 1314450"/>
                <a:gd name="connsiteY244" fmla="*/ 864870 h 942975"/>
                <a:gd name="connsiteX245" fmla="*/ 424815 w 1314450"/>
                <a:gd name="connsiteY245" fmla="*/ 860107 h 942975"/>
                <a:gd name="connsiteX246" fmla="*/ 417195 w 1314450"/>
                <a:gd name="connsiteY246" fmla="*/ 861060 h 942975"/>
                <a:gd name="connsiteX247" fmla="*/ 412433 w 1314450"/>
                <a:gd name="connsiteY247" fmla="*/ 870585 h 942975"/>
                <a:gd name="connsiteX248" fmla="*/ 417195 w 1314450"/>
                <a:gd name="connsiteY248" fmla="*/ 885825 h 942975"/>
                <a:gd name="connsiteX249" fmla="*/ 412433 w 1314450"/>
                <a:gd name="connsiteY249" fmla="*/ 897255 h 942975"/>
                <a:gd name="connsiteX250" fmla="*/ 403860 w 1314450"/>
                <a:gd name="connsiteY250" fmla="*/ 902970 h 942975"/>
                <a:gd name="connsiteX251" fmla="*/ 392430 w 1314450"/>
                <a:gd name="connsiteY251" fmla="*/ 906780 h 942975"/>
                <a:gd name="connsiteX252" fmla="*/ 373380 w 1314450"/>
                <a:gd name="connsiteY252" fmla="*/ 890588 h 942975"/>
                <a:gd name="connsiteX253" fmla="*/ 368618 w 1314450"/>
                <a:gd name="connsiteY253" fmla="*/ 881063 h 942975"/>
                <a:gd name="connsiteX254" fmla="*/ 378143 w 1314450"/>
                <a:gd name="connsiteY254" fmla="*/ 870585 h 942975"/>
                <a:gd name="connsiteX255" fmla="*/ 379095 w 1314450"/>
                <a:gd name="connsiteY255" fmla="*/ 858203 h 942975"/>
                <a:gd name="connsiteX256" fmla="*/ 381953 w 1314450"/>
                <a:gd name="connsiteY256" fmla="*/ 850582 h 942975"/>
                <a:gd name="connsiteX257" fmla="*/ 383858 w 1314450"/>
                <a:gd name="connsiteY257" fmla="*/ 842010 h 942975"/>
                <a:gd name="connsiteX258" fmla="*/ 381000 w 1314450"/>
                <a:gd name="connsiteY258" fmla="*/ 827722 h 942975"/>
                <a:gd name="connsiteX259" fmla="*/ 375285 w 1314450"/>
                <a:gd name="connsiteY259" fmla="*/ 816293 h 942975"/>
                <a:gd name="connsiteX260" fmla="*/ 368618 w 1314450"/>
                <a:gd name="connsiteY260" fmla="*/ 807720 h 942975"/>
                <a:gd name="connsiteX261" fmla="*/ 352425 w 1314450"/>
                <a:gd name="connsiteY261" fmla="*/ 792480 h 942975"/>
                <a:gd name="connsiteX262" fmla="*/ 333375 w 1314450"/>
                <a:gd name="connsiteY262" fmla="*/ 782003 h 942975"/>
                <a:gd name="connsiteX263" fmla="*/ 331470 w 1314450"/>
                <a:gd name="connsiteY263" fmla="*/ 778193 h 942975"/>
                <a:gd name="connsiteX264" fmla="*/ 322898 w 1314450"/>
                <a:gd name="connsiteY264" fmla="*/ 772478 h 942975"/>
                <a:gd name="connsiteX265" fmla="*/ 314325 w 1314450"/>
                <a:gd name="connsiteY265" fmla="*/ 775335 h 942975"/>
                <a:gd name="connsiteX266" fmla="*/ 304800 w 1314450"/>
                <a:gd name="connsiteY266" fmla="*/ 781050 h 942975"/>
                <a:gd name="connsiteX267" fmla="*/ 295275 w 1314450"/>
                <a:gd name="connsiteY267" fmla="*/ 784860 h 942975"/>
                <a:gd name="connsiteX268" fmla="*/ 257175 w 1314450"/>
                <a:gd name="connsiteY268" fmla="*/ 784860 h 942975"/>
                <a:gd name="connsiteX269" fmla="*/ 250508 w 1314450"/>
                <a:gd name="connsiteY269" fmla="*/ 788670 h 942975"/>
                <a:gd name="connsiteX270" fmla="*/ 249555 w 1314450"/>
                <a:gd name="connsiteY270" fmla="*/ 787718 h 942975"/>
                <a:gd name="connsiteX271" fmla="*/ 246698 w 1314450"/>
                <a:gd name="connsiteY271" fmla="*/ 784860 h 942975"/>
                <a:gd name="connsiteX272" fmla="*/ 237173 w 1314450"/>
                <a:gd name="connsiteY272" fmla="*/ 765810 h 942975"/>
                <a:gd name="connsiteX273" fmla="*/ 229553 w 1314450"/>
                <a:gd name="connsiteY273" fmla="*/ 741045 h 942975"/>
                <a:gd name="connsiteX274" fmla="*/ 222885 w 1314450"/>
                <a:gd name="connsiteY274" fmla="*/ 724853 h 942975"/>
                <a:gd name="connsiteX275" fmla="*/ 183833 w 1314450"/>
                <a:gd name="connsiteY275" fmla="*/ 673418 h 942975"/>
                <a:gd name="connsiteX276" fmla="*/ 179070 w 1314450"/>
                <a:gd name="connsiteY276" fmla="*/ 671513 h 942975"/>
                <a:gd name="connsiteX277" fmla="*/ 177165 w 1314450"/>
                <a:gd name="connsiteY277" fmla="*/ 671513 h 942975"/>
                <a:gd name="connsiteX278" fmla="*/ 166688 w 1314450"/>
                <a:gd name="connsiteY278" fmla="*/ 677228 h 942975"/>
                <a:gd name="connsiteX279" fmla="*/ 159068 w 1314450"/>
                <a:gd name="connsiteY279" fmla="*/ 677228 h 942975"/>
                <a:gd name="connsiteX280" fmla="*/ 150495 w 1314450"/>
                <a:gd name="connsiteY280" fmla="*/ 676275 h 942975"/>
                <a:gd name="connsiteX281" fmla="*/ 140018 w 1314450"/>
                <a:gd name="connsiteY281" fmla="*/ 671513 h 942975"/>
                <a:gd name="connsiteX282" fmla="*/ 136208 w 1314450"/>
                <a:gd name="connsiteY282" fmla="*/ 671513 h 942975"/>
                <a:gd name="connsiteX283" fmla="*/ 133350 w 1314450"/>
                <a:gd name="connsiteY283" fmla="*/ 672465 h 942975"/>
                <a:gd name="connsiteX284" fmla="*/ 129540 w 1314450"/>
                <a:gd name="connsiteY284" fmla="*/ 676275 h 942975"/>
                <a:gd name="connsiteX285" fmla="*/ 125730 w 1314450"/>
                <a:gd name="connsiteY285" fmla="*/ 677228 h 942975"/>
                <a:gd name="connsiteX286" fmla="*/ 121920 w 1314450"/>
                <a:gd name="connsiteY286" fmla="*/ 676275 h 942975"/>
                <a:gd name="connsiteX287" fmla="*/ 118110 w 1314450"/>
                <a:gd name="connsiteY287" fmla="*/ 672465 h 942975"/>
                <a:gd name="connsiteX288" fmla="*/ 92393 w 1314450"/>
                <a:gd name="connsiteY288" fmla="*/ 632460 h 942975"/>
                <a:gd name="connsiteX289" fmla="*/ 86678 w 1314450"/>
                <a:gd name="connsiteY289" fmla="*/ 616268 h 942975"/>
                <a:gd name="connsiteX290" fmla="*/ 86678 w 1314450"/>
                <a:gd name="connsiteY290" fmla="*/ 605790 h 942975"/>
                <a:gd name="connsiteX291" fmla="*/ 87630 w 1314450"/>
                <a:gd name="connsiteY291" fmla="*/ 596265 h 942975"/>
                <a:gd name="connsiteX292" fmla="*/ 87630 w 1314450"/>
                <a:gd name="connsiteY292" fmla="*/ 588645 h 942975"/>
                <a:gd name="connsiteX293" fmla="*/ 83820 w 1314450"/>
                <a:gd name="connsiteY293" fmla="*/ 581978 h 942975"/>
                <a:gd name="connsiteX294" fmla="*/ 80010 w 1314450"/>
                <a:gd name="connsiteY294" fmla="*/ 581025 h 942975"/>
                <a:gd name="connsiteX295" fmla="*/ 65723 w 1314450"/>
                <a:gd name="connsiteY295" fmla="*/ 581978 h 942975"/>
                <a:gd name="connsiteX296" fmla="*/ 65723 w 1314450"/>
                <a:gd name="connsiteY296" fmla="*/ 569595 h 942975"/>
                <a:gd name="connsiteX297" fmla="*/ 73343 w 1314450"/>
                <a:gd name="connsiteY297" fmla="*/ 545782 h 942975"/>
                <a:gd name="connsiteX298" fmla="*/ 54293 w 1314450"/>
                <a:gd name="connsiteY298" fmla="*/ 536257 h 942975"/>
                <a:gd name="connsiteX299" fmla="*/ 36195 w 1314450"/>
                <a:gd name="connsiteY299" fmla="*/ 533400 h 942975"/>
                <a:gd name="connsiteX300" fmla="*/ 19050 w 1314450"/>
                <a:gd name="connsiteY300" fmla="*/ 540068 h 942975"/>
                <a:gd name="connsiteX301" fmla="*/ 14288 w 1314450"/>
                <a:gd name="connsiteY301" fmla="*/ 546735 h 942975"/>
                <a:gd name="connsiteX302" fmla="*/ 12383 w 1314450"/>
                <a:gd name="connsiteY302" fmla="*/ 546735 h 942975"/>
                <a:gd name="connsiteX303" fmla="*/ 0 w 1314450"/>
                <a:gd name="connsiteY303" fmla="*/ 543878 h 942975"/>
                <a:gd name="connsiteX304" fmla="*/ 953 w 1314450"/>
                <a:gd name="connsiteY304" fmla="*/ 486728 h 942975"/>
                <a:gd name="connsiteX305" fmla="*/ 6668 w 1314450"/>
                <a:gd name="connsiteY305" fmla="*/ 474345 h 942975"/>
                <a:gd name="connsiteX306" fmla="*/ 8573 w 1314450"/>
                <a:gd name="connsiteY306" fmla="*/ 461963 h 942975"/>
                <a:gd name="connsiteX307" fmla="*/ 1905 w 1314450"/>
                <a:gd name="connsiteY307" fmla="*/ 429578 h 942975"/>
                <a:gd name="connsiteX308" fmla="*/ 2857 w 1314450"/>
                <a:gd name="connsiteY308" fmla="*/ 413385 h 942975"/>
                <a:gd name="connsiteX309" fmla="*/ 11430 w 1314450"/>
                <a:gd name="connsiteY309" fmla="*/ 400050 h 942975"/>
                <a:gd name="connsiteX310" fmla="*/ 45720 w 1314450"/>
                <a:gd name="connsiteY310" fmla="*/ 372428 h 942975"/>
                <a:gd name="connsiteX311" fmla="*/ 48578 w 1314450"/>
                <a:gd name="connsiteY311" fmla="*/ 366713 h 942975"/>
                <a:gd name="connsiteX312" fmla="*/ 54293 w 1314450"/>
                <a:gd name="connsiteY312" fmla="*/ 353378 h 942975"/>
                <a:gd name="connsiteX313" fmla="*/ 58103 w 1314450"/>
                <a:gd name="connsiteY313" fmla="*/ 347663 h 942975"/>
                <a:gd name="connsiteX314" fmla="*/ 64770 w 1314450"/>
                <a:gd name="connsiteY314" fmla="*/ 343853 h 942975"/>
                <a:gd name="connsiteX315" fmla="*/ 79058 w 1314450"/>
                <a:gd name="connsiteY315" fmla="*/ 339090 h 942975"/>
                <a:gd name="connsiteX316" fmla="*/ 84773 w 1314450"/>
                <a:gd name="connsiteY316" fmla="*/ 335280 h 942975"/>
                <a:gd name="connsiteX317" fmla="*/ 93345 w 1314450"/>
                <a:gd name="connsiteY317" fmla="*/ 323850 h 942975"/>
                <a:gd name="connsiteX318" fmla="*/ 100013 w 1314450"/>
                <a:gd name="connsiteY318" fmla="*/ 308610 h 942975"/>
                <a:gd name="connsiteX319" fmla="*/ 103823 w 1314450"/>
                <a:gd name="connsiteY319" fmla="*/ 291465 h 942975"/>
                <a:gd name="connsiteX320" fmla="*/ 102870 w 1314450"/>
                <a:gd name="connsiteY320" fmla="*/ 274320 h 942975"/>
                <a:gd name="connsiteX321" fmla="*/ 104775 w 1314450"/>
                <a:gd name="connsiteY321" fmla="*/ 263843 h 942975"/>
                <a:gd name="connsiteX322" fmla="*/ 108585 w 1314450"/>
                <a:gd name="connsiteY322" fmla="*/ 259080 h 942975"/>
                <a:gd name="connsiteX323" fmla="*/ 113348 w 1314450"/>
                <a:gd name="connsiteY323" fmla="*/ 254318 h 942975"/>
                <a:gd name="connsiteX324" fmla="*/ 118110 w 1314450"/>
                <a:gd name="connsiteY324" fmla="*/ 247650 h 942975"/>
                <a:gd name="connsiteX325" fmla="*/ 121920 w 1314450"/>
                <a:gd name="connsiteY325" fmla="*/ 239078 h 942975"/>
                <a:gd name="connsiteX326" fmla="*/ 122873 w 1314450"/>
                <a:gd name="connsiteY326" fmla="*/ 233363 h 942975"/>
                <a:gd name="connsiteX327" fmla="*/ 121920 w 1314450"/>
                <a:gd name="connsiteY327" fmla="*/ 206693 h 942975"/>
                <a:gd name="connsiteX328" fmla="*/ 120968 w 1314450"/>
                <a:gd name="connsiteY328" fmla="*/ 200025 h 942975"/>
                <a:gd name="connsiteX329" fmla="*/ 120968 w 1314450"/>
                <a:gd name="connsiteY329" fmla="*/ 193357 h 942975"/>
                <a:gd name="connsiteX330" fmla="*/ 124778 w 1314450"/>
                <a:gd name="connsiteY330" fmla="*/ 183832 h 942975"/>
                <a:gd name="connsiteX331" fmla="*/ 129540 w 1314450"/>
                <a:gd name="connsiteY331" fmla="*/ 176213 h 942975"/>
                <a:gd name="connsiteX332" fmla="*/ 141923 w 1314450"/>
                <a:gd name="connsiteY332" fmla="*/ 165735 h 942975"/>
                <a:gd name="connsiteX333" fmla="*/ 146685 w 1314450"/>
                <a:gd name="connsiteY333" fmla="*/ 159068 h 942975"/>
                <a:gd name="connsiteX334" fmla="*/ 148590 w 1314450"/>
                <a:gd name="connsiteY334" fmla="*/ 153353 h 942975"/>
                <a:gd name="connsiteX335" fmla="*/ 147638 w 1314450"/>
                <a:gd name="connsiteY335" fmla="*/ 143828 h 942975"/>
                <a:gd name="connsiteX336" fmla="*/ 148590 w 1314450"/>
                <a:gd name="connsiteY336" fmla="*/ 139065 h 942975"/>
                <a:gd name="connsiteX337" fmla="*/ 155258 w 1314450"/>
                <a:gd name="connsiteY337" fmla="*/ 124778 h 942975"/>
                <a:gd name="connsiteX338" fmla="*/ 166688 w 1314450"/>
                <a:gd name="connsiteY338" fmla="*/ 91440 h 942975"/>
                <a:gd name="connsiteX339" fmla="*/ 176213 w 1314450"/>
                <a:gd name="connsiteY339" fmla="*/ 83820 h 942975"/>
                <a:gd name="connsiteX340" fmla="*/ 196215 w 1314450"/>
                <a:gd name="connsiteY340" fmla="*/ 80963 h 942975"/>
                <a:gd name="connsiteX341" fmla="*/ 204788 w 1314450"/>
                <a:gd name="connsiteY341" fmla="*/ 74295 h 942975"/>
                <a:gd name="connsiteX342" fmla="*/ 203835 w 1314450"/>
                <a:gd name="connsiteY342" fmla="*/ 60960 h 942975"/>
                <a:gd name="connsiteX343" fmla="*/ 206693 w 1314450"/>
                <a:gd name="connsiteY343" fmla="*/ 41910 h 942975"/>
                <a:gd name="connsiteX344" fmla="*/ 210503 w 1314450"/>
                <a:gd name="connsiteY344" fmla="*/ 23813 h 942975"/>
                <a:gd name="connsiteX345" fmla="*/ 214313 w 1314450"/>
                <a:gd name="connsiteY345" fmla="*/ 10478 h 942975"/>
                <a:gd name="connsiteX346" fmla="*/ 225743 w 1314450"/>
                <a:gd name="connsiteY346" fmla="*/ 0 h 942975"/>
                <a:gd name="connsiteX347" fmla="*/ 236220 w 1314450"/>
                <a:gd name="connsiteY347" fmla="*/ 2857 h 942975"/>
                <a:gd name="connsiteX348" fmla="*/ 256223 w 1314450"/>
                <a:gd name="connsiteY348" fmla="*/ 24765 h 942975"/>
                <a:gd name="connsiteX349" fmla="*/ 268605 w 1314450"/>
                <a:gd name="connsiteY349" fmla="*/ 33338 h 942975"/>
                <a:gd name="connsiteX350" fmla="*/ 280035 w 1314450"/>
                <a:gd name="connsiteY350" fmla="*/ 35243 h 942975"/>
                <a:gd name="connsiteX351" fmla="*/ 291465 w 1314450"/>
                <a:gd name="connsiteY351" fmla="*/ 34290 h 942975"/>
                <a:gd name="connsiteX352" fmla="*/ 310515 w 1314450"/>
                <a:gd name="connsiteY352" fmla="*/ 35243 h 942975"/>
                <a:gd name="connsiteX353" fmla="*/ 322898 w 1314450"/>
                <a:gd name="connsiteY353" fmla="*/ 31432 h 942975"/>
                <a:gd name="connsiteX354" fmla="*/ 328613 w 1314450"/>
                <a:gd name="connsiteY354" fmla="*/ 32385 h 942975"/>
                <a:gd name="connsiteX355" fmla="*/ 333375 w 1314450"/>
                <a:gd name="connsiteY355" fmla="*/ 37147 h 942975"/>
                <a:gd name="connsiteX356" fmla="*/ 342900 w 1314450"/>
                <a:gd name="connsiteY356" fmla="*/ 51435 h 942975"/>
                <a:gd name="connsiteX357" fmla="*/ 349568 w 1314450"/>
                <a:gd name="connsiteY357" fmla="*/ 53340 h 942975"/>
                <a:gd name="connsiteX358" fmla="*/ 358140 w 1314450"/>
                <a:gd name="connsiteY358" fmla="*/ 58103 h 942975"/>
                <a:gd name="connsiteX359" fmla="*/ 370523 w 1314450"/>
                <a:gd name="connsiteY359" fmla="*/ 68580 h 942975"/>
                <a:gd name="connsiteX360" fmla="*/ 381000 w 1314450"/>
                <a:gd name="connsiteY360" fmla="*/ 73343 h 942975"/>
                <a:gd name="connsiteX361" fmla="*/ 386715 w 1314450"/>
                <a:gd name="connsiteY361" fmla="*/ 60007 h 942975"/>
                <a:gd name="connsiteX362" fmla="*/ 385763 w 1314450"/>
                <a:gd name="connsiteY362" fmla="*/ 58103 h 94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</a:cxnLst>
              <a:rect l="l" t="t" r="r" b="b"/>
              <a:pathLst>
                <a:path w="1314450" h="942975">
                  <a:moveTo>
                    <a:pt x="385763" y="58103"/>
                  </a:moveTo>
                  <a:lnTo>
                    <a:pt x="395288" y="63818"/>
                  </a:lnTo>
                  <a:lnTo>
                    <a:pt x="404813" y="75247"/>
                  </a:lnTo>
                  <a:lnTo>
                    <a:pt x="405765" y="81915"/>
                  </a:lnTo>
                  <a:lnTo>
                    <a:pt x="401003" y="92393"/>
                  </a:lnTo>
                  <a:lnTo>
                    <a:pt x="399098" y="98107"/>
                  </a:lnTo>
                  <a:lnTo>
                    <a:pt x="399098" y="108585"/>
                  </a:lnTo>
                  <a:lnTo>
                    <a:pt x="399098" y="111443"/>
                  </a:lnTo>
                  <a:lnTo>
                    <a:pt x="400050" y="120015"/>
                  </a:lnTo>
                  <a:lnTo>
                    <a:pt x="401955" y="125730"/>
                  </a:lnTo>
                  <a:lnTo>
                    <a:pt x="404813" y="129540"/>
                  </a:lnTo>
                  <a:lnTo>
                    <a:pt x="418148" y="145732"/>
                  </a:lnTo>
                  <a:lnTo>
                    <a:pt x="437198" y="160972"/>
                  </a:lnTo>
                  <a:lnTo>
                    <a:pt x="440055" y="165735"/>
                  </a:lnTo>
                  <a:lnTo>
                    <a:pt x="441960" y="169545"/>
                  </a:lnTo>
                  <a:lnTo>
                    <a:pt x="443865" y="175260"/>
                  </a:lnTo>
                  <a:lnTo>
                    <a:pt x="447675" y="181928"/>
                  </a:lnTo>
                  <a:lnTo>
                    <a:pt x="451485" y="183832"/>
                  </a:lnTo>
                  <a:lnTo>
                    <a:pt x="455295" y="184785"/>
                  </a:lnTo>
                  <a:lnTo>
                    <a:pt x="463868" y="184785"/>
                  </a:lnTo>
                  <a:lnTo>
                    <a:pt x="467678" y="184785"/>
                  </a:lnTo>
                  <a:lnTo>
                    <a:pt x="471488" y="183832"/>
                  </a:lnTo>
                  <a:lnTo>
                    <a:pt x="476250" y="180975"/>
                  </a:lnTo>
                  <a:lnTo>
                    <a:pt x="498158" y="174307"/>
                  </a:lnTo>
                  <a:lnTo>
                    <a:pt x="512445" y="171450"/>
                  </a:lnTo>
                  <a:lnTo>
                    <a:pt x="516255" y="172403"/>
                  </a:lnTo>
                  <a:lnTo>
                    <a:pt x="520065" y="175260"/>
                  </a:lnTo>
                  <a:lnTo>
                    <a:pt x="525780" y="180022"/>
                  </a:lnTo>
                  <a:lnTo>
                    <a:pt x="529590" y="186690"/>
                  </a:lnTo>
                  <a:lnTo>
                    <a:pt x="541973" y="218122"/>
                  </a:lnTo>
                  <a:lnTo>
                    <a:pt x="552450" y="237172"/>
                  </a:lnTo>
                  <a:lnTo>
                    <a:pt x="555308" y="240982"/>
                  </a:lnTo>
                  <a:lnTo>
                    <a:pt x="559118" y="243840"/>
                  </a:lnTo>
                  <a:lnTo>
                    <a:pt x="563880" y="247650"/>
                  </a:lnTo>
                  <a:lnTo>
                    <a:pt x="568643" y="248603"/>
                  </a:lnTo>
                  <a:lnTo>
                    <a:pt x="593408" y="251460"/>
                  </a:lnTo>
                  <a:lnTo>
                    <a:pt x="600075" y="250507"/>
                  </a:lnTo>
                  <a:lnTo>
                    <a:pt x="605790" y="249555"/>
                  </a:lnTo>
                  <a:lnTo>
                    <a:pt x="610553" y="243840"/>
                  </a:lnTo>
                  <a:lnTo>
                    <a:pt x="612458" y="243840"/>
                  </a:lnTo>
                  <a:lnTo>
                    <a:pt x="614363" y="243840"/>
                  </a:lnTo>
                  <a:lnTo>
                    <a:pt x="616268" y="250507"/>
                  </a:lnTo>
                  <a:lnTo>
                    <a:pt x="616268" y="260032"/>
                  </a:lnTo>
                  <a:lnTo>
                    <a:pt x="617220" y="264795"/>
                  </a:lnTo>
                  <a:lnTo>
                    <a:pt x="620078" y="268605"/>
                  </a:lnTo>
                  <a:lnTo>
                    <a:pt x="622935" y="268605"/>
                  </a:lnTo>
                  <a:lnTo>
                    <a:pt x="626745" y="266700"/>
                  </a:lnTo>
                  <a:lnTo>
                    <a:pt x="629603" y="264795"/>
                  </a:lnTo>
                  <a:lnTo>
                    <a:pt x="637223" y="254318"/>
                  </a:lnTo>
                  <a:lnTo>
                    <a:pt x="639128" y="252413"/>
                  </a:lnTo>
                  <a:lnTo>
                    <a:pt x="641985" y="251460"/>
                  </a:lnTo>
                  <a:lnTo>
                    <a:pt x="645795" y="252413"/>
                  </a:lnTo>
                  <a:lnTo>
                    <a:pt x="650558" y="257175"/>
                  </a:lnTo>
                  <a:lnTo>
                    <a:pt x="652463" y="260985"/>
                  </a:lnTo>
                  <a:lnTo>
                    <a:pt x="652463" y="264795"/>
                  </a:lnTo>
                  <a:lnTo>
                    <a:pt x="652463" y="269557"/>
                  </a:lnTo>
                  <a:lnTo>
                    <a:pt x="653415" y="272415"/>
                  </a:lnTo>
                  <a:lnTo>
                    <a:pt x="655320" y="277178"/>
                  </a:lnTo>
                  <a:lnTo>
                    <a:pt x="656273" y="279082"/>
                  </a:lnTo>
                  <a:lnTo>
                    <a:pt x="661035" y="281940"/>
                  </a:lnTo>
                  <a:lnTo>
                    <a:pt x="666750" y="283845"/>
                  </a:lnTo>
                  <a:lnTo>
                    <a:pt x="681990" y="286703"/>
                  </a:lnTo>
                  <a:lnTo>
                    <a:pt x="692468" y="287655"/>
                  </a:lnTo>
                  <a:lnTo>
                    <a:pt x="720090" y="283845"/>
                  </a:lnTo>
                  <a:lnTo>
                    <a:pt x="725805" y="284797"/>
                  </a:lnTo>
                  <a:lnTo>
                    <a:pt x="738188" y="290513"/>
                  </a:lnTo>
                  <a:lnTo>
                    <a:pt x="760095" y="296228"/>
                  </a:lnTo>
                  <a:lnTo>
                    <a:pt x="780098" y="305753"/>
                  </a:lnTo>
                  <a:lnTo>
                    <a:pt x="813435" y="345757"/>
                  </a:lnTo>
                  <a:lnTo>
                    <a:pt x="822960" y="353378"/>
                  </a:lnTo>
                  <a:lnTo>
                    <a:pt x="826770" y="354330"/>
                  </a:lnTo>
                  <a:lnTo>
                    <a:pt x="831533" y="354330"/>
                  </a:lnTo>
                  <a:lnTo>
                    <a:pt x="839153" y="351472"/>
                  </a:lnTo>
                  <a:lnTo>
                    <a:pt x="844868" y="350520"/>
                  </a:lnTo>
                  <a:lnTo>
                    <a:pt x="851535" y="350520"/>
                  </a:lnTo>
                  <a:lnTo>
                    <a:pt x="858203" y="351472"/>
                  </a:lnTo>
                  <a:lnTo>
                    <a:pt x="863918" y="353378"/>
                  </a:lnTo>
                  <a:lnTo>
                    <a:pt x="866775" y="355282"/>
                  </a:lnTo>
                  <a:lnTo>
                    <a:pt x="868680" y="358140"/>
                  </a:lnTo>
                  <a:lnTo>
                    <a:pt x="870585" y="364807"/>
                  </a:lnTo>
                  <a:lnTo>
                    <a:pt x="870585" y="369570"/>
                  </a:lnTo>
                  <a:lnTo>
                    <a:pt x="868680" y="380047"/>
                  </a:lnTo>
                  <a:lnTo>
                    <a:pt x="869633" y="385763"/>
                  </a:lnTo>
                  <a:lnTo>
                    <a:pt x="871538" y="389572"/>
                  </a:lnTo>
                  <a:lnTo>
                    <a:pt x="874395" y="393382"/>
                  </a:lnTo>
                  <a:lnTo>
                    <a:pt x="903923" y="418147"/>
                  </a:lnTo>
                  <a:lnTo>
                    <a:pt x="908685" y="421005"/>
                  </a:lnTo>
                  <a:lnTo>
                    <a:pt x="913448" y="422910"/>
                  </a:lnTo>
                  <a:lnTo>
                    <a:pt x="920115" y="423863"/>
                  </a:lnTo>
                  <a:lnTo>
                    <a:pt x="924878" y="425768"/>
                  </a:lnTo>
                  <a:lnTo>
                    <a:pt x="928688" y="428625"/>
                  </a:lnTo>
                  <a:lnTo>
                    <a:pt x="933450" y="434340"/>
                  </a:lnTo>
                  <a:lnTo>
                    <a:pt x="935355" y="438150"/>
                  </a:lnTo>
                  <a:lnTo>
                    <a:pt x="939165" y="446722"/>
                  </a:lnTo>
                  <a:lnTo>
                    <a:pt x="940118" y="451485"/>
                  </a:lnTo>
                  <a:lnTo>
                    <a:pt x="941070" y="456247"/>
                  </a:lnTo>
                  <a:lnTo>
                    <a:pt x="939165" y="462915"/>
                  </a:lnTo>
                  <a:lnTo>
                    <a:pt x="937260" y="468630"/>
                  </a:lnTo>
                  <a:lnTo>
                    <a:pt x="936308" y="474345"/>
                  </a:lnTo>
                  <a:lnTo>
                    <a:pt x="935355" y="481013"/>
                  </a:lnTo>
                  <a:lnTo>
                    <a:pt x="936308" y="483870"/>
                  </a:lnTo>
                  <a:lnTo>
                    <a:pt x="938213" y="486728"/>
                  </a:lnTo>
                  <a:lnTo>
                    <a:pt x="941070" y="488632"/>
                  </a:lnTo>
                  <a:lnTo>
                    <a:pt x="946785" y="491490"/>
                  </a:lnTo>
                  <a:lnTo>
                    <a:pt x="950595" y="492443"/>
                  </a:lnTo>
                  <a:lnTo>
                    <a:pt x="954405" y="492443"/>
                  </a:lnTo>
                  <a:lnTo>
                    <a:pt x="959168" y="490538"/>
                  </a:lnTo>
                  <a:lnTo>
                    <a:pt x="963930" y="487680"/>
                  </a:lnTo>
                  <a:lnTo>
                    <a:pt x="965835" y="485775"/>
                  </a:lnTo>
                  <a:lnTo>
                    <a:pt x="974408" y="476250"/>
                  </a:lnTo>
                  <a:lnTo>
                    <a:pt x="985838" y="468630"/>
                  </a:lnTo>
                  <a:lnTo>
                    <a:pt x="1008698" y="464820"/>
                  </a:lnTo>
                  <a:lnTo>
                    <a:pt x="1019175" y="460057"/>
                  </a:lnTo>
                  <a:lnTo>
                    <a:pt x="1044893" y="442913"/>
                  </a:lnTo>
                  <a:lnTo>
                    <a:pt x="1049655" y="441960"/>
                  </a:lnTo>
                  <a:lnTo>
                    <a:pt x="1052513" y="441960"/>
                  </a:lnTo>
                  <a:lnTo>
                    <a:pt x="1055370" y="443865"/>
                  </a:lnTo>
                  <a:lnTo>
                    <a:pt x="1057275" y="446722"/>
                  </a:lnTo>
                  <a:lnTo>
                    <a:pt x="1057275" y="452438"/>
                  </a:lnTo>
                  <a:lnTo>
                    <a:pt x="1057275" y="456247"/>
                  </a:lnTo>
                  <a:lnTo>
                    <a:pt x="1056323" y="463868"/>
                  </a:lnTo>
                  <a:lnTo>
                    <a:pt x="1055370" y="468630"/>
                  </a:lnTo>
                  <a:lnTo>
                    <a:pt x="1056323" y="477203"/>
                  </a:lnTo>
                  <a:lnTo>
                    <a:pt x="1058228" y="482918"/>
                  </a:lnTo>
                  <a:lnTo>
                    <a:pt x="1059180" y="488632"/>
                  </a:lnTo>
                  <a:lnTo>
                    <a:pt x="1059180" y="491490"/>
                  </a:lnTo>
                  <a:lnTo>
                    <a:pt x="1058228" y="498157"/>
                  </a:lnTo>
                  <a:lnTo>
                    <a:pt x="1057275" y="501015"/>
                  </a:lnTo>
                  <a:lnTo>
                    <a:pt x="1053465" y="521018"/>
                  </a:lnTo>
                  <a:lnTo>
                    <a:pt x="1053465" y="527685"/>
                  </a:lnTo>
                  <a:lnTo>
                    <a:pt x="1054418" y="537210"/>
                  </a:lnTo>
                  <a:lnTo>
                    <a:pt x="1058228" y="561022"/>
                  </a:lnTo>
                  <a:lnTo>
                    <a:pt x="1059180" y="563880"/>
                  </a:lnTo>
                  <a:lnTo>
                    <a:pt x="1061085" y="567690"/>
                  </a:lnTo>
                  <a:lnTo>
                    <a:pt x="1063943" y="572453"/>
                  </a:lnTo>
                  <a:lnTo>
                    <a:pt x="1070610" y="579120"/>
                  </a:lnTo>
                  <a:lnTo>
                    <a:pt x="1074420" y="581978"/>
                  </a:lnTo>
                  <a:lnTo>
                    <a:pt x="1078230" y="583882"/>
                  </a:lnTo>
                  <a:lnTo>
                    <a:pt x="1094423" y="587693"/>
                  </a:lnTo>
                  <a:lnTo>
                    <a:pt x="1107758" y="587693"/>
                  </a:lnTo>
                  <a:lnTo>
                    <a:pt x="1120140" y="585788"/>
                  </a:lnTo>
                  <a:lnTo>
                    <a:pt x="1124903" y="583882"/>
                  </a:lnTo>
                  <a:lnTo>
                    <a:pt x="1131570" y="579120"/>
                  </a:lnTo>
                  <a:lnTo>
                    <a:pt x="1134428" y="575310"/>
                  </a:lnTo>
                  <a:lnTo>
                    <a:pt x="1139190" y="567690"/>
                  </a:lnTo>
                  <a:lnTo>
                    <a:pt x="1142048" y="560070"/>
                  </a:lnTo>
                  <a:lnTo>
                    <a:pt x="1143953" y="558165"/>
                  </a:lnTo>
                  <a:lnTo>
                    <a:pt x="1145858" y="557213"/>
                  </a:lnTo>
                  <a:lnTo>
                    <a:pt x="1149668" y="560070"/>
                  </a:lnTo>
                  <a:lnTo>
                    <a:pt x="1153478" y="562928"/>
                  </a:lnTo>
                  <a:lnTo>
                    <a:pt x="1159193" y="567690"/>
                  </a:lnTo>
                  <a:lnTo>
                    <a:pt x="1162050" y="571500"/>
                  </a:lnTo>
                  <a:lnTo>
                    <a:pt x="1163955" y="576263"/>
                  </a:lnTo>
                  <a:lnTo>
                    <a:pt x="1165860" y="585788"/>
                  </a:lnTo>
                  <a:lnTo>
                    <a:pt x="1166813" y="595313"/>
                  </a:lnTo>
                  <a:lnTo>
                    <a:pt x="1168718" y="598170"/>
                  </a:lnTo>
                  <a:lnTo>
                    <a:pt x="1170623" y="598170"/>
                  </a:lnTo>
                  <a:lnTo>
                    <a:pt x="1183958" y="598170"/>
                  </a:lnTo>
                  <a:lnTo>
                    <a:pt x="1187768" y="600075"/>
                  </a:lnTo>
                  <a:lnTo>
                    <a:pt x="1190625" y="602932"/>
                  </a:lnTo>
                  <a:lnTo>
                    <a:pt x="1195388" y="608647"/>
                  </a:lnTo>
                  <a:lnTo>
                    <a:pt x="1201103" y="614363"/>
                  </a:lnTo>
                  <a:lnTo>
                    <a:pt x="1211580" y="621982"/>
                  </a:lnTo>
                  <a:lnTo>
                    <a:pt x="1245870" y="654368"/>
                  </a:lnTo>
                  <a:lnTo>
                    <a:pt x="1249680" y="659130"/>
                  </a:lnTo>
                  <a:lnTo>
                    <a:pt x="1259205" y="679132"/>
                  </a:lnTo>
                  <a:lnTo>
                    <a:pt x="1269683" y="696278"/>
                  </a:lnTo>
                  <a:lnTo>
                    <a:pt x="1270635" y="699135"/>
                  </a:lnTo>
                  <a:lnTo>
                    <a:pt x="1271588" y="702945"/>
                  </a:lnTo>
                  <a:lnTo>
                    <a:pt x="1269683" y="707707"/>
                  </a:lnTo>
                  <a:lnTo>
                    <a:pt x="1266825" y="714375"/>
                  </a:lnTo>
                  <a:lnTo>
                    <a:pt x="1263968" y="719138"/>
                  </a:lnTo>
                  <a:lnTo>
                    <a:pt x="1261110" y="723900"/>
                  </a:lnTo>
                  <a:lnTo>
                    <a:pt x="1259205" y="729615"/>
                  </a:lnTo>
                  <a:lnTo>
                    <a:pt x="1259205" y="733425"/>
                  </a:lnTo>
                  <a:lnTo>
                    <a:pt x="1259205" y="737235"/>
                  </a:lnTo>
                  <a:lnTo>
                    <a:pt x="1260158" y="741997"/>
                  </a:lnTo>
                  <a:lnTo>
                    <a:pt x="1263015" y="749618"/>
                  </a:lnTo>
                  <a:lnTo>
                    <a:pt x="1264920" y="753428"/>
                  </a:lnTo>
                  <a:lnTo>
                    <a:pt x="1268730" y="758190"/>
                  </a:lnTo>
                  <a:lnTo>
                    <a:pt x="1304925" y="794385"/>
                  </a:lnTo>
                  <a:lnTo>
                    <a:pt x="1322070" y="820103"/>
                  </a:lnTo>
                  <a:lnTo>
                    <a:pt x="1323023" y="822960"/>
                  </a:lnTo>
                  <a:lnTo>
                    <a:pt x="1322070" y="826770"/>
                  </a:lnTo>
                  <a:lnTo>
                    <a:pt x="1294448" y="867728"/>
                  </a:lnTo>
                  <a:lnTo>
                    <a:pt x="1291590" y="877253"/>
                  </a:lnTo>
                  <a:lnTo>
                    <a:pt x="1286828" y="904875"/>
                  </a:lnTo>
                  <a:lnTo>
                    <a:pt x="1284923" y="914400"/>
                  </a:lnTo>
                  <a:lnTo>
                    <a:pt x="1281113" y="911543"/>
                  </a:lnTo>
                  <a:lnTo>
                    <a:pt x="1270635" y="908685"/>
                  </a:lnTo>
                  <a:lnTo>
                    <a:pt x="1241108" y="909638"/>
                  </a:lnTo>
                  <a:lnTo>
                    <a:pt x="1210628" y="902018"/>
                  </a:lnTo>
                  <a:lnTo>
                    <a:pt x="1200150" y="902970"/>
                  </a:lnTo>
                  <a:lnTo>
                    <a:pt x="1188720" y="908685"/>
                  </a:lnTo>
                  <a:lnTo>
                    <a:pt x="1167765" y="926782"/>
                  </a:lnTo>
                  <a:lnTo>
                    <a:pt x="1142048" y="927735"/>
                  </a:lnTo>
                  <a:lnTo>
                    <a:pt x="1106805" y="945832"/>
                  </a:lnTo>
                  <a:lnTo>
                    <a:pt x="1095375" y="945832"/>
                  </a:lnTo>
                  <a:lnTo>
                    <a:pt x="1063943" y="933450"/>
                  </a:lnTo>
                  <a:lnTo>
                    <a:pt x="1062990" y="934403"/>
                  </a:lnTo>
                  <a:lnTo>
                    <a:pt x="1053465" y="932497"/>
                  </a:lnTo>
                  <a:lnTo>
                    <a:pt x="1034415" y="913447"/>
                  </a:lnTo>
                  <a:lnTo>
                    <a:pt x="1023938" y="908685"/>
                  </a:lnTo>
                  <a:lnTo>
                    <a:pt x="998220" y="902018"/>
                  </a:lnTo>
                  <a:lnTo>
                    <a:pt x="989648" y="895350"/>
                  </a:lnTo>
                  <a:lnTo>
                    <a:pt x="972503" y="894397"/>
                  </a:lnTo>
                  <a:lnTo>
                    <a:pt x="919163" y="916305"/>
                  </a:lnTo>
                  <a:lnTo>
                    <a:pt x="908685" y="916305"/>
                  </a:lnTo>
                  <a:lnTo>
                    <a:pt x="904875" y="904875"/>
                  </a:lnTo>
                  <a:lnTo>
                    <a:pt x="877253" y="879157"/>
                  </a:lnTo>
                  <a:lnTo>
                    <a:pt x="868680" y="874395"/>
                  </a:lnTo>
                  <a:lnTo>
                    <a:pt x="831533" y="876300"/>
                  </a:lnTo>
                  <a:lnTo>
                    <a:pt x="820103" y="874395"/>
                  </a:lnTo>
                  <a:lnTo>
                    <a:pt x="798195" y="867728"/>
                  </a:lnTo>
                  <a:lnTo>
                    <a:pt x="763905" y="863918"/>
                  </a:lnTo>
                  <a:lnTo>
                    <a:pt x="754380" y="860107"/>
                  </a:lnTo>
                  <a:lnTo>
                    <a:pt x="734378" y="863918"/>
                  </a:lnTo>
                  <a:lnTo>
                    <a:pt x="728663" y="865822"/>
                  </a:lnTo>
                  <a:lnTo>
                    <a:pt x="722948" y="870585"/>
                  </a:lnTo>
                  <a:lnTo>
                    <a:pt x="721043" y="875347"/>
                  </a:lnTo>
                  <a:lnTo>
                    <a:pt x="718185" y="880110"/>
                  </a:lnTo>
                  <a:lnTo>
                    <a:pt x="715328" y="883920"/>
                  </a:lnTo>
                  <a:lnTo>
                    <a:pt x="711518" y="886778"/>
                  </a:lnTo>
                  <a:lnTo>
                    <a:pt x="700088" y="887730"/>
                  </a:lnTo>
                  <a:lnTo>
                    <a:pt x="665798" y="870585"/>
                  </a:lnTo>
                  <a:lnTo>
                    <a:pt x="663893" y="869632"/>
                  </a:lnTo>
                  <a:lnTo>
                    <a:pt x="659130" y="871538"/>
                  </a:lnTo>
                  <a:lnTo>
                    <a:pt x="655320" y="872490"/>
                  </a:lnTo>
                  <a:lnTo>
                    <a:pt x="650558" y="871538"/>
                  </a:lnTo>
                  <a:lnTo>
                    <a:pt x="646748" y="870585"/>
                  </a:lnTo>
                  <a:lnTo>
                    <a:pt x="635318" y="856297"/>
                  </a:lnTo>
                  <a:lnTo>
                    <a:pt x="610553" y="834390"/>
                  </a:lnTo>
                  <a:lnTo>
                    <a:pt x="588645" y="808672"/>
                  </a:lnTo>
                  <a:lnTo>
                    <a:pt x="579120" y="802005"/>
                  </a:lnTo>
                  <a:lnTo>
                    <a:pt x="542925" y="788670"/>
                  </a:lnTo>
                  <a:lnTo>
                    <a:pt x="530543" y="787718"/>
                  </a:lnTo>
                  <a:lnTo>
                    <a:pt x="520065" y="792480"/>
                  </a:lnTo>
                  <a:lnTo>
                    <a:pt x="509588" y="808672"/>
                  </a:lnTo>
                  <a:lnTo>
                    <a:pt x="497205" y="845820"/>
                  </a:lnTo>
                  <a:lnTo>
                    <a:pt x="490538" y="859155"/>
                  </a:lnTo>
                  <a:lnTo>
                    <a:pt x="467678" y="876300"/>
                  </a:lnTo>
                  <a:lnTo>
                    <a:pt x="460058" y="878205"/>
                  </a:lnTo>
                  <a:lnTo>
                    <a:pt x="451485" y="875347"/>
                  </a:lnTo>
                  <a:lnTo>
                    <a:pt x="442913" y="870585"/>
                  </a:lnTo>
                  <a:lnTo>
                    <a:pt x="434340" y="864870"/>
                  </a:lnTo>
                  <a:lnTo>
                    <a:pt x="424815" y="860107"/>
                  </a:lnTo>
                  <a:lnTo>
                    <a:pt x="417195" y="861060"/>
                  </a:lnTo>
                  <a:lnTo>
                    <a:pt x="412433" y="870585"/>
                  </a:lnTo>
                  <a:lnTo>
                    <a:pt x="417195" y="885825"/>
                  </a:lnTo>
                  <a:lnTo>
                    <a:pt x="412433" y="897255"/>
                  </a:lnTo>
                  <a:lnTo>
                    <a:pt x="403860" y="902970"/>
                  </a:lnTo>
                  <a:lnTo>
                    <a:pt x="392430" y="906780"/>
                  </a:lnTo>
                  <a:lnTo>
                    <a:pt x="373380" y="890588"/>
                  </a:lnTo>
                  <a:lnTo>
                    <a:pt x="368618" y="881063"/>
                  </a:lnTo>
                  <a:lnTo>
                    <a:pt x="378143" y="870585"/>
                  </a:lnTo>
                  <a:lnTo>
                    <a:pt x="379095" y="858203"/>
                  </a:lnTo>
                  <a:lnTo>
                    <a:pt x="381953" y="850582"/>
                  </a:lnTo>
                  <a:lnTo>
                    <a:pt x="383858" y="842010"/>
                  </a:lnTo>
                  <a:lnTo>
                    <a:pt x="381000" y="827722"/>
                  </a:lnTo>
                  <a:lnTo>
                    <a:pt x="375285" y="816293"/>
                  </a:lnTo>
                  <a:lnTo>
                    <a:pt x="368618" y="807720"/>
                  </a:lnTo>
                  <a:lnTo>
                    <a:pt x="352425" y="792480"/>
                  </a:lnTo>
                  <a:lnTo>
                    <a:pt x="333375" y="782003"/>
                  </a:lnTo>
                  <a:lnTo>
                    <a:pt x="331470" y="778193"/>
                  </a:lnTo>
                  <a:lnTo>
                    <a:pt x="322898" y="772478"/>
                  </a:lnTo>
                  <a:lnTo>
                    <a:pt x="314325" y="775335"/>
                  </a:lnTo>
                  <a:lnTo>
                    <a:pt x="304800" y="781050"/>
                  </a:lnTo>
                  <a:lnTo>
                    <a:pt x="295275" y="784860"/>
                  </a:lnTo>
                  <a:lnTo>
                    <a:pt x="257175" y="784860"/>
                  </a:lnTo>
                  <a:lnTo>
                    <a:pt x="250508" y="788670"/>
                  </a:lnTo>
                  <a:lnTo>
                    <a:pt x="249555" y="787718"/>
                  </a:lnTo>
                  <a:lnTo>
                    <a:pt x="246698" y="784860"/>
                  </a:lnTo>
                  <a:lnTo>
                    <a:pt x="237173" y="765810"/>
                  </a:lnTo>
                  <a:lnTo>
                    <a:pt x="229553" y="741045"/>
                  </a:lnTo>
                  <a:lnTo>
                    <a:pt x="222885" y="724853"/>
                  </a:lnTo>
                  <a:lnTo>
                    <a:pt x="183833" y="673418"/>
                  </a:lnTo>
                  <a:lnTo>
                    <a:pt x="179070" y="671513"/>
                  </a:lnTo>
                  <a:lnTo>
                    <a:pt x="177165" y="671513"/>
                  </a:lnTo>
                  <a:lnTo>
                    <a:pt x="166688" y="677228"/>
                  </a:lnTo>
                  <a:lnTo>
                    <a:pt x="159068" y="677228"/>
                  </a:lnTo>
                  <a:lnTo>
                    <a:pt x="150495" y="676275"/>
                  </a:lnTo>
                  <a:lnTo>
                    <a:pt x="140018" y="671513"/>
                  </a:lnTo>
                  <a:lnTo>
                    <a:pt x="136208" y="671513"/>
                  </a:lnTo>
                  <a:lnTo>
                    <a:pt x="133350" y="672465"/>
                  </a:lnTo>
                  <a:lnTo>
                    <a:pt x="129540" y="676275"/>
                  </a:lnTo>
                  <a:lnTo>
                    <a:pt x="125730" y="677228"/>
                  </a:lnTo>
                  <a:lnTo>
                    <a:pt x="121920" y="676275"/>
                  </a:lnTo>
                  <a:lnTo>
                    <a:pt x="118110" y="672465"/>
                  </a:lnTo>
                  <a:lnTo>
                    <a:pt x="92393" y="632460"/>
                  </a:lnTo>
                  <a:lnTo>
                    <a:pt x="86678" y="616268"/>
                  </a:lnTo>
                  <a:lnTo>
                    <a:pt x="86678" y="605790"/>
                  </a:lnTo>
                  <a:lnTo>
                    <a:pt x="87630" y="596265"/>
                  </a:lnTo>
                  <a:lnTo>
                    <a:pt x="87630" y="588645"/>
                  </a:lnTo>
                  <a:lnTo>
                    <a:pt x="83820" y="581978"/>
                  </a:lnTo>
                  <a:lnTo>
                    <a:pt x="80010" y="581025"/>
                  </a:lnTo>
                  <a:lnTo>
                    <a:pt x="65723" y="581978"/>
                  </a:lnTo>
                  <a:lnTo>
                    <a:pt x="65723" y="569595"/>
                  </a:lnTo>
                  <a:lnTo>
                    <a:pt x="73343" y="545782"/>
                  </a:lnTo>
                  <a:lnTo>
                    <a:pt x="54293" y="536257"/>
                  </a:lnTo>
                  <a:lnTo>
                    <a:pt x="36195" y="533400"/>
                  </a:lnTo>
                  <a:lnTo>
                    <a:pt x="19050" y="540068"/>
                  </a:lnTo>
                  <a:lnTo>
                    <a:pt x="14288" y="546735"/>
                  </a:lnTo>
                  <a:lnTo>
                    <a:pt x="12383" y="546735"/>
                  </a:lnTo>
                  <a:lnTo>
                    <a:pt x="0" y="543878"/>
                  </a:lnTo>
                  <a:lnTo>
                    <a:pt x="953" y="486728"/>
                  </a:lnTo>
                  <a:lnTo>
                    <a:pt x="6668" y="474345"/>
                  </a:lnTo>
                  <a:lnTo>
                    <a:pt x="8573" y="461963"/>
                  </a:lnTo>
                  <a:lnTo>
                    <a:pt x="1905" y="429578"/>
                  </a:lnTo>
                  <a:lnTo>
                    <a:pt x="2857" y="413385"/>
                  </a:lnTo>
                  <a:lnTo>
                    <a:pt x="11430" y="400050"/>
                  </a:lnTo>
                  <a:lnTo>
                    <a:pt x="45720" y="372428"/>
                  </a:lnTo>
                  <a:lnTo>
                    <a:pt x="48578" y="366713"/>
                  </a:lnTo>
                  <a:lnTo>
                    <a:pt x="54293" y="353378"/>
                  </a:lnTo>
                  <a:lnTo>
                    <a:pt x="58103" y="347663"/>
                  </a:lnTo>
                  <a:lnTo>
                    <a:pt x="64770" y="343853"/>
                  </a:lnTo>
                  <a:lnTo>
                    <a:pt x="79058" y="339090"/>
                  </a:lnTo>
                  <a:lnTo>
                    <a:pt x="84773" y="335280"/>
                  </a:lnTo>
                  <a:lnTo>
                    <a:pt x="93345" y="323850"/>
                  </a:lnTo>
                  <a:lnTo>
                    <a:pt x="100013" y="308610"/>
                  </a:lnTo>
                  <a:lnTo>
                    <a:pt x="103823" y="291465"/>
                  </a:lnTo>
                  <a:lnTo>
                    <a:pt x="102870" y="274320"/>
                  </a:lnTo>
                  <a:lnTo>
                    <a:pt x="104775" y="263843"/>
                  </a:lnTo>
                  <a:lnTo>
                    <a:pt x="108585" y="259080"/>
                  </a:lnTo>
                  <a:lnTo>
                    <a:pt x="113348" y="254318"/>
                  </a:lnTo>
                  <a:lnTo>
                    <a:pt x="118110" y="247650"/>
                  </a:lnTo>
                  <a:lnTo>
                    <a:pt x="121920" y="239078"/>
                  </a:lnTo>
                  <a:lnTo>
                    <a:pt x="122873" y="233363"/>
                  </a:lnTo>
                  <a:lnTo>
                    <a:pt x="121920" y="206693"/>
                  </a:lnTo>
                  <a:lnTo>
                    <a:pt x="120968" y="200025"/>
                  </a:lnTo>
                  <a:lnTo>
                    <a:pt x="120968" y="193357"/>
                  </a:lnTo>
                  <a:lnTo>
                    <a:pt x="124778" y="183832"/>
                  </a:lnTo>
                  <a:lnTo>
                    <a:pt x="129540" y="176213"/>
                  </a:lnTo>
                  <a:lnTo>
                    <a:pt x="141923" y="165735"/>
                  </a:lnTo>
                  <a:lnTo>
                    <a:pt x="146685" y="159068"/>
                  </a:lnTo>
                  <a:lnTo>
                    <a:pt x="148590" y="153353"/>
                  </a:lnTo>
                  <a:lnTo>
                    <a:pt x="147638" y="143828"/>
                  </a:lnTo>
                  <a:lnTo>
                    <a:pt x="148590" y="139065"/>
                  </a:lnTo>
                  <a:lnTo>
                    <a:pt x="155258" y="124778"/>
                  </a:lnTo>
                  <a:lnTo>
                    <a:pt x="166688" y="91440"/>
                  </a:lnTo>
                  <a:lnTo>
                    <a:pt x="176213" y="83820"/>
                  </a:lnTo>
                  <a:lnTo>
                    <a:pt x="196215" y="80963"/>
                  </a:lnTo>
                  <a:lnTo>
                    <a:pt x="204788" y="74295"/>
                  </a:lnTo>
                  <a:lnTo>
                    <a:pt x="203835" y="60960"/>
                  </a:lnTo>
                  <a:lnTo>
                    <a:pt x="206693" y="41910"/>
                  </a:lnTo>
                  <a:lnTo>
                    <a:pt x="210503" y="23813"/>
                  </a:lnTo>
                  <a:lnTo>
                    <a:pt x="214313" y="10478"/>
                  </a:lnTo>
                  <a:lnTo>
                    <a:pt x="225743" y="0"/>
                  </a:lnTo>
                  <a:lnTo>
                    <a:pt x="236220" y="2857"/>
                  </a:lnTo>
                  <a:lnTo>
                    <a:pt x="256223" y="24765"/>
                  </a:lnTo>
                  <a:lnTo>
                    <a:pt x="268605" y="33338"/>
                  </a:lnTo>
                  <a:lnTo>
                    <a:pt x="280035" y="35243"/>
                  </a:lnTo>
                  <a:lnTo>
                    <a:pt x="291465" y="34290"/>
                  </a:lnTo>
                  <a:lnTo>
                    <a:pt x="310515" y="35243"/>
                  </a:lnTo>
                  <a:lnTo>
                    <a:pt x="322898" y="31432"/>
                  </a:lnTo>
                  <a:lnTo>
                    <a:pt x="328613" y="32385"/>
                  </a:lnTo>
                  <a:lnTo>
                    <a:pt x="333375" y="37147"/>
                  </a:lnTo>
                  <a:lnTo>
                    <a:pt x="342900" y="51435"/>
                  </a:lnTo>
                  <a:lnTo>
                    <a:pt x="349568" y="53340"/>
                  </a:lnTo>
                  <a:lnTo>
                    <a:pt x="358140" y="58103"/>
                  </a:lnTo>
                  <a:lnTo>
                    <a:pt x="370523" y="68580"/>
                  </a:lnTo>
                  <a:lnTo>
                    <a:pt x="381000" y="73343"/>
                  </a:lnTo>
                  <a:lnTo>
                    <a:pt x="386715" y="60007"/>
                  </a:lnTo>
                  <a:lnTo>
                    <a:pt x="385763" y="5810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0CAF72BF-C5B1-99E1-A369-B6F87A84AB36}"/>
                </a:ext>
              </a:extLst>
            </p:cNvPr>
            <p:cNvSpPr/>
            <p:nvPr/>
          </p:nvSpPr>
          <p:spPr>
            <a:xfrm>
              <a:off x="2113598" y="608648"/>
              <a:ext cx="1314450" cy="1381125"/>
            </a:xfrm>
            <a:custGeom>
              <a:avLst/>
              <a:gdLst>
                <a:gd name="connsiteX0" fmla="*/ 1029653 w 1314450"/>
                <a:gd name="connsiteY0" fmla="*/ 25717 h 1381125"/>
                <a:gd name="connsiteX1" fmla="*/ 1032510 w 1314450"/>
                <a:gd name="connsiteY1" fmla="*/ 40957 h 1381125"/>
                <a:gd name="connsiteX2" fmla="*/ 1039178 w 1314450"/>
                <a:gd name="connsiteY2" fmla="*/ 44767 h 1381125"/>
                <a:gd name="connsiteX3" fmla="*/ 1086803 w 1314450"/>
                <a:gd name="connsiteY3" fmla="*/ 47625 h 1381125"/>
                <a:gd name="connsiteX4" fmla="*/ 1089660 w 1314450"/>
                <a:gd name="connsiteY4" fmla="*/ 48577 h 1381125"/>
                <a:gd name="connsiteX5" fmla="*/ 1090612 w 1314450"/>
                <a:gd name="connsiteY5" fmla="*/ 50482 h 1381125"/>
                <a:gd name="connsiteX6" fmla="*/ 1088708 w 1314450"/>
                <a:gd name="connsiteY6" fmla="*/ 52388 h 1381125"/>
                <a:gd name="connsiteX7" fmla="*/ 1081087 w 1314450"/>
                <a:gd name="connsiteY7" fmla="*/ 57150 h 1381125"/>
                <a:gd name="connsiteX8" fmla="*/ 1077278 w 1314450"/>
                <a:gd name="connsiteY8" fmla="*/ 60007 h 1381125"/>
                <a:gd name="connsiteX9" fmla="*/ 1075373 w 1314450"/>
                <a:gd name="connsiteY9" fmla="*/ 62865 h 1381125"/>
                <a:gd name="connsiteX10" fmla="*/ 1074420 w 1314450"/>
                <a:gd name="connsiteY10" fmla="*/ 65722 h 1381125"/>
                <a:gd name="connsiteX11" fmla="*/ 1073468 w 1314450"/>
                <a:gd name="connsiteY11" fmla="*/ 70485 h 1381125"/>
                <a:gd name="connsiteX12" fmla="*/ 1073468 w 1314450"/>
                <a:gd name="connsiteY12" fmla="*/ 76200 h 1381125"/>
                <a:gd name="connsiteX13" fmla="*/ 1074420 w 1314450"/>
                <a:gd name="connsiteY13" fmla="*/ 81915 h 1381125"/>
                <a:gd name="connsiteX14" fmla="*/ 1075373 w 1314450"/>
                <a:gd name="connsiteY14" fmla="*/ 86677 h 1381125"/>
                <a:gd name="connsiteX15" fmla="*/ 1079183 w 1314450"/>
                <a:gd name="connsiteY15" fmla="*/ 95250 h 1381125"/>
                <a:gd name="connsiteX16" fmla="*/ 1080135 w 1314450"/>
                <a:gd name="connsiteY16" fmla="*/ 100965 h 1381125"/>
                <a:gd name="connsiteX17" fmla="*/ 1080135 w 1314450"/>
                <a:gd name="connsiteY17" fmla="*/ 104775 h 1381125"/>
                <a:gd name="connsiteX18" fmla="*/ 1079183 w 1314450"/>
                <a:gd name="connsiteY18" fmla="*/ 108585 h 1381125"/>
                <a:gd name="connsiteX19" fmla="*/ 1078230 w 1314450"/>
                <a:gd name="connsiteY19" fmla="*/ 113347 h 1381125"/>
                <a:gd name="connsiteX20" fmla="*/ 1072515 w 1314450"/>
                <a:gd name="connsiteY20" fmla="*/ 123825 h 1381125"/>
                <a:gd name="connsiteX21" fmla="*/ 1065848 w 1314450"/>
                <a:gd name="connsiteY21" fmla="*/ 134302 h 1381125"/>
                <a:gd name="connsiteX22" fmla="*/ 1062037 w 1314450"/>
                <a:gd name="connsiteY22" fmla="*/ 138113 h 1381125"/>
                <a:gd name="connsiteX23" fmla="*/ 1042987 w 1314450"/>
                <a:gd name="connsiteY23" fmla="*/ 154305 h 1381125"/>
                <a:gd name="connsiteX24" fmla="*/ 1017270 w 1314450"/>
                <a:gd name="connsiteY24" fmla="*/ 191452 h 1381125"/>
                <a:gd name="connsiteX25" fmla="*/ 1013460 w 1314450"/>
                <a:gd name="connsiteY25" fmla="*/ 200025 h 1381125"/>
                <a:gd name="connsiteX26" fmla="*/ 1011555 w 1314450"/>
                <a:gd name="connsiteY26" fmla="*/ 205740 h 1381125"/>
                <a:gd name="connsiteX27" fmla="*/ 1010603 w 1314450"/>
                <a:gd name="connsiteY27" fmla="*/ 214313 h 1381125"/>
                <a:gd name="connsiteX28" fmla="*/ 1007745 w 1314450"/>
                <a:gd name="connsiteY28" fmla="*/ 231458 h 1381125"/>
                <a:gd name="connsiteX29" fmla="*/ 1007745 w 1314450"/>
                <a:gd name="connsiteY29" fmla="*/ 245745 h 1381125"/>
                <a:gd name="connsiteX30" fmla="*/ 1008698 w 1314450"/>
                <a:gd name="connsiteY30" fmla="*/ 262890 h 1381125"/>
                <a:gd name="connsiteX31" fmla="*/ 1008698 w 1314450"/>
                <a:gd name="connsiteY31" fmla="*/ 273367 h 1381125"/>
                <a:gd name="connsiteX32" fmla="*/ 1009650 w 1314450"/>
                <a:gd name="connsiteY32" fmla="*/ 280035 h 1381125"/>
                <a:gd name="connsiteX33" fmla="*/ 1012507 w 1314450"/>
                <a:gd name="connsiteY33" fmla="*/ 284798 h 1381125"/>
                <a:gd name="connsiteX34" fmla="*/ 1017270 w 1314450"/>
                <a:gd name="connsiteY34" fmla="*/ 287655 h 1381125"/>
                <a:gd name="connsiteX35" fmla="*/ 1023937 w 1314450"/>
                <a:gd name="connsiteY35" fmla="*/ 288607 h 1381125"/>
                <a:gd name="connsiteX36" fmla="*/ 1027748 w 1314450"/>
                <a:gd name="connsiteY36" fmla="*/ 288607 h 1381125"/>
                <a:gd name="connsiteX37" fmla="*/ 1033462 w 1314450"/>
                <a:gd name="connsiteY37" fmla="*/ 287655 h 1381125"/>
                <a:gd name="connsiteX38" fmla="*/ 1035368 w 1314450"/>
                <a:gd name="connsiteY38" fmla="*/ 286703 h 1381125"/>
                <a:gd name="connsiteX39" fmla="*/ 1037273 w 1314450"/>
                <a:gd name="connsiteY39" fmla="*/ 288607 h 1381125"/>
                <a:gd name="connsiteX40" fmla="*/ 1039178 w 1314450"/>
                <a:gd name="connsiteY40" fmla="*/ 298132 h 1381125"/>
                <a:gd name="connsiteX41" fmla="*/ 1040130 w 1314450"/>
                <a:gd name="connsiteY41" fmla="*/ 300038 h 1381125"/>
                <a:gd name="connsiteX42" fmla="*/ 1042987 w 1314450"/>
                <a:gd name="connsiteY42" fmla="*/ 301942 h 1381125"/>
                <a:gd name="connsiteX43" fmla="*/ 1052512 w 1314450"/>
                <a:gd name="connsiteY43" fmla="*/ 304800 h 1381125"/>
                <a:gd name="connsiteX44" fmla="*/ 1056323 w 1314450"/>
                <a:gd name="connsiteY44" fmla="*/ 307657 h 1381125"/>
                <a:gd name="connsiteX45" fmla="*/ 1059180 w 1314450"/>
                <a:gd name="connsiteY45" fmla="*/ 313373 h 1381125"/>
                <a:gd name="connsiteX46" fmla="*/ 1059180 w 1314450"/>
                <a:gd name="connsiteY46" fmla="*/ 317182 h 1381125"/>
                <a:gd name="connsiteX47" fmla="*/ 1058228 w 1314450"/>
                <a:gd name="connsiteY47" fmla="*/ 322898 h 1381125"/>
                <a:gd name="connsiteX48" fmla="*/ 1053465 w 1314450"/>
                <a:gd name="connsiteY48" fmla="*/ 331470 h 1381125"/>
                <a:gd name="connsiteX49" fmla="*/ 1050608 w 1314450"/>
                <a:gd name="connsiteY49" fmla="*/ 335280 h 1381125"/>
                <a:gd name="connsiteX50" fmla="*/ 1041082 w 1314450"/>
                <a:gd name="connsiteY50" fmla="*/ 343853 h 1381125"/>
                <a:gd name="connsiteX51" fmla="*/ 1037273 w 1314450"/>
                <a:gd name="connsiteY51" fmla="*/ 347663 h 1381125"/>
                <a:gd name="connsiteX52" fmla="*/ 1034415 w 1314450"/>
                <a:gd name="connsiteY52" fmla="*/ 352425 h 1381125"/>
                <a:gd name="connsiteX53" fmla="*/ 1033462 w 1314450"/>
                <a:gd name="connsiteY53" fmla="*/ 356235 h 1381125"/>
                <a:gd name="connsiteX54" fmla="*/ 1032510 w 1314450"/>
                <a:gd name="connsiteY54" fmla="*/ 360998 h 1381125"/>
                <a:gd name="connsiteX55" fmla="*/ 1031557 w 1314450"/>
                <a:gd name="connsiteY55" fmla="*/ 374332 h 1381125"/>
                <a:gd name="connsiteX56" fmla="*/ 1031557 w 1314450"/>
                <a:gd name="connsiteY56" fmla="*/ 378142 h 1381125"/>
                <a:gd name="connsiteX57" fmla="*/ 1033462 w 1314450"/>
                <a:gd name="connsiteY57" fmla="*/ 385763 h 1381125"/>
                <a:gd name="connsiteX58" fmla="*/ 1039178 w 1314450"/>
                <a:gd name="connsiteY58" fmla="*/ 408623 h 1381125"/>
                <a:gd name="connsiteX59" fmla="*/ 1040130 w 1314450"/>
                <a:gd name="connsiteY59" fmla="*/ 415290 h 1381125"/>
                <a:gd name="connsiteX60" fmla="*/ 1040130 w 1314450"/>
                <a:gd name="connsiteY60" fmla="*/ 418148 h 1381125"/>
                <a:gd name="connsiteX61" fmla="*/ 1039178 w 1314450"/>
                <a:gd name="connsiteY61" fmla="*/ 425767 h 1381125"/>
                <a:gd name="connsiteX62" fmla="*/ 1037273 w 1314450"/>
                <a:gd name="connsiteY62" fmla="*/ 440055 h 1381125"/>
                <a:gd name="connsiteX63" fmla="*/ 1036320 w 1314450"/>
                <a:gd name="connsiteY63" fmla="*/ 451485 h 1381125"/>
                <a:gd name="connsiteX64" fmla="*/ 1036320 w 1314450"/>
                <a:gd name="connsiteY64" fmla="*/ 458153 h 1381125"/>
                <a:gd name="connsiteX65" fmla="*/ 1037273 w 1314450"/>
                <a:gd name="connsiteY65" fmla="*/ 468630 h 1381125"/>
                <a:gd name="connsiteX66" fmla="*/ 1037273 w 1314450"/>
                <a:gd name="connsiteY66" fmla="*/ 471488 h 1381125"/>
                <a:gd name="connsiteX67" fmla="*/ 1033462 w 1314450"/>
                <a:gd name="connsiteY67" fmla="*/ 502920 h 1381125"/>
                <a:gd name="connsiteX68" fmla="*/ 1034415 w 1314450"/>
                <a:gd name="connsiteY68" fmla="*/ 509588 h 1381125"/>
                <a:gd name="connsiteX69" fmla="*/ 1035368 w 1314450"/>
                <a:gd name="connsiteY69" fmla="*/ 512445 h 1381125"/>
                <a:gd name="connsiteX70" fmla="*/ 1038225 w 1314450"/>
                <a:gd name="connsiteY70" fmla="*/ 517207 h 1381125"/>
                <a:gd name="connsiteX71" fmla="*/ 1042035 w 1314450"/>
                <a:gd name="connsiteY71" fmla="*/ 521970 h 1381125"/>
                <a:gd name="connsiteX72" fmla="*/ 1043940 w 1314450"/>
                <a:gd name="connsiteY72" fmla="*/ 522923 h 1381125"/>
                <a:gd name="connsiteX73" fmla="*/ 1048703 w 1314450"/>
                <a:gd name="connsiteY73" fmla="*/ 523875 h 1381125"/>
                <a:gd name="connsiteX74" fmla="*/ 1050608 w 1314450"/>
                <a:gd name="connsiteY74" fmla="*/ 522923 h 1381125"/>
                <a:gd name="connsiteX75" fmla="*/ 1052512 w 1314450"/>
                <a:gd name="connsiteY75" fmla="*/ 521017 h 1381125"/>
                <a:gd name="connsiteX76" fmla="*/ 1054418 w 1314450"/>
                <a:gd name="connsiteY76" fmla="*/ 518160 h 1381125"/>
                <a:gd name="connsiteX77" fmla="*/ 1057275 w 1314450"/>
                <a:gd name="connsiteY77" fmla="*/ 509588 h 1381125"/>
                <a:gd name="connsiteX78" fmla="*/ 1060133 w 1314450"/>
                <a:gd name="connsiteY78" fmla="*/ 503873 h 1381125"/>
                <a:gd name="connsiteX79" fmla="*/ 1062037 w 1314450"/>
                <a:gd name="connsiteY79" fmla="*/ 501967 h 1381125"/>
                <a:gd name="connsiteX80" fmla="*/ 1068705 w 1314450"/>
                <a:gd name="connsiteY80" fmla="*/ 497205 h 1381125"/>
                <a:gd name="connsiteX81" fmla="*/ 1074420 w 1314450"/>
                <a:gd name="connsiteY81" fmla="*/ 495300 h 1381125"/>
                <a:gd name="connsiteX82" fmla="*/ 1080135 w 1314450"/>
                <a:gd name="connsiteY82" fmla="*/ 494348 h 1381125"/>
                <a:gd name="connsiteX83" fmla="*/ 1086803 w 1314450"/>
                <a:gd name="connsiteY83" fmla="*/ 493395 h 1381125"/>
                <a:gd name="connsiteX84" fmla="*/ 1093470 w 1314450"/>
                <a:gd name="connsiteY84" fmla="*/ 494348 h 1381125"/>
                <a:gd name="connsiteX85" fmla="*/ 1104900 w 1314450"/>
                <a:gd name="connsiteY85" fmla="*/ 499110 h 1381125"/>
                <a:gd name="connsiteX86" fmla="*/ 1107758 w 1314450"/>
                <a:gd name="connsiteY86" fmla="*/ 499110 h 1381125"/>
                <a:gd name="connsiteX87" fmla="*/ 1110615 w 1314450"/>
                <a:gd name="connsiteY87" fmla="*/ 499110 h 1381125"/>
                <a:gd name="connsiteX88" fmla="*/ 1113473 w 1314450"/>
                <a:gd name="connsiteY88" fmla="*/ 498157 h 1381125"/>
                <a:gd name="connsiteX89" fmla="*/ 1115378 w 1314450"/>
                <a:gd name="connsiteY89" fmla="*/ 496253 h 1381125"/>
                <a:gd name="connsiteX90" fmla="*/ 1119187 w 1314450"/>
                <a:gd name="connsiteY90" fmla="*/ 492442 h 1381125"/>
                <a:gd name="connsiteX91" fmla="*/ 1121093 w 1314450"/>
                <a:gd name="connsiteY91" fmla="*/ 489585 h 1381125"/>
                <a:gd name="connsiteX92" fmla="*/ 1124903 w 1314450"/>
                <a:gd name="connsiteY92" fmla="*/ 482917 h 1381125"/>
                <a:gd name="connsiteX93" fmla="*/ 1126808 w 1314450"/>
                <a:gd name="connsiteY93" fmla="*/ 480060 h 1381125"/>
                <a:gd name="connsiteX94" fmla="*/ 1128712 w 1314450"/>
                <a:gd name="connsiteY94" fmla="*/ 478155 h 1381125"/>
                <a:gd name="connsiteX95" fmla="*/ 1130618 w 1314450"/>
                <a:gd name="connsiteY95" fmla="*/ 477203 h 1381125"/>
                <a:gd name="connsiteX96" fmla="*/ 1133475 w 1314450"/>
                <a:gd name="connsiteY96" fmla="*/ 477203 h 1381125"/>
                <a:gd name="connsiteX97" fmla="*/ 1135380 w 1314450"/>
                <a:gd name="connsiteY97" fmla="*/ 479107 h 1381125"/>
                <a:gd name="connsiteX98" fmla="*/ 1137285 w 1314450"/>
                <a:gd name="connsiteY98" fmla="*/ 483870 h 1381125"/>
                <a:gd name="connsiteX99" fmla="*/ 1140143 w 1314450"/>
                <a:gd name="connsiteY99" fmla="*/ 488632 h 1381125"/>
                <a:gd name="connsiteX100" fmla="*/ 1145858 w 1314450"/>
                <a:gd name="connsiteY100" fmla="*/ 491490 h 1381125"/>
                <a:gd name="connsiteX101" fmla="*/ 1148715 w 1314450"/>
                <a:gd name="connsiteY101" fmla="*/ 492442 h 1381125"/>
                <a:gd name="connsiteX102" fmla="*/ 1155383 w 1314450"/>
                <a:gd name="connsiteY102" fmla="*/ 492442 h 1381125"/>
                <a:gd name="connsiteX103" fmla="*/ 1159193 w 1314450"/>
                <a:gd name="connsiteY103" fmla="*/ 491490 h 1381125"/>
                <a:gd name="connsiteX104" fmla="*/ 1163955 w 1314450"/>
                <a:gd name="connsiteY104" fmla="*/ 489585 h 1381125"/>
                <a:gd name="connsiteX105" fmla="*/ 1171575 w 1314450"/>
                <a:gd name="connsiteY105" fmla="*/ 481965 h 1381125"/>
                <a:gd name="connsiteX106" fmla="*/ 1173480 w 1314450"/>
                <a:gd name="connsiteY106" fmla="*/ 481013 h 1381125"/>
                <a:gd name="connsiteX107" fmla="*/ 1174433 w 1314450"/>
                <a:gd name="connsiteY107" fmla="*/ 482917 h 1381125"/>
                <a:gd name="connsiteX108" fmla="*/ 1174433 w 1314450"/>
                <a:gd name="connsiteY108" fmla="*/ 490538 h 1381125"/>
                <a:gd name="connsiteX109" fmla="*/ 1169670 w 1314450"/>
                <a:gd name="connsiteY109" fmla="*/ 509588 h 1381125"/>
                <a:gd name="connsiteX110" fmla="*/ 1167765 w 1314450"/>
                <a:gd name="connsiteY110" fmla="*/ 518160 h 1381125"/>
                <a:gd name="connsiteX111" fmla="*/ 1166812 w 1314450"/>
                <a:gd name="connsiteY111" fmla="*/ 524828 h 1381125"/>
                <a:gd name="connsiteX112" fmla="*/ 1167765 w 1314450"/>
                <a:gd name="connsiteY112" fmla="*/ 527685 h 1381125"/>
                <a:gd name="connsiteX113" fmla="*/ 1170623 w 1314450"/>
                <a:gd name="connsiteY113" fmla="*/ 532448 h 1381125"/>
                <a:gd name="connsiteX114" fmla="*/ 1173480 w 1314450"/>
                <a:gd name="connsiteY114" fmla="*/ 537210 h 1381125"/>
                <a:gd name="connsiteX115" fmla="*/ 1179195 w 1314450"/>
                <a:gd name="connsiteY115" fmla="*/ 540068 h 1381125"/>
                <a:gd name="connsiteX116" fmla="*/ 1188720 w 1314450"/>
                <a:gd name="connsiteY116" fmla="*/ 544830 h 1381125"/>
                <a:gd name="connsiteX117" fmla="*/ 1191578 w 1314450"/>
                <a:gd name="connsiteY117" fmla="*/ 547688 h 1381125"/>
                <a:gd name="connsiteX118" fmla="*/ 1193483 w 1314450"/>
                <a:gd name="connsiteY118" fmla="*/ 552450 h 1381125"/>
                <a:gd name="connsiteX119" fmla="*/ 1194435 w 1314450"/>
                <a:gd name="connsiteY119" fmla="*/ 559118 h 1381125"/>
                <a:gd name="connsiteX120" fmla="*/ 1194435 w 1314450"/>
                <a:gd name="connsiteY120" fmla="*/ 561975 h 1381125"/>
                <a:gd name="connsiteX121" fmla="*/ 1195387 w 1314450"/>
                <a:gd name="connsiteY121" fmla="*/ 564832 h 1381125"/>
                <a:gd name="connsiteX122" fmla="*/ 1199198 w 1314450"/>
                <a:gd name="connsiteY122" fmla="*/ 568643 h 1381125"/>
                <a:gd name="connsiteX123" fmla="*/ 1214437 w 1314450"/>
                <a:gd name="connsiteY123" fmla="*/ 581025 h 1381125"/>
                <a:gd name="connsiteX124" fmla="*/ 1224915 w 1314450"/>
                <a:gd name="connsiteY124" fmla="*/ 593407 h 1381125"/>
                <a:gd name="connsiteX125" fmla="*/ 1227773 w 1314450"/>
                <a:gd name="connsiteY125" fmla="*/ 598170 h 1381125"/>
                <a:gd name="connsiteX126" fmla="*/ 1231583 w 1314450"/>
                <a:gd name="connsiteY126" fmla="*/ 602932 h 1381125"/>
                <a:gd name="connsiteX127" fmla="*/ 1271587 w 1314450"/>
                <a:gd name="connsiteY127" fmla="*/ 622935 h 1381125"/>
                <a:gd name="connsiteX128" fmla="*/ 1298258 w 1314450"/>
                <a:gd name="connsiteY128" fmla="*/ 649605 h 1381125"/>
                <a:gd name="connsiteX129" fmla="*/ 1300162 w 1314450"/>
                <a:gd name="connsiteY129" fmla="*/ 651510 h 1381125"/>
                <a:gd name="connsiteX130" fmla="*/ 1302068 w 1314450"/>
                <a:gd name="connsiteY130" fmla="*/ 657225 h 1381125"/>
                <a:gd name="connsiteX131" fmla="*/ 1302068 w 1314450"/>
                <a:gd name="connsiteY131" fmla="*/ 661035 h 1381125"/>
                <a:gd name="connsiteX132" fmla="*/ 1301115 w 1314450"/>
                <a:gd name="connsiteY132" fmla="*/ 670560 h 1381125"/>
                <a:gd name="connsiteX133" fmla="*/ 1301115 w 1314450"/>
                <a:gd name="connsiteY133" fmla="*/ 675323 h 1381125"/>
                <a:gd name="connsiteX134" fmla="*/ 1298258 w 1314450"/>
                <a:gd name="connsiteY134" fmla="*/ 681038 h 1381125"/>
                <a:gd name="connsiteX135" fmla="*/ 1293495 w 1314450"/>
                <a:gd name="connsiteY135" fmla="*/ 689610 h 1381125"/>
                <a:gd name="connsiteX136" fmla="*/ 1287780 w 1314450"/>
                <a:gd name="connsiteY136" fmla="*/ 695325 h 1381125"/>
                <a:gd name="connsiteX137" fmla="*/ 1283018 w 1314450"/>
                <a:gd name="connsiteY137" fmla="*/ 699135 h 1381125"/>
                <a:gd name="connsiteX138" fmla="*/ 1245870 w 1314450"/>
                <a:gd name="connsiteY138" fmla="*/ 706755 h 1381125"/>
                <a:gd name="connsiteX139" fmla="*/ 1243965 w 1314450"/>
                <a:gd name="connsiteY139" fmla="*/ 708660 h 1381125"/>
                <a:gd name="connsiteX140" fmla="*/ 1243012 w 1314450"/>
                <a:gd name="connsiteY140" fmla="*/ 713423 h 1381125"/>
                <a:gd name="connsiteX141" fmla="*/ 1240155 w 1314450"/>
                <a:gd name="connsiteY141" fmla="*/ 736282 h 1381125"/>
                <a:gd name="connsiteX142" fmla="*/ 1240155 w 1314450"/>
                <a:gd name="connsiteY142" fmla="*/ 741045 h 1381125"/>
                <a:gd name="connsiteX143" fmla="*/ 1242060 w 1314450"/>
                <a:gd name="connsiteY143" fmla="*/ 742950 h 1381125"/>
                <a:gd name="connsiteX144" fmla="*/ 1244918 w 1314450"/>
                <a:gd name="connsiteY144" fmla="*/ 744855 h 1381125"/>
                <a:gd name="connsiteX145" fmla="*/ 1258253 w 1314450"/>
                <a:gd name="connsiteY145" fmla="*/ 750570 h 1381125"/>
                <a:gd name="connsiteX146" fmla="*/ 1261110 w 1314450"/>
                <a:gd name="connsiteY146" fmla="*/ 750570 h 1381125"/>
                <a:gd name="connsiteX147" fmla="*/ 1263015 w 1314450"/>
                <a:gd name="connsiteY147" fmla="*/ 749618 h 1381125"/>
                <a:gd name="connsiteX148" fmla="*/ 1268730 w 1314450"/>
                <a:gd name="connsiteY148" fmla="*/ 744855 h 1381125"/>
                <a:gd name="connsiteX149" fmla="*/ 1269683 w 1314450"/>
                <a:gd name="connsiteY149" fmla="*/ 743903 h 1381125"/>
                <a:gd name="connsiteX150" fmla="*/ 1275398 w 1314450"/>
                <a:gd name="connsiteY150" fmla="*/ 742950 h 1381125"/>
                <a:gd name="connsiteX151" fmla="*/ 1281112 w 1314450"/>
                <a:gd name="connsiteY151" fmla="*/ 741998 h 1381125"/>
                <a:gd name="connsiteX152" fmla="*/ 1285875 w 1314450"/>
                <a:gd name="connsiteY152" fmla="*/ 744855 h 1381125"/>
                <a:gd name="connsiteX153" fmla="*/ 1290637 w 1314450"/>
                <a:gd name="connsiteY153" fmla="*/ 748665 h 1381125"/>
                <a:gd name="connsiteX154" fmla="*/ 1299210 w 1314450"/>
                <a:gd name="connsiteY154" fmla="*/ 758190 h 1381125"/>
                <a:gd name="connsiteX155" fmla="*/ 1307783 w 1314450"/>
                <a:gd name="connsiteY155" fmla="*/ 773430 h 1381125"/>
                <a:gd name="connsiteX156" fmla="*/ 1309687 w 1314450"/>
                <a:gd name="connsiteY156" fmla="*/ 778193 h 1381125"/>
                <a:gd name="connsiteX157" fmla="*/ 1310640 w 1314450"/>
                <a:gd name="connsiteY157" fmla="*/ 784860 h 1381125"/>
                <a:gd name="connsiteX158" fmla="*/ 1310640 w 1314450"/>
                <a:gd name="connsiteY158" fmla="*/ 787718 h 1381125"/>
                <a:gd name="connsiteX159" fmla="*/ 1315403 w 1314450"/>
                <a:gd name="connsiteY159" fmla="*/ 794385 h 1381125"/>
                <a:gd name="connsiteX160" fmla="*/ 1317308 w 1314450"/>
                <a:gd name="connsiteY160" fmla="*/ 800100 h 1381125"/>
                <a:gd name="connsiteX161" fmla="*/ 1318260 w 1314450"/>
                <a:gd name="connsiteY161" fmla="*/ 810578 h 1381125"/>
                <a:gd name="connsiteX162" fmla="*/ 1319212 w 1314450"/>
                <a:gd name="connsiteY162" fmla="*/ 816293 h 1381125"/>
                <a:gd name="connsiteX163" fmla="*/ 1318260 w 1314450"/>
                <a:gd name="connsiteY163" fmla="*/ 820103 h 1381125"/>
                <a:gd name="connsiteX164" fmla="*/ 1316355 w 1314450"/>
                <a:gd name="connsiteY164" fmla="*/ 823913 h 1381125"/>
                <a:gd name="connsiteX165" fmla="*/ 1308735 w 1314450"/>
                <a:gd name="connsiteY165" fmla="*/ 829628 h 1381125"/>
                <a:gd name="connsiteX166" fmla="*/ 1304925 w 1314450"/>
                <a:gd name="connsiteY166" fmla="*/ 831532 h 1381125"/>
                <a:gd name="connsiteX167" fmla="*/ 1300162 w 1314450"/>
                <a:gd name="connsiteY167" fmla="*/ 833438 h 1381125"/>
                <a:gd name="connsiteX168" fmla="*/ 1263015 w 1314450"/>
                <a:gd name="connsiteY168" fmla="*/ 838200 h 1381125"/>
                <a:gd name="connsiteX169" fmla="*/ 1260158 w 1314450"/>
                <a:gd name="connsiteY169" fmla="*/ 841057 h 1381125"/>
                <a:gd name="connsiteX170" fmla="*/ 1257300 w 1314450"/>
                <a:gd name="connsiteY170" fmla="*/ 843915 h 1381125"/>
                <a:gd name="connsiteX171" fmla="*/ 1255395 w 1314450"/>
                <a:gd name="connsiteY171" fmla="*/ 849630 h 1381125"/>
                <a:gd name="connsiteX172" fmla="*/ 1255395 w 1314450"/>
                <a:gd name="connsiteY172" fmla="*/ 853440 h 1381125"/>
                <a:gd name="connsiteX173" fmla="*/ 1257300 w 1314450"/>
                <a:gd name="connsiteY173" fmla="*/ 856298 h 1381125"/>
                <a:gd name="connsiteX174" fmla="*/ 1259205 w 1314450"/>
                <a:gd name="connsiteY174" fmla="*/ 858203 h 1381125"/>
                <a:gd name="connsiteX175" fmla="*/ 1267778 w 1314450"/>
                <a:gd name="connsiteY175" fmla="*/ 864870 h 1381125"/>
                <a:gd name="connsiteX176" fmla="*/ 1269683 w 1314450"/>
                <a:gd name="connsiteY176" fmla="*/ 867728 h 1381125"/>
                <a:gd name="connsiteX177" fmla="*/ 1271587 w 1314450"/>
                <a:gd name="connsiteY177" fmla="*/ 870585 h 1381125"/>
                <a:gd name="connsiteX178" fmla="*/ 1274445 w 1314450"/>
                <a:gd name="connsiteY178" fmla="*/ 873443 h 1381125"/>
                <a:gd name="connsiteX179" fmla="*/ 1275398 w 1314450"/>
                <a:gd name="connsiteY179" fmla="*/ 875348 h 1381125"/>
                <a:gd name="connsiteX180" fmla="*/ 1276350 w 1314450"/>
                <a:gd name="connsiteY180" fmla="*/ 878205 h 1381125"/>
                <a:gd name="connsiteX181" fmla="*/ 1276350 w 1314450"/>
                <a:gd name="connsiteY181" fmla="*/ 884873 h 1381125"/>
                <a:gd name="connsiteX182" fmla="*/ 1274445 w 1314450"/>
                <a:gd name="connsiteY182" fmla="*/ 891540 h 1381125"/>
                <a:gd name="connsiteX183" fmla="*/ 1272540 w 1314450"/>
                <a:gd name="connsiteY183" fmla="*/ 894398 h 1381125"/>
                <a:gd name="connsiteX184" fmla="*/ 1259205 w 1314450"/>
                <a:gd name="connsiteY184" fmla="*/ 906780 h 1381125"/>
                <a:gd name="connsiteX185" fmla="*/ 1252537 w 1314450"/>
                <a:gd name="connsiteY185" fmla="*/ 917257 h 1381125"/>
                <a:gd name="connsiteX186" fmla="*/ 1250633 w 1314450"/>
                <a:gd name="connsiteY186" fmla="*/ 922973 h 1381125"/>
                <a:gd name="connsiteX187" fmla="*/ 1251585 w 1314450"/>
                <a:gd name="connsiteY187" fmla="*/ 926782 h 1381125"/>
                <a:gd name="connsiteX188" fmla="*/ 1253490 w 1314450"/>
                <a:gd name="connsiteY188" fmla="*/ 927735 h 1381125"/>
                <a:gd name="connsiteX189" fmla="*/ 1265873 w 1314450"/>
                <a:gd name="connsiteY189" fmla="*/ 934403 h 1381125"/>
                <a:gd name="connsiteX190" fmla="*/ 1268730 w 1314450"/>
                <a:gd name="connsiteY190" fmla="*/ 936307 h 1381125"/>
                <a:gd name="connsiteX191" fmla="*/ 1270635 w 1314450"/>
                <a:gd name="connsiteY191" fmla="*/ 940118 h 1381125"/>
                <a:gd name="connsiteX192" fmla="*/ 1270635 w 1314450"/>
                <a:gd name="connsiteY192" fmla="*/ 942023 h 1381125"/>
                <a:gd name="connsiteX193" fmla="*/ 1266825 w 1314450"/>
                <a:gd name="connsiteY193" fmla="*/ 947737 h 1381125"/>
                <a:gd name="connsiteX194" fmla="*/ 1264920 w 1314450"/>
                <a:gd name="connsiteY194" fmla="*/ 949643 h 1381125"/>
                <a:gd name="connsiteX195" fmla="*/ 1262062 w 1314450"/>
                <a:gd name="connsiteY195" fmla="*/ 950595 h 1381125"/>
                <a:gd name="connsiteX196" fmla="*/ 1257300 w 1314450"/>
                <a:gd name="connsiteY196" fmla="*/ 951548 h 1381125"/>
                <a:gd name="connsiteX197" fmla="*/ 1247775 w 1314450"/>
                <a:gd name="connsiteY197" fmla="*/ 948690 h 1381125"/>
                <a:gd name="connsiteX198" fmla="*/ 1241108 w 1314450"/>
                <a:gd name="connsiteY198" fmla="*/ 948690 h 1381125"/>
                <a:gd name="connsiteX199" fmla="*/ 1238250 w 1314450"/>
                <a:gd name="connsiteY199" fmla="*/ 949643 h 1381125"/>
                <a:gd name="connsiteX200" fmla="*/ 1234440 w 1314450"/>
                <a:gd name="connsiteY200" fmla="*/ 952500 h 1381125"/>
                <a:gd name="connsiteX201" fmla="*/ 1210628 w 1314450"/>
                <a:gd name="connsiteY201" fmla="*/ 971550 h 1381125"/>
                <a:gd name="connsiteX202" fmla="*/ 1208723 w 1314450"/>
                <a:gd name="connsiteY202" fmla="*/ 972503 h 1381125"/>
                <a:gd name="connsiteX203" fmla="*/ 1205865 w 1314450"/>
                <a:gd name="connsiteY203" fmla="*/ 974407 h 1381125"/>
                <a:gd name="connsiteX204" fmla="*/ 1203008 w 1314450"/>
                <a:gd name="connsiteY204" fmla="*/ 977265 h 1381125"/>
                <a:gd name="connsiteX205" fmla="*/ 1200150 w 1314450"/>
                <a:gd name="connsiteY205" fmla="*/ 983932 h 1381125"/>
                <a:gd name="connsiteX206" fmla="*/ 1199198 w 1314450"/>
                <a:gd name="connsiteY206" fmla="*/ 986790 h 1381125"/>
                <a:gd name="connsiteX207" fmla="*/ 1197293 w 1314450"/>
                <a:gd name="connsiteY207" fmla="*/ 1024890 h 1381125"/>
                <a:gd name="connsiteX208" fmla="*/ 1200150 w 1314450"/>
                <a:gd name="connsiteY208" fmla="*/ 1041082 h 1381125"/>
                <a:gd name="connsiteX209" fmla="*/ 1200150 w 1314450"/>
                <a:gd name="connsiteY209" fmla="*/ 1047750 h 1381125"/>
                <a:gd name="connsiteX210" fmla="*/ 1200150 w 1314450"/>
                <a:gd name="connsiteY210" fmla="*/ 1054418 h 1381125"/>
                <a:gd name="connsiteX211" fmla="*/ 1199198 w 1314450"/>
                <a:gd name="connsiteY211" fmla="*/ 1060133 h 1381125"/>
                <a:gd name="connsiteX212" fmla="*/ 1195387 w 1314450"/>
                <a:gd name="connsiteY212" fmla="*/ 1066800 h 1381125"/>
                <a:gd name="connsiteX213" fmla="*/ 1191578 w 1314450"/>
                <a:gd name="connsiteY213" fmla="*/ 1070610 h 1381125"/>
                <a:gd name="connsiteX214" fmla="*/ 1188720 w 1314450"/>
                <a:gd name="connsiteY214" fmla="*/ 1077278 h 1381125"/>
                <a:gd name="connsiteX215" fmla="*/ 1186815 w 1314450"/>
                <a:gd name="connsiteY215" fmla="*/ 1080135 h 1381125"/>
                <a:gd name="connsiteX216" fmla="*/ 1182053 w 1314450"/>
                <a:gd name="connsiteY216" fmla="*/ 1107758 h 1381125"/>
                <a:gd name="connsiteX217" fmla="*/ 1180148 w 1314450"/>
                <a:gd name="connsiteY217" fmla="*/ 1110615 h 1381125"/>
                <a:gd name="connsiteX218" fmla="*/ 1177290 w 1314450"/>
                <a:gd name="connsiteY218" fmla="*/ 1111568 h 1381125"/>
                <a:gd name="connsiteX219" fmla="*/ 1172528 w 1314450"/>
                <a:gd name="connsiteY219" fmla="*/ 1112520 h 1381125"/>
                <a:gd name="connsiteX220" fmla="*/ 1168718 w 1314450"/>
                <a:gd name="connsiteY220" fmla="*/ 1111568 h 1381125"/>
                <a:gd name="connsiteX221" fmla="*/ 1164908 w 1314450"/>
                <a:gd name="connsiteY221" fmla="*/ 1110615 h 1381125"/>
                <a:gd name="connsiteX222" fmla="*/ 1161098 w 1314450"/>
                <a:gd name="connsiteY222" fmla="*/ 1106805 h 1381125"/>
                <a:gd name="connsiteX223" fmla="*/ 1149668 w 1314450"/>
                <a:gd name="connsiteY223" fmla="*/ 1095375 h 1381125"/>
                <a:gd name="connsiteX224" fmla="*/ 1145858 w 1314450"/>
                <a:gd name="connsiteY224" fmla="*/ 1091565 h 1381125"/>
                <a:gd name="connsiteX225" fmla="*/ 1140143 w 1314450"/>
                <a:gd name="connsiteY225" fmla="*/ 1088708 h 1381125"/>
                <a:gd name="connsiteX226" fmla="*/ 1119187 w 1314450"/>
                <a:gd name="connsiteY226" fmla="*/ 1085850 h 1381125"/>
                <a:gd name="connsiteX227" fmla="*/ 1117283 w 1314450"/>
                <a:gd name="connsiteY227" fmla="*/ 1083945 h 1381125"/>
                <a:gd name="connsiteX228" fmla="*/ 1115378 w 1314450"/>
                <a:gd name="connsiteY228" fmla="*/ 1082040 h 1381125"/>
                <a:gd name="connsiteX229" fmla="*/ 1116330 w 1314450"/>
                <a:gd name="connsiteY229" fmla="*/ 1077278 h 1381125"/>
                <a:gd name="connsiteX230" fmla="*/ 1116330 w 1314450"/>
                <a:gd name="connsiteY230" fmla="*/ 1074420 h 1381125"/>
                <a:gd name="connsiteX231" fmla="*/ 1114425 w 1314450"/>
                <a:gd name="connsiteY231" fmla="*/ 1071562 h 1381125"/>
                <a:gd name="connsiteX232" fmla="*/ 1103948 w 1314450"/>
                <a:gd name="connsiteY232" fmla="*/ 1059180 h 1381125"/>
                <a:gd name="connsiteX233" fmla="*/ 1096328 w 1314450"/>
                <a:gd name="connsiteY233" fmla="*/ 1051560 h 1381125"/>
                <a:gd name="connsiteX234" fmla="*/ 1093470 w 1314450"/>
                <a:gd name="connsiteY234" fmla="*/ 1050608 h 1381125"/>
                <a:gd name="connsiteX235" fmla="*/ 1086803 w 1314450"/>
                <a:gd name="connsiteY235" fmla="*/ 1048703 h 1381125"/>
                <a:gd name="connsiteX236" fmla="*/ 1059180 w 1314450"/>
                <a:gd name="connsiteY236" fmla="*/ 1048703 h 1381125"/>
                <a:gd name="connsiteX237" fmla="*/ 1048703 w 1314450"/>
                <a:gd name="connsiteY237" fmla="*/ 1054418 h 1381125"/>
                <a:gd name="connsiteX238" fmla="*/ 1037273 w 1314450"/>
                <a:gd name="connsiteY238" fmla="*/ 1062990 h 1381125"/>
                <a:gd name="connsiteX239" fmla="*/ 1017270 w 1314450"/>
                <a:gd name="connsiteY239" fmla="*/ 1074420 h 1381125"/>
                <a:gd name="connsiteX240" fmla="*/ 999173 w 1314450"/>
                <a:gd name="connsiteY240" fmla="*/ 1081087 h 1381125"/>
                <a:gd name="connsiteX241" fmla="*/ 982980 w 1314450"/>
                <a:gd name="connsiteY241" fmla="*/ 1090612 h 1381125"/>
                <a:gd name="connsiteX242" fmla="*/ 978218 w 1314450"/>
                <a:gd name="connsiteY242" fmla="*/ 1092518 h 1381125"/>
                <a:gd name="connsiteX243" fmla="*/ 973455 w 1314450"/>
                <a:gd name="connsiteY243" fmla="*/ 1092518 h 1381125"/>
                <a:gd name="connsiteX244" fmla="*/ 960120 w 1314450"/>
                <a:gd name="connsiteY244" fmla="*/ 1089660 h 1381125"/>
                <a:gd name="connsiteX245" fmla="*/ 949643 w 1314450"/>
                <a:gd name="connsiteY245" fmla="*/ 1084898 h 1381125"/>
                <a:gd name="connsiteX246" fmla="*/ 942975 w 1314450"/>
                <a:gd name="connsiteY246" fmla="*/ 1081087 h 1381125"/>
                <a:gd name="connsiteX247" fmla="*/ 934403 w 1314450"/>
                <a:gd name="connsiteY247" fmla="*/ 1073468 h 1381125"/>
                <a:gd name="connsiteX248" fmla="*/ 933450 w 1314450"/>
                <a:gd name="connsiteY248" fmla="*/ 1072515 h 1381125"/>
                <a:gd name="connsiteX249" fmla="*/ 930593 w 1314450"/>
                <a:gd name="connsiteY249" fmla="*/ 1073468 h 1381125"/>
                <a:gd name="connsiteX250" fmla="*/ 930593 w 1314450"/>
                <a:gd name="connsiteY250" fmla="*/ 1077278 h 1381125"/>
                <a:gd name="connsiteX251" fmla="*/ 930593 w 1314450"/>
                <a:gd name="connsiteY251" fmla="*/ 1080135 h 1381125"/>
                <a:gd name="connsiteX252" fmla="*/ 933450 w 1314450"/>
                <a:gd name="connsiteY252" fmla="*/ 1088708 h 1381125"/>
                <a:gd name="connsiteX253" fmla="*/ 933450 w 1314450"/>
                <a:gd name="connsiteY253" fmla="*/ 1092518 h 1381125"/>
                <a:gd name="connsiteX254" fmla="*/ 931545 w 1314450"/>
                <a:gd name="connsiteY254" fmla="*/ 1096328 h 1381125"/>
                <a:gd name="connsiteX255" fmla="*/ 927735 w 1314450"/>
                <a:gd name="connsiteY255" fmla="*/ 1102043 h 1381125"/>
                <a:gd name="connsiteX256" fmla="*/ 926782 w 1314450"/>
                <a:gd name="connsiteY256" fmla="*/ 1107758 h 1381125"/>
                <a:gd name="connsiteX257" fmla="*/ 927735 w 1314450"/>
                <a:gd name="connsiteY257" fmla="*/ 1111568 h 1381125"/>
                <a:gd name="connsiteX258" fmla="*/ 929640 w 1314450"/>
                <a:gd name="connsiteY258" fmla="*/ 1113473 h 1381125"/>
                <a:gd name="connsiteX259" fmla="*/ 941070 w 1314450"/>
                <a:gd name="connsiteY259" fmla="*/ 1121093 h 1381125"/>
                <a:gd name="connsiteX260" fmla="*/ 942975 w 1314450"/>
                <a:gd name="connsiteY260" fmla="*/ 1122998 h 1381125"/>
                <a:gd name="connsiteX261" fmla="*/ 943928 w 1314450"/>
                <a:gd name="connsiteY261" fmla="*/ 1125855 h 1381125"/>
                <a:gd name="connsiteX262" fmla="*/ 942975 w 1314450"/>
                <a:gd name="connsiteY262" fmla="*/ 1127760 h 1381125"/>
                <a:gd name="connsiteX263" fmla="*/ 938212 w 1314450"/>
                <a:gd name="connsiteY263" fmla="*/ 1129665 h 1381125"/>
                <a:gd name="connsiteX264" fmla="*/ 934403 w 1314450"/>
                <a:gd name="connsiteY264" fmla="*/ 1130618 h 1381125"/>
                <a:gd name="connsiteX265" fmla="*/ 897255 w 1314450"/>
                <a:gd name="connsiteY265" fmla="*/ 1124903 h 1381125"/>
                <a:gd name="connsiteX266" fmla="*/ 894398 w 1314450"/>
                <a:gd name="connsiteY266" fmla="*/ 1126808 h 1381125"/>
                <a:gd name="connsiteX267" fmla="*/ 892493 w 1314450"/>
                <a:gd name="connsiteY267" fmla="*/ 1128712 h 1381125"/>
                <a:gd name="connsiteX268" fmla="*/ 891540 w 1314450"/>
                <a:gd name="connsiteY268" fmla="*/ 1134428 h 1381125"/>
                <a:gd name="connsiteX269" fmla="*/ 892493 w 1314450"/>
                <a:gd name="connsiteY269" fmla="*/ 1138237 h 1381125"/>
                <a:gd name="connsiteX270" fmla="*/ 899160 w 1314450"/>
                <a:gd name="connsiteY270" fmla="*/ 1150620 h 1381125"/>
                <a:gd name="connsiteX271" fmla="*/ 902018 w 1314450"/>
                <a:gd name="connsiteY271" fmla="*/ 1158240 h 1381125"/>
                <a:gd name="connsiteX272" fmla="*/ 902018 w 1314450"/>
                <a:gd name="connsiteY272" fmla="*/ 1162050 h 1381125"/>
                <a:gd name="connsiteX273" fmla="*/ 902018 w 1314450"/>
                <a:gd name="connsiteY273" fmla="*/ 1168718 h 1381125"/>
                <a:gd name="connsiteX274" fmla="*/ 902018 w 1314450"/>
                <a:gd name="connsiteY274" fmla="*/ 1171575 h 1381125"/>
                <a:gd name="connsiteX275" fmla="*/ 901065 w 1314450"/>
                <a:gd name="connsiteY275" fmla="*/ 1176337 h 1381125"/>
                <a:gd name="connsiteX276" fmla="*/ 898207 w 1314450"/>
                <a:gd name="connsiteY276" fmla="*/ 1180148 h 1381125"/>
                <a:gd name="connsiteX277" fmla="*/ 892493 w 1314450"/>
                <a:gd name="connsiteY277" fmla="*/ 1184910 h 1381125"/>
                <a:gd name="connsiteX278" fmla="*/ 888682 w 1314450"/>
                <a:gd name="connsiteY278" fmla="*/ 1186815 h 1381125"/>
                <a:gd name="connsiteX279" fmla="*/ 883920 w 1314450"/>
                <a:gd name="connsiteY279" fmla="*/ 1187768 h 1381125"/>
                <a:gd name="connsiteX280" fmla="*/ 843915 w 1314450"/>
                <a:gd name="connsiteY280" fmla="*/ 1183958 h 1381125"/>
                <a:gd name="connsiteX281" fmla="*/ 819150 w 1314450"/>
                <a:gd name="connsiteY281" fmla="*/ 1177290 h 1381125"/>
                <a:gd name="connsiteX282" fmla="*/ 817245 w 1314450"/>
                <a:gd name="connsiteY282" fmla="*/ 1177290 h 1381125"/>
                <a:gd name="connsiteX283" fmla="*/ 814387 w 1314450"/>
                <a:gd name="connsiteY283" fmla="*/ 1178243 h 1381125"/>
                <a:gd name="connsiteX284" fmla="*/ 811530 w 1314450"/>
                <a:gd name="connsiteY284" fmla="*/ 1180148 h 1381125"/>
                <a:gd name="connsiteX285" fmla="*/ 805815 w 1314450"/>
                <a:gd name="connsiteY285" fmla="*/ 1187768 h 1381125"/>
                <a:gd name="connsiteX286" fmla="*/ 804862 w 1314450"/>
                <a:gd name="connsiteY286" fmla="*/ 1190625 h 1381125"/>
                <a:gd name="connsiteX287" fmla="*/ 803910 w 1314450"/>
                <a:gd name="connsiteY287" fmla="*/ 1194435 h 1381125"/>
                <a:gd name="connsiteX288" fmla="*/ 806768 w 1314450"/>
                <a:gd name="connsiteY288" fmla="*/ 1198245 h 1381125"/>
                <a:gd name="connsiteX289" fmla="*/ 808673 w 1314450"/>
                <a:gd name="connsiteY289" fmla="*/ 1201103 h 1381125"/>
                <a:gd name="connsiteX290" fmla="*/ 823912 w 1314450"/>
                <a:gd name="connsiteY290" fmla="*/ 1212533 h 1381125"/>
                <a:gd name="connsiteX291" fmla="*/ 829628 w 1314450"/>
                <a:gd name="connsiteY291" fmla="*/ 1218248 h 1381125"/>
                <a:gd name="connsiteX292" fmla="*/ 830580 w 1314450"/>
                <a:gd name="connsiteY292" fmla="*/ 1220153 h 1381125"/>
                <a:gd name="connsiteX293" fmla="*/ 829628 w 1314450"/>
                <a:gd name="connsiteY293" fmla="*/ 1222058 h 1381125"/>
                <a:gd name="connsiteX294" fmla="*/ 821055 w 1314450"/>
                <a:gd name="connsiteY294" fmla="*/ 1238250 h 1381125"/>
                <a:gd name="connsiteX295" fmla="*/ 817245 w 1314450"/>
                <a:gd name="connsiteY295" fmla="*/ 1243965 h 1381125"/>
                <a:gd name="connsiteX296" fmla="*/ 813435 w 1314450"/>
                <a:gd name="connsiteY296" fmla="*/ 1247775 h 1381125"/>
                <a:gd name="connsiteX297" fmla="*/ 811530 w 1314450"/>
                <a:gd name="connsiteY297" fmla="*/ 1248728 h 1381125"/>
                <a:gd name="connsiteX298" fmla="*/ 808673 w 1314450"/>
                <a:gd name="connsiteY298" fmla="*/ 1249680 h 1381125"/>
                <a:gd name="connsiteX299" fmla="*/ 805815 w 1314450"/>
                <a:gd name="connsiteY299" fmla="*/ 1249680 h 1381125"/>
                <a:gd name="connsiteX300" fmla="*/ 795337 w 1314450"/>
                <a:gd name="connsiteY300" fmla="*/ 1248728 h 1381125"/>
                <a:gd name="connsiteX301" fmla="*/ 792480 w 1314450"/>
                <a:gd name="connsiteY301" fmla="*/ 1248728 h 1381125"/>
                <a:gd name="connsiteX302" fmla="*/ 790575 w 1314450"/>
                <a:gd name="connsiteY302" fmla="*/ 1249680 h 1381125"/>
                <a:gd name="connsiteX303" fmla="*/ 789623 w 1314450"/>
                <a:gd name="connsiteY303" fmla="*/ 1252537 h 1381125"/>
                <a:gd name="connsiteX304" fmla="*/ 790575 w 1314450"/>
                <a:gd name="connsiteY304" fmla="*/ 1256348 h 1381125"/>
                <a:gd name="connsiteX305" fmla="*/ 792480 w 1314450"/>
                <a:gd name="connsiteY305" fmla="*/ 1258253 h 1381125"/>
                <a:gd name="connsiteX306" fmla="*/ 794385 w 1314450"/>
                <a:gd name="connsiteY306" fmla="*/ 1261110 h 1381125"/>
                <a:gd name="connsiteX307" fmla="*/ 803910 w 1314450"/>
                <a:gd name="connsiteY307" fmla="*/ 1266825 h 1381125"/>
                <a:gd name="connsiteX308" fmla="*/ 811530 w 1314450"/>
                <a:gd name="connsiteY308" fmla="*/ 1274445 h 1381125"/>
                <a:gd name="connsiteX309" fmla="*/ 816293 w 1314450"/>
                <a:gd name="connsiteY309" fmla="*/ 1281112 h 1381125"/>
                <a:gd name="connsiteX310" fmla="*/ 829628 w 1314450"/>
                <a:gd name="connsiteY310" fmla="*/ 1304925 h 1381125"/>
                <a:gd name="connsiteX311" fmla="*/ 831532 w 1314450"/>
                <a:gd name="connsiteY311" fmla="*/ 1306830 h 1381125"/>
                <a:gd name="connsiteX312" fmla="*/ 834390 w 1314450"/>
                <a:gd name="connsiteY312" fmla="*/ 1307783 h 1381125"/>
                <a:gd name="connsiteX313" fmla="*/ 843915 w 1314450"/>
                <a:gd name="connsiteY313" fmla="*/ 1309687 h 1381125"/>
                <a:gd name="connsiteX314" fmla="*/ 846773 w 1314450"/>
                <a:gd name="connsiteY314" fmla="*/ 1310640 h 1381125"/>
                <a:gd name="connsiteX315" fmla="*/ 847725 w 1314450"/>
                <a:gd name="connsiteY315" fmla="*/ 1313498 h 1381125"/>
                <a:gd name="connsiteX316" fmla="*/ 848678 w 1314450"/>
                <a:gd name="connsiteY316" fmla="*/ 1316355 h 1381125"/>
                <a:gd name="connsiteX317" fmla="*/ 848678 w 1314450"/>
                <a:gd name="connsiteY317" fmla="*/ 1320165 h 1381125"/>
                <a:gd name="connsiteX318" fmla="*/ 847725 w 1314450"/>
                <a:gd name="connsiteY318" fmla="*/ 1323975 h 1381125"/>
                <a:gd name="connsiteX319" fmla="*/ 843915 w 1314450"/>
                <a:gd name="connsiteY319" fmla="*/ 1328737 h 1381125"/>
                <a:gd name="connsiteX320" fmla="*/ 837248 w 1314450"/>
                <a:gd name="connsiteY320" fmla="*/ 1332548 h 1381125"/>
                <a:gd name="connsiteX321" fmla="*/ 832485 w 1314450"/>
                <a:gd name="connsiteY321" fmla="*/ 1333500 h 1381125"/>
                <a:gd name="connsiteX322" fmla="*/ 827723 w 1314450"/>
                <a:gd name="connsiteY322" fmla="*/ 1335405 h 1381125"/>
                <a:gd name="connsiteX323" fmla="*/ 822960 w 1314450"/>
                <a:gd name="connsiteY323" fmla="*/ 1338262 h 1381125"/>
                <a:gd name="connsiteX324" fmla="*/ 817245 w 1314450"/>
                <a:gd name="connsiteY324" fmla="*/ 1347787 h 1381125"/>
                <a:gd name="connsiteX325" fmla="*/ 805815 w 1314450"/>
                <a:gd name="connsiteY325" fmla="*/ 1361123 h 1381125"/>
                <a:gd name="connsiteX326" fmla="*/ 774382 w 1314450"/>
                <a:gd name="connsiteY326" fmla="*/ 1390650 h 1381125"/>
                <a:gd name="connsiteX327" fmla="*/ 776287 w 1314450"/>
                <a:gd name="connsiteY327" fmla="*/ 1366837 h 1381125"/>
                <a:gd name="connsiteX328" fmla="*/ 775335 w 1314450"/>
                <a:gd name="connsiteY328" fmla="*/ 1358265 h 1381125"/>
                <a:gd name="connsiteX329" fmla="*/ 772478 w 1314450"/>
                <a:gd name="connsiteY329" fmla="*/ 1352550 h 1381125"/>
                <a:gd name="connsiteX330" fmla="*/ 769620 w 1314450"/>
                <a:gd name="connsiteY330" fmla="*/ 1349693 h 1381125"/>
                <a:gd name="connsiteX331" fmla="*/ 766762 w 1314450"/>
                <a:gd name="connsiteY331" fmla="*/ 1347787 h 1381125"/>
                <a:gd name="connsiteX332" fmla="*/ 764857 w 1314450"/>
                <a:gd name="connsiteY332" fmla="*/ 1345883 h 1381125"/>
                <a:gd name="connsiteX333" fmla="*/ 759143 w 1314450"/>
                <a:gd name="connsiteY333" fmla="*/ 1345883 h 1381125"/>
                <a:gd name="connsiteX334" fmla="*/ 742950 w 1314450"/>
                <a:gd name="connsiteY334" fmla="*/ 1348740 h 1381125"/>
                <a:gd name="connsiteX335" fmla="*/ 732473 w 1314450"/>
                <a:gd name="connsiteY335" fmla="*/ 1343025 h 1381125"/>
                <a:gd name="connsiteX336" fmla="*/ 717232 w 1314450"/>
                <a:gd name="connsiteY336" fmla="*/ 1333500 h 1381125"/>
                <a:gd name="connsiteX337" fmla="*/ 710565 w 1314450"/>
                <a:gd name="connsiteY337" fmla="*/ 1329690 h 1381125"/>
                <a:gd name="connsiteX338" fmla="*/ 705803 w 1314450"/>
                <a:gd name="connsiteY338" fmla="*/ 1328737 h 1381125"/>
                <a:gd name="connsiteX339" fmla="*/ 703898 w 1314450"/>
                <a:gd name="connsiteY339" fmla="*/ 1330643 h 1381125"/>
                <a:gd name="connsiteX340" fmla="*/ 703898 w 1314450"/>
                <a:gd name="connsiteY340" fmla="*/ 1333500 h 1381125"/>
                <a:gd name="connsiteX341" fmla="*/ 704850 w 1314450"/>
                <a:gd name="connsiteY341" fmla="*/ 1343025 h 1381125"/>
                <a:gd name="connsiteX342" fmla="*/ 701040 w 1314450"/>
                <a:gd name="connsiteY342" fmla="*/ 1345883 h 1381125"/>
                <a:gd name="connsiteX343" fmla="*/ 694373 w 1314450"/>
                <a:gd name="connsiteY343" fmla="*/ 1346835 h 1381125"/>
                <a:gd name="connsiteX344" fmla="*/ 661035 w 1314450"/>
                <a:gd name="connsiteY344" fmla="*/ 1341120 h 1381125"/>
                <a:gd name="connsiteX345" fmla="*/ 649605 w 1314450"/>
                <a:gd name="connsiteY345" fmla="*/ 1343978 h 1381125"/>
                <a:gd name="connsiteX346" fmla="*/ 643890 w 1314450"/>
                <a:gd name="connsiteY346" fmla="*/ 1345883 h 1381125"/>
                <a:gd name="connsiteX347" fmla="*/ 639128 w 1314450"/>
                <a:gd name="connsiteY347" fmla="*/ 1347787 h 1381125"/>
                <a:gd name="connsiteX348" fmla="*/ 634365 w 1314450"/>
                <a:gd name="connsiteY348" fmla="*/ 1350645 h 1381125"/>
                <a:gd name="connsiteX349" fmla="*/ 629603 w 1314450"/>
                <a:gd name="connsiteY349" fmla="*/ 1352550 h 1381125"/>
                <a:gd name="connsiteX350" fmla="*/ 621982 w 1314450"/>
                <a:gd name="connsiteY350" fmla="*/ 1352550 h 1381125"/>
                <a:gd name="connsiteX351" fmla="*/ 595312 w 1314450"/>
                <a:gd name="connsiteY351" fmla="*/ 1350645 h 1381125"/>
                <a:gd name="connsiteX352" fmla="*/ 589598 w 1314450"/>
                <a:gd name="connsiteY352" fmla="*/ 1348740 h 1381125"/>
                <a:gd name="connsiteX353" fmla="*/ 585787 w 1314450"/>
                <a:gd name="connsiteY353" fmla="*/ 1345883 h 1381125"/>
                <a:gd name="connsiteX354" fmla="*/ 584835 w 1314450"/>
                <a:gd name="connsiteY354" fmla="*/ 1343025 h 1381125"/>
                <a:gd name="connsiteX355" fmla="*/ 583882 w 1314450"/>
                <a:gd name="connsiteY355" fmla="*/ 1340168 h 1381125"/>
                <a:gd name="connsiteX356" fmla="*/ 584835 w 1314450"/>
                <a:gd name="connsiteY356" fmla="*/ 1333500 h 1381125"/>
                <a:gd name="connsiteX357" fmla="*/ 581978 w 1314450"/>
                <a:gd name="connsiteY357" fmla="*/ 1328737 h 1381125"/>
                <a:gd name="connsiteX358" fmla="*/ 577215 w 1314450"/>
                <a:gd name="connsiteY358" fmla="*/ 1323023 h 1381125"/>
                <a:gd name="connsiteX359" fmla="*/ 555307 w 1314450"/>
                <a:gd name="connsiteY359" fmla="*/ 1309687 h 1381125"/>
                <a:gd name="connsiteX360" fmla="*/ 551498 w 1314450"/>
                <a:gd name="connsiteY360" fmla="*/ 1305878 h 1381125"/>
                <a:gd name="connsiteX361" fmla="*/ 550545 w 1314450"/>
                <a:gd name="connsiteY361" fmla="*/ 1300162 h 1381125"/>
                <a:gd name="connsiteX362" fmla="*/ 550545 w 1314450"/>
                <a:gd name="connsiteY362" fmla="*/ 1296353 h 1381125"/>
                <a:gd name="connsiteX363" fmla="*/ 548640 w 1314450"/>
                <a:gd name="connsiteY363" fmla="*/ 1292543 h 1381125"/>
                <a:gd name="connsiteX364" fmla="*/ 545782 w 1314450"/>
                <a:gd name="connsiteY364" fmla="*/ 1291590 h 1381125"/>
                <a:gd name="connsiteX365" fmla="*/ 542925 w 1314450"/>
                <a:gd name="connsiteY365" fmla="*/ 1290637 h 1381125"/>
                <a:gd name="connsiteX366" fmla="*/ 525780 w 1314450"/>
                <a:gd name="connsiteY366" fmla="*/ 1289685 h 1381125"/>
                <a:gd name="connsiteX367" fmla="*/ 521970 w 1314450"/>
                <a:gd name="connsiteY367" fmla="*/ 1288733 h 1381125"/>
                <a:gd name="connsiteX368" fmla="*/ 519112 w 1314450"/>
                <a:gd name="connsiteY368" fmla="*/ 1285875 h 1381125"/>
                <a:gd name="connsiteX369" fmla="*/ 516255 w 1314450"/>
                <a:gd name="connsiteY369" fmla="*/ 1280160 h 1381125"/>
                <a:gd name="connsiteX370" fmla="*/ 514350 w 1314450"/>
                <a:gd name="connsiteY370" fmla="*/ 1277303 h 1381125"/>
                <a:gd name="connsiteX371" fmla="*/ 511493 w 1314450"/>
                <a:gd name="connsiteY371" fmla="*/ 1273493 h 1381125"/>
                <a:gd name="connsiteX372" fmla="*/ 508635 w 1314450"/>
                <a:gd name="connsiteY372" fmla="*/ 1271587 h 1381125"/>
                <a:gd name="connsiteX373" fmla="*/ 505778 w 1314450"/>
                <a:gd name="connsiteY373" fmla="*/ 1271587 h 1381125"/>
                <a:gd name="connsiteX374" fmla="*/ 503873 w 1314450"/>
                <a:gd name="connsiteY374" fmla="*/ 1273493 h 1381125"/>
                <a:gd name="connsiteX375" fmla="*/ 501968 w 1314450"/>
                <a:gd name="connsiteY375" fmla="*/ 1276350 h 1381125"/>
                <a:gd name="connsiteX376" fmla="*/ 501968 w 1314450"/>
                <a:gd name="connsiteY376" fmla="*/ 1280160 h 1381125"/>
                <a:gd name="connsiteX377" fmla="*/ 501968 w 1314450"/>
                <a:gd name="connsiteY377" fmla="*/ 1289685 h 1381125"/>
                <a:gd name="connsiteX378" fmla="*/ 500062 w 1314450"/>
                <a:gd name="connsiteY378" fmla="*/ 1294448 h 1381125"/>
                <a:gd name="connsiteX379" fmla="*/ 497205 w 1314450"/>
                <a:gd name="connsiteY379" fmla="*/ 1297305 h 1381125"/>
                <a:gd name="connsiteX380" fmla="*/ 493395 w 1314450"/>
                <a:gd name="connsiteY380" fmla="*/ 1298258 h 1381125"/>
                <a:gd name="connsiteX381" fmla="*/ 485775 w 1314450"/>
                <a:gd name="connsiteY381" fmla="*/ 1299210 h 1381125"/>
                <a:gd name="connsiteX382" fmla="*/ 481965 w 1314450"/>
                <a:gd name="connsiteY382" fmla="*/ 1297305 h 1381125"/>
                <a:gd name="connsiteX383" fmla="*/ 480060 w 1314450"/>
                <a:gd name="connsiteY383" fmla="*/ 1295400 h 1381125"/>
                <a:gd name="connsiteX384" fmla="*/ 479107 w 1314450"/>
                <a:gd name="connsiteY384" fmla="*/ 1292543 h 1381125"/>
                <a:gd name="connsiteX385" fmla="*/ 480060 w 1314450"/>
                <a:gd name="connsiteY385" fmla="*/ 1288733 h 1381125"/>
                <a:gd name="connsiteX386" fmla="*/ 481012 w 1314450"/>
                <a:gd name="connsiteY386" fmla="*/ 1283018 h 1381125"/>
                <a:gd name="connsiteX387" fmla="*/ 481012 w 1314450"/>
                <a:gd name="connsiteY387" fmla="*/ 1279208 h 1381125"/>
                <a:gd name="connsiteX388" fmla="*/ 480060 w 1314450"/>
                <a:gd name="connsiteY388" fmla="*/ 1274445 h 1381125"/>
                <a:gd name="connsiteX389" fmla="*/ 477203 w 1314450"/>
                <a:gd name="connsiteY389" fmla="*/ 1270635 h 1381125"/>
                <a:gd name="connsiteX390" fmla="*/ 455295 w 1314450"/>
                <a:gd name="connsiteY390" fmla="*/ 1252537 h 1381125"/>
                <a:gd name="connsiteX391" fmla="*/ 452437 w 1314450"/>
                <a:gd name="connsiteY391" fmla="*/ 1248728 h 1381125"/>
                <a:gd name="connsiteX392" fmla="*/ 451485 w 1314450"/>
                <a:gd name="connsiteY392" fmla="*/ 1245870 h 1381125"/>
                <a:gd name="connsiteX393" fmla="*/ 452437 w 1314450"/>
                <a:gd name="connsiteY393" fmla="*/ 1243012 h 1381125"/>
                <a:gd name="connsiteX394" fmla="*/ 453390 w 1314450"/>
                <a:gd name="connsiteY394" fmla="*/ 1241108 h 1381125"/>
                <a:gd name="connsiteX395" fmla="*/ 458153 w 1314450"/>
                <a:gd name="connsiteY395" fmla="*/ 1238250 h 1381125"/>
                <a:gd name="connsiteX396" fmla="*/ 484823 w 1314450"/>
                <a:gd name="connsiteY396" fmla="*/ 1231583 h 1381125"/>
                <a:gd name="connsiteX397" fmla="*/ 489585 w 1314450"/>
                <a:gd name="connsiteY397" fmla="*/ 1229678 h 1381125"/>
                <a:gd name="connsiteX398" fmla="*/ 493395 w 1314450"/>
                <a:gd name="connsiteY398" fmla="*/ 1225868 h 1381125"/>
                <a:gd name="connsiteX399" fmla="*/ 496253 w 1314450"/>
                <a:gd name="connsiteY399" fmla="*/ 1221105 h 1381125"/>
                <a:gd name="connsiteX400" fmla="*/ 497205 w 1314450"/>
                <a:gd name="connsiteY400" fmla="*/ 1218248 h 1381125"/>
                <a:gd name="connsiteX401" fmla="*/ 498157 w 1314450"/>
                <a:gd name="connsiteY401" fmla="*/ 1211580 h 1381125"/>
                <a:gd name="connsiteX402" fmla="*/ 496253 w 1314450"/>
                <a:gd name="connsiteY402" fmla="*/ 1205865 h 1381125"/>
                <a:gd name="connsiteX403" fmla="*/ 493395 w 1314450"/>
                <a:gd name="connsiteY403" fmla="*/ 1201103 h 1381125"/>
                <a:gd name="connsiteX404" fmla="*/ 478155 w 1314450"/>
                <a:gd name="connsiteY404" fmla="*/ 1183005 h 1381125"/>
                <a:gd name="connsiteX405" fmla="*/ 473393 w 1314450"/>
                <a:gd name="connsiteY405" fmla="*/ 1180148 h 1381125"/>
                <a:gd name="connsiteX406" fmla="*/ 467678 w 1314450"/>
                <a:gd name="connsiteY406" fmla="*/ 1178243 h 1381125"/>
                <a:gd name="connsiteX407" fmla="*/ 464820 w 1314450"/>
                <a:gd name="connsiteY407" fmla="*/ 1179195 h 1381125"/>
                <a:gd name="connsiteX408" fmla="*/ 455295 w 1314450"/>
                <a:gd name="connsiteY408" fmla="*/ 1182053 h 1381125"/>
                <a:gd name="connsiteX409" fmla="*/ 449580 w 1314450"/>
                <a:gd name="connsiteY409" fmla="*/ 1183005 h 1381125"/>
                <a:gd name="connsiteX410" fmla="*/ 445770 w 1314450"/>
                <a:gd name="connsiteY410" fmla="*/ 1182053 h 1381125"/>
                <a:gd name="connsiteX411" fmla="*/ 442912 w 1314450"/>
                <a:gd name="connsiteY411" fmla="*/ 1180148 h 1381125"/>
                <a:gd name="connsiteX412" fmla="*/ 427673 w 1314450"/>
                <a:gd name="connsiteY412" fmla="*/ 1164908 h 1381125"/>
                <a:gd name="connsiteX413" fmla="*/ 426720 w 1314450"/>
                <a:gd name="connsiteY413" fmla="*/ 1163003 h 1381125"/>
                <a:gd name="connsiteX414" fmla="*/ 426720 w 1314450"/>
                <a:gd name="connsiteY414" fmla="*/ 1159193 h 1381125"/>
                <a:gd name="connsiteX415" fmla="*/ 426720 w 1314450"/>
                <a:gd name="connsiteY415" fmla="*/ 1156335 h 1381125"/>
                <a:gd name="connsiteX416" fmla="*/ 426720 w 1314450"/>
                <a:gd name="connsiteY416" fmla="*/ 1152525 h 1381125"/>
                <a:gd name="connsiteX417" fmla="*/ 423863 w 1314450"/>
                <a:gd name="connsiteY417" fmla="*/ 1146810 h 1381125"/>
                <a:gd name="connsiteX418" fmla="*/ 414338 w 1314450"/>
                <a:gd name="connsiteY418" fmla="*/ 1137285 h 1381125"/>
                <a:gd name="connsiteX419" fmla="*/ 407670 w 1314450"/>
                <a:gd name="connsiteY419" fmla="*/ 1132523 h 1381125"/>
                <a:gd name="connsiteX420" fmla="*/ 402907 w 1314450"/>
                <a:gd name="connsiteY420" fmla="*/ 1129665 h 1381125"/>
                <a:gd name="connsiteX421" fmla="*/ 398145 w 1314450"/>
                <a:gd name="connsiteY421" fmla="*/ 1129665 h 1381125"/>
                <a:gd name="connsiteX422" fmla="*/ 396240 w 1314450"/>
                <a:gd name="connsiteY422" fmla="*/ 1130618 h 1381125"/>
                <a:gd name="connsiteX423" fmla="*/ 393382 w 1314450"/>
                <a:gd name="connsiteY423" fmla="*/ 1134428 h 1381125"/>
                <a:gd name="connsiteX424" fmla="*/ 390525 w 1314450"/>
                <a:gd name="connsiteY424" fmla="*/ 1139190 h 1381125"/>
                <a:gd name="connsiteX425" fmla="*/ 385763 w 1314450"/>
                <a:gd name="connsiteY425" fmla="*/ 1143000 h 1381125"/>
                <a:gd name="connsiteX426" fmla="*/ 383857 w 1314450"/>
                <a:gd name="connsiteY426" fmla="*/ 1143953 h 1381125"/>
                <a:gd name="connsiteX427" fmla="*/ 370523 w 1314450"/>
                <a:gd name="connsiteY427" fmla="*/ 1145858 h 1381125"/>
                <a:gd name="connsiteX428" fmla="*/ 364807 w 1314450"/>
                <a:gd name="connsiteY428" fmla="*/ 1147762 h 1381125"/>
                <a:gd name="connsiteX429" fmla="*/ 360045 w 1314450"/>
                <a:gd name="connsiteY429" fmla="*/ 1150620 h 1381125"/>
                <a:gd name="connsiteX430" fmla="*/ 350520 w 1314450"/>
                <a:gd name="connsiteY430" fmla="*/ 1152525 h 1381125"/>
                <a:gd name="connsiteX431" fmla="*/ 350520 w 1314450"/>
                <a:gd name="connsiteY431" fmla="*/ 1158240 h 1381125"/>
                <a:gd name="connsiteX432" fmla="*/ 344805 w 1314450"/>
                <a:gd name="connsiteY432" fmla="*/ 1153478 h 1381125"/>
                <a:gd name="connsiteX433" fmla="*/ 335280 w 1314450"/>
                <a:gd name="connsiteY433" fmla="*/ 1149668 h 1381125"/>
                <a:gd name="connsiteX434" fmla="*/ 328613 w 1314450"/>
                <a:gd name="connsiteY434" fmla="*/ 1146810 h 1381125"/>
                <a:gd name="connsiteX435" fmla="*/ 323850 w 1314450"/>
                <a:gd name="connsiteY435" fmla="*/ 1141095 h 1381125"/>
                <a:gd name="connsiteX436" fmla="*/ 320992 w 1314450"/>
                <a:gd name="connsiteY436" fmla="*/ 1132523 h 1381125"/>
                <a:gd name="connsiteX437" fmla="*/ 316230 w 1314450"/>
                <a:gd name="connsiteY437" fmla="*/ 1126808 h 1381125"/>
                <a:gd name="connsiteX438" fmla="*/ 308610 w 1314450"/>
                <a:gd name="connsiteY438" fmla="*/ 1123950 h 1381125"/>
                <a:gd name="connsiteX439" fmla="*/ 303848 w 1314450"/>
                <a:gd name="connsiteY439" fmla="*/ 1120140 h 1381125"/>
                <a:gd name="connsiteX440" fmla="*/ 300990 w 1314450"/>
                <a:gd name="connsiteY440" fmla="*/ 1104900 h 1381125"/>
                <a:gd name="connsiteX441" fmla="*/ 294323 w 1314450"/>
                <a:gd name="connsiteY441" fmla="*/ 1101090 h 1381125"/>
                <a:gd name="connsiteX442" fmla="*/ 286703 w 1314450"/>
                <a:gd name="connsiteY442" fmla="*/ 1101090 h 1381125"/>
                <a:gd name="connsiteX443" fmla="*/ 280035 w 1314450"/>
                <a:gd name="connsiteY443" fmla="*/ 1102995 h 1381125"/>
                <a:gd name="connsiteX444" fmla="*/ 275273 w 1314450"/>
                <a:gd name="connsiteY444" fmla="*/ 1106805 h 1381125"/>
                <a:gd name="connsiteX445" fmla="*/ 271463 w 1314450"/>
                <a:gd name="connsiteY445" fmla="*/ 1112520 h 1381125"/>
                <a:gd name="connsiteX446" fmla="*/ 258127 w 1314450"/>
                <a:gd name="connsiteY446" fmla="*/ 1080135 h 1381125"/>
                <a:gd name="connsiteX447" fmla="*/ 253365 w 1314450"/>
                <a:gd name="connsiteY447" fmla="*/ 1062990 h 1381125"/>
                <a:gd name="connsiteX448" fmla="*/ 257175 w 1314450"/>
                <a:gd name="connsiteY448" fmla="*/ 1043940 h 1381125"/>
                <a:gd name="connsiteX449" fmla="*/ 242888 w 1314450"/>
                <a:gd name="connsiteY449" fmla="*/ 1040130 h 1381125"/>
                <a:gd name="connsiteX450" fmla="*/ 228600 w 1314450"/>
                <a:gd name="connsiteY450" fmla="*/ 1031557 h 1381125"/>
                <a:gd name="connsiteX451" fmla="*/ 220980 w 1314450"/>
                <a:gd name="connsiteY451" fmla="*/ 1018223 h 1381125"/>
                <a:gd name="connsiteX452" fmla="*/ 227648 w 1314450"/>
                <a:gd name="connsiteY452" fmla="*/ 1003935 h 1381125"/>
                <a:gd name="connsiteX453" fmla="*/ 227648 w 1314450"/>
                <a:gd name="connsiteY453" fmla="*/ 999173 h 1381125"/>
                <a:gd name="connsiteX454" fmla="*/ 213360 w 1314450"/>
                <a:gd name="connsiteY454" fmla="*/ 997268 h 1381125"/>
                <a:gd name="connsiteX455" fmla="*/ 200025 w 1314450"/>
                <a:gd name="connsiteY455" fmla="*/ 991553 h 1381125"/>
                <a:gd name="connsiteX456" fmla="*/ 192405 w 1314450"/>
                <a:gd name="connsiteY456" fmla="*/ 981075 h 1381125"/>
                <a:gd name="connsiteX457" fmla="*/ 191452 w 1314450"/>
                <a:gd name="connsiteY457" fmla="*/ 964882 h 1381125"/>
                <a:gd name="connsiteX458" fmla="*/ 198120 w 1314450"/>
                <a:gd name="connsiteY458" fmla="*/ 950595 h 1381125"/>
                <a:gd name="connsiteX459" fmla="*/ 210502 w 1314450"/>
                <a:gd name="connsiteY459" fmla="*/ 941070 h 1381125"/>
                <a:gd name="connsiteX460" fmla="*/ 224790 w 1314450"/>
                <a:gd name="connsiteY460" fmla="*/ 939165 h 1381125"/>
                <a:gd name="connsiteX461" fmla="*/ 239077 w 1314450"/>
                <a:gd name="connsiteY461" fmla="*/ 946785 h 1381125"/>
                <a:gd name="connsiteX462" fmla="*/ 249555 w 1314450"/>
                <a:gd name="connsiteY462" fmla="*/ 942023 h 1381125"/>
                <a:gd name="connsiteX463" fmla="*/ 266700 w 1314450"/>
                <a:gd name="connsiteY463" fmla="*/ 942023 h 1381125"/>
                <a:gd name="connsiteX464" fmla="*/ 282892 w 1314450"/>
                <a:gd name="connsiteY464" fmla="*/ 939165 h 1381125"/>
                <a:gd name="connsiteX465" fmla="*/ 289560 w 1314450"/>
                <a:gd name="connsiteY465" fmla="*/ 923925 h 1381125"/>
                <a:gd name="connsiteX466" fmla="*/ 282892 w 1314450"/>
                <a:gd name="connsiteY466" fmla="*/ 913448 h 1381125"/>
                <a:gd name="connsiteX467" fmla="*/ 239077 w 1314450"/>
                <a:gd name="connsiteY467" fmla="*/ 889635 h 1381125"/>
                <a:gd name="connsiteX468" fmla="*/ 202882 w 1314450"/>
                <a:gd name="connsiteY468" fmla="*/ 856298 h 1381125"/>
                <a:gd name="connsiteX469" fmla="*/ 195263 w 1314450"/>
                <a:gd name="connsiteY469" fmla="*/ 842963 h 1381125"/>
                <a:gd name="connsiteX470" fmla="*/ 192405 w 1314450"/>
                <a:gd name="connsiteY470" fmla="*/ 832485 h 1381125"/>
                <a:gd name="connsiteX471" fmla="*/ 191452 w 1314450"/>
                <a:gd name="connsiteY471" fmla="*/ 824865 h 1381125"/>
                <a:gd name="connsiteX472" fmla="*/ 190500 w 1314450"/>
                <a:gd name="connsiteY472" fmla="*/ 818198 h 1381125"/>
                <a:gd name="connsiteX473" fmla="*/ 184785 w 1314450"/>
                <a:gd name="connsiteY473" fmla="*/ 808673 h 1381125"/>
                <a:gd name="connsiteX474" fmla="*/ 178117 w 1314450"/>
                <a:gd name="connsiteY474" fmla="*/ 804863 h 1381125"/>
                <a:gd name="connsiteX475" fmla="*/ 171450 w 1314450"/>
                <a:gd name="connsiteY475" fmla="*/ 802005 h 1381125"/>
                <a:gd name="connsiteX476" fmla="*/ 167640 w 1314450"/>
                <a:gd name="connsiteY476" fmla="*/ 798195 h 1381125"/>
                <a:gd name="connsiteX477" fmla="*/ 169545 w 1314450"/>
                <a:gd name="connsiteY477" fmla="*/ 791528 h 1381125"/>
                <a:gd name="connsiteX478" fmla="*/ 169545 w 1314450"/>
                <a:gd name="connsiteY478" fmla="*/ 786765 h 1381125"/>
                <a:gd name="connsiteX479" fmla="*/ 163830 w 1314450"/>
                <a:gd name="connsiteY479" fmla="*/ 751523 h 1381125"/>
                <a:gd name="connsiteX480" fmla="*/ 159067 w 1314450"/>
                <a:gd name="connsiteY480" fmla="*/ 740093 h 1381125"/>
                <a:gd name="connsiteX481" fmla="*/ 144780 w 1314450"/>
                <a:gd name="connsiteY481" fmla="*/ 718185 h 1381125"/>
                <a:gd name="connsiteX482" fmla="*/ 137160 w 1314450"/>
                <a:gd name="connsiteY482" fmla="*/ 701993 h 1381125"/>
                <a:gd name="connsiteX483" fmla="*/ 139065 w 1314450"/>
                <a:gd name="connsiteY483" fmla="*/ 694373 h 1381125"/>
                <a:gd name="connsiteX484" fmla="*/ 147638 w 1314450"/>
                <a:gd name="connsiteY484" fmla="*/ 689610 h 1381125"/>
                <a:gd name="connsiteX485" fmla="*/ 141923 w 1314450"/>
                <a:gd name="connsiteY485" fmla="*/ 679132 h 1381125"/>
                <a:gd name="connsiteX486" fmla="*/ 117157 w 1314450"/>
                <a:gd name="connsiteY486" fmla="*/ 653415 h 1381125"/>
                <a:gd name="connsiteX487" fmla="*/ 90488 w 1314450"/>
                <a:gd name="connsiteY487" fmla="*/ 637223 h 1381125"/>
                <a:gd name="connsiteX488" fmla="*/ 78105 w 1314450"/>
                <a:gd name="connsiteY488" fmla="*/ 621982 h 1381125"/>
                <a:gd name="connsiteX489" fmla="*/ 49530 w 1314450"/>
                <a:gd name="connsiteY489" fmla="*/ 558165 h 1381125"/>
                <a:gd name="connsiteX490" fmla="*/ 40005 w 1314450"/>
                <a:gd name="connsiteY490" fmla="*/ 552450 h 1381125"/>
                <a:gd name="connsiteX491" fmla="*/ 29527 w 1314450"/>
                <a:gd name="connsiteY491" fmla="*/ 552450 h 1381125"/>
                <a:gd name="connsiteX492" fmla="*/ 21907 w 1314450"/>
                <a:gd name="connsiteY492" fmla="*/ 547688 h 1381125"/>
                <a:gd name="connsiteX493" fmla="*/ 18098 w 1314450"/>
                <a:gd name="connsiteY493" fmla="*/ 529590 h 1381125"/>
                <a:gd name="connsiteX494" fmla="*/ 20955 w 1314450"/>
                <a:gd name="connsiteY494" fmla="*/ 518160 h 1381125"/>
                <a:gd name="connsiteX495" fmla="*/ 28575 w 1314450"/>
                <a:gd name="connsiteY495" fmla="*/ 505778 h 1381125"/>
                <a:gd name="connsiteX496" fmla="*/ 38100 w 1314450"/>
                <a:gd name="connsiteY496" fmla="*/ 496253 h 1381125"/>
                <a:gd name="connsiteX497" fmla="*/ 47625 w 1314450"/>
                <a:gd name="connsiteY497" fmla="*/ 492442 h 1381125"/>
                <a:gd name="connsiteX498" fmla="*/ 43815 w 1314450"/>
                <a:gd name="connsiteY498" fmla="*/ 481013 h 1381125"/>
                <a:gd name="connsiteX499" fmla="*/ 44767 w 1314450"/>
                <a:gd name="connsiteY499" fmla="*/ 472440 h 1381125"/>
                <a:gd name="connsiteX500" fmla="*/ 48577 w 1314450"/>
                <a:gd name="connsiteY500" fmla="*/ 466725 h 1381125"/>
                <a:gd name="connsiteX501" fmla="*/ 54292 w 1314450"/>
                <a:gd name="connsiteY501" fmla="*/ 463867 h 1381125"/>
                <a:gd name="connsiteX502" fmla="*/ 50482 w 1314450"/>
                <a:gd name="connsiteY502" fmla="*/ 453390 h 1381125"/>
                <a:gd name="connsiteX503" fmla="*/ 28575 w 1314450"/>
                <a:gd name="connsiteY503" fmla="*/ 421957 h 1381125"/>
                <a:gd name="connsiteX504" fmla="*/ 27623 w 1314450"/>
                <a:gd name="connsiteY504" fmla="*/ 416242 h 1381125"/>
                <a:gd name="connsiteX505" fmla="*/ 36195 w 1314450"/>
                <a:gd name="connsiteY505" fmla="*/ 399098 h 1381125"/>
                <a:gd name="connsiteX506" fmla="*/ 28575 w 1314450"/>
                <a:gd name="connsiteY506" fmla="*/ 394335 h 1381125"/>
                <a:gd name="connsiteX507" fmla="*/ 19050 w 1314450"/>
                <a:gd name="connsiteY507" fmla="*/ 390525 h 1381125"/>
                <a:gd name="connsiteX508" fmla="*/ 10477 w 1314450"/>
                <a:gd name="connsiteY508" fmla="*/ 384810 h 1381125"/>
                <a:gd name="connsiteX509" fmla="*/ 7620 w 1314450"/>
                <a:gd name="connsiteY509" fmla="*/ 373380 h 1381125"/>
                <a:gd name="connsiteX510" fmla="*/ 6667 w 1314450"/>
                <a:gd name="connsiteY510" fmla="*/ 367665 h 1381125"/>
                <a:gd name="connsiteX511" fmla="*/ 11430 w 1314450"/>
                <a:gd name="connsiteY511" fmla="*/ 371475 h 1381125"/>
                <a:gd name="connsiteX512" fmla="*/ 16192 w 1314450"/>
                <a:gd name="connsiteY512" fmla="*/ 369570 h 1381125"/>
                <a:gd name="connsiteX513" fmla="*/ 18098 w 1314450"/>
                <a:gd name="connsiteY513" fmla="*/ 356235 h 1381125"/>
                <a:gd name="connsiteX514" fmla="*/ 17145 w 1314450"/>
                <a:gd name="connsiteY514" fmla="*/ 347663 h 1381125"/>
                <a:gd name="connsiteX515" fmla="*/ 2857 w 1314450"/>
                <a:gd name="connsiteY515" fmla="*/ 306705 h 1381125"/>
                <a:gd name="connsiteX516" fmla="*/ 0 w 1314450"/>
                <a:gd name="connsiteY516" fmla="*/ 300038 h 1381125"/>
                <a:gd name="connsiteX517" fmla="*/ 0 w 1314450"/>
                <a:gd name="connsiteY517" fmla="*/ 293370 h 1381125"/>
                <a:gd name="connsiteX518" fmla="*/ 6667 w 1314450"/>
                <a:gd name="connsiteY518" fmla="*/ 281940 h 1381125"/>
                <a:gd name="connsiteX519" fmla="*/ 11430 w 1314450"/>
                <a:gd name="connsiteY519" fmla="*/ 276225 h 1381125"/>
                <a:gd name="connsiteX520" fmla="*/ 18098 w 1314450"/>
                <a:gd name="connsiteY520" fmla="*/ 273367 h 1381125"/>
                <a:gd name="connsiteX521" fmla="*/ 69532 w 1314450"/>
                <a:gd name="connsiteY521" fmla="*/ 260032 h 1381125"/>
                <a:gd name="connsiteX522" fmla="*/ 81915 w 1314450"/>
                <a:gd name="connsiteY522" fmla="*/ 260032 h 1381125"/>
                <a:gd name="connsiteX523" fmla="*/ 119063 w 1314450"/>
                <a:gd name="connsiteY523" fmla="*/ 271463 h 1381125"/>
                <a:gd name="connsiteX524" fmla="*/ 132398 w 1314450"/>
                <a:gd name="connsiteY524" fmla="*/ 272415 h 1381125"/>
                <a:gd name="connsiteX525" fmla="*/ 153352 w 1314450"/>
                <a:gd name="connsiteY525" fmla="*/ 280988 h 1381125"/>
                <a:gd name="connsiteX526" fmla="*/ 167640 w 1314450"/>
                <a:gd name="connsiteY526" fmla="*/ 299085 h 1381125"/>
                <a:gd name="connsiteX527" fmla="*/ 182880 w 1314450"/>
                <a:gd name="connsiteY527" fmla="*/ 313373 h 1381125"/>
                <a:gd name="connsiteX528" fmla="*/ 203835 w 1314450"/>
                <a:gd name="connsiteY528" fmla="*/ 309563 h 1381125"/>
                <a:gd name="connsiteX529" fmla="*/ 282892 w 1314450"/>
                <a:gd name="connsiteY529" fmla="*/ 238125 h 1381125"/>
                <a:gd name="connsiteX530" fmla="*/ 342900 w 1314450"/>
                <a:gd name="connsiteY530" fmla="*/ 197167 h 1381125"/>
                <a:gd name="connsiteX531" fmla="*/ 357188 w 1314450"/>
                <a:gd name="connsiteY531" fmla="*/ 176213 h 1381125"/>
                <a:gd name="connsiteX532" fmla="*/ 370523 w 1314450"/>
                <a:gd name="connsiteY532" fmla="*/ 120967 h 1381125"/>
                <a:gd name="connsiteX533" fmla="*/ 378142 w 1314450"/>
                <a:gd name="connsiteY533" fmla="*/ 103822 h 1381125"/>
                <a:gd name="connsiteX534" fmla="*/ 397192 w 1314450"/>
                <a:gd name="connsiteY534" fmla="*/ 75247 h 1381125"/>
                <a:gd name="connsiteX535" fmla="*/ 408623 w 1314450"/>
                <a:gd name="connsiteY535" fmla="*/ 63817 h 1381125"/>
                <a:gd name="connsiteX536" fmla="*/ 420053 w 1314450"/>
                <a:gd name="connsiteY536" fmla="*/ 59055 h 1381125"/>
                <a:gd name="connsiteX537" fmla="*/ 551498 w 1314450"/>
                <a:gd name="connsiteY537" fmla="*/ 48577 h 1381125"/>
                <a:gd name="connsiteX538" fmla="*/ 583882 w 1314450"/>
                <a:gd name="connsiteY538" fmla="*/ 57150 h 1381125"/>
                <a:gd name="connsiteX539" fmla="*/ 594360 w 1314450"/>
                <a:gd name="connsiteY539" fmla="*/ 57150 h 1381125"/>
                <a:gd name="connsiteX540" fmla="*/ 742950 w 1314450"/>
                <a:gd name="connsiteY540" fmla="*/ 33338 h 1381125"/>
                <a:gd name="connsiteX541" fmla="*/ 790575 w 1314450"/>
                <a:gd name="connsiteY541" fmla="*/ 7620 h 1381125"/>
                <a:gd name="connsiteX542" fmla="*/ 814387 w 1314450"/>
                <a:gd name="connsiteY542" fmla="*/ 0 h 1381125"/>
                <a:gd name="connsiteX543" fmla="*/ 838200 w 1314450"/>
                <a:gd name="connsiteY543" fmla="*/ 0 h 1381125"/>
                <a:gd name="connsiteX544" fmla="*/ 926782 w 1314450"/>
                <a:gd name="connsiteY544" fmla="*/ 23813 h 1381125"/>
                <a:gd name="connsiteX545" fmla="*/ 1029653 w 1314450"/>
                <a:gd name="connsiteY545" fmla="*/ 25717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</a:cxnLst>
              <a:rect l="l" t="t" r="r" b="b"/>
              <a:pathLst>
                <a:path w="1314450" h="1381125">
                  <a:moveTo>
                    <a:pt x="1029653" y="25717"/>
                  </a:moveTo>
                  <a:lnTo>
                    <a:pt x="1032510" y="40957"/>
                  </a:lnTo>
                  <a:lnTo>
                    <a:pt x="1039178" y="44767"/>
                  </a:lnTo>
                  <a:lnTo>
                    <a:pt x="1086803" y="47625"/>
                  </a:lnTo>
                  <a:lnTo>
                    <a:pt x="1089660" y="48577"/>
                  </a:lnTo>
                  <a:lnTo>
                    <a:pt x="1090612" y="50482"/>
                  </a:lnTo>
                  <a:lnTo>
                    <a:pt x="1088708" y="52388"/>
                  </a:lnTo>
                  <a:lnTo>
                    <a:pt x="1081087" y="57150"/>
                  </a:lnTo>
                  <a:lnTo>
                    <a:pt x="1077278" y="60007"/>
                  </a:lnTo>
                  <a:lnTo>
                    <a:pt x="1075373" y="62865"/>
                  </a:lnTo>
                  <a:lnTo>
                    <a:pt x="1074420" y="65722"/>
                  </a:lnTo>
                  <a:lnTo>
                    <a:pt x="1073468" y="70485"/>
                  </a:lnTo>
                  <a:lnTo>
                    <a:pt x="1073468" y="76200"/>
                  </a:lnTo>
                  <a:lnTo>
                    <a:pt x="1074420" y="81915"/>
                  </a:lnTo>
                  <a:lnTo>
                    <a:pt x="1075373" y="86677"/>
                  </a:lnTo>
                  <a:lnTo>
                    <a:pt x="1079183" y="95250"/>
                  </a:lnTo>
                  <a:lnTo>
                    <a:pt x="1080135" y="100965"/>
                  </a:lnTo>
                  <a:lnTo>
                    <a:pt x="1080135" y="104775"/>
                  </a:lnTo>
                  <a:lnTo>
                    <a:pt x="1079183" y="108585"/>
                  </a:lnTo>
                  <a:lnTo>
                    <a:pt x="1078230" y="113347"/>
                  </a:lnTo>
                  <a:lnTo>
                    <a:pt x="1072515" y="123825"/>
                  </a:lnTo>
                  <a:lnTo>
                    <a:pt x="1065848" y="134302"/>
                  </a:lnTo>
                  <a:lnTo>
                    <a:pt x="1062037" y="138113"/>
                  </a:lnTo>
                  <a:lnTo>
                    <a:pt x="1042987" y="154305"/>
                  </a:lnTo>
                  <a:lnTo>
                    <a:pt x="1017270" y="191452"/>
                  </a:lnTo>
                  <a:lnTo>
                    <a:pt x="1013460" y="200025"/>
                  </a:lnTo>
                  <a:lnTo>
                    <a:pt x="1011555" y="205740"/>
                  </a:lnTo>
                  <a:lnTo>
                    <a:pt x="1010603" y="214313"/>
                  </a:lnTo>
                  <a:lnTo>
                    <a:pt x="1007745" y="231458"/>
                  </a:lnTo>
                  <a:lnTo>
                    <a:pt x="1007745" y="245745"/>
                  </a:lnTo>
                  <a:lnTo>
                    <a:pt x="1008698" y="262890"/>
                  </a:lnTo>
                  <a:lnTo>
                    <a:pt x="1008698" y="273367"/>
                  </a:lnTo>
                  <a:lnTo>
                    <a:pt x="1009650" y="280035"/>
                  </a:lnTo>
                  <a:lnTo>
                    <a:pt x="1012507" y="284798"/>
                  </a:lnTo>
                  <a:lnTo>
                    <a:pt x="1017270" y="287655"/>
                  </a:lnTo>
                  <a:lnTo>
                    <a:pt x="1023937" y="288607"/>
                  </a:lnTo>
                  <a:lnTo>
                    <a:pt x="1027748" y="288607"/>
                  </a:lnTo>
                  <a:lnTo>
                    <a:pt x="1033462" y="287655"/>
                  </a:lnTo>
                  <a:lnTo>
                    <a:pt x="1035368" y="286703"/>
                  </a:lnTo>
                  <a:lnTo>
                    <a:pt x="1037273" y="288607"/>
                  </a:lnTo>
                  <a:lnTo>
                    <a:pt x="1039178" y="298132"/>
                  </a:lnTo>
                  <a:lnTo>
                    <a:pt x="1040130" y="300038"/>
                  </a:lnTo>
                  <a:lnTo>
                    <a:pt x="1042987" y="301942"/>
                  </a:lnTo>
                  <a:lnTo>
                    <a:pt x="1052512" y="304800"/>
                  </a:lnTo>
                  <a:lnTo>
                    <a:pt x="1056323" y="307657"/>
                  </a:lnTo>
                  <a:lnTo>
                    <a:pt x="1059180" y="313373"/>
                  </a:lnTo>
                  <a:lnTo>
                    <a:pt x="1059180" y="317182"/>
                  </a:lnTo>
                  <a:lnTo>
                    <a:pt x="1058228" y="322898"/>
                  </a:lnTo>
                  <a:lnTo>
                    <a:pt x="1053465" y="331470"/>
                  </a:lnTo>
                  <a:lnTo>
                    <a:pt x="1050608" y="335280"/>
                  </a:lnTo>
                  <a:lnTo>
                    <a:pt x="1041082" y="343853"/>
                  </a:lnTo>
                  <a:lnTo>
                    <a:pt x="1037273" y="347663"/>
                  </a:lnTo>
                  <a:lnTo>
                    <a:pt x="1034415" y="352425"/>
                  </a:lnTo>
                  <a:lnTo>
                    <a:pt x="1033462" y="356235"/>
                  </a:lnTo>
                  <a:lnTo>
                    <a:pt x="1032510" y="360998"/>
                  </a:lnTo>
                  <a:lnTo>
                    <a:pt x="1031557" y="374332"/>
                  </a:lnTo>
                  <a:lnTo>
                    <a:pt x="1031557" y="378142"/>
                  </a:lnTo>
                  <a:lnTo>
                    <a:pt x="1033462" y="385763"/>
                  </a:lnTo>
                  <a:lnTo>
                    <a:pt x="1039178" y="408623"/>
                  </a:lnTo>
                  <a:lnTo>
                    <a:pt x="1040130" y="415290"/>
                  </a:lnTo>
                  <a:lnTo>
                    <a:pt x="1040130" y="418148"/>
                  </a:lnTo>
                  <a:lnTo>
                    <a:pt x="1039178" y="425767"/>
                  </a:lnTo>
                  <a:lnTo>
                    <a:pt x="1037273" y="440055"/>
                  </a:lnTo>
                  <a:lnTo>
                    <a:pt x="1036320" y="451485"/>
                  </a:lnTo>
                  <a:lnTo>
                    <a:pt x="1036320" y="458153"/>
                  </a:lnTo>
                  <a:lnTo>
                    <a:pt x="1037273" y="468630"/>
                  </a:lnTo>
                  <a:lnTo>
                    <a:pt x="1037273" y="471488"/>
                  </a:lnTo>
                  <a:lnTo>
                    <a:pt x="1033462" y="502920"/>
                  </a:lnTo>
                  <a:lnTo>
                    <a:pt x="1034415" y="509588"/>
                  </a:lnTo>
                  <a:lnTo>
                    <a:pt x="1035368" y="512445"/>
                  </a:lnTo>
                  <a:lnTo>
                    <a:pt x="1038225" y="517207"/>
                  </a:lnTo>
                  <a:lnTo>
                    <a:pt x="1042035" y="521970"/>
                  </a:lnTo>
                  <a:lnTo>
                    <a:pt x="1043940" y="522923"/>
                  </a:lnTo>
                  <a:lnTo>
                    <a:pt x="1048703" y="523875"/>
                  </a:lnTo>
                  <a:lnTo>
                    <a:pt x="1050608" y="522923"/>
                  </a:lnTo>
                  <a:lnTo>
                    <a:pt x="1052512" y="521017"/>
                  </a:lnTo>
                  <a:lnTo>
                    <a:pt x="1054418" y="518160"/>
                  </a:lnTo>
                  <a:lnTo>
                    <a:pt x="1057275" y="509588"/>
                  </a:lnTo>
                  <a:lnTo>
                    <a:pt x="1060133" y="503873"/>
                  </a:lnTo>
                  <a:lnTo>
                    <a:pt x="1062037" y="501967"/>
                  </a:lnTo>
                  <a:lnTo>
                    <a:pt x="1068705" y="497205"/>
                  </a:lnTo>
                  <a:lnTo>
                    <a:pt x="1074420" y="495300"/>
                  </a:lnTo>
                  <a:lnTo>
                    <a:pt x="1080135" y="494348"/>
                  </a:lnTo>
                  <a:lnTo>
                    <a:pt x="1086803" y="493395"/>
                  </a:lnTo>
                  <a:lnTo>
                    <a:pt x="1093470" y="494348"/>
                  </a:lnTo>
                  <a:lnTo>
                    <a:pt x="1104900" y="499110"/>
                  </a:lnTo>
                  <a:lnTo>
                    <a:pt x="1107758" y="499110"/>
                  </a:lnTo>
                  <a:lnTo>
                    <a:pt x="1110615" y="499110"/>
                  </a:lnTo>
                  <a:lnTo>
                    <a:pt x="1113473" y="498157"/>
                  </a:lnTo>
                  <a:lnTo>
                    <a:pt x="1115378" y="496253"/>
                  </a:lnTo>
                  <a:lnTo>
                    <a:pt x="1119187" y="492442"/>
                  </a:lnTo>
                  <a:lnTo>
                    <a:pt x="1121093" y="489585"/>
                  </a:lnTo>
                  <a:lnTo>
                    <a:pt x="1124903" y="482917"/>
                  </a:lnTo>
                  <a:lnTo>
                    <a:pt x="1126808" y="480060"/>
                  </a:lnTo>
                  <a:lnTo>
                    <a:pt x="1128712" y="478155"/>
                  </a:lnTo>
                  <a:lnTo>
                    <a:pt x="1130618" y="477203"/>
                  </a:lnTo>
                  <a:lnTo>
                    <a:pt x="1133475" y="477203"/>
                  </a:lnTo>
                  <a:lnTo>
                    <a:pt x="1135380" y="479107"/>
                  </a:lnTo>
                  <a:lnTo>
                    <a:pt x="1137285" y="483870"/>
                  </a:lnTo>
                  <a:lnTo>
                    <a:pt x="1140143" y="488632"/>
                  </a:lnTo>
                  <a:lnTo>
                    <a:pt x="1145858" y="491490"/>
                  </a:lnTo>
                  <a:lnTo>
                    <a:pt x="1148715" y="492442"/>
                  </a:lnTo>
                  <a:lnTo>
                    <a:pt x="1155383" y="492442"/>
                  </a:lnTo>
                  <a:lnTo>
                    <a:pt x="1159193" y="491490"/>
                  </a:lnTo>
                  <a:lnTo>
                    <a:pt x="1163955" y="489585"/>
                  </a:lnTo>
                  <a:lnTo>
                    <a:pt x="1171575" y="481965"/>
                  </a:lnTo>
                  <a:lnTo>
                    <a:pt x="1173480" y="481013"/>
                  </a:lnTo>
                  <a:lnTo>
                    <a:pt x="1174433" y="482917"/>
                  </a:lnTo>
                  <a:lnTo>
                    <a:pt x="1174433" y="490538"/>
                  </a:lnTo>
                  <a:lnTo>
                    <a:pt x="1169670" y="509588"/>
                  </a:lnTo>
                  <a:lnTo>
                    <a:pt x="1167765" y="518160"/>
                  </a:lnTo>
                  <a:lnTo>
                    <a:pt x="1166812" y="524828"/>
                  </a:lnTo>
                  <a:lnTo>
                    <a:pt x="1167765" y="527685"/>
                  </a:lnTo>
                  <a:lnTo>
                    <a:pt x="1170623" y="532448"/>
                  </a:lnTo>
                  <a:lnTo>
                    <a:pt x="1173480" y="537210"/>
                  </a:lnTo>
                  <a:lnTo>
                    <a:pt x="1179195" y="540068"/>
                  </a:lnTo>
                  <a:lnTo>
                    <a:pt x="1188720" y="544830"/>
                  </a:lnTo>
                  <a:lnTo>
                    <a:pt x="1191578" y="547688"/>
                  </a:lnTo>
                  <a:lnTo>
                    <a:pt x="1193483" y="552450"/>
                  </a:lnTo>
                  <a:lnTo>
                    <a:pt x="1194435" y="559118"/>
                  </a:lnTo>
                  <a:lnTo>
                    <a:pt x="1194435" y="561975"/>
                  </a:lnTo>
                  <a:lnTo>
                    <a:pt x="1195387" y="564832"/>
                  </a:lnTo>
                  <a:lnTo>
                    <a:pt x="1199198" y="568643"/>
                  </a:lnTo>
                  <a:lnTo>
                    <a:pt x="1214437" y="581025"/>
                  </a:lnTo>
                  <a:lnTo>
                    <a:pt x="1224915" y="593407"/>
                  </a:lnTo>
                  <a:lnTo>
                    <a:pt x="1227773" y="598170"/>
                  </a:lnTo>
                  <a:lnTo>
                    <a:pt x="1231583" y="602932"/>
                  </a:lnTo>
                  <a:lnTo>
                    <a:pt x="1271587" y="622935"/>
                  </a:lnTo>
                  <a:lnTo>
                    <a:pt x="1298258" y="649605"/>
                  </a:lnTo>
                  <a:lnTo>
                    <a:pt x="1300162" y="651510"/>
                  </a:lnTo>
                  <a:lnTo>
                    <a:pt x="1302068" y="657225"/>
                  </a:lnTo>
                  <a:lnTo>
                    <a:pt x="1302068" y="661035"/>
                  </a:lnTo>
                  <a:lnTo>
                    <a:pt x="1301115" y="670560"/>
                  </a:lnTo>
                  <a:lnTo>
                    <a:pt x="1301115" y="675323"/>
                  </a:lnTo>
                  <a:lnTo>
                    <a:pt x="1298258" y="681038"/>
                  </a:lnTo>
                  <a:lnTo>
                    <a:pt x="1293495" y="689610"/>
                  </a:lnTo>
                  <a:lnTo>
                    <a:pt x="1287780" y="695325"/>
                  </a:lnTo>
                  <a:lnTo>
                    <a:pt x="1283018" y="699135"/>
                  </a:lnTo>
                  <a:lnTo>
                    <a:pt x="1245870" y="706755"/>
                  </a:lnTo>
                  <a:lnTo>
                    <a:pt x="1243965" y="708660"/>
                  </a:lnTo>
                  <a:lnTo>
                    <a:pt x="1243012" y="713423"/>
                  </a:lnTo>
                  <a:lnTo>
                    <a:pt x="1240155" y="736282"/>
                  </a:lnTo>
                  <a:lnTo>
                    <a:pt x="1240155" y="741045"/>
                  </a:lnTo>
                  <a:lnTo>
                    <a:pt x="1242060" y="742950"/>
                  </a:lnTo>
                  <a:lnTo>
                    <a:pt x="1244918" y="744855"/>
                  </a:lnTo>
                  <a:lnTo>
                    <a:pt x="1258253" y="750570"/>
                  </a:lnTo>
                  <a:lnTo>
                    <a:pt x="1261110" y="750570"/>
                  </a:lnTo>
                  <a:lnTo>
                    <a:pt x="1263015" y="749618"/>
                  </a:lnTo>
                  <a:lnTo>
                    <a:pt x="1268730" y="744855"/>
                  </a:lnTo>
                  <a:lnTo>
                    <a:pt x="1269683" y="743903"/>
                  </a:lnTo>
                  <a:lnTo>
                    <a:pt x="1275398" y="742950"/>
                  </a:lnTo>
                  <a:lnTo>
                    <a:pt x="1281112" y="741998"/>
                  </a:lnTo>
                  <a:lnTo>
                    <a:pt x="1285875" y="744855"/>
                  </a:lnTo>
                  <a:lnTo>
                    <a:pt x="1290637" y="748665"/>
                  </a:lnTo>
                  <a:lnTo>
                    <a:pt x="1299210" y="758190"/>
                  </a:lnTo>
                  <a:lnTo>
                    <a:pt x="1307783" y="773430"/>
                  </a:lnTo>
                  <a:lnTo>
                    <a:pt x="1309687" y="778193"/>
                  </a:lnTo>
                  <a:lnTo>
                    <a:pt x="1310640" y="784860"/>
                  </a:lnTo>
                  <a:lnTo>
                    <a:pt x="1310640" y="787718"/>
                  </a:lnTo>
                  <a:lnTo>
                    <a:pt x="1315403" y="794385"/>
                  </a:lnTo>
                  <a:lnTo>
                    <a:pt x="1317308" y="800100"/>
                  </a:lnTo>
                  <a:lnTo>
                    <a:pt x="1318260" y="810578"/>
                  </a:lnTo>
                  <a:lnTo>
                    <a:pt x="1319212" y="816293"/>
                  </a:lnTo>
                  <a:lnTo>
                    <a:pt x="1318260" y="820103"/>
                  </a:lnTo>
                  <a:lnTo>
                    <a:pt x="1316355" y="823913"/>
                  </a:lnTo>
                  <a:lnTo>
                    <a:pt x="1308735" y="829628"/>
                  </a:lnTo>
                  <a:lnTo>
                    <a:pt x="1304925" y="831532"/>
                  </a:lnTo>
                  <a:lnTo>
                    <a:pt x="1300162" y="833438"/>
                  </a:lnTo>
                  <a:lnTo>
                    <a:pt x="1263015" y="838200"/>
                  </a:lnTo>
                  <a:lnTo>
                    <a:pt x="1260158" y="841057"/>
                  </a:lnTo>
                  <a:lnTo>
                    <a:pt x="1257300" y="843915"/>
                  </a:lnTo>
                  <a:lnTo>
                    <a:pt x="1255395" y="849630"/>
                  </a:lnTo>
                  <a:lnTo>
                    <a:pt x="1255395" y="853440"/>
                  </a:lnTo>
                  <a:lnTo>
                    <a:pt x="1257300" y="856298"/>
                  </a:lnTo>
                  <a:lnTo>
                    <a:pt x="1259205" y="858203"/>
                  </a:lnTo>
                  <a:lnTo>
                    <a:pt x="1267778" y="864870"/>
                  </a:lnTo>
                  <a:lnTo>
                    <a:pt x="1269683" y="867728"/>
                  </a:lnTo>
                  <a:lnTo>
                    <a:pt x="1271587" y="870585"/>
                  </a:lnTo>
                  <a:lnTo>
                    <a:pt x="1274445" y="873443"/>
                  </a:lnTo>
                  <a:lnTo>
                    <a:pt x="1275398" y="875348"/>
                  </a:lnTo>
                  <a:lnTo>
                    <a:pt x="1276350" y="878205"/>
                  </a:lnTo>
                  <a:lnTo>
                    <a:pt x="1276350" y="884873"/>
                  </a:lnTo>
                  <a:lnTo>
                    <a:pt x="1274445" y="891540"/>
                  </a:lnTo>
                  <a:lnTo>
                    <a:pt x="1272540" y="894398"/>
                  </a:lnTo>
                  <a:lnTo>
                    <a:pt x="1259205" y="906780"/>
                  </a:lnTo>
                  <a:lnTo>
                    <a:pt x="1252537" y="917257"/>
                  </a:lnTo>
                  <a:lnTo>
                    <a:pt x="1250633" y="922973"/>
                  </a:lnTo>
                  <a:lnTo>
                    <a:pt x="1251585" y="926782"/>
                  </a:lnTo>
                  <a:lnTo>
                    <a:pt x="1253490" y="927735"/>
                  </a:lnTo>
                  <a:lnTo>
                    <a:pt x="1265873" y="934403"/>
                  </a:lnTo>
                  <a:lnTo>
                    <a:pt x="1268730" y="936307"/>
                  </a:lnTo>
                  <a:lnTo>
                    <a:pt x="1270635" y="940118"/>
                  </a:lnTo>
                  <a:lnTo>
                    <a:pt x="1270635" y="942023"/>
                  </a:lnTo>
                  <a:lnTo>
                    <a:pt x="1266825" y="947737"/>
                  </a:lnTo>
                  <a:lnTo>
                    <a:pt x="1264920" y="949643"/>
                  </a:lnTo>
                  <a:lnTo>
                    <a:pt x="1262062" y="950595"/>
                  </a:lnTo>
                  <a:lnTo>
                    <a:pt x="1257300" y="951548"/>
                  </a:lnTo>
                  <a:lnTo>
                    <a:pt x="1247775" y="948690"/>
                  </a:lnTo>
                  <a:lnTo>
                    <a:pt x="1241108" y="948690"/>
                  </a:lnTo>
                  <a:lnTo>
                    <a:pt x="1238250" y="949643"/>
                  </a:lnTo>
                  <a:lnTo>
                    <a:pt x="1234440" y="952500"/>
                  </a:lnTo>
                  <a:lnTo>
                    <a:pt x="1210628" y="971550"/>
                  </a:lnTo>
                  <a:lnTo>
                    <a:pt x="1208723" y="972503"/>
                  </a:lnTo>
                  <a:lnTo>
                    <a:pt x="1205865" y="974407"/>
                  </a:lnTo>
                  <a:lnTo>
                    <a:pt x="1203008" y="977265"/>
                  </a:lnTo>
                  <a:lnTo>
                    <a:pt x="1200150" y="983932"/>
                  </a:lnTo>
                  <a:lnTo>
                    <a:pt x="1199198" y="986790"/>
                  </a:lnTo>
                  <a:lnTo>
                    <a:pt x="1197293" y="1024890"/>
                  </a:lnTo>
                  <a:lnTo>
                    <a:pt x="1200150" y="1041082"/>
                  </a:lnTo>
                  <a:lnTo>
                    <a:pt x="1200150" y="1047750"/>
                  </a:lnTo>
                  <a:lnTo>
                    <a:pt x="1200150" y="1054418"/>
                  </a:lnTo>
                  <a:lnTo>
                    <a:pt x="1199198" y="1060133"/>
                  </a:lnTo>
                  <a:lnTo>
                    <a:pt x="1195387" y="1066800"/>
                  </a:lnTo>
                  <a:lnTo>
                    <a:pt x="1191578" y="1070610"/>
                  </a:lnTo>
                  <a:lnTo>
                    <a:pt x="1188720" y="1077278"/>
                  </a:lnTo>
                  <a:lnTo>
                    <a:pt x="1186815" y="1080135"/>
                  </a:lnTo>
                  <a:lnTo>
                    <a:pt x="1182053" y="1107758"/>
                  </a:lnTo>
                  <a:lnTo>
                    <a:pt x="1180148" y="1110615"/>
                  </a:lnTo>
                  <a:lnTo>
                    <a:pt x="1177290" y="1111568"/>
                  </a:lnTo>
                  <a:lnTo>
                    <a:pt x="1172528" y="1112520"/>
                  </a:lnTo>
                  <a:lnTo>
                    <a:pt x="1168718" y="1111568"/>
                  </a:lnTo>
                  <a:lnTo>
                    <a:pt x="1164908" y="1110615"/>
                  </a:lnTo>
                  <a:lnTo>
                    <a:pt x="1161098" y="1106805"/>
                  </a:lnTo>
                  <a:lnTo>
                    <a:pt x="1149668" y="1095375"/>
                  </a:lnTo>
                  <a:lnTo>
                    <a:pt x="1145858" y="1091565"/>
                  </a:lnTo>
                  <a:lnTo>
                    <a:pt x="1140143" y="1088708"/>
                  </a:lnTo>
                  <a:lnTo>
                    <a:pt x="1119187" y="1085850"/>
                  </a:lnTo>
                  <a:lnTo>
                    <a:pt x="1117283" y="1083945"/>
                  </a:lnTo>
                  <a:lnTo>
                    <a:pt x="1115378" y="1082040"/>
                  </a:lnTo>
                  <a:lnTo>
                    <a:pt x="1116330" y="1077278"/>
                  </a:lnTo>
                  <a:lnTo>
                    <a:pt x="1116330" y="1074420"/>
                  </a:lnTo>
                  <a:lnTo>
                    <a:pt x="1114425" y="1071562"/>
                  </a:lnTo>
                  <a:lnTo>
                    <a:pt x="1103948" y="1059180"/>
                  </a:lnTo>
                  <a:lnTo>
                    <a:pt x="1096328" y="1051560"/>
                  </a:lnTo>
                  <a:lnTo>
                    <a:pt x="1093470" y="1050608"/>
                  </a:lnTo>
                  <a:lnTo>
                    <a:pt x="1086803" y="1048703"/>
                  </a:lnTo>
                  <a:lnTo>
                    <a:pt x="1059180" y="1048703"/>
                  </a:lnTo>
                  <a:lnTo>
                    <a:pt x="1048703" y="1054418"/>
                  </a:lnTo>
                  <a:lnTo>
                    <a:pt x="1037273" y="1062990"/>
                  </a:lnTo>
                  <a:lnTo>
                    <a:pt x="1017270" y="1074420"/>
                  </a:lnTo>
                  <a:lnTo>
                    <a:pt x="999173" y="1081087"/>
                  </a:lnTo>
                  <a:lnTo>
                    <a:pt x="982980" y="1090612"/>
                  </a:lnTo>
                  <a:lnTo>
                    <a:pt x="978218" y="1092518"/>
                  </a:lnTo>
                  <a:lnTo>
                    <a:pt x="973455" y="1092518"/>
                  </a:lnTo>
                  <a:lnTo>
                    <a:pt x="960120" y="1089660"/>
                  </a:lnTo>
                  <a:lnTo>
                    <a:pt x="949643" y="1084898"/>
                  </a:lnTo>
                  <a:lnTo>
                    <a:pt x="942975" y="1081087"/>
                  </a:lnTo>
                  <a:lnTo>
                    <a:pt x="934403" y="1073468"/>
                  </a:lnTo>
                  <a:lnTo>
                    <a:pt x="933450" y="1072515"/>
                  </a:lnTo>
                  <a:lnTo>
                    <a:pt x="930593" y="1073468"/>
                  </a:lnTo>
                  <a:lnTo>
                    <a:pt x="930593" y="1077278"/>
                  </a:lnTo>
                  <a:lnTo>
                    <a:pt x="930593" y="1080135"/>
                  </a:lnTo>
                  <a:lnTo>
                    <a:pt x="933450" y="1088708"/>
                  </a:lnTo>
                  <a:lnTo>
                    <a:pt x="933450" y="1092518"/>
                  </a:lnTo>
                  <a:lnTo>
                    <a:pt x="931545" y="1096328"/>
                  </a:lnTo>
                  <a:lnTo>
                    <a:pt x="927735" y="1102043"/>
                  </a:lnTo>
                  <a:lnTo>
                    <a:pt x="926782" y="1107758"/>
                  </a:lnTo>
                  <a:lnTo>
                    <a:pt x="927735" y="1111568"/>
                  </a:lnTo>
                  <a:lnTo>
                    <a:pt x="929640" y="1113473"/>
                  </a:lnTo>
                  <a:lnTo>
                    <a:pt x="941070" y="1121093"/>
                  </a:lnTo>
                  <a:lnTo>
                    <a:pt x="942975" y="1122998"/>
                  </a:lnTo>
                  <a:lnTo>
                    <a:pt x="943928" y="1125855"/>
                  </a:lnTo>
                  <a:lnTo>
                    <a:pt x="942975" y="1127760"/>
                  </a:lnTo>
                  <a:lnTo>
                    <a:pt x="938212" y="1129665"/>
                  </a:lnTo>
                  <a:lnTo>
                    <a:pt x="934403" y="1130618"/>
                  </a:lnTo>
                  <a:lnTo>
                    <a:pt x="897255" y="1124903"/>
                  </a:lnTo>
                  <a:lnTo>
                    <a:pt x="894398" y="1126808"/>
                  </a:lnTo>
                  <a:lnTo>
                    <a:pt x="892493" y="1128712"/>
                  </a:lnTo>
                  <a:lnTo>
                    <a:pt x="891540" y="1134428"/>
                  </a:lnTo>
                  <a:lnTo>
                    <a:pt x="892493" y="1138237"/>
                  </a:lnTo>
                  <a:lnTo>
                    <a:pt x="899160" y="1150620"/>
                  </a:lnTo>
                  <a:lnTo>
                    <a:pt x="902018" y="1158240"/>
                  </a:lnTo>
                  <a:lnTo>
                    <a:pt x="902018" y="1162050"/>
                  </a:lnTo>
                  <a:lnTo>
                    <a:pt x="902018" y="1168718"/>
                  </a:lnTo>
                  <a:lnTo>
                    <a:pt x="902018" y="1171575"/>
                  </a:lnTo>
                  <a:lnTo>
                    <a:pt x="901065" y="1176337"/>
                  </a:lnTo>
                  <a:lnTo>
                    <a:pt x="898207" y="1180148"/>
                  </a:lnTo>
                  <a:lnTo>
                    <a:pt x="892493" y="1184910"/>
                  </a:lnTo>
                  <a:lnTo>
                    <a:pt x="888682" y="1186815"/>
                  </a:lnTo>
                  <a:lnTo>
                    <a:pt x="883920" y="1187768"/>
                  </a:lnTo>
                  <a:lnTo>
                    <a:pt x="843915" y="1183958"/>
                  </a:lnTo>
                  <a:lnTo>
                    <a:pt x="819150" y="1177290"/>
                  </a:lnTo>
                  <a:lnTo>
                    <a:pt x="817245" y="1177290"/>
                  </a:lnTo>
                  <a:lnTo>
                    <a:pt x="814387" y="1178243"/>
                  </a:lnTo>
                  <a:lnTo>
                    <a:pt x="811530" y="1180148"/>
                  </a:lnTo>
                  <a:lnTo>
                    <a:pt x="805815" y="1187768"/>
                  </a:lnTo>
                  <a:lnTo>
                    <a:pt x="804862" y="1190625"/>
                  </a:lnTo>
                  <a:lnTo>
                    <a:pt x="803910" y="1194435"/>
                  </a:lnTo>
                  <a:lnTo>
                    <a:pt x="806768" y="1198245"/>
                  </a:lnTo>
                  <a:lnTo>
                    <a:pt x="808673" y="1201103"/>
                  </a:lnTo>
                  <a:lnTo>
                    <a:pt x="823912" y="1212533"/>
                  </a:lnTo>
                  <a:lnTo>
                    <a:pt x="829628" y="1218248"/>
                  </a:lnTo>
                  <a:lnTo>
                    <a:pt x="830580" y="1220153"/>
                  </a:lnTo>
                  <a:lnTo>
                    <a:pt x="829628" y="1222058"/>
                  </a:lnTo>
                  <a:lnTo>
                    <a:pt x="821055" y="1238250"/>
                  </a:lnTo>
                  <a:lnTo>
                    <a:pt x="817245" y="1243965"/>
                  </a:lnTo>
                  <a:lnTo>
                    <a:pt x="813435" y="1247775"/>
                  </a:lnTo>
                  <a:lnTo>
                    <a:pt x="811530" y="1248728"/>
                  </a:lnTo>
                  <a:lnTo>
                    <a:pt x="808673" y="1249680"/>
                  </a:lnTo>
                  <a:lnTo>
                    <a:pt x="805815" y="1249680"/>
                  </a:lnTo>
                  <a:lnTo>
                    <a:pt x="795337" y="1248728"/>
                  </a:lnTo>
                  <a:lnTo>
                    <a:pt x="792480" y="1248728"/>
                  </a:lnTo>
                  <a:lnTo>
                    <a:pt x="790575" y="1249680"/>
                  </a:lnTo>
                  <a:lnTo>
                    <a:pt x="789623" y="1252537"/>
                  </a:lnTo>
                  <a:lnTo>
                    <a:pt x="790575" y="1256348"/>
                  </a:lnTo>
                  <a:lnTo>
                    <a:pt x="792480" y="1258253"/>
                  </a:lnTo>
                  <a:lnTo>
                    <a:pt x="794385" y="1261110"/>
                  </a:lnTo>
                  <a:lnTo>
                    <a:pt x="803910" y="1266825"/>
                  </a:lnTo>
                  <a:lnTo>
                    <a:pt x="811530" y="1274445"/>
                  </a:lnTo>
                  <a:lnTo>
                    <a:pt x="816293" y="1281112"/>
                  </a:lnTo>
                  <a:lnTo>
                    <a:pt x="829628" y="1304925"/>
                  </a:lnTo>
                  <a:lnTo>
                    <a:pt x="831532" y="1306830"/>
                  </a:lnTo>
                  <a:lnTo>
                    <a:pt x="834390" y="1307783"/>
                  </a:lnTo>
                  <a:lnTo>
                    <a:pt x="843915" y="1309687"/>
                  </a:lnTo>
                  <a:lnTo>
                    <a:pt x="846773" y="1310640"/>
                  </a:lnTo>
                  <a:lnTo>
                    <a:pt x="847725" y="1313498"/>
                  </a:lnTo>
                  <a:lnTo>
                    <a:pt x="848678" y="1316355"/>
                  </a:lnTo>
                  <a:lnTo>
                    <a:pt x="848678" y="1320165"/>
                  </a:lnTo>
                  <a:lnTo>
                    <a:pt x="847725" y="1323975"/>
                  </a:lnTo>
                  <a:lnTo>
                    <a:pt x="843915" y="1328737"/>
                  </a:lnTo>
                  <a:lnTo>
                    <a:pt x="837248" y="1332548"/>
                  </a:lnTo>
                  <a:lnTo>
                    <a:pt x="832485" y="1333500"/>
                  </a:lnTo>
                  <a:lnTo>
                    <a:pt x="827723" y="1335405"/>
                  </a:lnTo>
                  <a:lnTo>
                    <a:pt x="822960" y="1338262"/>
                  </a:lnTo>
                  <a:lnTo>
                    <a:pt x="817245" y="1347787"/>
                  </a:lnTo>
                  <a:lnTo>
                    <a:pt x="805815" y="1361123"/>
                  </a:lnTo>
                  <a:lnTo>
                    <a:pt x="774382" y="1390650"/>
                  </a:lnTo>
                  <a:lnTo>
                    <a:pt x="776287" y="1366837"/>
                  </a:lnTo>
                  <a:lnTo>
                    <a:pt x="775335" y="1358265"/>
                  </a:lnTo>
                  <a:lnTo>
                    <a:pt x="772478" y="1352550"/>
                  </a:lnTo>
                  <a:lnTo>
                    <a:pt x="769620" y="1349693"/>
                  </a:lnTo>
                  <a:lnTo>
                    <a:pt x="766762" y="1347787"/>
                  </a:lnTo>
                  <a:lnTo>
                    <a:pt x="764857" y="1345883"/>
                  </a:lnTo>
                  <a:lnTo>
                    <a:pt x="759143" y="1345883"/>
                  </a:lnTo>
                  <a:lnTo>
                    <a:pt x="742950" y="1348740"/>
                  </a:lnTo>
                  <a:lnTo>
                    <a:pt x="732473" y="1343025"/>
                  </a:lnTo>
                  <a:lnTo>
                    <a:pt x="717232" y="1333500"/>
                  </a:lnTo>
                  <a:lnTo>
                    <a:pt x="710565" y="1329690"/>
                  </a:lnTo>
                  <a:lnTo>
                    <a:pt x="705803" y="1328737"/>
                  </a:lnTo>
                  <a:lnTo>
                    <a:pt x="703898" y="1330643"/>
                  </a:lnTo>
                  <a:lnTo>
                    <a:pt x="703898" y="1333500"/>
                  </a:lnTo>
                  <a:lnTo>
                    <a:pt x="704850" y="1343025"/>
                  </a:lnTo>
                  <a:lnTo>
                    <a:pt x="701040" y="1345883"/>
                  </a:lnTo>
                  <a:lnTo>
                    <a:pt x="694373" y="1346835"/>
                  </a:lnTo>
                  <a:lnTo>
                    <a:pt x="661035" y="1341120"/>
                  </a:lnTo>
                  <a:lnTo>
                    <a:pt x="649605" y="1343978"/>
                  </a:lnTo>
                  <a:lnTo>
                    <a:pt x="643890" y="1345883"/>
                  </a:lnTo>
                  <a:lnTo>
                    <a:pt x="639128" y="1347787"/>
                  </a:lnTo>
                  <a:lnTo>
                    <a:pt x="634365" y="1350645"/>
                  </a:lnTo>
                  <a:lnTo>
                    <a:pt x="629603" y="1352550"/>
                  </a:lnTo>
                  <a:lnTo>
                    <a:pt x="621982" y="1352550"/>
                  </a:lnTo>
                  <a:lnTo>
                    <a:pt x="595312" y="1350645"/>
                  </a:lnTo>
                  <a:lnTo>
                    <a:pt x="589598" y="1348740"/>
                  </a:lnTo>
                  <a:lnTo>
                    <a:pt x="585787" y="1345883"/>
                  </a:lnTo>
                  <a:lnTo>
                    <a:pt x="584835" y="1343025"/>
                  </a:lnTo>
                  <a:lnTo>
                    <a:pt x="583882" y="1340168"/>
                  </a:lnTo>
                  <a:lnTo>
                    <a:pt x="584835" y="1333500"/>
                  </a:lnTo>
                  <a:lnTo>
                    <a:pt x="581978" y="1328737"/>
                  </a:lnTo>
                  <a:lnTo>
                    <a:pt x="577215" y="1323023"/>
                  </a:lnTo>
                  <a:lnTo>
                    <a:pt x="555307" y="1309687"/>
                  </a:lnTo>
                  <a:lnTo>
                    <a:pt x="551498" y="1305878"/>
                  </a:lnTo>
                  <a:lnTo>
                    <a:pt x="550545" y="1300162"/>
                  </a:lnTo>
                  <a:lnTo>
                    <a:pt x="550545" y="1296353"/>
                  </a:lnTo>
                  <a:lnTo>
                    <a:pt x="548640" y="1292543"/>
                  </a:lnTo>
                  <a:lnTo>
                    <a:pt x="545782" y="1291590"/>
                  </a:lnTo>
                  <a:lnTo>
                    <a:pt x="542925" y="1290637"/>
                  </a:lnTo>
                  <a:lnTo>
                    <a:pt x="525780" y="1289685"/>
                  </a:lnTo>
                  <a:lnTo>
                    <a:pt x="521970" y="1288733"/>
                  </a:lnTo>
                  <a:lnTo>
                    <a:pt x="519112" y="1285875"/>
                  </a:lnTo>
                  <a:lnTo>
                    <a:pt x="516255" y="1280160"/>
                  </a:lnTo>
                  <a:lnTo>
                    <a:pt x="514350" y="1277303"/>
                  </a:lnTo>
                  <a:lnTo>
                    <a:pt x="511493" y="1273493"/>
                  </a:lnTo>
                  <a:lnTo>
                    <a:pt x="508635" y="1271587"/>
                  </a:lnTo>
                  <a:lnTo>
                    <a:pt x="505778" y="1271587"/>
                  </a:lnTo>
                  <a:lnTo>
                    <a:pt x="503873" y="1273493"/>
                  </a:lnTo>
                  <a:lnTo>
                    <a:pt x="501968" y="1276350"/>
                  </a:lnTo>
                  <a:lnTo>
                    <a:pt x="501968" y="1280160"/>
                  </a:lnTo>
                  <a:lnTo>
                    <a:pt x="501968" y="1289685"/>
                  </a:lnTo>
                  <a:lnTo>
                    <a:pt x="500062" y="1294448"/>
                  </a:lnTo>
                  <a:lnTo>
                    <a:pt x="497205" y="1297305"/>
                  </a:lnTo>
                  <a:lnTo>
                    <a:pt x="493395" y="1298258"/>
                  </a:lnTo>
                  <a:lnTo>
                    <a:pt x="485775" y="1299210"/>
                  </a:lnTo>
                  <a:lnTo>
                    <a:pt x="481965" y="1297305"/>
                  </a:lnTo>
                  <a:lnTo>
                    <a:pt x="480060" y="1295400"/>
                  </a:lnTo>
                  <a:lnTo>
                    <a:pt x="479107" y="1292543"/>
                  </a:lnTo>
                  <a:lnTo>
                    <a:pt x="480060" y="1288733"/>
                  </a:lnTo>
                  <a:lnTo>
                    <a:pt x="481012" y="1283018"/>
                  </a:lnTo>
                  <a:lnTo>
                    <a:pt x="481012" y="1279208"/>
                  </a:lnTo>
                  <a:lnTo>
                    <a:pt x="480060" y="1274445"/>
                  </a:lnTo>
                  <a:lnTo>
                    <a:pt x="477203" y="1270635"/>
                  </a:lnTo>
                  <a:lnTo>
                    <a:pt x="455295" y="1252537"/>
                  </a:lnTo>
                  <a:lnTo>
                    <a:pt x="452437" y="1248728"/>
                  </a:lnTo>
                  <a:lnTo>
                    <a:pt x="451485" y="1245870"/>
                  </a:lnTo>
                  <a:lnTo>
                    <a:pt x="452437" y="1243012"/>
                  </a:lnTo>
                  <a:lnTo>
                    <a:pt x="453390" y="1241108"/>
                  </a:lnTo>
                  <a:lnTo>
                    <a:pt x="458153" y="1238250"/>
                  </a:lnTo>
                  <a:lnTo>
                    <a:pt x="484823" y="1231583"/>
                  </a:lnTo>
                  <a:lnTo>
                    <a:pt x="489585" y="1229678"/>
                  </a:lnTo>
                  <a:lnTo>
                    <a:pt x="493395" y="1225868"/>
                  </a:lnTo>
                  <a:lnTo>
                    <a:pt x="496253" y="1221105"/>
                  </a:lnTo>
                  <a:lnTo>
                    <a:pt x="497205" y="1218248"/>
                  </a:lnTo>
                  <a:lnTo>
                    <a:pt x="498157" y="1211580"/>
                  </a:lnTo>
                  <a:lnTo>
                    <a:pt x="496253" y="1205865"/>
                  </a:lnTo>
                  <a:lnTo>
                    <a:pt x="493395" y="1201103"/>
                  </a:lnTo>
                  <a:lnTo>
                    <a:pt x="478155" y="1183005"/>
                  </a:lnTo>
                  <a:lnTo>
                    <a:pt x="473393" y="1180148"/>
                  </a:lnTo>
                  <a:lnTo>
                    <a:pt x="467678" y="1178243"/>
                  </a:lnTo>
                  <a:lnTo>
                    <a:pt x="464820" y="1179195"/>
                  </a:lnTo>
                  <a:lnTo>
                    <a:pt x="455295" y="1182053"/>
                  </a:lnTo>
                  <a:lnTo>
                    <a:pt x="449580" y="1183005"/>
                  </a:lnTo>
                  <a:lnTo>
                    <a:pt x="445770" y="1182053"/>
                  </a:lnTo>
                  <a:lnTo>
                    <a:pt x="442912" y="1180148"/>
                  </a:lnTo>
                  <a:lnTo>
                    <a:pt x="427673" y="1164908"/>
                  </a:lnTo>
                  <a:lnTo>
                    <a:pt x="426720" y="1163003"/>
                  </a:lnTo>
                  <a:lnTo>
                    <a:pt x="426720" y="1159193"/>
                  </a:lnTo>
                  <a:lnTo>
                    <a:pt x="426720" y="1156335"/>
                  </a:lnTo>
                  <a:lnTo>
                    <a:pt x="426720" y="1152525"/>
                  </a:lnTo>
                  <a:lnTo>
                    <a:pt x="423863" y="1146810"/>
                  </a:lnTo>
                  <a:lnTo>
                    <a:pt x="414338" y="1137285"/>
                  </a:lnTo>
                  <a:lnTo>
                    <a:pt x="407670" y="1132523"/>
                  </a:lnTo>
                  <a:lnTo>
                    <a:pt x="402907" y="1129665"/>
                  </a:lnTo>
                  <a:lnTo>
                    <a:pt x="398145" y="1129665"/>
                  </a:lnTo>
                  <a:lnTo>
                    <a:pt x="396240" y="1130618"/>
                  </a:lnTo>
                  <a:lnTo>
                    <a:pt x="393382" y="1134428"/>
                  </a:lnTo>
                  <a:lnTo>
                    <a:pt x="390525" y="1139190"/>
                  </a:lnTo>
                  <a:lnTo>
                    <a:pt x="385763" y="1143000"/>
                  </a:lnTo>
                  <a:lnTo>
                    <a:pt x="383857" y="1143953"/>
                  </a:lnTo>
                  <a:lnTo>
                    <a:pt x="370523" y="1145858"/>
                  </a:lnTo>
                  <a:lnTo>
                    <a:pt x="364807" y="1147762"/>
                  </a:lnTo>
                  <a:lnTo>
                    <a:pt x="360045" y="1150620"/>
                  </a:lnTo>
                  <a:lnTo>
                    <a:pt x="350520" y="1152525"/>
                  </a:lnTo>
                  <a:lnTo>
                    <a:pt x="350520" y="1158240"/>
                  </a:lnTo>
                  <a:lnTo>
                    <a:pt x="344805" y="1153478"/>
                  </a:lnTo>
                  <a:lnTo>
                    <a:pt x="335280" y="1149668"/>
                  </a:lnTo>
                  <a:lnTo>
                    <a:pt x="328613" y="1146810"/>
                  </a:lnTo>
                  <a:lnTo>
                    <a:pt x="323850" y="1141095"/>
                  </a:lnTo>
                  <a:lnTo>
                    <a:pt x="320992" y="1132523"/>
                  </a:lnTo>
                  <a:lnTo>
                    <a:pt x="316230" y="1126808"/>
                  </a:lnTo>
                  <a:lnTo>
                    <a:pt x="308610" y="1123950"/>
                  </a:lnTo>
                  <a:lnTo>
                    <a:pt x="303848" y="1120140"/>
                  </a:lnTo>
                  <a:lnTo>
                    <a:pt x="300990" y="1104900"/>
                  </a:lnTo>
                  <a:lnTo>
                    <a:pt x="294323" y="1101090"/>
                  </a:lnTo>
                  <a:lnTo>
                    <a:pt x="286703" y="1101090"/>
                  </a:lnTo>
                  <a:lnTo>
                    <a:pt x="280035" y="1102995"/>
                  </a:lnTo>
                  <a:lnTo>
                    <a:pt x="275273" y="1106805"/>
                  </a:lnTo>
                  <a:lnTo>
                    <a:pt x="271463" y="1112520"/>
                  </a:lnTo>
                  <a:lnTo>
                    <a:pt x="258127" y="1080135"/>
                  </a:lnTo>
                  <a:lnTo>
                    <a:pt x="253365" y="1062990"/>
                  </a:lnTo>
                  <a:lnTo>
                    <a:pt x="257175" y="1043940"/>
                  </a:lnTo>
                  <a:lnTo>
                    <a:pt x="242888" y="1040130"/>
                  </a:lnTo>
                  <a:lnTo>
                    <a:pt x="228600" y="1031557"/>
                  </a:lnTo>
                  <a:lnTo>
                    <a:pt x="220980" y="1018223"/>
                  </a:lnTo>
                  <a:lnTo>
                    <a:pt x="227648" y="1003935"/>
                  </a:lnTo>
                  <a:lnTo>
                    <a:pt x="227648" y="999173"/>
                  </a:lnTo>
                  <a:lnTo>
                    <a:pt x="213360" y="997268"/>
                  </a:lnTo>
                  <a:lnTo>
                    <a:pt x="200025" y="991553"/>
                  </a:lnTo>
                  <a:lnTo>
                    <a:pt x="192405" y="981075"/>
                  </a:lnTo>
                  <a:lnTo>
                    <a:pt x="191452" y="964882"/>
                  </a:lnTo>
                  <a:lnTo>
                    <a:pt x="198120" y="950595"/>
                  </a:lnTo>
                  <a:lnTo>
                    <a:pt x="210502" y="941070"/>
                  </a:lnTo>
                  <a:lnTo>
                    <a:pt x="224790" y="939165"/>
                  </a:lnTo>
                  <a:lnTo>
                    <a:pt x="239077" y="946785"/>
                  </a:lnTo>
                  <a:lnTo>
                    <a:pt x="249555" y="942023"/>
                  </a:lnTo>
                  <a:lnTo>
                    <a:pt x="266700" y="942023"/>
                  </a:lnTo>
                  <a:lnTo>
                    <a:pt x="282892" y="939165"/>
                  </a:lnTo>
                  <a:lnTo>
                    <a:pt x="289560" y="923925"/>
                  </a:lnTo>
                  <a:lnTo>
                    <a:pt x="282892" y="913448"/>
                  </a:lnTo>
                  <a:lnTo>
                    <a:pt x="239077" y="889635"/>
                  </a:lnTo>
                  <a:lnTo>
                    <a:pt x="202882" y="856298"/>
                  </a:lnTo>
                  <a:lnTo>
                    <a:pt x="195263" y="842963"/>
                  </a:lnTo>
                  <a:lnTo>
                    <a:pt x="192405" y="832485"/>
                  </a:lnTo>
                  <a:lnTo>
                    <a:pt x="191452" y="824865"/>
                  </a:lnTo>
                  <a:lnTo>
                    <a:pt x="190500" y="818198"/>
                  </a:lnTo>
                  <a:lnTo>
                    <a:pt x="184785" y="808673"/>
                  </a:lnTo>
                  <a:lnTo>
                    <a:pt x="178117" y="804863"/>
                  </a:lnTo>
                  <a:lnTo>
                    <a:pt x="171450" y="802005"/>
                  </a:lnTo>
                  <a:lnTo>
                    <a:pt x="167640" y="798195"/>
                  </a:lnTo>
                  <a:lnTo>
                    <a:pt x="169545" y="791528"/>
                  </a:lnTo>
                  <a:lnTo>
                    <a:pt x="169545" y="786765"/>
                  </a:lnTo>
                  <a:lnTo>
                    <a:pt x="163830" y="751523"/>
                  </a:lnTo>
                  <a:lnTo>
                    <a:pt x="159067" y="740093"/>
                  </a:lnTo>
                  <a:lnTo>
                    <a:pt x="144780" y="718185"/>
                  </a:lnTo>
                  <a:lnTo>
                    <a:pt x="137160" y="701993"/>
                  </a:lnTo>
                  <a:lnTo>
                    <a:pt x="139065" y="694373"/>
                  </a:lnTo>
                  <a:lnTo>
                    <a:pt x="147638" y="689610"/>
                  </a:lnTo>
                  <a:lnTo>
                    <a:pt x="141923" y="679132"/>
                  </a:lnTo>
                  <a:lnTo>
                    <a:pt x="117157" y="653415"/>
                  </a:lnTo>
                  <a:lnTo>
                    <a:pt x="90488" y="637223"/>
                  </a:lnTo>
                  <a:lnTo>
                    <a:pt x="78105" y="621982"/>
                  </a:lnTo>
                  <a:lnTo>
                    <a:pt x="49530" y="558165"/>
                  </a:lnTo>
                  <a:lnTo>
                    <a:pt x="40005" y="552450"/>
                  </a:lnTo>
                  <a:lnTo>
                    <a:pt x="29527" y="552450"/>
                  </a:lnTo>
                  <a:lnTo>
                    <a:pt x="21907" y="547688"/>
                  </a:lnTo>
                  <a:lnTo>
                    <a:pt x="18098" y="529590"/>
                  </a:lnTo>
                  <a:lnTo>
                    <a:pt x="20955" y="518160"/>
                  </a:lnTo>
                  <a:lnTo>
                    <a:pt x="28575" y="505778"/>
                  </a:lnTo>
                  <a:lnTo>
                    <a:pt x="38100" y="496253"/>
                  </a:lnTo>
                  <a:lnTo>
                    <a:pt x="47625" y="492442"/>
                  </a:lnTo>
                  <a:lnTo>
                    <a:pt x="43815" y="481013"/>
                  </a:lnTo>
                  <a:lnTo>
                    <a:pt x="44767" y="472440"/>
                  </a:lnTo>
                  <a:lnTo>
                    <a:pt x="48577" y="466725"/>
                  </a:lnTo>
                  <a:lnTo>
                    <a:pt x="54292" y="463867"/>
                  </a:lnTo>
                  <a:lnTo>
                    <a:pt x="50482" y="453390"/>
                  </a:lnTo>
                  <a:lnTo>
                    <a:pt x="28575" y="421957"/>
                  </a:lnTo>
                  <a:lnTo>
                    <a:pt x="27623" y="416242"/>
                  </a:lnTo>
                  <a:lnTo>
                    <a:pt x="36195" y="399098"/>
                  </a:lnTo>
                  <a:lnTo>
                    <a:pt x="28575" y="394335"/>
                  </a:lnTo>
                  <a:lnTo>
                    <a:pt x="19050" y="390525"/>
                  </a:lnTo>
                  <a:lnTo>
                    <a:pt x="10477" y="384810"/>
                  </a:lnTo>
                  <a:lnTo>
                    <a:pt x="7620" y="373380"/>
                  </a:lnTo>
                  <a:lnTo>
                    <a:pt x="6667" y="367665"/>
                  </a:lnTo>
                  <a:lnTo>
                    <a:pt x="11430" y="371475"/>
                  </a:lnTo>
                  <a:lnTo>
                    <a:pt x="16192" y="369570"/>
                  </a:lnTo>
                  <a:lnTo>
                    <a:pt x="18098" y="356235"/>
                  </a:lnTo>
                  <a:lnTo>
                    <a:pt x="17145" y="347663"/>
                  </a:lnTo>
                  <a:lnTo>
                    <a:pt x="2857" y="306705"/>
                  </a:lnTo>
                  <a:lnTo>
                    <a:pt x="0" y="300038"/>
                  </a:lnTo>
                  <a:lnTo>
                    <a:pt x="0" y="293370"/>
                  </a:lnTo>
                  <a:lnTo>
                    <a:pt x="6667" y="281940"/>
                  </a:lnTo>
                  <a:lnTo>
                    <a:pt x="11430" y="276225"/>
                  </a:lnTo>
                  <a:lnTo>
                    <a:pt x="18098" y="273367"/>
                  </a:lnTo>
                  <a:lnTo>
                    <a:pt x="69532" y="260032"/>
                  </a:lnTo>
                  <a:lnTo>
                    <a:pt x="81915" y="260032"/>
                  </a:lnTo>
                  <a:lnTo>
                    <a:pt x="119063" y="271463"/>
                  </a:lnTo>
                  <a:lnTo>
                    <a:pt x="132398" y="272415"/>
                  </a:lnTo>
                  <a:lnTo>
                    <a:pt x="153352" y="280988"/>
                  </a:lnTo>
                  <a:lnTo>
                    <a:pt x="167640" y="299085"/>
                  </a:lnTo>
                  <a:lnTo>
                    <a:pt x="182880" y="313373"/>
                  </a:lnTo>
                  <a:lnTo>
                    <a:pt x="203835" y="309563"/>
                  </a:lnTo>
                  <a:lnTo>
                    <a:pt x="282892" y="238125"/>
                  </a:lnTo>
                  <a:lnTo>
                    <a:pt x="342900" y="197167"/>
                  </a:lnTo>
                  <a:lnTo>
                    <a:pt x="357188" y="176213"/>
                  </a:lnTo>
                  <a:lnTo>
                    <a:pt x="370523" y="120967"/>
                  </a:lnTo>
                  <a:lnTo>
                    <a:pt x="378142" y="103822"/>
                  </a:lnTo>
                  <a:lnTo>
                    <a:pt x="397192" y="75247"/>
                  </a:lnTo>
                  <a:lnTo>
                    <a:pt x="408623" y="63817"/>
                  </a:lnTo>
                  <a:lnTo>
                    <a:pt x="420053" y="59055"/>
                  </a:lnTo>
                  <a:lnTo>
                    <a:pt x="551498" y="48577"/>
                  </a:lnTo>
                  <a:lnTo>
                    <a:pt x="583882" y="57150"/>
                  </a:lnTo>
                  <a:lnTo>
                    <a:pt x="594360" y="57150"/>
                  </a:lnTo>
                  <a:lnTo>
                    <a:pt x="742950" y="33338"/>
                  </a:lnTo>
                  <a:lnTo>
                    <a:pt x="790575" y="7620"/>
                  </a:lnTo>
                  <a:lnTo>
                    <a:pt x="814387" y="0"/>
                  </a:lnTo>
                  <a:lnTo>
                    <a:pt x="838200" y="0"/>
                  </a:lnTo>
                  <a:lnTo>
                    <a:pt x="926782" y="23813"/>
                  </a:lnTo>
                  <a:lnTo>
                    <a:pt x="1029653" y="25717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4BA1950D-E829-2E29-8763-9893A0EEEC31}"/>
                </a:ext>
              </a:extLst>
            </p:cNvPr>
            <p:cNvSpPr/>
            <p:nvPr/>
          </p:nvSpPr>
          <p:spPr>
            <a:xfrm>
              <a:off x="5276850" y="2035492"/>
              <a:ext cx="1714500" cy="1447800"/>
            </a:xfrm>
            <a:custGeom>
              <a:avLst/>
              <a:gdLst>
                <a:gd name="connsiteX0" fmla="*/ 1305877 w 1714500"/>
                <a:gd name="connsiteY0" fmla="*/ 10478 h 1447800"/>
                <a:gd name="connsiteX1" fmla="*/ 1311593 w 1714500"/>
                <a:gd name="connsiteY1" fmla="*/ 11430 h 1447800"/>
                <a:gd name="connsiteX2" fmla="*/ 1316355 w 1714500"/>
                <a:gd name="connsiteY2" fmla="*/ 11430 h 1447800"/>
                <a:gd name="connsiteX3" fmla="*/ 1319213 w 1714500"/>
                <a:gd name="connsiteY3" fmla="*/ 11430 h 1447800"/>
                <a:gd name="connsiteX4" fmla="*/ 1322070 w 1714500"/>
                <a:gd name="connsiteY4" fmla="*/ 14288 h 1447800"/>
                <a:gd name="connsiteX5" fmla="*/ 1324927 w 1714500"/>
                <a:gd name="connsiteY5" fmla="*/ 20003 h 1447800"/>
                <a:gd name="connsiteX6" fmla="*/ 1327785 w 1714500"/>
                <a:gd name="connsiteY6" fmla="*/ 28575 h 1447800"/>
                <a:gd name="connsiteX7" fmla="*/ 1335405 w 1714500"/>
                <a:gd name="connsiteY7" fmla="*/ 38100 h 1447800"/>
                <a:gd name="connsiteX8" fmla="*/ 1337310 w 1714500"/>
                <a:gd name="connsiteY8" fmla="*/ 40005 h 1447800"/>
                <a:gd name="connsiteX9" fmla="*/ 1339215 w 1714500"/>
                <a:gd name="connsiteY9" fmla="*/ 42863 h 1447800"/>
                <a:gd name="connsiteX10" fmla="*/ 1340168 w 1714500"/>
                <a:gd name="connsiteY10" fmla="*/ 46673 h 1447800"/>
                <a:gd name="connsiteX11" fmla="*/ 1342073 w 1714500"/>
                <a:gd name="connsiteY11" fmla="*/ 52388 h 1447800"/>
                <a:gd name="connsiteX12" fmla="*/ 1343977 w 1714500"/>
                <a:gd name="connsiteY12" fmla="*/ 57150 h 1447800"/>
                <a:gd name="connsiteX13" fmla="*/ 1347788 w 1714500"/>
                <a:gd name="connsiteY13" fmla="*/ 60960 h 1447800"/>
                <a:gd name="connsiteX14" fmla="*/ 1350645 w 1714500"/>
                <a:gd name="connsiteY14" fmla="*/ 62865 h 1447800"/>
                <a:gd name="connsiteX15" fmla="*/ 1362075 w 1714500"/>
                <a:gd name="connsiteY15" fmla="*/ 64770 h 1447800"/>
                <a:gd name="connsiteX16" fmla="*/ 1367790 w 1714500"/>
                <a:gd name="connsiteY16" fmla="*/ 67628 h 1447800"/>
                <a:gd name="connsiteX17" fmla="*/ 1370648 w 1714500"/>
                <a:gd name="connsiteY17" fmla="*/ 69533 h 1447800"/>
                <a:gd name="connsiteX18" fmla="*/ 1380173 w 1714500"/>
                <a:gd name="connsiteY18" fmla="*/ 83820 h 1447800"/>
                <a:gd name="connsiteX19" fmla="*/ 1383030 w 1714500"/>
                <a:gd name="connsiteY19" fmla="*/ 85725 h 1447800"/>
                <a:gd name="connsiteX20" fmla="*/ 1385888 w 1714500"/>
                <a:gd name="connsiteY20" fmla="*/ 85725 h 1447800"/>
                <a:gd name="connsiteX21" fmla="*/ 1390650 w 1714500"/>
                <a:gd name="connsiteY21" fmla="*/ 82867 h 1447800"/>
                <a:gd name="connsiteX22" fmla="*/ 1395413 w 1714500"/>
                <a:gd name="connsiteY22" fmla="*/ 80010 h 1447800"/>
                <a:gd name="connsiteX23" fmla="*/ 1398270 w 1714500"/>
                <a:gd name="connsiteY23" fmla="*/ 76200 h 1447800"/>
                <a:gd name="connsiteX24" fmla="*/ 1403032 w 1714500"/>
                <a:gd name="connsiteY24" fmla="*/ 73342 h 1447800"/>
                <a:gd name="connsiteX25" fmla="*/ 1405890 w 1714500"/>
                <a:gd name="connsiteY25" fmla="*/ 73342 h 1447800"/>
                <a:gd name="connsiteX26" fmla="*/ 1407795 w 1714500"/>
                <a:gd name="connsiteY26" fmla="*/ 74295 h 1447800"/>
                <a:gd name="connsiteX27" fmla="*/ 1411605 w 1714500"/>
                <a:gd name="connsiteY27" fmla="*/ 78105 h 1447800"/>
                <a:gd name="connsiteX28" fmla="*/ 1412557 w 1714500"/>
                <a:gd name="connsiteY28" fmla="*/ 80963 h 1447800"/>
                <a:gd name="connsiteX29" fmla="*/ 1413510 w 1714500"/>
                <a:gd name="connsiteY29" fmla="*/ 84773 h 1447800"/>
                <a:gd name="connsiteX30" fmla="*/ 1414463 w 1714500"/>
                <a:gd name="connsiteY30" fmla="*/ 94298 h 1447800"/>
                <a:gd name="connsiteX31" fmla="*/ 1412557 w 1714500"/>
                <a:gd name="connsiteY31" fmla="*/ 99060 h 1447800"/>
                <a:gd name="connsiteX32" fmla="*/ 1410652 w 1714500"/>
                <a:gd name="connsiteY32" fmla="*/ 101917 h 1447800"/>
                <a:gd name="connsiteX33" fmla="*/ 1392555 w 1714500"/>
                <a:gd name="connsiteY33" fmla="*/ 107633 h 1447800"/>
                <a:gd name="connsiteX34" fmla="*/ 1390650 w 1714500"/>
                <a:gd name="connsiteY34" fmla="*/ 109538 h 1447800"/>
                <a:gd name="connsiteX35" fmla="*/ 1391602 w 1714500"/>
                <a:gd name="connsiteY35" fmla="*/ 114300 h 1447800"/>
                <a:gd name="connsiteX36" fmla="*/ 1402080 w 1714500"/>
                <a:gd name="connsiteY36" fmla="*/ 151448 h 1447800"/>
                <a:gd name="connsiteX37" fmla="*/ 1403985 w 1714500"/>
                <a:gd name="connsiteY37" fmla="*/ 155258 h 1447800"/>
                <a:gd name="connsiteX38" fmla="*/ 1407795 w 1714500"/>
                <a:gd name="connsiteY38" fmla="*/ 158115 h 1447800"/>
                <a:gd name="connsiteX39" fmla="*/ 1411605 w 1714500"/>
                <a:gd name="connsiteY39" fmla="*/ 160020 h 1447800"/>
                <a:gd name="connsiteX40" fmla="*/ 1423988 w 1714500"/>
                <a:gd name="connsiteY40" fmla="*/ 165735 h 1447800"/>
                <a:gd name="connsiteX41" fmla="*/ 1426845 w 1714500"/>
                <a:gd name="connsiteY41" fmla="*/ 165735 h 1447800"/>
                <a:gd name="connsiteX42" fmla="*/ 1429702 w 1714500"/>
                <a:gd name="connsiteY42" fmla="*/ 165735 h 1447800"/>
                <a:gd name="connsiteX43" fmla="*/ 1437323 w 1714500"/>
                <a:gd name="connsiteY43" fmla="*/ 162878 h 1447800"/>
                <a:gd name="connsiteX44" fmla="*/ 1440180 w 1714500"/>
                <a:gd name="connsiteY44" fmla="*/ 162878 h 1447800"/>
                <a:gd name="connsiteX45" fmla="*/ 1443038 w 1714500"/>
                <a:gd name="connsiteY45" fmla="*/ 163830 h 1447800"/>
                <a:gd name="connsiteX46" fmla="*/ 1466850 w 1714500"/>
                <a:gd name="connsiteY46" fmla="*/ 211455 h 1447800"/>
                <a:gd name="connsiteX47" fmla="*/ 1470660 w 1714500"/>
                <a:gd name="connsiteY47" fmla="*/ 217170 h 1447800"/>
                <a:gd name="connsiteX48" fmla="*/ 1472565 w 1714500"/>
                <a:gd name="connsiteY48" fmla="*/ 219075 h 1447800"/>
                <a:gd name="connsiteX49" fmla="*/ 1484948 w 1714500"/>
                <a:gd name="connsiteY49" fmla="*/ 226695 h 1447800"/>
                <a:gd name="connsiteX50" fmla="*/ 1486852 w 1714500"/>
                <a:gd name="connsiteY50" fmla="*/ 229553 h 1447800"/>
                <a:gd name="connsiteX51" fmla="*/ 1488757 w 1714500"/>
                <a:gd name="connsiteY51" fmla="*/ 233363 h 1447800"/>
                <a:gd name="connsiteX52" fmla="*/ 1489710 w 1714500"/>
                <a:gd name="connsiteY52" fmla="*/ 240983 h 1447800"/>
                <a:gd name="connsiteX53" fmla="*/ 1488757 w 1714500"/>
                <a:gd name="connsiteY53" fmla="*/ 245745 h 1447800"/>
                <a:gd name="connsiteX54" fmla="*/ 1488757 w 1714500"/>
                <a:gd name="connsiteY54" fmla="*/ 250508 h 1447800"/>
                <a:gd name="connsiteX55" fmla="*/ 1483995 w 1714500"/>
                <a:gd name="connsiteY55" fmla="*/ 267653 h 1447800"/>
                <a:gd name="connsiteX56" fmla="*/ 1483995 w 1714500"/>
                <a:gd name="connsiteY56" fmla="*/ 275273 h 1447800"/>
                <a:gd name="connsiteX57" fmla="*/ 1484948 w 1714500"/>
                <a:gd name="connsiteY57" fmla="*/ 289560 h 1447800"/>
                <a:gd name="connsiteX58" fmla="*/ 1483995 w 1714500"/>
                <a:gd name="connsiteY58" fmla="*/ 294323 h 1447800"/>
                <a:gd name="connsiteX59" fmla="*/ 1482090 w 1714500"/>
                <a:gd name="connsiteY59" fmla="*/ 297180 h 1447800"/>
                <a:gd name="connsiteX60" fmla="*/ 1478280 w 1714500"/>
                <a:gd name="connsiteY60" fmla="*/ 299085 h 1447800"/>
                <a:gd name="connsiteX61" fmla="*/ 1476375 w 1714500"/>
                <a:gd name="connsiteY61" fmla="*/ 299085 h 1447800"/>
                <a:gd name="connsiteX62" fmla="*/ 1471613 w 1714500"/>
                <a:gd name="connsiteY62" fmla="*/ 297180 h 1447800"/>
                <a:gd name="connsiteX63" fmla="*/ 1468755 w 1714500"/>
                <a:gd name="connsiteY63" fmla="*/ 296228 h 1447800"/>
                <a:gd name="connsiteX64" fmla="*/ 1465898 w 1714500"/>
                <a:gd name="connsiteY64" fmla="*/ 297180 h 1447800"/>
                <a:gd name="connsiteX65" fmla="*/ 1463993 w 1714500"/>
                <a:gd name="connsiteY65" fmla="*/ 299085 h 1447800"/>
                <a:gd name="connsiteX66" fmla="*/ 1462088 w 1714500"/>
                <a:gd name="connsiteY66" fmla="*/ 300990 h 1447800"/>
                <a:gd name="connsiteX67" fmla="*/ 1461135 w 1714500"/>
                <a:gd name="connsiteY67" fmla="*/ 303848 h 1447800"/>
                <a:gd name="connsiteX68" fmla="*/ 1463040 w 1714500"/>
                <a:gd name="connsiteY68" fmla="*/ 310515 h 1447800"/>
                <a:gd name="connsiteX69" fmla="*/ 1465898 w 1714500"/>
                <a:gd name="connsiteY69" fmla="*/ 318135 h 1447800"/>
                <a:gd name="connsiteX70" fmla="*/ 1484948 w 1714500"/>
                <a:gd name="connsiteY70" fmla="*/ 352425 h 1447800"/>
                <a:gd name="connsiteX71" fmla="*/ 1494473 w 1714500"/>
                <a:gd name="connsiteY71" fmla="*/ 364808 h 1447800"/>
                <a:gd name="connsiteX72" fmla="*/ 1499235 w 1714500"/>
                <a:gd name="connsiteY72" fmla="*/ 367665 h 1447800"/>
                <a:gd name="connsiteX73" fmla="*/ 1501140 w 1714500"/>
                <a:gd name="connsiteY73" fmla="*/ 367665 h 1447800"/>
                <a:gd name="connsiteX74" fmla="*/ 1503998 w 1714500"/>
                <a:gd name="connsiteY74" fmla="*/ 367665 h 1447800"/>
                <a:gd name="connsiteX75" fmla="*/ 1508760 w 1714500"/>
                <a:gd name="connsiteY75" fmla="*/ 364808 h 1447800"/>
                <a:gd name="connsiteX76" fmla="*/ 1511618 w 1714500"/>
                <a:gd name="connsiteY76" fmla="*/ 363855 h 1447800"/>
                <a:gd name="connsiteX77" fmla="*/ 1513523 w 1714500"/>
                <a:gd name="connsiteY77" fmla="*/ 363855 h 1447800"/>
                <a:gd name="connsiteX78" fmla="*/ 1516380 w 1714500"/>
                <a:gd name="connsiteY78" fmla="*/ 364808 h 1447800"/>
                <a:gd name="connsiteX79" fmla="*/ 1518285 w 1714500"/>
                <a:gd name="connsiteY79" fmla="*/ 366713 h 1447800"/>
                <a:gd name="connsiteX80" fmla="*/ 1525905 w 1714500"/>
                <a:gd name="connsiteY80" fmla="*/ 374333 h 1447800"/>
                <a:gd name="connsiteX81" fmla="*/ 1529715 w 1714500"/>
                <a:gd name="connsiteY81" fmla="*/ 380048 h 1447800"/>
                <a:gd name="connsiteX82" fmla="*/ 1531620 w 1714500"/>
                <a:gd name="connsiteY82" fmla="*/ 383858 h 1447800"/>
                <a:gd name="connsiteX83" fmla="*/ 1534477 w 1714500"/>
                <a:gd name="connsiteY83" fmla="*/ 386715 h 1447800"/>
                <a:gd name="connsiteX84" fmla="*/ 1539240 w 1714500"/>
                <a:gd name="connsiteY84" fmla="*/ 385763 h 1447800"/>
                <a:gd name="connsiteX85" fmla="*/ 1544002 w 1714500"/>
                <a:gd name="connsiteY85" fmla="*/ 383858 h 1447800"/>
                <a:gd name="connsiteX86" fmla="*/ 1545907 w 1714500"/>
                <a:gd name="connsiteY86" fmla="*/ 382905 h 1447800"/>
                <a:gd name="connsiteX87" fmla="*/ 1548765 w 1714500"/>
                <a:gd name="connsiteY87" fmla="*/ 383858 h 1447800"/>
                <a:gd name="connsiteX88" fmla="*/ 1565910 w 1714500"/>
                <a:gd name="connsiteY88" fmla="*/ 398145 h 1447800"/>
                <a:gd name="connsiteX89" fmla="*/ 1567815 w 1714500"/>
                <a:gd name="connsiteY89" fmla="*/ 401003 h 1447800"/>
                <a:gd name="connsiteX90" fmla="*/ 1568768 w 1714500"/>
                <a:gd name="connsiteY90" fmla="*/ 405765 h 1447800"/>
                <a:gd name="connsiteX91" fmla="*/ 1569720 w 1714500"/>
                <a:gd name="connsiteY91" fmla="*/ 414338 h 1447800"/>
                <a:gd name="connsiteX92" fmla="*/ 1569720 w 1714500"/>
                <a:gd name="connsiteY92" fmla="*/ 419100 h 1447800"/>
                <a:gd name="connsiteX93" fmla="*/ 1568768 w 1714500"/>
                <a:gd name="connsiteY93" fmla="*/ 441008 h 1447800"/>
                <a:gd name="connsiteX94" fmla="*/ 1570673 w 1714500"/>
                <a:gd name="connsiteY94" fmla="*/ 447675 h 1447800"/>
                <a:gd name="connsiteX95" fmla="*/ 1574482 w 1714500"/>
                <a:gd name="connsiteY95" fmla="*/ 450533 h 1447800"/>
                <a:gd name="connsiteX96" fmla="*/ 1577340 w 1714500"/>
                <a:gd name="connsiteY96" fmla="*/ 453390 h 1447800"/>
                <a:gd name="connsiteX97" fmla="*/ 1634490 w 1714500"/>
                <a:gd name="connsiteY97" fmla="*/ 475298 h 1447800"/>
                <a:gd name="connsiteX98" fmla="*/ 1637348 w 1714500"/>
                <a:gd name="connsiteY98" fmla="*/ 479108 h 1447800"/>
                <a:gd name="connsiteX99" fmla="*/ 1639252 w 1714500"/>
                <a:gd name="connsiteY99" fmla="*/ 483870 h 1447800"/>
                <a:gd name="connsiteX100" fmla="*/ 1640205 w 1714500"/>
                <a:gd name="connsiteY100" fmla="*/ 507683 h 1447800"/>
                <a:gd name="connsiteX101" fmla="*/ 1641157 w 1714500"/>
                <a:gd name="connsiteY101" fmla="*/ 511492 h 1447800"/>
                <a:gd name="connsiteX102" fmla="*/ 1644015 w 1714500"/>
                <a:gd name="connsiteY102" fmla="*/ 517208 h 1447800"/>
                <a:gd name="connsiteX103" fmla="*/ 1645920 w 1714500"/>
                <a:gd name="connsiteY103" fmla="*/ 521017 h 1447800"/>
                <a:gd name="connsiteX104" fmla="*/ 1648777 w 1714500"/>
                <a:gd name="connsiteY104" fmla="*/ 522923 h 1447800"/>
                <a:gd name="connsiteX105" fmla="*/ 1662113 w 1714500"/>
                <a:gd name="connsiteY105" fmla="*/ 533400 h 1447800"/>
                <a:gd name="connsiteX106" fmla="*/ 1665923 w 1714500"/>
                <a:gd name="connsiteY106" fmla="*/ 539115 h 1447800"/>
                <a:gd name="connsiteX107" fmla="*/ 1669732 w 1714500"/>
                <a:gd name="connsiteY107" fmla="*/ 553403 h 1447800"/>
                <a:gd name="connsiteX108" fmla="*/ 1669732 w 1714500"/>
                <a:gd name="connsiteY108" fmla="*/ 557213 h 1447800"/>
                <a:gd name="connsiteX109" fmla="*/ 1669732 w 1714500"/>
                <a:gd name="connsiteY109" fmla="*/ 562928 h 1447800"/>
                <a:gd name="connsiteX110" fmla="*/ 1668780 w 1714500"/>
                <a:gd name="connsiteY110" fmla="*/ 571500 h 1447800"/>
                <a:gd name="connsiteX111" fmla="*/ 1666875 w 1714500"/>
                <a:gd name="connsiteY111" fmla="*/ 576263 h 1447800"/>
                <a:gd name="connsiteX112" fmla="*/ 1664970 w 1714500"/>
                <a:gd name="connsiteY112" fmla="*/ 580073 h 1447800"/>
                <a:gd name="connsiteX113" fmla="*/ 1664018 w 1714500"/>
                <a:gd name="connsiteY113" fmla="*/ 581978 h 1447800"/>
                <a:gd name="connsiteX114" fmla="*/ 1652588 w 1714500"/>
                <a:gd name="connsiteY114" fmla="*/ 588645 h 1447800"/>
                <a:gd name="connsiteX115" fmla="*/ 1647825 w 1714500"/>
                <a:gd name="connsiteY115" fmla="*/ 592455 h 1447800"/>
                <a:gd name="connsiteX116" fmla="*/ 1646873 w 1714500"/>
                <a:gd name="connsiteY116" fmla="*/ 594360 h 1447800"/>
                <a:gd name="connsiteX117" fmla="*/ 1625918 w 1714500"/>
                <a:gd name="connsiteY117" fmla="*/ 629603 h 1447800"/>
                <a:gd name="connsiteX118" fmla="*/ 1625918 w 1714500"/>
                <a:gd name="connsiteY118" fmla="*/ 633413 h 1447800"/>
                <a:gd name="connsiteX119" fmla="*/ 1626870 w 1714500"/>
                <a:gd name="connsiteY119" fmla="*/ 638175 h 1447800"/>
                <a:gd name="connsiteX120" fmla="*/ 1631632 w 1714500"/>
                <a:gd name="connsiteY120" fmla="*/ 647700 h 1447800"/>
                <a:gd name="connsiteX121" fmla="*/ 1637348 w 1714500"/>
                <a:gd name="connsiteY121" fmla="*/ 655320 h 1447800"/>
                <a:gd name="connsiteX122" fmla="*/ 1640205 w 1714500"/>
                <a:gd name="connsiteY122" fmla="*/ 659130 h 1447800"/>
                <a:gd name="connsiteX123" fmla="*/ 1661160 w 1714500"/>
                <a:gd name="connsiteY123" fmla="*/ 686752 h 1447800"/>
                <a:gd name="connsiteX124" fmla="*/ 1664018 w 1714500"/>
                <a:gd name="connsiteY124" fmla="*/ 691515 h 1447800"/>
                <a:gd name="connsiteX125" fmla="*/ 1685925 w 1714500"/>
                <a:gd name="connsiteY125" fmla="*/ 749618 h 1447800"/>
                <a:gd name="connsiteX126" fmla="*/ 1686877 w 1714500"/>
                <a:gd name="connsiteY126" fmla="*/ 756285 h 1447800"/>
                <a:gd name="connsiteX127" fmla="*/ 1686877 w 1714500"/>
                <a:gd name="connsiteY127" fmla="*/ 769620 h 1447800"/>
                <a:gd name="connsiteX128" fmla="*/ 1684973 w 1714500"/>
                <a:gd name="connsiteY128" fmla="*/ 807720 h 1447800"/>
                <a:gd name="connsiteX129" fmla="*/ 1679257 w 1714500"/>
                <a:gd name="connsiteY129" fmla="*/ 830580 h 1447800"/>
                <a:gd name="connsiteX130" fmla="*/ 1678305 w 1714500"/>
                <a:gd name="connsiteY130" fmla="*/ 833438 h 1447800"/>
                <a:gd name="connsiteX131" fmla="*/ 1665923 w 1714500"/>
                <a:gd name="connsiteY131" fmla="*/ 867727 h 1447800"/>
                <a:gd name="connsiteX132" fmla="*/ 1665923 w 1714500"/>
                <a:gd name="connsiteY132" fmla="*/ 870585 h 1447800"/>
                <a:gd name="connsiteX133" fmla="*/ 1665923 w 1714500"/>
                <a:gd name="connsiteY133" fmla="*/ 873443 h 1447800"/>
                <a:gd name="connsiteX134" fmla="*/ 1669732 w 1714500"/>
                <a:gd name="connsiteY134" fmla="*/ 877252 h 1447800"/>
                <a:gd name="connsiteX135" fmla="*/ 1675448 w 1714500"/>
                <a:gd name="connsiteY135" fmla="*/ 882015 h 1447800"/>
                <a:gd name="connsiteX136" fmla="*/ 1679257 w 1714500"/>
                <a:gd name="connsiteY136" fmla="*/ 886777 h 1447800"/>
                <a:gd name="connsiteX137" fmla="*/ 1682115 w 1714500"/>
                <a:gd name="connsiteY137" fmla="*/ 890588 h 1447800"/>
                <a:gd name="connsiteX138" fmla="*/ 1685925 w 1714500"/>
                <a:gd name="connsiteY138" fmla="*/ 901065 h 1447800"/>
                <a:gd name="connsiteX139" fmla="*/ 1689735 w 1714500"/>
                <a:gd name="connsiteY139" fmla="*/ 920115 h 1447800"/>
                <a:gd name="connsiteX140" fmla="*/ 1690688 w 1714500"/>
                <a:gd name="connsiteY140" fmla="*/ 928688 h 1447800"/>
                <a:gd name="connsiteX141" fmla="*/ 1690688 w 1714500"/>
                <a:gd name="connsiteY141" fmla="*/ 950595 h 1447800"/>
                <a:gd name="connsiteX142" fmla="*/ 1690688 w 1714500"/>
                <a:gd name="connsiteY142" fmla="*/ 956310 h 1447800"/>
                <a:gd name="connsiteX143" fmla="*/ 1691640 w 1714500"/>
                <a:gd name="connsiteY143" fmla="*/ 959168 h 1447800"/>
                <a:gd name="connsiteX144" fmla="*/ 1704023 w 1714500"/>
                <a:gd name="connsiteY144" fmla="*/ 994410 h 1447800"/>
                <a:gd name="connsiteX145" fmla="*/ 1705927 w 1714500"/>
                <a:gd name="connsiteY145" fmla="*/ 996315 h 1447800"/>
                <a:gd name="connsiteX146" fmla="*/ 1707832 w 1714500"/>
                <a:gd name="connsiteY146" fmla="*/ 998220 h 1447800"/>
                <a:gd name="connsiteX147" fmla="*/ 1717357 w 1714500"/>
                <a:gd name="connsiteY147" fmla="*/ 1001077 h 1447800"/>
                <a:gd name="connsiteX148" fmla="*/ 1719263 w 1714500"/>
                <a:gd name="connsiteY148" fmla="*/ 1002030 h 1447800"/>
                <a:gd name="connsiteX149" fmla="*/ 1720215 w 1714500"/>
                <a:gd name="connsiteY149" fmla="*/ 1003935 h 1447800"/>
                <a:gd name="connsiteX150" fmla="*/ 1720215 w 1714500"/>
                <a:gd name="connsiteY150" fmla="*/ 1010602 h 1447800"/>
                <a:gd name="connsiteX151" fmla="*/ 1718310 w 1714500"/>
                <a:gd name="connsiteY151" fmla="*/ 1014413 h 1447800"/>
                <a:gd name="connsiteX152" fmla="*/ 1714500 w 1714500"/>
                <a:gd name="connsiteY152" fmla="*/ 1018223 h 1447800"/>
                <a:gd name="connsiteX153" fmla="*/ 1690688 w 1714500"/>
                <a:gd name="connsiteY153" fmla="*/ 1038225 h 1447800"/>
                <a:gd name="connsiteX154" fmla="*/ 1686877 w 1714500"/>
                <a:gd name="connsiteY154" fmla="*/ 1042035 h 1447800"/>
                <a:gd name="connsiteX155" fmla="*/ 1684973 w 1714500"/>
                <a:gd name="connsiteY155" fmla="*/ 1045845 h 1447800"/>
                <a:gd name="connsiteX156" fmla="*/ 1682115 w 1714500"/>
                <a:gd name="connsiteY156" fmla="*/ 1048702 h 1447800"/>
                <a:gd name="connsiteX157" fmla="*/ 1678305 w 1714500"/>
                <a:gd name="connsiteY157" fmla="*/ 1049655 h 1447800"/>
                <a:gd name="connsiteX158" fmla="*/ 1669732 w 1714500"/>
                <a:gd name="connsiteY158" fmla="*/ 1049655 h 1447800"/>
                <a:gd name="connsiteX159" fmla="*/ 1662113 w 1714500"/>
                <a:gd name="connsiteY159" fmla="*/ 1046798 h 1447800"/>
                <a:gd name="connsiteX160" fmla="*/ 1655445 w 1714500"/>
                <a:gd name="connsiteY160" fmla="*/ 1041083 h 1447800"/>
                <a:gd name="connsiteX161" fmla="*/ 1642110 w 1714500"/>
                <a:gd name="connsiteY161" fmla="*/ 1031558 h 1447800"/>
                <a:gd name="connsiteX162" fmla="*/ 1636395 w 1714500"/>
                <a:gd name="connsiteY162" fmla="*/ 1029652 h 1447800"/>
                <a:gd name="connsiteX163" fmla="*/ 1632585 w 1714500"/>
                <a:gd name="connsiteY163" fmla="*/ 1028700 h 1447800"/>
                <a:gd name="connsiteX164" fmla="*/ 1629727 w 1714500"/>
                <a:gd name="connsiteY164" fmla="*/ 1029652 h 1447800"/>
                <a:gd name="connsiteX165" fmla="*/ 1625918 w 1714500"/>
                <a:gd name="connsiteY165" fmla="*/ 1033463 h 1447800"/>
                <a:gd name="connsiteX166" fmla="*/ 1624013 w 1714500"/>
                <a:gd name="connsiteY166" fmla="*/ 1036320 h 1447800"/>
                <a:gd name="connsiteX167" fmla="*/ 1621155 w 1714500"/>
                <a:gd name="connsiteY167" fmla="*/ 1042988 h 1447800"/>
                <a:gd name="connsiteX168" fmla="*/ 1618298 w 1714500"/>
                <a:gd name="connsiteY168" fmla="*/ 1047750 h 1447800"/>
                <a:gd name="connsiteX169" fmla="*/ 1613535 w 1714500"/>
                <a:gd name="connsiteY169" fmla="*/ 1054418 h 1447800"/>
                <a:gd name="connsiteX170" fmla="*/ 1604010 w 1714500"/>
                <a:gd name="connsiteY170" fmla="*/ 1062038 h 1447800"/>
                <a:gd name="connsiteX171" fmla="*/ 1601152 w 1714500"/>
                <a:gd name="connsiteY171" fmla="*/ 1063943 h 1447800"/>
                <a:gd name="connsiteX172" fmla="*/ 1596390 w 1714500"/>
                <a:gd name="connsiteY172" fmla="*/ 1063943 h 1447800"/>
                <a:gd name="connsiteX173" fmla="*/ 1589723 w 1714500"/>
                <a:gd name="connsiteY173" fmla="*/ 1063943 h 1447800"/>
                <a:gd name="connsiteX174" fmla="*/ 1585913 w 1714500"/>
                <a:gd name="connsiteY174" fmla="*/ 1062990 h 1447800"/>
                <a:gd name="connsiteX175" fmla="*/ 1583055 w 1714500"/>
                <a:gd name="connsiteY175" fmla="*/ 1061085 h 1447800"/>
                <a:gd name="connsiteX176" fmla="*/ 1576388 w 1714500"/>
                <a:gd name="connsiteY176" fmla="*/ 1056323 h 1447800"/>
                <a:gd name="connsiteX177" fmla="*/ 1571625 w 1714500"/>
                <a:gd name="connsiteY177" fmla="*/ 1053465 h 1447800"/>
                <a:gd name="connsiteX178" fmla="*/ 1568768 w 1714500"/>
                <a:gd name="connsiteY178" fmla="*/ 1052513 h 1447800"/>
                <a:gd name="connsiteX179" fmla="*/ 1565910 w 1714500"/>
                <a:gd name="connsiteY179" fmla="*/ 1053465 h 1447800"/>
                <a:gd name="connsiteX180" fmla="*/ 1562100 w 1714500"/>
                <a:gd name="connsiteY180" fmla="*/ 1057275 h 1447800"/>
                <a:gd name="connsiteX181" fmla="*/ 1560195 w 1714500"/>
                <a:gd name="connsiteY181" fmla="*/ 1063943 h 1447800"/>
                <a:gd name="connsiteX182" fmla="*/ 1561148 w 1714500"/>
                <a:gd name="connsiteY182" fmla="*/ 1066800 h 1447800"/>
                <a:gd name="connsiteX183" fmla="*/ 1560195 w 1714500"/>
                <a:gd name="connsiteY183" fmla="*/ 1073468 h 1447800"/>
                <a:gd name="connsiteX184" fmla="*/ 1558290 w 1714500"/>
                <a:gd name="connsiteY184" fmla="*/ 1075373 h 1447800"/>
                <a:gd name="connsiteX185" fmla="*/ 1554480 w 1714500"/>
                <a:gd name="connsiteY185" fmla="*/ 1077277 h 1447800"/>
                <a:gd name="connsiteX186" fmla="*/ 1546860 w 1714500"/>
                <a:gd name="connsiteY186" fmla="*/ 1077277 h 1447800"/>
                <a:gd name="connsiteX187" fmla="*/ 1543050 w 1714500"/>
                <a:gd name="connsiteY187" fmla="*/ 1076325 h 1447800"/>
                <a:gd name="connsiteX188" fmla="*/ 1541145 w 1714500"/>
                <a:gd name="connsiteY188" fmla="*/ 1074420 h 1447800"/>
                <a:gd name="connsiteX189" fmla="*/ 1540193 w 1714500"/>
                <a:gd name="connsiteY189" fmla="*/ 1068705 h 1447800"/>
                <a:gd name="connsiteX190" fmla="*/ 1539240 w 1714500"/>
                <a:gd name="connsiteY190" fmla="*/ 1053465 h 1447800"/>
                <a:gd name="connsiteX191" fmla="*/ 1537335 w 1714500"/>
                <a:gd name="connsiteY191" fmla="*/ 1045845 h 1447800"/>
                <a:gd name="connsiteX192" fmla="*/ 1533525 w 1714500"/>
                <a:gd name="connsiteY192" fmla="*/ 1039177 h 1447800"/>
                <a:gd name="connsiteX193" fmla="*/ 1513523 w 1714500"/>
                <a:gd name="connsiteY193" fmla="*/ 1011555 h 1447800"/>
                <a:gd name="connsiteX194" fmla="*/ 1509713 w 1714500"/>
                <a:gd name="connsiteY194" fmla="*/ 1003935 h 1447800"/>
                <a:gd name="connsiteX195" fmla="*/ 1508760 w 1714500"/>
                <a:gd name="connsiteY195" fmla="*/ 1002030 h 1447800"/>
                <a:gd name="connsiteX196" fmla="*/ 1508760 w 1714500"/>
                <a:gd name="connsiteY196" fmla="*/ 999173 h 1447800"/>
                <a:gd name="connsiteX197" fmla="*/ 1509713 w 1714500"/>
                <a:gd name="connsiteY197" fmla="*/ 979170 h 1447800"/>
                <a:gd name="connsiteX198" fmla="*/ 1508760 w 1714500"/>
                <a:gd name="connsiteY198" fmla="*/ 976313 h 1447800"/>
                <a:gd name="connsiteX199" fmla="*/ 1507807 w 1714500"/>
                <a:gd name="connsiteY199" fmla="*/ 973455 h 1447800"/>
                <a:gd name="connsiteX200" fmla="*/ 1505902 w 1714500"/>
                <a:gd name="connsiteY200" fmla="*/ 972502 h 1447800"/>
                <a:gd name="connsiteX201" fmla="*/ 1503045 w 1714500"/>
                <a:gd name="connsiteY201" fmla="*/ 973455 h 1447800"/>
                <a:gd name="connsiteX202" fmla="*/ 1498282 w 1714500"/>
                <a:gd name="connsiteY202" fmla="*/ 977265 h 1447800"/>
                <a:gd name="connsiteX203" fmla="*/ 1491615 w 1714500"/>
                <a:gd name="connsiteY203" fmla="*/ 983933 h 1447800"/>
                <a:gd name="connsiteX204" fmla="*/ 1488757 w 1714500"/>
                <a:gd name="connsiteY204" fmla="*/ 984885 h 1447800"/>
                <a:gd name="connsiteX205" fmla="*/ 1484948 w 1714500"/>
                <a:gd name="connsiteY205" fmla="*/ 985838 h 1447800"/>
                <a:gd name="connsiteX206" fmla="*/ 1478280 w 1714500"/>
                <a:gd name="connsiteY206" fmla="*/ 985838 h 1447800"/>
                <a:gd name="connsiteX207" fmla="*/ 1469707 w 1714500"/>
                <a:gd name="connsiteY207" fmla="*/ 983933 h 1447800"/>
                <a:gd name="connsiteX208" fmla="*/ 1463993 w 1714500"/>
                <a:gd name="connsiteY208" fmla="*/ 982027 h 1447800"/>
                <a:gd name="connsiteX209" fmla="*/ 1462088 w 1714500"/>
                <a:gd name="connsiteY209" fmla="*/ 980123 h 1447800"/>
                <a:gd name="connsiteX210" fmla="*/ 1460182 w 1714500"/>
                <a:gd name="connsiteY210" fmla="*/ 978218 h 1447800"/>
                <a:gd name="connsiteX211" fmla="*/ 1459230 w 1714500"/>
                <a:gd name="connsiteY211" fmla="*/ 972502 h 1447800"/>
                <a:gd name="connsiteX212" fmla="*/ 1458277 w 1714500"/>
                <a:gd name="connsiteY212" fmla="*/ 969645 h 1447800"/>
                <a:gd name="connsiteX213" fmla="*/ 1456373 w 1714500"/>
                <a:gd name="connsiteY213" fmla="*/ 967740 h 1447800"/>
                <a:gd name="connsiteX214" fmla="*/ 1451610 w 1714500"/>
                <a:gd name="connsiteY214" fmla="*/ 964883 h 1447800"/>
                <a:gd name="connsiteX215" fmla="*/ 1450657 w 1714500"/>
                <a:gd name="connsiteY215" fmla="*/ 962977 h 1447800"/>
                <a:gd name="connsiteX216" fmla="*/ 1449705 w 1714500"/>
                <a:gd name="connsiteY216" fmla="*/ 960120 h 1447800"/>
                <a:gd name="connsiteX217" fmla="*/ 1450657 w 1714500"/>
                <a:gd name="connsiteY217" fmla="*/ 954405 h 1447800"/>
                <a:gd name="connsiteX218" fmla="*/ 1450657 w 1714500"/>
                <a:gd name="connsiteY218" fmla="*/ 951548 h 1447800"/>
                <a:gd name="connsiteX219" fmla="*/ 1449705 w 1714500"/>
                <a:gd name="connsiteY219" fmla="*/ 948690 h 1447800"/>
                <a:gd name="connsiteX220" fmla="*/ 1446848 w 1714500"/>
                <a:gd name="connsiteY220" fmla="*/ 947738 h 1447800"/>
                <a:gd name="connsiteX221" fmla="*/ 1443990 w 1714500"/>
                <a:gd name="connsiteY221" fmla="*/ 946785 h 1447800"/>
                <a:gd name="connsiteX222" fmla="*/ 1442085 w 1714500"/>
                <a:gd name="connsiteY222" fmla="*/ 947738 h 1447800"/>
                <a:gd name="connsiteX223" fmla="*/ 1434465 w 1714500"/>
                <a:gd name="connsiteY223" fmla="*/ 954405 h 1447800"/>
                <a:gd name="connsiteX224" fmla="*/ 1428750 w 1714500"/>
                <a:gd name="connsiteY224" fmla="*/ 956310 h 1447800"/>
                <a:gd name="connsiteX225" fmla="*/ 1422082 w 1714500"/>
                <a:gd name="connsiteY225" fmla="*/ 962977 h 1447800"/>
                <a:gd name="connsiteX226" fmla="*/ 1420177 w 1714500"/>
                <a:gd name="connsiteY226" fmla="*/ 965835 h 1447800"/>
                <a:gd name="connsiteX227" fmla="*/ 1419225 w 1714500"/>
                <a:gd name="connsiteY227" fmla="*/ 967740 h 1447800"/>
                <a:gd name="connsiteX228" fmla="*/ 1421130 w 1714500"/>
                <a:gd name="connsiteY228" fmla="*/ 976313 h 1447800"/>
                <a:gd name="connsiteX229" fmla="*/ 1421130 w 1714500"/>
                <a:gd name="connsiteY229" fmla="*/ 979170 h 1447800"/>
                <a:gd name="connsiteX230" fmla="*/ 1419225 w 1714500"/>
                <a:gd name="connsiteY230" fmla="*/ 980123 h 1447800"/>
                <a:gd name="connsiteX231" fmla="*/ 1416368 w 1714500"/>
                <a:gd name="connsiteY231" fmla="*/ 981075 h 1447800"/>
                <a:gd name="connsiteX232" fmla="*/ 1408748 w 1714500"/>
                <a:gd name="connsiteY232" fmla="*/ 979170 h 1447800"/>
                <a:gd name="connsiteX233" fmla="*/ 1403032 w 1714500"/>
                <a:gd name="connsiteY233" fmla="*/ 977265 h 1447800"/>
                <a:gd name="connsiteX234" fmla="*/ 1400175 w 1714500"/>
                <a:gd name="connsiteY234" fmla="*/ 976313 h 1447800"/>
                <a:gd name="connsiteX235" fmla="*/ 1396365 w 1714500"/>
                <a:gd name="connsiteY235" fmla="*/ 977265 h 1447800"/>
                <a:gd name="connsiteX236" fmla="*/ 1392555 w 1714500"/>
                <a:gd name="connsiteY236" fmla="*/ 981075 h 1447800"/>
                <a:gd name="connsiteX237" fmla="*/ 1390650 w 1714500"/>
                <a:gd name="connsiteY237" fmla="*/ 982980 h 1447800"/>
                <a:gd name="connsiteX238" fmla="*/ 1382077 w 1714500"/>
                <a:gd name="connsiteY238" fmla="*/ 999173 h 1447800"/>
                <a:gd name="connsiteX239" fmla="*/ 1377315 w 1714500"/>
                <a:gd name="connsiteY239" fmla="*/ 1006793 h 1447800"/>
                <a:gd name="connsiteX240" fmla="*/ 1370648 w 1714500"/>
                <a:gd name="connsiteY240" fmla="*/ 1019175 h 1447800"/>
                <a:gd name="connsiteX241" fmla="*/ 1366838 w 1714500"/>
                <a:gd name="connsiteY241" fmla="*/ 1022985 h 1447800"/>
                <a:gd name="connsiteX242" fmla="*/ 1347788 w 1714500"/>
                <a:gd name="connsiteY242" fmla="*/ 1035368 h 1447800"/>
                <a:gd name="connsiteX243" fmla="*/ 1344930 w 1714500"/>
                <a:gd name="connsiteY243" fmla="*/ 1038225 h 1447800"/>
                <a:gd name="connsiteX244" fmla="*/ 1342073 w 1714500"/>
                <a:gd name="connsiteY244" fmla="*/ 1042035 h 1447800"/>
                <a:gd name="connsiteX245" fmla="*/ 1340168 w 1714500"/>
                <a:gd name="connsiteY245" fmla="*/ 1047750 h 1447800"/>
                <a:gd name="connsiteX246" fmla="*/ 1339215 w 1714500"/>
                <a:gd name="connsiteY246" fmla="*/ 1050608 h 1447800"/>
                <a:gd name="connsiteX247" fmla="*/ 1340168 w 1714500"/>
                <a:gd name="connsiteY247" fmla="*/ 1052513 h 1447800"/>
                <a:gd name="connsiteX248" fmla="*/ 1344930 w 1714500"/>
                <a:gd name="connsiteY248" fmla="*/ 1058227 h 1447800"/>
                <a:gd name="connsiteX249" fmla="*/ 1346835 w 1714500"/>
                <a:gd name="connsiteY249" fmla="*/ 1061085 h 1447800"/>
                <a:gd name="connsiteX250" fmla="*/ 1345882 w 1714500"/>
                <a:gd name="connsiteY250" fmla="*/ 1063943 h 1447800"/>
                <a:gd name="connsiteX251" fmla="*/ 1344930 w 1714500"/>
                <a:gd name="connsiteY251" fmla="*/ 1070610 h 1447800"/>
                <a:gd name="connsiteX252" fmla="*/ 1341120 w 1714500"/>
                <a:gd name="connsiteY252" fmla="*/ 1083945 h 1447800"/>
                <a:gd name="connsiteX253" fmla="*/ 1340168 w 1714500"/>
                <a:gd name="connsiteY253" fmla="*/ 1086802 h 1447800"/>
                <a:gd name="connsiteX254" fmla="*/ 1337310 w 1714500"/>
                <a:gd name="connsiteY254" fmla="*/ 1089660 h 1447800"/>
                <a:gd name="connsiteX255" fmla="*/ 1333500 w 1714500"/>
                <a:gd name="connsiteY255" fmla="*/ 1091565 h 1447800"/>
                <a:gd name="connsiteX256" fmla="*/ 1323975 w 1714500"/>
                <a:gd name="connsiteY256" fmla="*/ 1091565 h 1447800"/>
                <a:gd name="connsiteX257" fmla="*/ 1320165 w 1714500"/>
                <a:gd name="connsiteY257" fmla="*/ 1090613 h 1447800"/>
                <a:gd name="connsiteX258" fmla="*/ 1317307 w 1714500"/>
                <a:gd name="connsiteY258" fmla="*/ 1088708 h 1447800"/>
                <a:gd name="connsiteX259" fmla="*/ 1315402 w 1714500"/>
                <a:gd name="connsiteY259" fmla="*/ 1083945 h 1447800"/>
                <a:gd name="connsiteX260" fmla="*/ 1311593 w 1714500"/>
                <a:gd name="connsiteY260" fmla="*/ 1083945 h 1447800"/>
                <a:gd name="connsiteX261" fmla="*/ 1296352 w 1714500"/>
                <a:gd name="connsiteY261" fmla="*/ 1086802 h 1447800"/>
                <a:gd name="connsiteX262" fmla="*/ 1293495 w 1714500"/>
                <a:gd name="connsiteY262" fmla="*/ 1085850 h 1447800"/>
                <a:gd name="connsiteX263" fmla="*/ 1291590 w 1714500"/>
                <a:gd name="connsiteY263" fmla="*/ 1083945 h 1447800"/>
                <a:gd name="connsiteX264" fmla="*/ 1290638 w 1714500"/>
                <a:gd name="connsiteY264" fmla="*/ 1080135 h 1447800"/>
                <a:gd name="connsiteX265" fmla="*/ 1285875 w 1714500"/>
                <a:gd name="connsiteY265" fmla="*/ 1077277 h 1447800"/>
                <a:gd name="connsiteX266" fmla="*/ 1283018 w 1714500"/>
                <a:gd name="connsiteY266" fmla="*/ 1077277 h 1447800"/>
                <a:gd name="connsiteX267" fmla="*/ 1280160 w 1714500"/>
                <a:gd name="connsiteY267" fmla="*/ 1078230 h 1447800"/>
                <a:gd name="connsiteX268" fmla="*/ 1270635 w 1714500"/>
                <a:gd name="connsiteY268" fmla="*/ 1087755 h 1447800"/>
                <a:gd name="connsiteX269" fmla="*/ 1267777 w 1714500"/>
                <a:gd name="connsiteY269" fmla="*/ 1089660 h 1447800"/>
                <a:gd name="connsiteX270" fmla="*/ 1244918 w 1714500"/>
                <a:gd name="connsiteY270" fmla="*/ 1097280 h 1447800"/>
                <a:gd name="connsiteX271" fmla="*/ 1237298 w 1714500"/>
                <a:gd name="connsiteY271" fmla="*/ 1102043 h 1447800"/>
                <a:gd name="connsiteX272" fmla="*/ 1233488 w 1714500"/>
                <a:gd name="connsiteY272" fmla="*/ 1105852 h 1447800"/>
                <a:gd name="connsiteX273" fmla="*/ 1230630 w 1714500"/>
                <a:gd name="connsiteY273" fmla="*/ 1111568 h 1447800"/>
                <a:gd name="connsiteX274" fmla="*/ 1226820 w 1714500"/>
                <a:gd name="connsiteY274" fmla="*/ 1116330 h 1447800"/>
                <a:gd name="connsiteX275" fmla="*/ 1220152 w 1714500"/>
                <a:gd name="connsiteY275" fmla="*/ 1122045 h 1447800"/>
                <a:gd name="connsiteX276" fmla="*/ 1217295 w 1714500"/>
                <a:gd name="connsiteY276" fmla="*/ 1126808 h 1447800"/>
                <a:gd name="connsiteX277" fmla="*/ 1214438 w 1714500"/>
                <a:gd name="connsiteY277" fmla="*/ 1129665 h 1447800"/>
                <a:gd name="connsiteX278" fmla="*/ 1209675 w 1714500"/>
                <a:gd name="connsiteY278" fmla="*/ 1131570 h 1447800"/>
                <a:gd name="connsiteX279" fmla="*/ 1203007 w 1714500"/>
                <a:gd name="connsiteY279" fmla="*/ 1130618 h 1447800"/>
                <a:gd name="connsiteX280" fmla="*/ 1200150 w 1714500"/>
                <a:gd name="connsiteY280" fmla="*/ 1126808 h 1447800"/>
                <a:gd name="connsiteX281" fmla="*/ 1198245 w 1714500"/>
                <a:gd name="connsiteY281" fmla="*/ 1122998 h 1447800"/>
                <a:gd name="connsiteX282" fmla="*/ 1195388 w 1714500"/>
                <a:gd name="connsiteY282" fmla="*/ 1109663 h 1447800"/>
                <a:gd name="connsiteX283" fmla="*/ 1192530 w 1714500"/>
                <a:gd name="connsiteY283" fmla="*/ 1101090 h 1447800"/>
                <a:gd name="connsiteX284" fmla="*/ 1190625 w 1714500"/>
                <a:gd name="connsiteY284" fmla="*/ 1097280 h 1447800"/>
                <a:gd name="connsiteX285" fmla="*/ 1185863 w 1714500"/>
                <a:gd name="connsiteY285" fmla="*/ 1091565 h 1447800"/>
                <a:gd name="connsiteX286" fmla="*/ 1169670 w 1714500"/>
                <a:gd name="connsiteY286" fmla="*/ 1080135 h 1447800"/>
                <a:gd name="connsiteX287" fmla="*/ 1127760 w 1714500"/>
                <a:gd name="connsiteY287" fmla="*/ 1064895 h 1447800"/>
                <a:gd name="connsiteX288" fmla="*/ 1123950 w 1714500"/>
                <a:gd name="connsiteY288" fmla="*/ 1063943 h 1447800"/>
                <a:gd name="connsiteX289" fmla="*/ 1105852 w 1714500"/>
                <a:gd name="connsiteY289" fmla="*/ 1063943 h 1447800"/>
                <a:gd name="connsiteX290" fmla="*/ 1102995 w 1714500"/>
                <a:gd name="connsiteY290" fmla="*/ 1064895 h 1447800"/>
                <a:gd name="connsiteX291" fmla="*/ 1099185 w 1714500"/>
                <a:gd name="connsiteY291" fmla="*/ 1067752 h 1447800"/>
                <a:gd name="connsiteX292" fmla="*/ 1095375 w 1714500"/>
                <a:gd name="connsiteY292" fmla="*/ 1073468 h 1447800"/>
                <a:gd name="connsiteX293" fmla="*/ 1093470 w 1714500"/>
                <a:gd name="connsiteY293" fmla="*/ 1079183 h 1447800"/>
                <a:gd name="connsiteX294" fmla="*/ 1090613 w 1714500"/>
                <a:gd name="connsiteY294" fmla="*/ 1082993 h 1447800"/>
                <a:gd name="connsiteX295" fmla="*/ 1085850 w 1714500"/>
                <a:gd name="connsiteY295" fmla="*/ 1085850 h 1447800"/>
                <a:gd name="connsiteX296" fmla="*/ 1054418 w 1714500"/>
                <a:gd name="connsiteY296" fmla="*/ 1084898 h 1447800"/>
                <a:gd name="connsiteX297" fmla="*/ 1038225 w 1714500"/>
                <a:gd name="connsiteY297" fmla="*/ 1079183 h 1447800"/>
                <a:gd name="connsiteX298" fmla="*/ 1033463 w 1714500"/>
                <a:gd name="connsiteY298" fmla="*/ 1078230 h 1447800"/>
                <a:gd name="connsiteX299" fmla="*/ 1028700 w 1714500"/>
                <a:gd name="connsiteY299" fmla="*/ 1080135 h 1447800"/>
                <a:gd name="connsiteX300" fmla="*/ 1023938 w 1714500"/>
                <a:gd name="connsiteY300" fmla="*/ 1085850 h 1447800"/>
                <a:gd name="connsiteX301" fmla="*/ 1022032 w 1714500"/>
                <a:gd name="connsiteY301" fmla="*/ 1090613 h 1447800"/>
                <a:gd name="connsiteX302" fmla="*/ 1021080 w 1714500"/>
                <a:gd name="connsiteY302" fmla="*/ 1096327 h 1447800"/>
                <a:gd name="connsiteX303" fmla="*/ 1021080 w 1714500"/>
                <a:gd name="connsiteY303" fmla="*/ 1106805 h 1447800"/>
                <a:gd name="connsiteX304" fmla="*/ 1022985 w 1714500"/>
                <a:gd name="connsiteY304" fmla="*/ 1122045 h 1447800"/>
                <a:gd name="connsiteX305" fmla="*/ 1022985 w 1714500"/>
                <a:gd name="connsiteY305" fmla="*/ 1137285 h 1447800"/>
                <a:gd name="connsiteX306" fmla="*/ 1022032 w 1714500"/>
                <a:gd name="connsiteY306" fmla="*/ 1142048 h 1447800"/>
                <a:gd name="connsiteX307" fmla="*/ 1020127 w 1714500"/>
                <a:gd name="connsiteY307" fmla="*/ 1151573 h 1447800"/>
                <a:gd name="connsiteX308" fmla="*/ 1018223 w 1714500"/>
                <a:gd name="connsiteY308" fmla="*/ 1155383 h 1447800"/>
                <a:gd name="connsiteX309" fmla="*/ 1014413 w 1714500"/>
                <a:gd name="connsiteY309" fmla="*/ 1159193 h 1447800"/>
                <a:gd name="connsiteX310" fmla="*/ 1001077 w 1714500"/>
                <a:gd name="connsiteY310" fmla="*/ 1170623 h 1447800"/>
                <a:gd name="connsiteX311" fmla="*/ 995363 w 1714500"/>
                <a:gd name="connsiteY311" fmla="*/ 1176338 h 1447800"/>
                <a:gd name="connsiteX312" fmla="*/ 994410 w 1714500"/>
                <a:gd name="connsiteY312" fmla="*/ 1180148 h 1447800"/>
                <a:gd name="connsiteX313" fmla="*/ 992505 w 1714500"/>
                <a:gd name="connsiteY313" fmla="*/ 1184910 h 1447800"/>
                <a:gd name="connsiteX314" fmla="*/ 992505 w 1714500"/>
                <a:gd name="connsiteY314" fmla="*/ 1189673 h 1447800"/>
                <a:gd name="connsiteX315" fmla="*/ 989648 w 1714500"/>
                <a:gd name="connsiteY315" fmla="*/ 1198245 h 1447800"/>
                <a:gd name="connsiteX316" fmla="*/ 985838 w 1714500"/>
                <a:gd name="connsiteY316" fmla="*/ 1210627 h 1447800"/>
                <a:gd name="connsiteX317" fmla="*/ 982027 w 1714500"/>
                <a:gd name="connsiteY317" fmla="*/ 1214438 h 1447800"/>
                <a:gd name="connsiteX318" fmla="*/ 975360 w 1714500"/>
                <a:gd name="connsiteY318" fmla="*/ 1219200 h 1447800"/>
                <a:gd name="connsiteX319" fmla="*/ 958215 w 1714500"/>
                <a:gd name="connsiteY319" fmla="*/ 1223963 h 1447800"/>
                <a:gd name="connsiteX320" fmla="*/ 947738 w 1714500"/>
                <a:gd name="connsiteY320" fmla="*/ 1228725 h 1447800"/>
                <a:gd name="connsiteX321" fmla="*/ 935355 w 1714500"/>
                <a:gd name="connsiteY321" fmla="*/ 1232535 h 1447800"/>
                <a:gd name="connsiteX322" fmla="*/ 928688 w 1714500"/>
                <a:gd name="connsiteY322" fmla="*/ 1232535 h 1447800"/>
                <a:gd name="connsiteX323" fmla="*/ 924878 w 1714500"/>
                <a:gd name="connsiteY323" fmla="*/ 1233488 h 1447800"/>
                <a:gd name="connsiteX324" fmla="*/ 920115 w 1714500"/>
                <a:gd name="connsiteY324" fmla="*/ 1239202 h 1447800"/>
                <a:gd name="connsiteX325" fmla="*/ 917257 w 1714500"/>
                <a:gd name="connsiteY325" fmla="*/ 1240155 h 1447800"/>
                <a:gd name="connsiteX326" fmla="*/ 915353 w 1714500"/>
                <a:gd name="connsiteY326" fmla="*/ 1239202 h 1447800"/>
                <a:gd name="connsiteX327" fmla="*/ 913447 w 1714500"/>
                <a:gd name="connsiteY327" fmla="*/ 1237298 h 1447800"/>
                <a:gd name="connsiteX328" fmla="*/ 909638 w 1714500"/>
                <a:gd name="connsiteY328" fmla="*/ 1229677 h 1447800"/>
                <a:gd name="connsiteX329" fmla="*/ 906780 w 1714500"/>
                <a:gd name="connsiteY329" fmla="*/ 1226820 h 1447800"/>
                <a:gd name="connsiteX330" fmla="*/ 904875 w 1714500"/>
                <a:gd name="connsiteY330" fmla="*/ 1224915 h 1447800"/>
                <a:gd name="connsiteX331" fmla="*/ 897255 w 1714500"/>
                <a:gd name="connsiteY331" fmla="*/ 1222058 h 1447800"/>
                <a:gd name="connsiteX332" fmla="*/ 890588 w 1714500"/>
                <a:gd name="connsiteY332" fmla="*/ 1221105 h 1447800"/>
                <a:gd name="connsiteX333" fmla="*/ 881063 w 1714500"/>
                <a:gd name="connsiteY333" fmla="*/ 1222058 h 1447800"/>
                <a:gd name="connsiteX334" fmla="*/ 878205 w 1714500"/>
                <a:gd name="connsiteY334" fmla="*/ 1222058 h 1447800"/>
                <a:gd name="connsiteX335" fmla="*/ 866775 w 1714500"/>
                <a:gd name="connsiteY335" fmla="*/ 1217295 h 1447800"/>
                <a:gd name="connsiteX336" fmla="*/ 860107 w 1714500"/>
                <a:gd name="connsiteY336" fmla="*/ 1216343 h 1447800"/>
                <a:gd name="connsiteX337" fmla="*/ 841057 w 1714500"/>
                <a:gd name="connsiteY337" fmla="*/ 1217295 h 1447800"/>
                <a:gd name="connsiteX338" fmla="*/ 837247 w 1714500"/>
                <a:gd name="connsiteY338" fmla="*/ 1219200 h 1447800"/>
                <a:gd name="connsiteX339" fmla="*/ 811530 w 1714500"/>
                <a:gd name="connsiteY339" fmla="*/ 1234440 h 1447800"/>
                <a:gd name="connsiteX340" fmla="*/ 802957 w 1714500"/>
                <a:gd name="connsiteY340" fmla="*/ 1237298 h 1447800"/>
                <a:gd name="connsiteX341" fmla="*/ 782003 w 1714500"/>
                <a:gd name="connsiteY341" fmla="*/ 1237298 h 1447800"/>
                <a:gd name="connsiteX342" fmla="*/ 777240 w 1714500"/>
                <a:gd name="connsiteY342" fmla="*/ 1237298 h 1447800"/>
                <a:gd name="connsiteX343" fmla="*/ 770572 w 1714500"/>
                <a:gd name="connsiteY343" fmla="*/ 1237298 h 1447800"/>
                <a:gd name="connsiteX344" fmla="*/ 768668 w 1714500"/>
                <a:gd name="connsiteY344" fmla="*/ 1235393 h 1447800"/>
                <a:gd name="connsiteX345" fmla="*/ 762953 w 1714500"/>
                <a:gd name="connsiteY345" fmla="*/ 1230630 h 1447800"/>
                <a:gd name="connsiteX346" fmla="*/ 752475 w 1714500"/>
                <a:gd name="connsiteY346" fmla="*/ 1224915 h 1447800"/>
                <a:gd name="connsiteX347" fmla="*/ 737235 w 1714500"/>
                <a:gd name="connsiteY347" fmla="*/ 1220152 h 1447800"/>
                <a:gd name="connsiteX348" fmla="*/ 723900 w 1714500"/>
                <a:gd name="connsiteY348" fmla="*/ 1219200 h 1447800"/>
                <a:gd name="connsiteX349" fmla="*/ 715328 w 1714500"/>
                <a:gd name="connsiteY349" fmla="*/ 1215390 h 1447800"/>
                <a:gd name="connsiteX350" fmla="*/ 709613 w 1714500"/>
                <a:gd name="connsiteY350" fmla="*/ 1214438 h 1447800"/>
                <a:gd name="connsiteX351" fmla="*/ 682943 w 1714500"/>
                <a:gd name="connsiteY351" fmla="*/ 1216343 h 1447800"/>
                <a:gd name="connsiteX352" fmla="*/ 677228 w 1714500"/>
                <a:gd name="connsiteY352" fmla="*/ 1214438 h 1447800"/>
                <a:gd name="connsiteX353" fmla="*/ 672465 w 1714500"/>
                <a:gd name="connsiteY353" fmla="*/ 1214438 h 1447800"/>
                <a:gd name="connsiteX354" fmla="*/ 653415 w 1714500"/>
                <a:gd name="connsiteY354" fmla="*/ 1219200 h 1447800"/>
                <a:gd name="connsiteX355" fmla="*/ 646747 w 1714500"/>
                <a:gd name="connsiteY355" fmla="*/ 1220152 h 1447800"/>
                <a:gd name="connsiteX356" fmla="*/ 642938 w 1714500"/>
                <a:gd name="connsiteY356" fmla="*/ 1219200 h 1447800"/>
                <a:gd name="connsiteX357" fmla="*/ 641032 w 1714500"/>
                <a:gd name="connsiteY357" fmla="*/ 1217295 h 1447800"/>
                <a:gd name="connsiteX358" fmla="*/ 638175 w 1714500"/>
                <a:gd name="connsiteY358" fmla="*/ 1212533 h 1447800"/>
                <a:gd name="connsiteX359" fmla="*/ 636270 w 1714500"/>
                <a:gd name="connsiteY359" fmla="*/ 1211580 h 1447800"/>
                <a:gd name="connsiteX360" fmla="*/ 631507 w 1714500"/>
                <a:gd name="connsiteY360" fmla="*/ 1210627 h 1447800"/>
                <a:gd name="connsiteX361" fmla="*/ 624840 w 1714500"/>
                <a:gd name="connsiteY361" fmla="*/ 1211580 h 1447800"/>
                <a:gd name="connsiteX362" fmla="*/ 621030 w 1714500"/>
                <a:gd name="connsiteY362" fmla="*/ 1211580 h 1447800"/>
                <a:gd name="connsiteX363" fmla="*/ 617220 w 1714500"/>
                <a:gd name="connsiteY363" fmla="*/ 1209675 h 1447800"/>
                <a:gd name="connsiteX364" fmla="*/ 612457 w 1714500"/>
                <a:gd name="connsiteY364" fmla="*/ 1207770 h 1447800"/>
                <a:gd name="connsiteX365" fmla="*/ 608647 w 1714500"/>
                <a:gd name="connsiteY365" fmla="*/ 1206818 h 1447800"/>
                <a:gd name="connsiteX366" fmla="*/ 601028 w 1714500"/>
                <a:gd name="connsiteY366" fmla="*/ 1207770 h 1447800"/>
                <a:gd name="connsiteX367" fmla="*/ 594360 w 1714500"/>
                <a:gd name="connsiteY367" fmla="*/ 1205865 h 1447800"/>
                <a:gd name="connsiteX368" fmla="*/ 590550 w 1714500"/>
                <a:gd name="connsiteY368" fmla="*/ 1205865 h 1447800"/>
                <a:gd name="connsiteX369" fmla="*/ 584835 w 1714500"/>
                <a:gd name="connsiteY369" fmla="*/ 1207770 h 1447800"/>
                <a:gd name="connsiteX370" fmla="*/ 567690 w 1714500"/>
                <a:gd name="connsiteY370" fmla="*/ 1217295 h 1447800"/>
                <a:gd name="connsiteX371" fmla="*/ 551497 w 1714500"/>
                <a:gd name="connsiteY371" fmla="*/ 1232535 h 1447800"/>
                <a:gd name="connsiteX372" fmla="*/ 539115 w 1714500"/>
                <a:gd name="connsiteY372" fmla="*/ 1242060 h 1447800"/>
                <a:gd name="connsiteX373" fmla="*/ 534353 w 1714500"/>
                <a:gd name="connsiteY373" fmla="*/ 1247775 h 1447800"/>
                <a:gd name="connsiteX374" fmla="*/ 533400 w 1714500"/>
                <a:gd name="connsiteY374" fmla="*/ 1251585 h 1447800"/>
                <a:gd name="connsiteX375" fmla="*/ 536257 w 1714500"/>
                <a:gd name="connsiteY375" fmla="*/ 1256348 h 1447800"/>
                <a:gd name="connsiteX376" fmla="*/ 536257 w 1714500"/>
                <a:gd name="connsiteY376" fmla="*/ 1259205 h 1447800"/>
                <a:gd name="connsiteX377" fmla="*/ 537210 w 1714500"/>
                <a:gd name="connsiteY377" fmla="*/ 1263968 h 1447800"/>
                <a:gd name="connsiteX378" fmla="*/ 537210 w 1714500"/>
                <a:gd name="connsiteY378" fmla="*/ 1265873 h 1447800"/>
                <a:gd name="connsiteX379" fmla="*/ 531495 w 1714500"/>
                <a:gd name="connsiteY379" fmla="*/ 1288733 h 1447800"/>
                <a:gd name="connsiteX380" fmla="*/ 530543 w 1714500"/>
                <a:gd name="connsiteY380" fmla="*/ 1291590 h 1447800"/>
                <a:gd name="connsiteX381" fmla="*/ 526732 w 1714500"/>
                <a:gd name="connsiteY381" fmla="*/ 1296352 h 1447800"/>
                <a:gd name="connsiteX382" fmla="*/ 506730 w 1714500"/>
                <a:gd name="connsiteY382" fmla="*/ 1313498 h 1447800"/>
                <a:gd name="connsiteX383" fmla="*/ 501968 w 1714500"/>
                <a:gd name="connsiteY383" fmla="*/ 1320165 h 1447800"/>
                <a:gd name="connsiteX384" fmla="*/ 500063 w 1714500"/>
                <a:gd name="connsiteY384" fmla="*/ 1323975 h 1447800"/>
                <a:gd name="connsiteX385" fmla="*/ 503872 w 1714500"/>
                <a:gd name="connsiteY385" fmla="*/ 1327785 h 1447800"/>
                <a:gd name="connsiteX386" fmla="*/ 514350 w 1714500"/>
                <a:gd name="connsiteY386" fmla="*/ 1332548 h 1447800"/>
                <a:gd name="connsiteX387" fmla="*/ 517207 w 1714500"/>
                <a:gd name="connsiteY387" fmla="*/ 1334452 h 1447800"/>
                <a:gd name="connsiteX388" fmla="*/ 518160 w 1714500"/>
                <a:gd name="connsiteY388" fmla="*/ 1336358 h 1447800"/>
                <a:gd name="connsiteX389" fmla="*/ 519113 w 1714500"/>
                <a:gd name="connsiteY389" fmla="*/ 1338263 h 1447800"/>
                <a:gd name="connsiteX390" fmla="*/ 519113 w 1714500"/>
                <a:gd name="connsiteY390" fmla="*/ 1354455 h 1447800"/>
                <a:gd name="connsiteX391" fmla="*/ 519113 w 1714500"/>
                <a:gd name="connsiteY391" fmla="*/ 1361123 h 1447800"/>
                <a:gd name="connsiteX392" fmla="*/ 517207 w 1714500"/>
                <a:gd name="connsiteY392" fmla="*/ 1366838 h 1447800"/>
                <a:gd name="connsiteX393" fmla="*/ 514350 w 1714500"/>
                <a:gd name="connsiteY393" fmla="*/ 1369695 h 1447800"/>
                <a:gd name="connsiteX394" fmla="*/ 508635 w 1714500"/>
                <a:gd name="connsiteY394" fmla="*/ 1372552 h 1447800"/>
                <a:gd name="connsiteX395" fmla="*/ 470535 w 1714500"/>
                <a:gd name="connsiteY395" fmla="*/ 1376363 h 1447800"/>
                <a:gd name="connsiteX396" fmla="*/ 467678 w 1714500"/>
                <a:gd name="connsiteY396" fmla="*/ 1376363 h 1447800"/>
                <a:gd name="connsiteX397" fmla="*/ 463868 w 1714500"/>
                <a:gd name="connsiteY397" fmla="*/ 1372552 h 1447800"/>
                <a:gd name="connsiteX398" fmla="*/ 462915 w 1714500"/>
                <a:gd name="connsiteY398" fmla="*/ 1370648 h 1447800"/>
                <a:gd name="connsiteX399" fmla="*/ 460057 w 1714500"/>
                <a:gd name="connsiteY399" fmla="*/ 1365885 h 1447800"/>
                <a:gd name="connsiteX400" fmla="*/ 458153 w 1714500"/>
                <a:gd name="connsiteY400" fmla="*/ 1363980 h 1447800"/>
                <a:gd name="connsiteX401" fmla="*/ 455295 w 1714500"/>
                <a:gd name="connsiteY401" fmla="*/ 1363027 h 1447800"/>
                <a:gd name="connsiteX402" fmla="*/ 445770 w 1714500"/>
                <a:gd name="connsiteY402" fmla="*/ 1361123 h 1447800"/>
                <a:gd name="connsiteX403" fmla="*/ 433388 w 1714500"/>
                <a:gd name="connsiteY403" fmla="*/ 1362075 h 1447800"/>
                <a:gd name="connsiteX404" fmla="*/ 430530 w 1714500"/>
                <a:gd name="connsiteY404" fmla="*/ 1363027 h 1447800"/>
                <a:gd name="connsiteX405" fmla="*/ 427672 w 1714500"/>
                <a:gd name="connsiteY405" fmla="*/ 1365885 h 1447800"/>
                <a:gd name="connsiteX406" fmla="*/ 423863 w 1714500"/>
                <a:gd name="connsiteY406" fmla="*/ 1370648 h 1447800"/>
                <a:gd name="connsiteX407" fmla="*/ 421957 w 1714500"/>
                <a:gd name="connsiteY407" fmla="*/ 1374458 h 1447800"/>
                <a:gd name="connsiteX408" fmla="*/ 421005 w 1714500"/>
                <a:gd name="connsiteY408" fmla="*/ 1379220 h 1447800"/>
                <a:gd name="connsiteX409" fmla="*/ 420053 w 1714500"/>
                <a:gd name="connsiteY409" fmla="*/ 1388745 h 1447800"/>
                <a:gd name="connsiteX410" fmla="*/ 418147 w 1714500"/>
                <a:gd name="connsiteY410" fmla="*/ 1394460 h 1447800"/>
                <a:gd name="connsiteX411" fmla="*/ 349568 w 1714500"/>
                <a:gd name="connsiteY411" fmla="*/ 1430655 h 1447800"/>
                <a:gd name="connsiteX412" fmla="*/ 344805 w 1714500"/>
                <a:gd name="connsiteY412" fmla="*/ 1437323 h 1447800"/>
                <a:gd name="connsiteX413" fmla="*/ 342900 w 1714500"/>
                <a:gd name="connsiteY413" fmla="*/ 1437323 h 1447800"/>
                <a:gd name="connsiteX414" fmla="*/ 339090 w 1714500"/>
                <a:gd name="connsiteY414" fmla="*/ 1437323 h 1447800"/>
                <a:gd name="connsiteX415" fmla="*/ 331470 w 1714500"/>
                <a:gd name="connsiteY415" fmla="*/ 1435418 h 1447800"/>
                <a:gd name="connsiteX416" fmla="*/ 327660 w 1714500"/>
                <a:gd name="connsiteY416" fmla="*/ 1433513 h 1447800"/>
                <a:gd name="connsiteX417" fmla="*/ 324803 w 1714500"/>
                <a:gd name="connsiteY417" fmla="*/ 1431608 h 1447800"/>
                <a:gd name="connsiteX418" fmla="*/ 321945 w 1714500"/>
                <a:gd name="connsiteY418" fmla="*/ 1426845 h 1447800"/>
                <a:gd name="connsiteX419" fmla="*/ 320040 w 1714500"/>
                <a:gd name="connsiteY419" fmla="*/ 1424940 h 1447800"/>
                <a:gd name="connsiteX420" fmla="*/ 317182 w 1714500"/>
                <a:gd name="connsiteY420" fmla="*/ 1423988 h 1447800"/>
                <a:gd name="connsiteX421" fmla="*/ 312420 w 1714500"/>
                <a:gd name="connsiteY421" fmla="*/ 1424940 h 1447800"/>
                <a:gd name="connsiteX422" fmla="*/ 306705 w 1714500"/>
                <a:gd name="connsiteY422" fmla="*/ 1427798 h 1447800"/>
                <a:gd name="connsiteX423" fmla="*/ 291465 w 1714500"/>
                <a:gd name="connsiteY423" fmla="*/ 1439227 h 1447800"/>
                <a:gd name="connsiteX424" fmla="*/ 278130 w 1714500"/>
                <a:gd name="connsiteY424" fmla="*/ 1453515 h 1447800"/>
                <a:gd name="connsiteX425" fmla="*/ 271463 w 1714500"/>
                <a:gd name="connsiteY425" fmla="*/ 1456373 h 1447800"/>
                <a:gd name="connsiteX426" fmla="*/ 255270 w 1714500"/>
                <a:gd name="connsiteY426" fmla="*/ 1454468 h 1447800"/>
                <a:gd name="connsiteX427" fmla="*/ 246697 w 1714500"/>
                <a:gd name="connsiteY427" fmla="*/ 1446848 h 1447800"/>
                <a:gd name="connsiteX428" fmla="*/ 241935 w 1714500"/>
                <a:gd name="connsiteY428" fmla="*/ 1442085 h 1447800"/>
                <a:gd name="connsiteX429" fmla="*/ 237172 w 1714500"/>
                <a:gd name="connsiteY429" fmla="*/ 1440180 h 1447800"/>
                <a:gd name="connsiteX430" fmla="*/ 231457 w 1714500"/>
                <a:gd name="connsiteY430" fmla="*/ 1440180 h 1447800"/>
                <a:gd name="connsiteX431" fmla="*/ 225743 w 1714500"/>
                <a:gd name="connsiteY431" fmla="*/ 1442085 h 1447800"/>
                <a:gd name="connsiteX432" fmla="*/ 200978 w 1714500"/>
                <a:gd name="connsiteY432" fmla="*/ 1452563 h 1447800"/>
                <a:gd name="connsiteX433" fmla="*/ 196215 w 1714500"/>
                <a:gd name="connsiteY433" fmla="*/ 1453515 h 1447800"/>
                <a:gd name="connsiteX434" fmla="*/ 194310 w 1714500"/>
                <a:gd name="connsiteY434" fmla="*/ 1453515 h 1447800"/>
                <a:gd name="connsiteX435" fmla="*/ 192405 w 1714500"/>
                <a:gd name="connsiteY435" fmla="*/ 1451610 h 1447800"/>
                <a:gd name="connsiteX436" fmla="*/ 191453 w 1714500"/>
                <a:gd name="connsiteY436" fmla="*/ 1448752 h 1447800"/>
                <a:gd name="connsiteX437" fmla="*/ 192405 w 1714500"/>
                <a:gd name="connsiteY437" fmla="*/ 1443038 h 1447800"/>
                <a:gd name="connsiteX438" fmla="*/ 193357 w 1714500"/>
                <a:gd name="connsiteY438" fmla="*/ 1440180 h 1447800"/>
                <a:gd name="connsiteX439" fmla="*/ 194310 w 1714500"/>
                <a:gd name="connsiteY439" fmla="*/ 1438275 h 1447800"/>
                <a:gd name="connsiteX440" fmla="*/ 203835 w 1714500"/>
                <a:gd name="connsiteY440" fmla="*/ 1429702 h 1447800"/>
                <a:gd name="connsiteX441" fmla="*/ 205740 w 1714500"/>
                <a:gd name="connsiteY441" fmla="*/ 1427798 h 1447800"/>
                <a:gd name="connsiteX442" fmla="*/ 208597 w 1714500"/>
                <a:gd name="connsiteY442" fmla="*/ 1423035 h 1447800"/>
                <a:gd name="connsiteX443" fmla="*/ 210503 w 1714500"/>
                <a:gd name="connsiteY443" fmla="*/ 1419225 h 1447800"/>
                <a:gd name="connsiteX444" fmla="*/ 211455 w 1714500"/>
                <a:gd name="connsiteY444" fmla="*/ 1414463 h 1447800"/>
                <a:gd name="connsiteX445" fmla="*/ 212407 w 1714500"/>
                <a:gd name="connsiteY445" fmla="*/ 1411605 h 1447800"/>
                <a:gd name="connsiteX446" fmla="*/ 216218 w 1714500"/>
                <a:gd name="connsiteY446" fmla="*/ 1411605 h 1447800"/>
                <a:gd name="connsiteX447" fmla="*/ 218122 w 1714500"/>
                <a:gd name="connsiteY447" fmla="*/ 1410652 h 1447800"/>
                <a:gd name="connsiteX448" fmla="*/ 220980 w 1714500"/>
                <a:gd name="connsiteY448" fmla="*/ 1406843 h 1447800"/>
                <a:gd name="connsiteX449" fmla="*/ 223838 w 1714500"/>
                <a:gd name="connsiteY449" fmla="*/ 1403033 h 1447800"/>
                <a:gd name="connsiteX450" fmla="*/ 225743 w 1714500"/>
                <a:gd name="connsiteY450" fmla="*/ 1399223 h 1447800"/>
                <a:gd name="connsiteX451" fmla="*/ 225743 w 1714500"/>
                <a:gd name="connsiteY451" fmla="*/ 1392555 h 1447800"/>
                <a:gd name="connsiteX452" fmla="*/ 225743 w 1714500"/>
                <a:gd name="connsiteY452" fmla="*/ 1388745 h 1447800"/>
                <a:gd name="connsiteX453" fmla="*/ 222885 w 1714500"/>
                <a:gd name="connsiteY453" fmla="*/ 1378268 h 1447800"/>
                <a:gd name="connsiteX454" fmla="*/ 215265 w 1714500"/>
                <a:gd name="connsiteY454" fmla="*/ 1362075 h 1447800"/>
                <a:gd name="connsiteX455" fmla="*/ 205740 w 1714500"/>
                <a:gd name="connsiteY455" fmla="*/ 1349693 h 1447800"/>
                <a:gd name="connsiteX456" fmla="*/ 200025 w 1714500"/>
                <a:gd name="connsiteY456" fmla="*/ 1341120 h 1447800"/>
                <a:gd name="connsiteX457" fmla="*/ 195263 w 1714500"/>
                <a:gd name="connsiteY457" fmla="*/ 1331595 h 1447800"/>
                <a:gd name="connsiteX458" fmla="*/ 194310 w 1714500"/>
                <a:gd name="connsiteY458" fmla="*/ 1327785 h 1447800"/>
                <a:gd name="connsiteX459" fmla="*/ 193357 w 1714500"/>
                <a:gd name="connsiteY459" fmla="*/ 1321118 h 1447800"/>
                <a:gd name="connsiteX460" fmla="*/ 193357 w 1714500"/>
                <a:gd name="connsiteY460" fmla="*/ 1298258 h 1447800"/>
                <a:gd name="connsiteX461" fmla="*/ 192405 w 1714500"/>
                <a:gd name="connsiteY461" fmla="*/ 1295400 h 1447800"/>
                <a:gd name="connsiteX462" fmla="*/ 191453 w 1714500"/>
                <a:gd name="connsiteY462" fmla="*/ 1292543 h 1447800"/>
                <a:gd name="connsiteX463" fmla="*/ 187643 w 1714500"/>
                <a:gd name="connsiteY463" fmla="*/ 1290638 h 1447800"/>
                <a:gd name="connsiteX464" fmla="*/ 164782 w 1714500"/>
                <a:gd name="connsiteY464" fmla="*/ 1281113 h 1447800"/>
                <a:gd name="connsiteX465" fmla="*/ 147638 w 1714500"/>
                <a:gd name="connsiteY465" fmla="*/ 1268730 h 1447800"/>
                <a:gd name="connsiteX466" fmla="*/ 143828 w 1714500"/>
                <a:gd name="connsiteY466" fmla="*/ 1264920 h 1447800"/>
                <a:gd name="connsiteX467" fmla="*/ 140018 w 1714500"/>
                <a:gd name="connsiteY467" fmla="*/ 1261110 h 1447800"/>
                <a:gd name="connsiteX468" fmla="*/ 139065 w 1714500"/>
                <a:gd name="connsiteY468" fmla="*/ 1257300 h 1447800"/>
                <a:gd name="connsiteX469" fmla="*/ 139065 w 1714500"/>
                <a:gd name="connsiteY469" fmla="*/ 1253490 h 1447800"/>
                <a:gd name="connsiteX470" fmla="*/ 140018 w 1714500"/>
                <a:gd name="connsiteY470" fmla="*/ 1245870 h 1447800"/>
                <a:gd name="connsiteX471" fmla="*/ 140970 w 1714500"/>
                <a:gd name="connsiteY471" fmla="*/ 1242060 h 1447800"/>
                <a:gd name="connsiteX472" fmla="*/ 143828 w 1714500"/>
                <a:gd name="connsiteY472" fmla="*/ 1239202 h 1447800"/>
                <a:gd name="connsiteX473" fmla="*/ 152400 w 1714500"/>
                <a:gd name="connsiteY473" fmla="*/ 1234440 h 1447800"/>
                <a:gd name="connsiteX474" fmla="*/ 154305 w 1714500"/>
                <a:gd name="connsiteY474" fmla="*/ 1232535 h 1447800"/>
                <a:gd name="connsiteX475" fmla="*/ 155257 w 1714500"/>
                <a:gd name="connsiteY475" fmla="*/ 1230630 h 1447800"/>
                <a:gd name="connsiteX476" fmla="*/ 156210 w 1714500"/>
                <a:gd name="connsiteY476" fmla="*/ 1227773 h 1447800"/>
                <a:gd name="connsiteX477" fmla="*/ 153353 w 1714500"/>
                <a:gd name="connsiteY477" fmla="*/ 1224915 h 1447800"/>
                <a:gd name="connsiteX478" fmla="*/ 151447 w 1714500"/>
                <a:gd name="connsiteY478" fmla="*/ 1223010 h 1447800"/>
                <a:gd name="connsiteX479" fmla="*/ 148590 w 1714500"/>
                <a:gd name="connsiteY479" fmla="*/ 1222058 h 1447800"/>
                <a:gd name="connsiteX480" fmla="*/ 144780 w 1714500"/>
                <a:gd name="connsiteY480" fmla="*/ 1219200 h 1447800"/>
                <a:gd name="connsiteX481" fmla="*/ 141922 w 1714500"/>
                <a:gd name="connsiteY481" fmla="*/ 1216343 h 1447800"/>
                <a:gd name="connsiteX482" fmla="*/ 137160 w 1714500"/>
                <a:gd name="connsiteY482" fmla="*/ 1209675 h 1447800"/>
                <a:gd name="connsiteX483" fmla="*/ 133350 w 1714500"/>
                <a:gd name="connsiteY483" fmla="*/ 1207770 h 1447800"/>
                <a:gd name="connsiteX484" fmla="*/ 130493 w 1714500"/>
                <a:gd name="connsiteY484" fmla="*/ 1206818 h 1447800"/>
                <a:gd name="connsiteX485" fmla="*/ 116205 w 1714500"/>
                <a:gd name="connsiteY485" fmla="*/ 1207770 h 1447800"/>
                <a:gd name="connsiteX486" fmla="*/ 97155 w 1714500"/>
                <a:gd name="connsiteY486" fmla="*/ 1204913 h 1447800"/>
                <a:gd name="connsiteX487" fmla="*/ 94297 w 1714500"/>
                <a:gd name="connsiteY487" fmla="*/ 1203960 h 1447800"/>
                <a:gd name="connsiteX488" fmla="*/ 92393 w 1714500"/>
                <a:gd name="connsiteY488" fmla="*/ 1197293 h 1447800"/>
                <a:gd name="connsiteX489" fmla="*/ 82868 w 1714500"/>
                <a:gd name="connsiteY489" fmla="*/ 1147763 h 1447800"/>
                <a:gd name="connsiteX490" fmla="*/ 80010 w 1714500"/>
                <a:gd name="connsiteY490" fmla="*/ 1141095 h 1447800"/>
                <a:gd name="connsiteX491" fmla="*/ 78105 w 1714500"/>
                <a:gd name="connsiteY491" fmla="*/ 1139190 h 1447800"/>
                <a:gd name="connsiteX492" fmla="*/ 64770 w 1714500"/>
                <a:gd name="connsiteY492" fmla="*/ 1136333 h 1447800"/>
                <a:gd name="connsiteX493" fmla="*/ 60960 w 1714500"/>
                <a:gd name="connsiteY493" fmla="*/ 1132523 h 1447800"/>
                <a:gd name="connsiteX494" fmla="*/ 58103 w 1714500"/>
                <a:gd name="connsiteY494" fmla="*/ 1125855 h 1447800"/>
                <a:gd name="connsiteX495" fmla="*/ 57150 w 1714500"/>
                <a:gd name="connsiteY495" fmla="*/ 1119188 h 1447800"/>
                <a:gd name="connsiteX496" fmla="*/ 57150 w 1714500"/>
                <a:gd name="connsiteY496" fmla="*/ 1115377 h 1447800"/>
                <a:gd name="connsiteX497" fmla="*/ 59055 w 1714500"/>
                <a:gd name="connsiteY497" fmla="*/ 1111568 h 1447800"/>
                <a:gd name="connsiteX498" fmla="*/ 60960 w 1714500"/>
                <a:gd name="connsiteY498" fmla="*/ 1109663 h 1447800"/>
                <a:gd name="connsiteX499" fmla="*/ 66675 w 1714500"/>
                <a:gd name="connsiteY499" fmla="*/ 1104900 h 1447800"/>
                <a:gd name="connsiteX500" fmla="*/ 68580 w 1714500"/>
                <a:gd name="connsiteY500" fmla="*/ 1102043 h 1447800"/>
                <a:gd name="connsiteX501" fmla="*/ 68580 w 1714500"/>
                <a:gd name="connsiteY501" fmla="*/ 1098233 h 1447800"/>
                <a:gd name="connsiteX502" fmla="*/ 66675 w 1714500"/>
                <a:gd name="connsiteY502" fmla="*/ 1091565 h 1447800"/>
                <a:gd name="connsiteX503" fmla="*/ 63818 w 1714500"/>
                <a:gd name="connsiteY503" fmla="*/ 1084898 h 1447800"/>
                <a:gd name="connsiteX504" fmla="*/ 60007 w 1714500"/>
                <a:gd name="connsiteY504" fmla="*/ 1081088 h 1447800"/>
                <a:gd name="connsiteX505" fmla="*/ 55245 w 1714500"/>
                <a:gd name="connsiteY505" fmla="*/ 1078230 h 1447800"/>
                <a:gd name="connsiteX506" fmla="*/ 52388 w 1714500"/>
                <a:gd name="connsiteY506" fmla="*/ 1077277 h 1447800"/>
                <a:gd name="connsiteX507" fmla="*/ 43815 w 1714500"/>
                <a:gd name="connsiteY507" fmla="*/ 1077277 h 1447800"/>
                <a:gd name="connsiteX508" fmla="*/ 41910 w 1714500"/>
                <a:gd name="connsiteY508" fmla="*/ 1076325 h 1447800"/>
                <a:gd name="connsiteX509" fmla="*/ 34290 w 1714500"/>
                <a:gd name="connsiteY509" fmla="*/ 1069658 h 1447800"/>
                <a:gd name="connsiteX510" fmla="*/ 23813 w 1714500"/>
                <a:gd name="connsiteY510" fmla="*/ 1063943 h 1447800"/>
                <a:gd name="connsiteX511" fmla="*/ 22860 w 1714500"/>
                <a:gd name="connsiteY511" fmla="*/ 1062038 h 1447800"/>
                <a:gd name="connsiteX512" fmla="*/ 22860 w 1714500"/>
                <a:gd name="connsiteY512" fmla="*/ 1059180 h 1447800"/>
                <a:gd name="connsiteX513" fmla="*/ 25718 w 1714500"/>
                <a:gd name="connsiteY513" fmla="*/ 1054418 h 1447800"/>
                <a:gd name="connsiteX514" fmla="*/ 27622 w 1714500"/>
                <a:gd name="connsiteY514" fmla="*/ 1050608 h 1447800"/>
                <a:gd name="connsiteX515" fmla="*/ 31432 w 1714500"/>
                <a:gd name="connsiteY515" fmla="*/ 1039177 h 1447800"/>
                <a:gd name="connsiteX516" fmla="*/ 34290 w 1714500"/>
                <a:gd name="connsiteY516" fmla="*/ 1036320 h 1447800"/>
                <a:gd name="connsiteX517" fmla="*/ 37147 w 1714500"/>
                <a:gd name="connsiteY517" fmla="*/ 1034415 h 1447800"/>
                <a:gd name="connsiteX518" fmla="*/ 40005 w 1714500"/>
                <a:gd name="connsiteY518" fmla="*/ 1034415 h 1447800"/>
                <a:gd name="connsiteX519" fmla="*/ 41910 w 1714500"/>
                <a:gd name="connsiteY519" fmla="*/ 1032510 h 1447800"/>
                <a:gd name="connsiteX520" fmla="*/ 42863 w 1714500"/>
                <a:gd name="connsiteY520" fmla="*/ 1028700 h 1447800"/>
                <a:gd name="connsiteX521" fmla="*/ 41910 w 1714500"/>
                <a:gd name="connsiteY521" fmla="*/ 1020127 h 1447800"/>
                <a:gd name="connsiteX522" fmla="*/ 39053 w 1714500"/>
                <a:gd name="connsiteY522" fmla="*/ 1014413 h 1447800"/>
                <a:gd name="connsiteX523" fmla="*/ 35243 w 1714500"/>
                <a:gd name="connsiteY523" fmla="*/ 1010602 h 1447800"/>
                <a:gd name="connsiteX524" fmla="*/ 29528 w 1714500"/>
                <a:gd name="connsiteY524" fmla="*/ 1008698 h 1447800"/>
                <a:gd name="connsiteX525" fmla="*/ 13335 w 1714500"/>
                <a:gd name="connsiteY525" fmla="*/ 1008698 h 1447800"/>
                <a:gd name="connsiteX526" fmla="*/ 10478 w 1714500"/>
                <a:gd name="connsiteY526" fmla="*/ 1007745 h 1447800"/>
                <a:gd name="connsiteX527" fmla="*/ 5715 w 1714500"/>
                <a:gd name="connsiteY527" fmla="*/ 1004888 h 1447800"/>
                <a:gd name="connsiteX528" fmla="*/ 1905 w 1714500"/>
                <a:gd name="connsiteY528" fmla="*/ 1000125 h 1447800"/>
                <a:gd name="connsiteX529" fmla="*/ 0 w 1714500"/>
                <a:gd name="connsiteY529" fmla="*/ 993458 h 1447800"/>
                <a:gd name="connsiteX530" fmla="*/ 0 w 1714500"/>
                <a:gd name="connsiteY530" fmla="*/ 987743 h 1447800"/>
                <a:gd name="connsiteX531" fmla="*/ 953 w 1714500"/>
                <a:gd name="connsiteY531" fmla="*/ 982980 h 1447800"/>
                <a:gd name="connsiteX532" fmla="*/ 2857 w 1714500"/>
                <a:gd name="connsiteY532" fmla="*/ 978218 h 1447800"/>
                <a:gd name="connsiteX533" fmla="*/ 8572 w 1714500"/>
                <a:gd name="connsiteY533" fmla="*/ 968693 h 1447800"/>
                <a:gd name="connsiteX534" fmla="*/ 13335 w 1714500"/>
                <a:gd name="connsiteY534" fmla="*/ 965835 h 1447800"/>
                <a:gd name="connsiteX535" fmla="*/ 31432 w 1714500"/>
                <a:gd name="connsiteY535" fmla="*/ 954405 h 1447800"/>
                <a:gd name="connsiteX536" fmla="*/ 40957 w 1714500"/>
                <a:gd name="connsiteY536" fmla="*/ 950595 h 1447800"/>
                <a:gd name="connsiteX537" fmla="*/ 42863 w 1714500"/>
                <a:gd name="connsiteY537" fmla="*/ 947738 h 1447800"/>
                <a:gd name="connsiteX538" fmla="*/ 43815 w 1714500"/>
                <a:gd name="connsiteY538" fmla="*/ 943927 h 1447800"/>
                <a:gd name="connsiteX539" fmla="*/ 42863 w 1714500"/>
                <a:gd name="connsiteY539" fmla="*/ 930593 h 1447800"/>
                <a:gd name="connsiteX540" fmla="*/ 42863 w 1714500"/>
                <a:gd name="connsiteY540" fmla="*/ 926783 h 1447800"/>
                <a:gd name="connsiteX541" fmla="*/ 46672 w 1714500"/>
                <a:gd name="connsiteY541" fmla="*/ 922973 h 1447800"/>
                <a:gd name="connsiteX542" fmla="*/ 48578 w 1714500"/>
                <a:gd name="connsiteY542" fmla="*/ 921068 h 1447800"/>
                <a:gd name="connsiteX543" fmla="*/ 59055 w 1714500"/>
                <a:gd name="connsiteY543" fmla="*/ 915352 h 1447800"/>
                <a:gd name="connsiteX544" fmla="*/ 60007 w 1714500"/>
                <a:gd name="connsiteY544" fmla="*/ 913448 h 1447800"/>
                <a:gd name="connsiteX545" fmla="*/ 60960 w 1714500"/>
                <a:gd name="connsiteY545" fmla="*/ 909638 h 1447800"/>
                <a:gd name="connsiteX546" fmla="*/ 59055 w 1714500"/>
                <a:gd name="connsiteY546" fmla="*/ 901065 h 1447800"/>
                <a:gd name="connsiteX547" fmla="*/ 58103 w 1714500"/>
                <a:gd name="connsiteY547" fmla="*/ 896302 h 1447800"/>
                <a:gd name="connsiteX548" fmla="*/ 57150 w 1714500"/>
                <a:gd name="connsiteY548" fmla="*/ 892493 h 1447800"/>
                <a:gd name="connsiteX549" fmla="*/ 57150 w 1714500"/>
                <a:gd name="connsiteY549" fmla="*/ 888683 h 1447800"/>
                <a:gd name="connsiteX550" fmla="*/ 59055 w 1714500"/>
                <a:gd name="connsiteY550" fmla="*/ 884873 h 1447800"/>
                <a:gd name="connsiteX551" fmla="*/ 62865 w 1714500"/>
                <a:gd name="connsiteY551" fmla="*/ 879158 h 1447800"/>
                <a:gd name="connsiteX552" fmla="*/ 62865 w 1714500"/>
                <a:gd name="connsiteY552" fmla="*/ 875348 h 1447800"/>
                <a:gd name="connsiteX553" fmla="*/ 61913 w 1714500"/>
                <a:gd name="connsiteY553" fmla="*/ 871538 h 1447800"/>
                <a:gd name="connsiteX554" fmla="*/ 59055 w 1714500"/>
                <a:gd name="connsiteY554" fmla="*/ 866775 h 1447800"/>
                <a:gd name="connsiteX555" fmla="*/ 56197 w 1714500"/>
                <a:gd name="connsiteY555" fmla="*/ 863918 h 1447800"/>
                <a:gd name="connsiteX556" fmla="*/ 53340 w 1714500"/>
                <a:gd name="connsiteY556" fmla="*/ 862013 h 1447800"/>
                <a:gd name="connsiteX557" fmla="*/ 45720 w 1714500"/>
                <a:gd name="connsiteY557" fmla="*/ 857250 h 1447800"/>
                <a:gd name="connsiteX558" fmla="*/ 42863 w 1714500"/>
                <a:gd name="connsiteY558" fmla="*/ 856298 h 1447800"/>
                <a:gd name="connsiteX559" fmla="*/ 42863 w 1714500"/>
                <a:gd name="connsiteY559" fmla="*/ 849630 h 1447800"/>
                <a:gd name="connsiteX560" fmla="*/ 55245 w 1714500"/>
                <a:gd name="connsiteY560" fmla="*/ 836295 h 1447800"/>
                <a:gd name="connsiteX561" fmla="*/ 75247 w 1714500"/>
                <a:gd name="connsiteY561" fmla="*/ 842010 h 1447800"/>
                <a:gd name="connsiteX562" fmla="*/ 80010 w 1714500"/>
                <a:gd name="connsiteY562" fmla="*/ 846773 h 1447800"/>
                <a:gd name="connsiteX563" fmla="*/ 79057 w 1714500"/>
                <a:gd name="connsiteY563" fmla="*/ 849630 h 1447800"/>
                <a:gd name="connsiteX564" fmla="*/ 75247 w 1714500"/>
                <a:gd name="connsiteY564" fmla="*/ 851535 h 1447800"/>
                <a:gd name="connsiteX565" fmla="*/ 72390 w 1714500"/>
                <a:gd name="connsiteY565" fmla="*/ 853440 h 1447800"/>
                <a:gd name="connsiteX566" fmla="*/ 71438 w 1714500"/>
                <a:gd name="connsiteY566" fmla="*/ 856298 h 1447800"/>
                <a:gd name="connsiteX567" fmla="*/ 72390 w 1714500"/>
                <a:gd name="connsiteY567" fmla="*/ 862013 h 1447800"/>
                <a:gd name="connsiteX568" fmla="*/ 74295 w 1714500"/>
                <a:gd name="connsiteY568" fmla="*/ 865823 h 1447800"/>
                <a:gd name="connsiteX569" fmla="*/ 78105 w 1714500"/>
                <a:gd name="connsiteY569" fmla="*/ 870585 h 1447800"/>
                <a:gd name="connsiteX570" fmla="*/ 88582 w 1714500"/>
                <a:gd name="connsiteY570" fmla="*/ 878205 h 1447800"/>
                <a:gd name="connsiteX571" fmla="*/ 97155 w 1714500"/>
                <a:gd name="connsiteY571" fmla="*/ 882015 h 1447800"/>
                <a:gd name="connsiteX572" fmla="*/ 128588 w 1714500"/>
                <a:gd name="connsiteY572" fmla="*/ 878205 h 1447800"/>
                <a:gd name="connsiteX573" fmla="*/ 141922 w 1714500"/>
                <a:gd name="connsiteY573" fmla="*/ 879158 h 1447800"/>
                <a:gd name="connsiteX574" fmla="*/ 145732 w 1714500"/>
                <a:gd name="connsiteY574" fmla="*/ 877252 h 1447800"/>
                <a:gd name="connsiteX575" fmla="*/ 147638 w 1714500"/>
                <a:gd name="connsiteY575" fmla="*/ 874395 h 1447800"/>
                <a:gd name="connsiteX576" fmla="*/ 145732 w 1714500"/>
                <a:gd name="connsiteY576" fmla="*/ 865823 h 1447800"/>
                <a:gd name="connsiteX577" fmla="*/ 146685 w 1714500"/>
                <a:gd name="connsiteY577" fmla="*/ 862965 h 1447800"/>
                <a:gd name="connsiteX578" fmla="*/ 146685 w 1714500"/>
                <a:gd name="connsiteY578" fmla="*/ 860108 h 1447800"/>
                <a:gd name="connsiteX579" fmla="*/ 149543 w 1714500"/>
                <a:gd name="connsiteY579" fmla="*/ 856298 h 1447800"/>
                <a:gd name="connsiteX580" fmla="*/ 157163 w 1714500"/>
                <a:gd name="connsiteY580" fmla="*/ 848677 h 1447800"/>
                <a:gd name="connsiteX581" fmla="*/ 160972 w 1714500"/>
                <a:gd name="connsiteY581" fmla="*/ 844868 h 1447800"/>
                <a:gd name="connsiteX582" fmla="*/ 165735 w 1714500"/>
                <a:gd name="connsiteY582" fmla="*/ 837248 h 1447800"/>
                <a:gd name="connsiteX583" fmla="*/ 166688 w 1714500"/>
                <a:gd name="connsiteY583" fmla="*/ 833438 h 1447800"/>
                <a:gd name="connsiteX584" fmla="*/ 169545 w 1714500"/>
                <a:gd name="connsiteY584" fmla="*/ 824865 h 1447800"/>
                <a:gd name="connsiteX585" fmla="*/ 172403 w 1714500"/>
                <a:gd name="connsiteY585" fmla="*/ 820102 h 1447800"/>
                <a:gd name="connsiteX586" fmla="*/ 179070 w 1714500"/>
                <a:gd name="connsiteY586" fmla="*/ 817245 h 1447800"/>
                <a:gd name="connsiteX587" fmla="*/ 190500 w 1714500"/>
                <a:gd name="connsiteY587" fmla="*/ 808673 h 1447800"/>
                <a:gd name="connsiteX588" fmla="*/ 195263 w 1714500"/>
                <a:gd name="connsiteY588" fmla="*/ 806768 h 1447800"/>
                <a:gd name="connsiteX589" fmla="*/ 213360 w 1714500"/>
                <a:gd name="connsiteY589" fmla="*/ 806768 h 1447800"/>
                <a:gd name="connsiteX590" fmla="*/ 218122 w 1714500"/>
                <a:gd name="connsiteY590" fmla="*/ 805815 h 1447800"/>
                <a:gd name="connsiteX591" fmla="*/ 221932 w 1714500"/>
                <a:gd name="connsiteY591" fmla="*/ 803910 h 1447800"/>
                <a:gd name="connsiteX592" fmla="*/ 227647 w 1714500"/>
                <a:gd name="connsiteY592" fmla="*/ 795338 h 1447800"/>
                <a:gd name="connsiteX593" fmla="*/ 231457 w 1714500"/>
                <a:gd name="connsiteY593" fmla="*/ 790575 h 1447800"/>
                <a:gd name="connsiteX594" fmla="*/ 235268 w 1714500"/>
                <a:gd name="connsiteY594" fmla="*/ 788670 h 1447800"/>
                <a:gd name="connsiteX595" fmla="*/ 239078 w 1714500"/>
                <a:gd name="connsiteY595" fmla="*/ 789623 h 1447800"/>
                <a:gd name="connsiteX596" fmla="*/ 242888 w 1714500"/>
                <a:gd name="connsiteY596" fmla="*/ 790575 h 1447800"/>
                <a:gd name="connsiteX597" fmla="*/ 258128 w 1714500"/>
                <a:gd name="connsiteY597" fmla="*/ 791527 h 1447800"/>
                <a:gd name="connsiteX598" fmla="*/ 260985 w 1714500"/>
                <a:gd name="connsiteY598" fmla="*/ 792480 h 1447800"/>
                <a:gd name="connsiteX599" fmla="*/ 266700 w 1714500"/>
                <a:gd name="connsiteY599" fmla="*/ 795338 h 1447800"/>
                <a:gd name="connsiteX600" fmla="*/ 268605 w 1714500"/>
                <a:gd name="connsiteY600" fmla="*/ 796290 h 1447800"/>
                <a:gd name="connsiteX601" fmla="*/ 273368 w 1714500"/>
                <a:gd name="connsiteY601" fmla="*/ 797243 h 1447800"/>
                <a:gd name="connsiteX602" fmla="*/ 276225 w 1714500"/>
                <a:gd name="connsiteY602" fmla="*/ 796290 h 1447800"/>
                <a:gd name="connsiteX603" fmla="*/ 276225 w 1714500"/>
                <a:gd name="connsiteY603" fmla="*/ 793433 h 1447800"/>
                <a:gd name="connsiteX604" fmla="*/ 274320 w 1714500"/>
                <a:gd name="connsiteY604" fmla="*/ 788670 h 1447800"/>
                <a:gd name="connsiteX605" fmla="*/ 271463 w 1714500"/>
                <a:gd name="connsiteY605" fmla="*/ 782002 h 1447800"/>
                <a:gd name="connsiteX606" fmla="*/ 269557 w 1714500"/>
                <a:gd name="connsiteY606" fmla="*/ 778193 h 1447800"/>
                <a:gd name="connsiteX607" fmla="*/ 269557 w 1714500"/>
                <a:gd name="connsiteY607" fmla="*/ 776288 h 1447800"/>
                <a:gd name="connsiteX608" fmla="*/ 271463 w 1714500"/>
                <a:gd name="connsiteY608" fmla="*/ 773430 h 1447800"/>
                <a:gd name="connsiteX609" fmla="*/ 275272 w 1714500"/>
                <a:gd name="connsiteY609" fmla="*/ 769620 h 1447800"/>
                <a:gd name="connsiteX610" fmla="*/ 282893 w 1714500"/>
                <a:gd name="connsiteY610" fmla="*/ 765810 h 1447800"/>
                <a:gd name="connsiteX611" fmla="*/ 286703 w 1714500"/>
                <a:gd name="connsiteY611" fmla="*/ 761048 h 1447800"/>
                <a:gd name="connsiteX612" fmla="*/ 292418 w 1714500"/>
                <a:gd name="connsiteY612" fmla="*/ 754380 h 1447800"/>
                <a:gd name="connsiteX613" fmla="*/ 295275 w 1714500"/>
                <a:gd name="connsiteY613" fmla="*/ 753427 h 1447800"/>
                <a:gd name="connsiteX614" fmla="*/ 298132 w 1714500"/>
                <a:gd name="connsiteY614" fmla="*/ 753427 h 1447800"/>
                <a:gd name="connsiteX615" fmla="*/ 309563 w 1714500"/>
                <a:gd name="connsiteY615" fmla="*/ 758190 h 1447800"/>
                <a:gd name="connsiteX616" fmla="*/ 311468 w 1714500"/>
                <a:gd name="connsiteY616" fmla="*/ 760095 h 1447800"/>
                <a:gd name="connsiteX617" fmla="*/ 311468 w 1714500"/>
                <a:gd name="connsiteY617" fmla="*/ 762000 h 1447800"/>
                <a:gd name="connsiteX618" fmla="*/ 310515 w 1714500"/>
                <a:gd name="connsiteY618" fmla="*/ 764858 h 1447800"/>
                <a:gd name="connsiteX619" fmla="*/ 304800 w 1714500"/>
                <a:gd name="connsiteY619" fmla="*/ 774383 h 1447800"/>
                <a:gd name="connsiteX620" fmla="*/ 301943 w 1714500"/>
                <a:gd name="connsiteY620" fmla="*/ 779145 h 1447800"/>
                <a:gd name="connsiteX621" fmla="*/ 300990 w 1714500"/>
                <a:gd name="connsiteY621" fmla="*/ 782955 h 1447800"/>
                <a:gd name="connsiteX622" fmla="*/ 300990 w 1714500"/>
                <a:gd name="connsiteY622" fmla="*/ 785813 h 1447800"/>
                <a:gd name="connsiteX623" fmla="*/ 301943 w 1714500"/>
                <a:gd name="connsiteY623" fmla="*/ 787718 h 1447800"/>
                <a:gd name="connsiteX624" fmla="*/ 303847 w 1714500"/>
                <a:gd name="connsiteY624" fmla="*/ 789623 h 1447800"/>
                <a:gd name="connsiteX625" fmla="*/ 306705 w 1714500"/>
                <a:gd name="connsiteY625" fmla="*/ 791527 h 1447800"/>
                <a:gd name="connsiteX626" fmla="*/ 399097 w 1714500"/>
                <a:gd name="connsiteY626" fmla="*/ 810577 h 1447800"/>
                <a:gd name="connsiteX627" fmla="*/ 402907 w 1714500"/>
                <a:gd name="connsiteY627" fmla="*/ 813435 h 1447800"/>
                <a:gd name="connsiteX628" fmla="*/ 403860 w 1714500"/>
                <a:gd name="connsiteY628" fmla="*/ 815340 h 1447800"/>
                <a:gd name="connsiteX629" fmla="*/ 403860 w 1714500"/>
                <a:gd name="connsiteY629" fmla="*/ 822008 h 1447800"/>
                <a:gd name="connsiteX630" fmla="*/ 403860 w 1714500"/>
                <a:gd name="connsiteY630" fmla="*/ 824865 h 1447800"/>
                <a:gd name="connsiteX631" fmla="*/ 406718 w 1714500"/>
                <a:gd name="connsiteY631" fmla="*/ 828675 h 1447800"/>
                <a:gd name="connsiteX632" fmla="*/ 411480 w 1714500"/>
                <a:gd name="connsiteY632" fmla="*/ 831533 h 1447800"/>
                <a:gd name="connsiteX633" fmla="*/ 416243 w 1714500"/>
                <a:gd name="connsiteY633" fmla="*/ 831533 h 1447800"/>
                <a:gd name="connsiteX634" fmla="*/ 419100 w 1714500"/>
                <a:gd name="connsiteY634" fmla="*/ 829627 h 1447800"/>
                <a:gd name="connsiteX635" fmla="*/ 420053 w 1714500"/>
                <a:gd name="connsiteY635" fmla="*/ 826770 h 1447800"/>
                <a:gd name="connsiteX636" fmla="*/ 430530 w 1714500"/>
                <a:gd name="connsiteY636" fmla="*/ 782955 h 1447800"/>
                <a:gd name="connsiteX637" fmla="*/ 433388 w 1714500"/>
                <a:gd name="connsiteY637" fmla="*/ 773430 h 1447800"/>
                <a:gd name="connsiteX638" fmla="*/ 434340 w 1714500"/>
                <a:gd name="connsiteY638" fmla="*/ 770573 h 1447800"/>
                <a:gd name="connsiteX639" fmla="*/ 434340 w 1714500"/>
                <a:gd name="connsiteY639" fmla="*/ 761048 h 1447800"/>
                <a:gd name="connsiteX640" fmla="*/ 434340 w 1714500"/>
                <a:gd name="connsiteY640" fmla="*/ 754380 h 1447800"/>
                <a:gd name="connsiteX641" fmla="*/ 436245 w 1714500"/>
                <a:gd name="connsiteY641" fmla="*/ 747713 h 1447800"/>
                <a:gd name="connsiteX642" fmla="*/ 438150 w 1714500"/>
                <a:gd name="connsiteY642" fmla="*/ 744855 h 1447800"/>
                <a:gd name="connsiteX643" fmla="*/ 440055 w 1714500"/>
                <a:gd name="connsiteY643" fmla="*/ 741045 h 1447800"/>
                <a:gd name="connsiteX644" fmla="*/ 445770 w 1714500"/>
                <a:gd name="connsiteY644" fmla="*/ 738188 h 1447800"/>
                <a:gd name="connsiteX645" fmla="*/ 449580 w 1714500"/>
                <a:gd name="connsiteY645" fmla="*/ 736283 h 1447800"/>
                <a:gd name="connsiteX646" fmla="*/ 453390 w 1714500"/>
                <a:gd name="connsiteY646" fmla="*/ 736283 h 1447800"/>
                <a:gd name="connsiteX647" fmla="*/ 456247 w 1714500"/>
                <a:gd name="connsiteY647" fmla="*/ 737235 h 1447800"/>
                <a:gd name="connsiteX648" fmla="*/ 461010 w 1714500"/>
                <a:gd name="connsiteY648" fmla="*/ 740093 h 1447800"/>
                <a:gd name="connsiteX649" fmla="*/ 466725 w 1714500"/>
                <a:gd name="connsiteY649" fmla="*/ 745808 h 1447800"/>
                <a:gd name="connsiteX650" fmla="*/ 471488 w 1714500"/>
                <a:gd name="connsiteY650" fmla="*/ 753427 h 1447800"/>
                <a:gd name="connsiteX651" fmla="*/ 475297 w 1714500"/>
                <a:gd name="connsiteY651" fmla="*/ 757238 h 1447800"/>
                <a:gd name="connsiteX652" fmla="*/ 479107 w 1714500"/>
                <a:gd name="connsiteY652" fmla="*/ 757238 h 1447800"/>
                <a:gd name="connsiteX653" fmla="*/ 496253 w 1714500"/>
                <a:gd name="connsiteY653" fmla="*/ 751523 h 1447800"/>
                <a:gd name="connsiteX654" fmla="*/ 499110 w 1714500"/>
                <a:gd name="connsiteY654" fmla="*/ 749618 h 1447800"/>
                <a:gd name="connsiteX655" fmla="*/ 504825 w 1714500"/>
                <a:gd name="connsiteY655" fmla="*/ 743902 h 1447800"/>
                <a:gd name="connsiteX656" fmla="*/ 507682 w 1714500"/>
                <a:gd name="connsiteY656" fmla="*/ 743902 h 1447800"/>
                <a:gd name="connsiteX657" fmla="*/ 509588 w 1714500"/>
                <a:gd name="connsiteY657" fmla="*/ 744855 h 1447800"/>
                <a:gd name="connsiteX658" fmla="*/ 524828 w 1714500"/>
                <a:gd name="connsiteY658" fmla="*/ 753427 h 1447800"/>
                <a:gd name="connsiteX659" fmla="*/ 527685 w 1714500"/>
                <a:gd name="connsiteY659" fmla="*/ 752475 h 1447800"/>
                <a:gd name="connsiteX660" fmla="*/ 529590 w 1714500"/>
                <a:gd name="connsiteY660" fmla="*/ 751523 h 1447800"/>
                <a:gd name="connsiteX661" fmla="*/ 532447 w 1714500"/>
                <a:gd name="connsiteY661" fmla="*/ 746760 h 1447800"/>
                <a:gd name="connsiteX662" fmla="*/ 539115 w 1714500"/>
                <a:gd name="connsiteY662" fmla="*/ 732473 h 1447800"/>
                <a:gd name="connsiteX663" fmla="*/ 541020 w 1714500"/>
                <a:gd name="connsiteY663" fmla="*/ 729615 h 1447800"/>
                <a:gd name="connsiteX664" fmla="*/ 543878 w 1714500"/>
                <a:gd name="connsiteY664" fmla="*/ 729615 h 1447800"/>
                <a:gd name="connsiteX665" fmla="*/ 545782 w 1714500"/>
                <a:gd name="connsiteY665" fmla="*/ 730568 h 1447800"/>
                <a:gd name="connsiteX666" fmla="*/ 549593 w 1714500"/>
                <a:gd name="connsiteY666" fmla="*/ 734377 h 1447800"/>
                <a:gd name="connsiteX667" fmla="*/ 553403 w 1714500"/>
                <a:gd name="connsiteY667" fmla="*/ 735330 h 1447800"/>
                <a:gd name="connsiteX668" fmla="*/ 560070 w 1714500"/>
                <a:gd name="connsiteY668" fmla="*/ 736283 h 1447800"/>
                <a:gd name="connsiteX669" fmla="*/ 567690 w 1714500"/>
                <a:gd name="connsiteY669" fmla="*/ 733425 h 1447800"/>
                <a:gd name="connsiteX670" fmla="*/ 572453 w 1714500"/>
                <a:gd name="connsiteY670" fmla="*/ 733425 h 1447800"/>
                <a:gd name="connsiteX671" fmla="*/ 575310 w 1714500"/>
                <a:gd name="connsiteY671" fmla="*/ 733425 h 1447800"/>
                <a:gd name="connsiteX672" fmla="*/ 579120 w 1714500"/>
                <a:gd name="connsiteY672" fmla="*/ 737235 h 1447800"/>
                <a:gd name="connsiteX673" fmla="*/ 589597 w 1714500"/>
                <a:gd name="connsiteY673" fmla="*/ 755333 h 1447800"/>
                <a:gd name="connsiteX674" fmla="*/ 591503 w 1714500"/>
                <a:gd name="connsiteY674" fmla="*/ 758190 h 1447800"/>
                <a:gd name="connsiteX675" fmla="*/ 594360 w 1714500"/>
                <a:gd name="connsiteY675" fmla="*/ 760095 h 1447800"/>
                <a:gd name="connsiteX676" fmla="*/ 597218 w 1714500"/>
                <a:gd name="connsiteY676" fmla="*/ 760095 h 1447800"/>
                <a:gd name="connsiteX677" fmla="*/ 600075 w 1714500"/>
                <a:gd name="connsiteY677" fmla="*/ 760095 h 1447800"/>
                <a:gd name="connsiteX678" fmla="*/ 609600 w 1714500"/>
                <a:gd name="connsiteY678" fmla="*/ 753427 h 1447800"/>
                <a:gd name="connsiteX679" fmla="*/ 626745 w 1714500"/>
                <a:gd name="connsiteY679" fmla="*/ 748665 h 1447800"/>
                <a:gd name="connsiteX680" fmla="*/ 628650 w 1714500"/>
                <a:gd name="connsiteY680" fmla="*/ 746760 h 1447800"/>
                <a:gd name="connsiteX681" fmla="*/ 634365 w 1714500"/>
                <a:gd name="connsiteY681" fmla="*/ 740093 h 1447800"/>
                <a:gd name="connsiteX682" fmla="*/ 637222 w 1714500"/>
                <a:gd name="connsiteY682" fmla="*/ 737235 h 1447800"/>
                <a:gd name="connsiteX683" fmla="*/ 641985 w 1714500"/>
                <a:gd name="connsiteY683" fmla="*/ 734377 h 1447800"/>
                <a:gd name="connsiteX684" fmla="*/ 644843 w 1714500"/>
                <a:gd name="connsiteY684" fmla="*/ 735330 h 1447800"/>
                <a:gd name="connsiteX685" fmla="*/ 653415 w 1714500"/>
                <a:gd name="connsiteY685" fmla="*/ 739140 h 1447800"/>
                <a:gd name="connsiteX686" fmla="*/ 659130 w 1714500"/>
                <a:gd name="connsiteY686" fmla="*/ 738188 h 1447800"/>
                <a:gd name="connsiteX687" fmla="*/ 661988 w 1714500"/>
                <a:gd name="connsiteY687" fmla="*/ 737235 h 1447800"/>
                <a:gd name="connsiteX688" fmla="*/ 667703 w 1714500"/>
                <a:gd name="connsiteY688" fmla="*/ 731520 h 1447800"/>
                <a:gd name="connsiteX689" fmla="*/ 672465 w 1714500"/>
                <a:gd name="connsiteY689" fmla="*/ 727710 h 1447800"/>
                <a:gd name="connsiteX690" fmla="*/ 676275 w 1714500"/>
                <a:gd name="connsiteY690" fmla="*/ 727710 h 1447800"/>
                <a:gd name="connsiteX691" fmla="*/ 678180 w 1714500"/>
                <a:gd name="connsiteY691" fmla="*/ 728663 h 1447800"/>
                <a:gd name="connsiteX692" fmla="*/ 681038 w 1714500"/>
                <a:gd name="connsiteY692" fmla="*/ 733425 h 1447800"/>
                <a:gd name="connsiteX693" fmla="*/ 682943 w 1714500"/>
                <a:gd name="connsiteY693" fmla="*/ 736283 h 1447800"/>
                <a:gd name="connsiteX694" fmla="*/ 686753 w 1714500"/>
                <a:gd name="connsiteY694" fmla="*/ 738188 h 1447800"/>
                <a:gd name="connsiteX695" fmla="*/ 693420 w 1714500"/>
                <a:gd name="connsiteY695" fmla="*/ 740093 h 1447800"/>
                <a:gd name="connsiteX696" fmla="*/ 697230 w 1714500"/>
                <a:gd name="connsiteY696" fmla="*/ 736283 h 1447800"/>
                <a:gd name="connsiteX697" fmla="*/ 699135 w 1714500"/>
                <a:gd name="connsiteY697" fmla="*/ 732473 h 1447800"/>
                <a:gd name="connsiteX698" fmla="*/ 699135 w 1714500"/>
                <a:gd name="connsiteY698" fmla="*/ 729615 h 1447800"/>
                <a:gd name="connsiteX699" fmla="*/ 699135 w 1714500"/>
                <a:gd name="connsiteY699" fmla="*/ 720090 h 1447800"/>
                <a:gd name="connsiteX700" fmla="*/ 699135 w 1714500"/>
                <a:gd name="connsiteY700" fmla="*/ 717233 h 1447800"/>
                <a:gd name="connsiteX701" fmla="*/ 701040 w 1714500"/>
                <a:gd name="connsiteY701" fmla="*/ 710565 h 1447800"/>
                <a:gd name="connsiteX702" fmla="*/ 713422 w 1714500"/>
                <a:gd name="connsiteY702" fmla="*/ 687705 h 1447800"/>
                <a:gd name="connsiteX703" fmla="*/ 719138 w 1714500"/>
                <a:gd name="connsiteY703" fmla="*/ 681038 h 1447800"/>
                <a:gd name="connsiteX704" fmla="*/ 728663 w 1714500"/>
                <a:gd name="connsiteY704" fmla="*/ 673418 h 1447800"/>
                <a:gd name="connsiteX705" fmla="*/ 730568 w 1714500"/>
                <a:gd name="connsiteY705" fmla="*/ 671513 h 1447800"/>
                <a:gd name="connsiteX706" fmla="*/ 735330 w 1714500"/>
                <a:gd name="connsiteY706" fmla="*/ 663893 h 1447800"/>
                <a:gd name="connsiteX707" fmla="*/ 741045 w 1714500"/>
                <a:gd name="connsiteY707" fmla="*/ 658177 h 1447800"/>
                <a:gd name="connsiteX708" fmla="*/ 754380 w 1714500"/>
                <a:gd name="connsiteY708" fmla="*/ 645795 h 1447800"/>
                <a:gd name="connsiteX709" fmla="*/ 757238 w 1714500"/>
                <a:gd name="connsiteY709" fmla="*/ 641033 h 1447800"/>
                <a:gd name="connsiteX710" fmla="*/ 760095 w 1714500"/>
                <a:gd name="connsiteY710" fmla="*/ 638175 h 1447800"/>
                <a:gd name="connsiteX711" fmla="*/ 782955 w 1714500"/>
                <a:gd name="connsiteY711" fmla="*/ 622935 h 1447800"/>
                <a:gd name="connsiteX712" fmla="*/ 785813 w 1714500"/>
                <a:gd name="connsiteY712" fmla="*/ 618173 h 1447800"/>
                <a:gd name="connsiteX713" fmla="*/ 788670 w 1714500"/>
                <a:gd name="connsiteY713" fmla="*/ 614363 h 1447800"/>
                <a:gd name="connsiteX714" fmla="*/ 797243 w 1714500"/>
                <a:gd name="connsiteY714" fmla="*/ 592455 h 1447800"/>
                <a:gd name="connsiteX715" fmla="*/ 800100 w 1714500"/>
                <a:gd name="connsiteY715" fmla="*/ 588645 h 1447800"/>
                <a:gd name="connsiteX716" fmla="*/ 804863 w 1714500"/>
                <a:gd name="connsiteY716" fmla="*/ 583883 h 1447800"/>
                <a:gd name="connsiteX717" fmla="*/ 821055 w 1714500"/>
                <a:gd name="connsiteY717" fmla="*/ 572453 h 1447800"/>
                <a:gd name="connsiteX718" fmla="*/ 823913 w 1714500"/>
                <a:gd name="connsiteY718" fmla="*/ 569595 h 1447800"/>
                <a:gd name="connsiteX719" fmla="*/ 824865 w 1714500"/>
                <a:gd name="connsiteY719" fmla="*/ 563880 h 1447800"/>
                <a:gd name="connsiteX720" fmla="*/ 825818 w 1714500"/>
                <a:gd name="connsiteY720" fmla="*/ 554355 h 1447800"/>
                <a:gd name="connsiteX721" fmla="*/ 825818 w 1714500"/>
                <a:gd name="connsiteY721" fmla="*/ 548640 h 1447800"/>
                <a:gd name="connsiteX722" fmla="*/ 824865 w 1714500"/>
                <a:gd name="connsiteY722" fmla="*/ 545783 h 1447800"/>
                <a:gd name="connsiteX723" fmla="*/ 822960 w 1714500"/>
                <a:gd name="connsiteY723" fmla="*/ 543878 h 1447800"/>
                <a:gd name="connsiteX724" fmla="*/ 821055 w 1714500"/>
                <a:gd name="connsiteY724" fmla="*/ 541973 h 1447800"/>
                <a:gd name="connsiteX725" fmla="*/ 814388 w 1714500"/>
                <a:gd name="connsiteY725" fmla="*/ 540068 h 1447800"/>
                <a:gd name="connsiteX726" fmla="*/ 812482 w 1714500"/>
                <a:gd name="connsiteY726" fmla="*/ 539115 h 1447800"/>
                <a:gd name="connsiteX727" fmla="*/ 810578 w 1714500"/>
                <a:gd name="connsiteY727" fmla="*/ 537210 h 1447800"/>
                <a:gd name="connsiteX728" fmla="*/ 809625 w 1714500"/>
                <a:gd name="connsiteY728" fmla="*/ 531495 h 1447800"/>
                <a:gd name="connsiteX729" fmla="*/ 809625 w 1714500"/>
                <a:gd name="connsiteY729" fmla="*/ 521970 h 1447800"/>
                <a:gd name="connsiteX730" fmla="*/ 810578 w 1714500"/>
                <a:gd name="connsiteY730" fmla="*/ 519113 h 1447800"/>
                <a:gd name="connsiteX731" fmla="*/ 813435 w 1714500"/>
                <a:gd name="connsiteY731" fmla="*/ 515303 h 1447800"/>
                <a:gd name="connsiteX732" fmla="*/ 819150 w 1714500"/>
                <a:gd name="connsiteY732" fmla="*/ 509588 h 1447800"/>
                <a:gd name="connsiteX733" fmla="*/ 821055 w 1714500"/>
                <a:gd name="connsiteY733" fmla="*/ 506730 h 1447800"/>
                <a:gd name="connsiteX734" fmla="*/ 827722 w 1714500"/>
                <a:gd name="connsiteY734" fmla="*/ 488633 h 1447800"/>
                <a:gd name="connsiteX735" fmla="*/ 833438 w 1714500"/>
                <a:gd name="connsiteY735" fmla="*/ 478155 h 1447800"/>
                <a:gd name="connsiteX736" fmla="*/ 834390 w 1714500"/>
                <a:gd name="connsiteY736" fmla="*/ 471488 h 1447800"/>
                <a:gd name="connsiteX737" fmla="*/ 834390 w 1714500"/>
                <a:gd name="connsiteY737" fmla="*/ 468630 h 1447800"/>
                <a:gd name="connsiteX738" fmla="*/ 831532 w 1714500"/>
                <a:gd name="connsiteY738" fmla="*/ 461010 h 1447800"/>
                <a:gd name="connsiteX739" fmla="*/ 831532 w 1714500"/>
                <a:gd name="connsiteY739" fmla="*/ 459105 h 1447800"/>
                <a:gd name="connsiteX740" fmla="*/ 831532 w 1714500"/>
                <a:gd name="connsiteY740" fmla="*/ 456248 h 1447800"/>
                <a:gd name="connsiteX741" fmla="*/ 832485 w 1714500"/>
                <a:gd name="connsiteY741" fmla="*/ 453390 h 1447800"/>
                <a:gd name="connsiteX742" fmla="*/ 840105 w 1714500"/>
                <a:gd name="connsiteY742" fmla="*/ 441008 h 1447800"/>
                <a:gd name="connsiteX743" fmla="*/ 841057 w 1714500"/>
                <a:gd name="connsiteY743" fmla="*/ 438150 h 1447800"/>
                <a:gd name="connsiteX744" fmla="*/ 845820 w 1714500"/>
                <a:gd name="connsiteY744" fmla="*/ 408623 h 1447800"/>
                <a:gd name="connsiteX745" fmla="*/ 845820 w 1714500"/>
                <a:gd name="connsiteY745" fmla="*/ 405765 h 1447800"/>
                <a:gd name="connsiteX746" fmla="*/ 844868 w 1714500"/>
                <a:gd name="connsiteY746" fmla="*/ 402908 h 1447800"/>
                <a:gd name="connsiteX747" fmla="*/ 843915 w 1714500"/>
                <a:gd name="connsiteY747" fmla="*/ 401003 h 1447800"/>
                <a:gd name="connsiteX748" fmla="*/ 839153 w 1714500"/>
                <a:gd name="connsiteY748" fmla="*/ 397192 h 1447800"/>
                <a:gd name="connsiteX749" fmla="*/ 838200 w 1714500"/>
                <a:gd name="connsiteY749" fmla="*/ 395288 h 1447800"/>
                <a:gd name="connsiteX750" fmla="*/ 838200 w 1714500"/>
                <a:gd name="connsiteY750" fmla="*/ 388620 h 1447800"/>
                <a:gd name="connsiteX751" fmla="*/ 840105 w 1714500"/>
                <a:gd name="connsiteY751" fmla="*/ 384810 h 1447800"/>
                <a:gd name="connsiteX752" fmla="*/ 845820 w 1714500"/>
                <a:gd name="connsiteY752" fmla="*/ 372428 h 1447800"/>
                <a:gd name="connsiteX753" fmla="*/ 846772 w 1714500"/>
                <a:gd name="connsiteY753" fmla="*/ 366713 h 1447800"/>
                <a:gd name="connsiteX754" fmla="*/ 845820 w 1714500"/>
                <a:gd name="connsiteY754" fmla="*/ 364808 h 1447800"/>
                <a:gd name="connsiteX755" fmla="*/ 839153 w 1714500"/>
                <a:gd name="connsiteY755" fmla="*/ 360045 h 1447800"/>
                <a:gd name="connsiteX756" fmla="*/ 837247 w 1714500"/>
                <a:gd name="connsiteY756" fmla="*/ 358140 h 1447800"/>
                <a:gd name="connsiteX757" fmla="*/ 836295 w 1714500"/>
                <a:gd name="connsiteY757" fmla="*/ 355283 h 1447800"/>
                <a:gd name="connsiteX758" fmla="*/ 836295 w 1714500"/>
                <a:gd name="connsiteY758" fmla="*/ 353378 h 1447800"/>
                <a:gd name="connsiteX759" fmla="*/ 838200 w 1714500"/>
                <a:gd name="connsiteY759" fmla="*/ 350520 h 1447800"/>
                <a:gd name="connsiteX760" fmla="*/ 844868 w 1714500"/>
                <a:gd name="connsiteY760" fmla="*/ 341948 h 1447800"/>
                <a:gd name="connsiteX761" fmla="*/ 849630 w 1714500"/>
                <a:gd name="connsiteY761" fmla="*/ 331470 h 1447800"/>
                <a:gd name="connsiteX762" fmla="*/ 853440 w 1714500"/>
                <a:gd name="connsiteY762" fmla="*/ 326708 h 1447800"/>
                <a:gd name="connsiteX763" fmla="*/ 857250 w 1714500"/>
                <a:gd name="connsiteY763" fmla="*/ 323850 h 1447800"/>
                <a:gd name="connsiteX764" fmla="*/ 860107 w 1714500"/>
                <a:gd name="connsiteY764" fmla="*/ 321945 h 1447800"/>
                <a:gd name="connsiteX765" fmla="*/ 878205 w 1714500"/>
                <a:gd name="connsiteY765" fmla="*/ 320040 h 1447800"/>
                <a:gd name="connsiteX766" fmla="*/ 919163 w 1714500"/>
                <a:gd name="connsiteY766" fmla="*/ 291465 h 1447800"/>
                <a:gd name="connsiteX767" fmla="*/ 924878 w 1714500"/>
                <a:gd name="connsiteY767" fmla="*/ 289560 h 1447800"/>
                <a:gd name="connsiteX768" fmla="*/ 930593 w 1714500"/>
                <a:gd name="connsiteY768" fmla="*/ 288608 h 1447800"/>
                <a:gd name="connsiteX769" fmla="*/ 949643 w 1714500"/>
                <a:gd name="connsiteY769" fmla="*/ 288608 h 1447800"/>
                <a:gd name="connsiteX770" fmla="*/ 955357 w 1714500"/>
                <a:gd name="connsiteY770" fmla="*/ 287655 h 1447800"/>
                <a:gd name="connsiteX771" fmla="*/ 964882 w 1714500"/>
                <a:gd name="connsiteY771" fmla="*/ 284798 h 1447800"/>
                <a:gd name="connsiteX772" fmla="*/ 968693 w 1714500"/>
                <a:gd name="connsiteY772" fmla="*/ 283845 h 1447800"/>
                <a:gd name="connsiteX773" fmla="*/ 974407 w 1714500"/>
                <a:gd name="connsiteY773" fmla="*/ 284798 h 1447800"/>
                <a:gd name="connsiteX774" fmla="*/ 976313 w 1714500"/>
                <a:gd name="connsiteY774" fmla="*/ 285750 h 1447800"/>
                <a:gd name="connsiteX775" fmla="*/ 978218 w 1714500"/>
                <a:gd name="connsiteY775" fmla="*/ 287655 h 1447800"/>
                <a:gd name="connsiteX776" fmla="*/ 979170 w 1714500"/>
                <a:gd name="connsiteY776" fmla="*/ 296228 h 1447800"/>
                <a:gd name="connsiteX777" fmla="*/ 980123 w 1714500"/>
                <a:gd name="connsiteY777" fmla="*/ 299085 h 1447800"/>
                <a:gd name="connsiteX778" fmla="*/ 982980 w 1714500"/>
                <a:gd name="connsiteY778" fmla="*/ 303848 h 1447800"/>
                <a:gd name="connsiteX779" fmla="*/ 988695 w 1714500"/>
                <a:gd name="connsiteY779" fmla="*/ 309563 h 1447800"/>
                <a:gd name="connsiteX780" fmla="*/ 990600 w 1714500"/>
                <a:gd name="connsiteY780" fmla="*/ 314325 h 1447800"/>
                <a:gd name="connsiteX781" fmla="*/ 990600 w 1714500"/>
                <a:gd name="connsiteY781" fmla="*/ 320992 h 1447800"/>
                <a:gd name="connsiteX782" fmla="*/ 993457 w 1714500"/>
                <a:gd name="connsiteY782" fmla="*/ 325755 h 1447800"/>
                <a:gd name="connsiteX783" fmla="*/ 997268 w 1714500"/>
                <a:gd name="connsiteY783" fmla="*/ 330517 h 1447800"/>
                <a:gd name="connsiteX784" fmla="*/ 1001077 w 1714500"/>
                <a:gd name="connsiteY784" fmla="*/ 336233 h 1447800"/>
                <a:gd name="connsiteX785" fmla="*/ 1003935 w 1714500"/>
                <a:gd name="connsiteY785" fmla="*/ 338138 h 1447800"/>
                <a:gd name="connsiteX786" fmla="*/ 1006793 w 1714500"/>
                <a:gd name="connsiteY786" fmla="*/ 336233 h 1447800"/>
                <a:gd name="connsiteX787" fmla="*/ 1007745 w 1714500"/>
                <a:gd name="connsiteY787" fmla="*/ 333375 h 1447800"/>
                <a:gd name="connsiteX788" fmla="*/ 1008698 w 1714500"/>
                <a:gd name="connsiteY788" fmla="*/ 325755 h 1447800"/>
                <a:gd name="connsiteX789" fmla="*/ 1010602 w 1714500"/>
                <a:gd name="connsiteY789" fmla="*/ 321945 h 1447800"/>
                <a:gd name="connsiteX790" fmla="*/ 1013460 w 1714500"/>
                <a:gd name="connsiteY790" fmla="*/ 317183 h 1447800"/>
                <a:gd name="connsiteX791" fmla="*/ 1016318 w 1714500"/>
                <a:gd name="connsiteY791" fmla="*/ 316230 h 1447800"/>
                <a:gd name="connsiteX792" fmla="*/ 1018223 w 1714500"/>
                <a:gd name="connsiteY792" fmla="*/ 316230 h 1447800"/>
                <a:gd name="connsiteX793" fmla="*/ 1022985 w 1714500"/>
                <a:gd name="connsiteY793" fmla="*/ 320040 h 1447800"/>
                <a:gd name="connsiteX794" fmla="*/ 1025843 w 1714500"/>
                <a:gd name="connsiteY794" fmla="*/ 321945 h 1447800"/>
                <a:gd name="connsiteX795" fmla="*/ 1029652 w 1714500"/>
                <a:gd name="connsiteY795" fmla="*/ 322898 h 1447800"/>
                <a:gd name="connsiteX796" fmla="*/ 1036320 w 1714500"/>
                <a:gd name="connsiteY796" fmla="*/ 321945 h 1447800"/>
                <a:gd name="connsiteX797" fmla="*/ 1040130 w 1714500"/>
                <a:gd name="connsiteY797" fmla="*/ 320992 h 1447800"/>
                <a:gd name="connsiteX798" fmla="*/ 1042988 w 1714500"/>
                <a:gd name="connsiteY798" fmla="*/ 319088 h 1447800"/>
                <a:gd name="connsiteX799" fmla="*/ 1045845 w 1714500"/>
                <a:gd name="connsiteY799" fmla="*/ 314325 h 1447800"/>
                <a:gd name="connsiteX800" fmla="*/ 1046798 w 1714500"/>
                <a:gd name="connsiteY800" fmla="*/ 311467 h 1447800"/>
                <a:gd name="connsiteX801" fmla="*/ 1049655 w 1714500"/>
                <a:gd name="connsiteY801" fmla="*/ 296228 h 1447800"/>
                <a:gd name="connsiteX802" fmla="*/ 1051560 w 1714500"/>
                <a:gd name="connsiteY802" fmla="*/ 292417 h 1447800"/>
                <a:gd name="connsiteX803" fmla="*/ 1053465 w 1714500"/>
                <a:gd name="connsiteY803" fmla="*/ 290513 h 1447800"/>
                <a:gd name="connsiteX804" fmla="*/ 1056323 w 1714500"/>
                <a:gd name="connsiteY804" fmla="*/ 290513 h 1447800"/>
                <a:gd name="connsiteX805" fmla="*/ 1059180 w 1714500"/>
                <a:gd name="connsiteY805" fmla="*/ 291465 h 1447800"/>
                <a:gd name="connsiteX806" fmla="*/ 1061085 w 1714500"/>
                <a:gd name="connsiteY806" fmla="*/ 294323 h 1447800"/>
                <a:gd name="connsiteX807" fmla="*/ 1062038 w 1714500"/>
                <a:gd name="connsiteY807" fmla="*/ 299085 h 1447800"/>
                <a:gd name="connsiteX808" fmla="*/ 1061085 w 1714500"/>
                <a:gd name="connsiteY808" fmla="*/ 316230 h 1447800"/>
                <a:gd name="connsiteX809" fmla="*/ 1062038 w 1714500"/>
                <a:gd name="connsiteY809" fmla="*/ 319088 h 1447800"/>
                <a:gd name="connsiteX810" fmla="*/ 1062990 w 1714500"/>
                <a:gd name="connsiteY810" fmla="*/ 320992 h 1447800"/>
                <a:gd name="connsiteX811" fmla="*/ 1065848 w 1714500"/>
                <a:gd name="connsiteY811" fmla="*/ 322898 h 1447800"/>
                <a:gd name="connsiteX812" fmla="*/ 1115377 w 1714500"/>
                <a:gd name="connsiteY812" fmla="*/ 332423 h 1447800"/>
                <a:gd name="connsiteX813" fmla="*/ 1120140 w 1714500"/>
                <a:gd name="connsiteY813" fmla="*/ 330517 h 1447800"/>
                <a:gd name="connsiteX814" fmla="*/ 1122045 w 1714500"/>
                <a:gd name="connsiteY814" fmla="*/ 326708 h 1447800"/>
                <a:gd name="connsiteX815" fmla="*/ 1127760 w 1714500"/>
                <a:gd name="connsiteY815" fmla="*/ 315278 h 1447800"/>
                <a:gd name="connsiteX816" fmla="*/ 1133475 w 1714500"/>
                <a:gd name="connsiteY816" fmla="*/ 305753 h 1447800"/>
                <a:gd name="connsiteX817" fmla="*/ 1143000 w 1714500"/>
                <a:gd name="connsiteY817" fmla="*/ 296228 h 1447800"/>
                <a:gd name="connsiteX818" fmla="*/ 1143952 w 1714500"/>
                <a:gd name="connsiteY818" fmla="*/ 294323 h 1447800"/>
                <a:gd name="connsiteX819" fmla="*/ 1145857 w 1714500"/>
                <a:gd name="connsiteY819" fmla="*/ 287655 h 1447800"/>
                <a:gd name="connsiteX820" fmla="*/ 1144905 w 1714500"/>
                <a:gd name="connsiteY820" fmla="*/ 279083 h 1447800"/>
                <a:gd name="connsiteX821" fmla="*/ 1146810 w 1714500"/>
                <a:gd name="connsiteY821" fmla="*/ 274320 h 1447800"/>
                <a:gd name="connsiteX822" fmla="*/ 1160145 w 1714500"/>
                <a:gd name="connsiteY822" fmla="*/ 256223 h 1447800"/>
                <a:gd name="connsiteX823" fmla="*/ 1164907 w 1714500"/>
                <a:gd name="connsiteY823" fmla="*/ 244792 h 1447800"/>
                <a:gd name="connsiteX824" fmla="*/ 1167765 w 1714500"/>
                <a:gd name="connsiteY824" fmla="*/ 239078 h 1447800"/>
                <a:gd name="connsiteX825" fmla="*/ 1168718 w 1714500"/>
                <a:gd name="connsiteY825" fmla="*/ 232410 h 1447800"/>
                <a:gd name="connsiteX826" fmla="*/ 1168718 w 1714500"/>
                <a:gd name="connsiteY826" fmla="*/ 225742 h 1447800"/>
                <a:gd name="connsiteX827" fmla="*/ 1168718 w 1714500"/>
                <a:gd name="connsiteY827" fmla="*/ 219075 h 1447800"/>
                <a:gd name="connsiteX828" fmla="*/ 1166813 w 1714500"/>
                <a:gd name="connsiteY828" fmla="*/ 207645 h 1447800"/>
                <a:gd name="connsiteX829" fmla="*/ 1167765 w 1714500"/>
                <a:gd name="connsiteY829" fmla="*/ 205740 h 1447800"/>
                <a:gd name="connsiteX830" fmla="*/ 1169670 w 1714500"/>
                <a:gd name="connsiteY830" fmla="*/ 201930 h 1447800"/>
                <a:gd name="connsiteX831" fmla="*/ 1171575 w 1714500"/>
                <a:gd name="connsiteY831" fmla="*/ 200025 h 1447800"/>
                <a:gd name="connsiteX832" fmla="*/ 1174432 w 1714500"/>
                <a:gd name="connsiteY832" fmla="*/ 199073 h 1447800"/>
                <a:gd name="connsiteX833" fmla="*/ 1194435 w 1714500"/>
                <a:gd name="connsiteY833" fmla="*/ 192405 h 1447800"/>
                <a:gd name="connsiteX834" fmla="*/ 1199198 w 1714500"/>
                <a:gd name="connsiteY834" fmla="*/ 190500 h 1447800"/>
                <a:gd name="connsiteX835" fmla="*/ 1202055 w 1714500"/>
                <a:gd name="connsiteY835" fmla="*/ 187642 h 1447800"/>
                <a:gd name="connsiteX836" fmla="*/ 1203007 w 1714500"/>
                <a:gd name="connsiteY836" fmla="*/ 180975 h 1447800"/>
                <a:gd name="connsiteX837" fmla="*/ 1201102 w 1714500"/>
                <a:gd name="connsiteY837" fmla="*/ 176213 h 1447800"/>
                <a:gd name="connsiteX838" fmla="*/ 1198245 w 1714500"/>
                <a:gd name="connsiteY838" fmla="*/ 165735 h 1447800"/>
                <a:gd name="connsiteX839" fmla="*/ 1195388 w 1714500"/>
                <a:gd name="connsiteY839" fmla="*/ 154305 h 1447800"/>
                <a:gd name="connsiteX840" fmla="*/ 1195388 w 1714500"/>
                <a:gd name="connsiteY840" fmla="*/ 147638 h 1447800"/>
                <a:gd name="connsiteX841" fmla="*/ 1194435 w 1714500"/>
                <a:gd name="connsiteY841" fmla="*/ 141923 h 1447800"/>
                <a:gd name="connsiteX842" fmla="*/ 1190625 w 1714500"/>
                <a:gd name="connsiteY842" fmla="*/ 131445 h 1447800"/>
                <a:gd name="connsiteX843" fmla="*/ 1189673 w 1714500"/>
                <a:gd name="connsiteY843" fmla="*/ 128588 h 1447800"/>
                <a:gd name="connsiteX844" fmla="*/ 1192530 w 1714500"/>
                <a:gd name="connsiteY844" fmla="*/ 124778 h 1447800"/>
                <a:gd name="connsiteX845" fmla="*/ 1196340 w 1714500"/>
                <a:gd name="connsiteY845" fmla="*/ 120015 h 1447800"/>
                <a:gd name="connsiteX846" fmla="*/ 1213485 w 1714500"/>
                <a:gd name="connsiteY846" fmla="*/ 106680 h 1447800"/>
                <a:gd name="connsiteX847" fmla="*/ 1216343 w 1714500"/>
                <a:gd name="connsiteY847" fmla="*/ 103823 h 1447800"/>
                <a:gd name="connsiteX848" fmla="*/ 1219200 w 1714500"/>
                <a:gd name="connsiteY848" fmla="*/ 98108 h 1447800"/>
                <a:gd name="connsiteX849" fmla="*/ 1222057 w 1714500"/>
                <a:gd name="connsiteY849" fmla="*/ 90488 h 1447800"/>
                <a:gd name="connsiteX850" fmla="*/ 1223963 w 1714500"/>
                <a:gd name="connsiteY850" fmla="*/ 85725 h 1447800"/>
                <a:gd name="connsiteX851" fmla="*/ 1226820 w 1714500"/>
                <a:gd name="connsiteY851" fmla="*/ 84773 h 1447800"/>
                <a:gd name="connsiteX852" fmla="*/ 1231582 w 1714500"/>
                <a:gd name="connsiteY852" fmla="*/ 87630 h 1447800"/>
                <a:gd name="connsiteX853" fmla="*/ 1235393 w 1714500"/>
                <a:gd name="connsiteY853" fmla="*/ 87630 h 1447800"/>
                <a:gd name="connsiteX854" fmla="*/ 1242060 w 1714500"/>
                <a:gd name="connsiteY854" fmla="*/ 86678 h 1447800"/>
                <a:gd name="connsiteX855" fmla="*/ 1248727 w 1714500"/>
                <a:gd name="connsiteY855" fmla="*/ 83820 h 1447800"/>
                <a:gd name="connsiteX856" fmla="*/ 1259205 w 1714500"/>
                <a:gd name="connsiteY856" fmla="*/ 72390 h 1447800"/>
                <a:gd name="connsiteX857" fmla="*/ 1263015 w 1714500"/>
                <a:gd name="connsiteY857" fmla="*/ 67628 h 1447800"/>
                <a:gd name="connsiteX858" fmla="*/ 1265873 w 1714500"/>
                <a:gd name="connsiteY858" fmla="*/ 61913 h 1447800"/>
                <a:gd name="connsiteX859" fmla="*/ 1266825 w 1714500"/>
                <a:gd name="connsiteY859" fmla="*/ 59055 h 1447800"/>
                <a:gd name="connsiteX860" fmla="*/ 1266825 w 1714500"/>
                <a:gd name="connsiteY860" fmla="*/ 53340 h 1447800"/>
                <a:gd name="connsiteX861" fmla="*/ 1264920 w 1714500"/>
                <a:gd name="connsiteY861" fmla="*/ 48578 h 1447800"/>
                <a:gd name="connsiteX862" fmla="*/ 1257300 w 1714500"/>
                <a:gd name="connsiteY862" fmla="*/ 38100 h 1447800"/>
                <a:gd name="connsiteX863" fmla="*/ 1255395 w 1714500"/>
                <a:gd name="connsiteY863" fmla="*/ 34290 h 1447800"/>
                <a:gd name="connsiteX864" fmla="*/ 1255395 w 1714500"/>
                <a:gd name="connsiteY864" fmla="*/ 28575 h 1447800"/>
                <a:gd name="connsiteX865" fmla="*/ 1256348 w 1714500"/>
                <a:gd name="connsiteY865" fmla="*/ 21908 h 1447800"/>
                <a:gd name="connsiteX866" fmla="*/ 1258252 w 1714500"/>
                <a:gd name="connsiteY866" fmla="*/ 18098 h 1447800"/>
                <a:gd name="connsiteX867" fmla="*/ 1261110 w 1714500"/>
                <a:gd name="connsiteY867" fmla="*/ 13335 h 1447800"/>
                <a:gd name="connsiteX868" fmla="*/ 1266825 w 1714500"/>
                <a:gd name="connsiteY868" fmla="*/ 6667 h 1447800"/>
                <a:gd name="connsiteX869" fmla="*/ 1268730 w 1714500"/>
                <a:gd name="connsiteY869" fmla="*/ 3810 h 1447800"/>
                <a:gd name="connsiteX870" fmla="*/ 1271588 w 1714500"/>
                <a:gd name="connsiteY870" fmla="*/ 1905 h 1447800"/>
                <a:gd name="connsiteX871" fmla="*/ 1276350 w 1714500"/>
                <a:gd name="connsiteY871" fmla="*/ 0 h 1447800"/>
                <a:gd name="connsiteX872" fmla="*/ 1279207 w 1714500"/>
                <a:gd name="connsiteY872" fmla="*/ 0 h 1447800"/>
                <a:gd name="connsiteX873" fmla="*/ 1285875 w 1714500"/>
                <a:gd name="connsiteY873" fmla="*/ 0 h 1447800"/>
                <a:gd name="connsiteX874" fmla="*/ 1289685 w 1714500"/>
                <a:gd name="connsiteY874" fmla="*/ 1905 h 1447800"/>
                <a:gd name="connsiteX875" fmla="*/ 1294448 w 1714500"/>
                <a:gd name="connsiteY875" fmla="*/ 4763 h 1447800"/>
                <a:gd name="connsiteX876" fmla="*/ 1299210 w 1714500"/>
                <a:gd name="connsiteY876" fmla="*/ 7620 h 1447800"/>
                <a:gd name="connsiteX877" fmla="*/ 1305877 w 1714500"/>
                <a:gd name="connsiteY877" fmla="*/ 10478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</a:cxnLst>
              <a:rect l="l" t="t" r="r" b="b"/>
              <a:pathLst>
                <a:path w="1714500" h="1447800">
                  <a:moveTo>
                    <a:pt x="1305877" y="10478"/>
                  </a:moveTo>
                  <a:lnTo>
                    <a:pt x="1311593" y="11430"/>
                  </a:lnTo>
                  <a:lnTo>
                    <a:pt x="1316355" y="11430"/>
                  </a:lnTo>
                  <a:lnTo>
                    <a:pt x="1319213" y="11430"/>
                  </a:lnTo>
                  <a:lnTo>
                    <a:pt x="1322070" y="14288"/>
                  </a:lnTo>
                  <a:lnTo>
                    <a:pt x="1324927" y="20003"/>
                  </a:lnTo>
                  <a:lnTo>
                    <a:pt x="1327785" y="28575"/>
                  </a:lnTo>
                  <a:lnTo>
                    <a:pt x="1335405" y="38100"/>
                  </a:lnTo>
                  <a:lnTo>
                    <a:pt x="1337310" y="40005"/>
                  </a:lnTo>
                  <a:lnTo>
                    <a:pt x="1339215" y="42863"/>
                  </a:lnTo>
                  <a:lnTo>
                    <a:pt x="1340168" y="46673"/>
                  </a:lnTo>
                  <a:lnTo>
                    <a:pt x="1342073" y="52388"/>
                  </a:lnTo>
                  <a:lnTo>
                    <a:pt x="1343977" y="57150"/>
                  </a:lnTo>
                  <a:lnTo>
                    <a:pt x="1347788" y="60960"/>
                  </a:lnTo>
                  <a:lnTo>
                    <a:pt x="1350645" y="62865"/>
                  </a:lnTo>
                  <a:lnTo>
                    <a:pt x="1362075" y="64770"/>
                  </a:lnTo>
                  <a:lnTo>
                    <a:pt x="1367790" y="67628"/>
                  </a:lnTo>
                  <a:lnTo>
                    <a:pt x="1370648" y="69533"/>
                  </a:lnTo>
                  <a:lnTo>
                    <a:pt x="1380173" y="83820"/>
                  </a:lnTo>
                  <a:lnTo>
                    <a:pt x="1383030" y="85725"/>
                  </a:lnTo>
                  <a:lnTo>
                    <a:pt x="1385888" y="85725"/>
                  </a:lnTo>
                  <a:lnTo>
                    <a:pt x="1390650" y="82867"/>
                  </a:lnTo>
                  <a:lnTo>
                    <a:pt x="1395413" y="80010"/>
                  </a:lnTo>
                  <a:lnTo>
                    <a:pt x="1398270" y="76200"/>
                  </a:lnTo>
                  <a:lnTo>
                    <a:pt x="1403032" y="73342"/>
                  </a:lnTo>
                  <a:lnTo>
                    <a:pt x="1405890" y="73342"/>
                  </a:lnTo>
                  <a:lnTo>
                    <a:pt x="1407795" y="74295"/>
                  </a:lnTo>
                  <a:lnTo>
                    <a:pt x="1411605" y="78105"/>
                  </a:lnTo>
                  <a:lnTo>
                    <a:pt x="1412557" y="80963"/>
                  </a:lnTo>
                  <a:lnTo>
                    <a:pt x="1413510" y="84773"/>
                  </a:lnTo>
                  <a:lnTo>
                    <a:pt x="1414463" y="94298"/>
                  </a:lnTo>
                  <a:lnTo>
                    <a:pt x="1412557" y="99060"/>
                  </a:lnTo>
                  <a:lnTo>
                    <a:pt x="1410652" y="101917"/>
                  </a:lnTo>
                  <a:lnTo>
                    <a:pt x="1392555" y="107633"/>
                  </a:lnTo>
                  <a:lnTo>
                    <a:pt x="1390650" y="109538"/>
                  </a:lnTo>
                  <a:lnTo>
                    <a:pt x="1391602" y="114300"/>
                  </a:lnTo>
                  <a:lnTo>
                    <a:pt x="1402080" y="151448"/>
                  </a:lnTo>
                  <a:lnTo>
                    <a:pt x="1403985" y="155258"/>
                  </a:lnTo>
                  <a:lnTo>
                    <a:pt x="1407795" y="158115"/>
                  </a:lnTo>
                  <a:lnTo>
                    <a:pt x="1411605" y="160020"/>
                  </a:lnTo>
                  <a:lnTo>
                    <a:pt x="1423988" y="165735"/>
                  </a:lnTo>
                  <a:lnTo>
                    <a:pt x="1426845" y="165735"/>
                  </a:lnTo>
                  <a:lnTo>
                    <a:pt x="1429702" y="165735"/>
                  </a:lnTo>
                  <a:lnTo>
                    <a:pt x="1437323" y="162878"/>
                  </a:lnTo>
                  <a:lnTo>
                    <a:pt x="1440180" y="162878"/>
                  </a:lnTo>
                  <a:lnTo>
                    <a:pt x="1443038" y="163830"/>
                  </a:lnTo>
                  <a:lnTo>
                    <a:pt x="1466850" y="211455"/>
                  </a:lnTo>
                  <a:lnTo>
                    <a:pt x="1470660" y="217170"/>
                  </a:lnTo>
                  <a:lnTo>
                    <a:pt x="1472565" y="219075"/>
                  </a:lnTo>
                  <a:lnTo>
                    <a:pt x="1484948" y="226695"/>
                  </a:lnTo>
                  <a:lnTo>
                    <a:pt x="1486852" y="229553"/>
                  </a:lnTo>
                  <a:lnTo>
                    <a:pt x="1488757" y="233363"/>
                  </a:lnTo>
                  <a:lnTo>
                    <a:pt x="1489710" y="240983"/>
                  </a:lnTo>
                  <a:lnTo>
                    <a:pt x="1488757" y="245745"/>
                  </a:lnTo>
                  <a:lnTo>
                    <a:pt x="1488757" y="250508"/>
                  </a:lnTo>
                  <a:lnTo>
                    <a:pt x="1483995" y="267653"/>
                  </a:lnTo>
                  <a:lnTo>
                    <a:pt x="1483995" y="275273"/>
                  </a:lnTo>
                  <a:lnTo>
                    <a:pt x="1484948" y="289560"/>
                  </a:lnTo>
                  <a:lnTo>
                    <a:pt x="1483995" y="294323"/>
                  </a:lnTo>
                  <a:lnTo>
                    <a:pt x="1482090" y="297180"/>
                  </a:lnTo>
                  <a:lnTo>
                    <a:pt x="1478280" y="299085"/>
                  </a:lnTo>
                  <a:lnTo>
                    <a:pt x="1476375" y="299085"/>
                  </a:lnTo>
                  <a:lnTo>
                    <a:pt x="1471613" y="297180"/>
                  </a:lnTo>
                  <a:lnTo>
                    <a:pt x="1468755" y="296228"/>
                  </a:lnTo>
                  <a:lnTo>
                    <a:pt x="1465898" y="297180"/>
                  </a:lnTo>
                  <a:lnTo>
                    <a:pt x="1463993" y="299085"/>
                  </a:lnTo>
                  <a:lnTo>
                    <a:pt x="1462088" y="300990"/>
                  </a:lnTo>
                  <a:lnTo>
                    <a:pt x="1461135" y="303848"/>
                  </a:lnTo>
                  <a:lnTo>
                    <a:pt x="1463040" y="310515"/>
                  </a:lnTo>
                  <a:lnTo>
                    <a:pt x="1465898" y="318135"/>
                  </a:lnTo>
                  <a:lnTo>
                    <a:pt x="1484948" y="352425"/>
                  </a:lnTo>
                  <a:lnTo>
                    <a:pt x="1494473" y="364808"/>
                  </a:lnTo>
                  <a:lnTo>
                    <a:pt x="1499235" y="367665"/>
                  </a:lnTo>
                  <a:lnTo>
                    <a:pt x="1501140" y="367665"/>
                  </a:lnTo>
                  <a:lnTo>
                    <a:pt x="1503998" y="367665"/>
                  </a:lnTo>
                  <a:lnTo>
                    <a:pt x="1508760" y="364808"/>
                  </a:lnTo>
                  <a:lnTo>
                    <a:pt x="1511618" y="363855"/>
                  </a:lnTo>
                  <a:lnTo>
                    <a:pt x="1513523" y="363855"/>
                  </a:lnTo>
                  <a:lnTo>
                    <a:pt x="1516380" y="364808"/>
                  </a:lnTo>
                  <a:lnTo>
                    <a:pt x="1518285" y="366713"/>
                  </a:lnTo>
                  <a:lnTo>
                    <a:pt x="1525905" y="374333"/>
                  </a:lnTo>
                  <a:lnTo>
                    <a:pt x="1529715" y="380048"/>
                  </a:lnTo>
                  <a:lnTo>
                    <a:pt x="1531620" y="383858"/>
                  </a:lnTo>
                  <a:lnTo>
                    <a:pt x="1534477" y="386715"/>
                  </a:lnTo>
                  <a:lnTo>
                    <a:pt x="1539240" y="385763"/>
                  </a:lnTo>
                  <a:lnTo>
                    <a:pt x="1544002" y="383858"/>
                  </a:lnTo>
                  <a:lnTo>
                    <a:pt x="1545907" y="382905"/>
                  </a:lnTo>
                  <a:lnTo>
                    <a:pt x="1548765" y="383858"/>
                  </a:lnTo>
                  <a:lnTo>
                    <a:pt x="1565910" y="398145"/>
                  </a:lnTo>
                  <a:lnTo>
                    <a:pt x="1567815" y="401003"/>
                  </a:lnTo>
                  <a:lnTo>
                    <a:pt x="1568768" y="405765"/>
                  </a:lnTo>
                  <a:lnTo>
                    <a:pt x="1569720" y="414338"/>
                  </a:lnTo>
                  <a:lnTo>
                    <a:pt x="1569720" y="419100"/>
                  </a:lnTo>
                  <a:lnTo>
                    <a:pt x="1568768" y="441008"/>
                  </a:lnTo>
                  <a:lnTo>
                    <a:pt x="1570673" y="447675"/>
                  </a:lnTo>
                  <a:lnTo>
                    <a:pt x="1574482" y="450533"/>
                  </a:lnTo>
                  <a:lnTo>
                    <a:pt x="1577340" y="453390"/>
                  </a:lnTo>
                  <a:lnTo>
                    <a:pt x="1634490" y="475298"/>
                  </a:lnTo>
                  <a:lnTo>
                    <a:pt x="1637348" y="479108"/>
                  </a:lnTo>
                  <a:lnTo>
                    <a:pt x="1639252" y="483870"/>
                  </a:lnTo>
                  <a:lnTo>
                    <a:pt x="1640205" y="507683"/>
                  </a:lnTo>
                  <a:lnTo>
                    <a:pt x="1641157" y="511492"/>
                  </a:lnTo>
                  <a:lnTo>
                    <a:pt x="1644015" y="517208"/>
                  </a:lnTo>
                  <a:lnTo>
                    <a:pt x="1645920" y="521017"/>
                  </a:lnTo>
                  <a:lnTo>
                    <a:pt x="1648777" y="522923"/>
                  </a:lnTo>
                  <a:lnTo>
                    <a:pt x="1662113" y="533400"/>
                  </a:lnTo>
                  <a:lnTo>
                    <a:pt x="1665923" y="539115"/>
                  </a:lnTo>
                  <a:lnTo>
                    <a:pt x="1669732" y="553403"/>
                  </a:lnTo>
                  <a:lnTo>
                    <a:pt x="1669732" y="557213"/>
                  </a:lnTo>
                  <a:lnTo>
                    <a:pt x="1669732" y="562928"/>
                  </a:lnTo>
                  <a:lnTo>
                    <a:pt x="1668780" y="571500"/>
                  </a:lnTo>
                  <a:lnTo>
                    <a:pt x="1666875" y="576263"/>
                  </a:lnTo>
                  <a:lnTo>
                    <a:pt x="1664970" y="580073"/>
                  </a:lnTo>
                  <a:lnTo>
                    <a:pt x="1664018" y="581978"/>
                  </a:lnTo>
                  <a:lnTo>
                    <a:pt x="1652588" y="588645"/>
                  </a:lnTo>
                  <a:lnTo>
                    <a:pt x="1647825" y="592455"/>
                  </a:lnTo>
                  <a:lnTo>
                    <a:pt x="1646873" y="594360"/>
                  </a:lnTo>
                  <a:lnTo>
                    <a:pt x="1625918" y="629603"/>
                  </a:lnTo>
                  <a:lnTo>
                    <a:pt x="1625918" y="633413"/>
                  </a:lnTo>
                  <a:lnTo>
                    <a:pt x="1626870" y="638175"/>
                  </a:lnTo>
                  <a:lnTo>
                    <a:pt x="1631632" y="647700"/>
                  </a:lnTo>
                  <a:lnTo>
                    <a:pt x="1637348" y="655320"/>
                  </a:lnTo>
                  <a:lnTo>
                    <a:pt x="1640205" y="659130"/>
                  </a:lnTo>
                  <a:lnTo>
                    <a:pt x="1661160" y="686752"/>
                  </a:lnTo>
                  <a:lnTo>
                    <a:pt x="1664018" y="691515"/>
                  </a:lnTo>
                  <a:lnTo>
                    <a:pt x="1685925" y="749618"/>
                  </a:lnTo>
                  <a:lnTo>
                    <a:pt x="1686877" y="756285"/>
                  </a:lnTo>
                  <a:lnTo>
                    <a:pt x="1686877" y="769620"/>
                  </a:lnTo>
                  <a:lnTo>
                    <a:pt x="1684973" y="807720"/>
                  </a:lnTo>
                  <a:lnTo>
                    <a:pt x="1679257" y="830580"/>
                  </a:lnTo>
                  <a:lnTo>
                    <a:pt x="1678305" y="833438"/>
                  </a:lnTo>
                  <a:lnTo>
                    <a:pt x="1665923" y="867727"/>
                  </a:lnTo>
                  <a:lnTo>
                    <a:pt x="1665923" y="870585"/>
                  </a:lnTo>
                  <a:lnTo>
                    <a:pt x="1665923" y="873443"/>
                  </a:lnTo>
                  <a:lnTo>
                    <a:pt x="1669732" y="877252"/>
                  </a:lnTo>
                  <a:lnTo>
                    <a:pt x="1675448" y="882015"/>
                  </a:lnTo>
                  <a:lnTo>
                    <a:pt x="1679257" y="886777"/>
                  </a:lnTo>
                  <a:lnTo>
                    <a:pt x="1682115" y="890588"/>
                  </a:lnTo>
                  <a:lnTo>
                    <a:pt x="1685925" y="901065"/>
                  </a:lnTo>
                  <a:lnTo>
                    <a:pt x="1689735" y="920115"/>
                  </a:lnTo>
                  <a:lnTo>
                    <a:pt x="1690688" y="928688"/>
                  </a:lnTo>
                  <a:lnTo>
                    <a:pt x="1690688" y="950595"/>
                  </a:lnTo>
                  <a:lnTo>
                    <a:pt x="1690688" y="956310"/>
                  </a:lnTo>
                  <a:lnTo>
                    <a:pt x="1691640" y="959168"/>
                  </a:lnTo>
                  <a:lnTo>
                    <a:pt x="1704023" y="994410"/>
                  </a:lnTo>
                  <a:lnTo>
                    <a:pt x="1705927" y="996315"/>
                  </a:lnTo>
                  <a:lnTo>
                    <a:pt x="1707832" y="998220"/>
                  </a:lnTo>
                  <a:lnTo>
                    <a:pt x="1717357" y="1001077"/>
                  </a:lnTo>
                  <a:lnTo>
                    <a:pt x="1719263" y="1002030"/>
                  </a:lnTo>
                  <a:lnTo>
                    <a:pt x="1720215" y="1003935"/>
                  </a:lnTo>
                  <a:lnTo>
                    <a:pt x="1720215" y="1010602"/>
                  </a:lnTo>
                  <a:lnTo>
                    <a:pt x="1718310" y="1014413"/>
                  </a:lnTo>
                  <a:lnTo>
                    <a:pt x="1714500" y="1018223"/>
                  </a:lnTo>
                  <a:lnTo>
                    <a:pt x="1690688" y="1038225"/>
                  </a:lnTo>
                  <a:lnTo>
                    <a:pt x="1686877" y="1042035"/>
                  </a:lnTo>
                  <a:lnTo>
                    <a:pt x="1684973" y="1045845"/>
                  </a:lnTo>
                  <a:lnTo>
                    <a:pt x="1682115" y="1048702"/>
                  </a:lnTo>
                  <a:lnTo>
                    <a:pt x="1678305" y="1049655"/>
                  </a:lnTo>
                  <a:lnTo>
                    <a:pt x="1669732" y="1049655"/>
                  </a:lnTo>
                  <a:lnTo>
                    <a:pt x="1662113" y="1046798"/>
                  </a:lnTo>
                  <a:lnTo>
                    <a:pt x="1655445" y="1041083"/>
                  </a:lnTo>
                  <a:lnTo>
                    <a:pt x="1642110" y="1031558"/>
                  </a:lnTo>
                  <a:lnTo>
                    <a:pt x="1636395" y="1029652"/>
                  </a:lnTo>
                  <a:lnTo>
                    <a:pt x="1632585" y="1028700"/>
                  </a:lnTo>
                  <a:lnTo>
                    <a:pt x="1629727" y="1029652"/>
                  </a:lnTo>
                  <a:lnTo>
                    <a:pt x="1625918" y="1033463"/>
                  </a:lnTo>
                  <a:lnTo>
                    <a:pt x="1624013" y="1036320"/>
                  </a:lnTo>
                  <a:lnTo>
                    <a:pt x="1621155" y="1042988"/>
                  </a:lnTo>
                  <a:lnTo>
                    <a:pt x="1618298" y="1047750"/>
                  </a:lnTo>
                  <a:lnTo>
                    <a:pt x="1613535" y="1054418"/>
                  </a:lnTo>
                  <a:lnTo>
                    <a:pt x="1604010" y="1062038"/>
                  </a:lnTo>
                  <a:lnTo>
                    <a:pt x="1601152" y="1063943"/>
                  </a:lnTo>
                  <a:lnTo>
                    <a:pt x="1596390" y="1063943"/>
                  </a:lnTo>
                  <a:lnTo>
                    <a:pt x="1589723" y="1063943"/>
                  </a:lnTo>
                  <a:lnTo>
                    <a:pt x="1585913" y="1062990"/>
                  </a:lnTo>
                  <a:lnTo>
                    <a:pt x="1583055" y="1061085"/>
                  </a:lnTo>
                  <a:lnTo>
                    <a:pt x="1576388" y="1056323"/>
                  </a:lnTo>
                  <a:lnTo>
                    <a:pt x="1571625" y="1053465"/>
                  </a:lnTo>
                  <a:lnTo>
                    <a:pt x="1568768" y="1052513"/>
                  </a:lnTo>
                  <a:lnTo>
                    <a:pt x="1565910" y="1053465"/>
                  </a:lnTo>
                  <a:lnTo>
                    <a:pt x="1562100" y="1057275"/>
                  </a:lnTo>
                  <a:lnTo>
                    <a:pt x="1560195" y="1063943"/>
                  </a:lnTo>
                  <a:lnTo>
                    <a:pt x="1561148" y="1066800"/>
                  </a:lnTo>
                  <a:lnTo>
                    <a:pt x="1560195" y="1073468"/>
                  </a:lnTo>
                  <a:lnTo>
                    <a:pt x="1558290" y="1075373"/>
                  </a:lnTo>
                  <a:lnTo>
                    <a:pt x="1554480" y="1077277"/>
                  </a:lnTo>
                  <a:lnTo>
                    <a:pt x="1546860" y="1077277"/>
                  </a:lnTo>
                  <a:lnTo>
                    <a:pt x="1543050" y="1076325"/>
                  </a:lnTo>
                  <a:lnTo>
                    <a:pt x="1541145" y="1074420"/>
                  </a:lnTo>
                  <a:lnTo>
                    <a:pt x="1540193" y="1068705"/>
                  </a:lnTo>
                  <a:lnTo>
                    <a:pt x="1539240" y="1053465"/>
                  </a:lnTo>
                  <a:lnTo>
                    <a:pt x="1537335" y="1045845"/>
                  </a:lnTo>
                  <a:lnTo>
                    <a:pt x="1533525" y="1039177"/>
                  </a:lnTo>
                  <a:lnTo>
                    <a:pt x="1513523" y="1011555"/>
                  </a:lnTo>
                  <a:lnTo>
                    <a:pt x="1509713" y="1003935"/>
                  </a:lnTo>
                  <a:lnTo>
                    <a:pt x="1508760" y="1002030"/>
                  </a:lnTo>
                  <a:lnTo>
                    <a:pt x="1508760" y="999173"/>
                  </a:lnTo>
                  <a:lnTo>
                    <a:pt x="1509713" y="979170"/>
                  </a:lnTo>
                  <a:lnTo>
                    <a:pt x="1508760" y="976313"/>
                  </a:lnTo>
                  <a:lnTo>
                    <a:pt x="1507807" y="973455"/>
                  </a:lnTo>
                  <a:lnTo>
                    <a:pt x="1505902" y="972502"/>
                  </a:lnTo>
                  <a:lnTo>
                    <a:pt x="1503045" y="973455"/>
                  </a:lnTo>
                  <a:lnTo>
                    <a:pt x="1498282" y="977265"/>
                  </a:lnTo>
                  <a:lnTo>
                    <a:pt x="1491615" y="983933"/>
                  </a:lnTo>
                  <a:lnTo>
                    <a:pt x="1488757" y="984885"/>
                  </a:lnTo>
                  <a:lnTo>
                    <a:pt x="1484948" y="985838"/>
                  </a:lnTo>
                  <a:lnTo>
                    <a:pt x="1478280" y="985838"/>
                  </a:lnTo>
                  <a:lnTo>
                    <a:pt x="1469707" y="983933"/>
                  </a:lnTo>
                  <a:lnTo>
                    <a:pt x="1463993" y="982027"/>
                  </a:lnTo>
                  <a:lnTo>
                    <a:pt x="1462088" y="980123"/>
                  </a:lnTo>
                  <a:lnTo>
                    <a:pt x="1460182" y="978218"/>
                  </a:lnTo>
                  <a:lnTo>
                    <a:pt x="1459230" y="972502"/>
                  </a:lnTo>
                  <a:lnTo>
                    <a:pt x="1458277" y="969645"/>
                  </a:lnTo>
                  <a:lnTo>
                    <a:pt x="1456373" y="967740"/>
                  </a:lnTo>
                  <a:lnTo>
                    <a:pt x="1451610" y="964883"/>
                  </a:lnTo>
                  <a:lnTo>
                    <a:pt x="1450657" y="962977"/>
                  </a:lnTo>
                  <a:lnTo>
                    <a:pt x="1449705" y="960120"/>
                  </a:lnTo>
                  <a:lnTo>
                    <a:pt x="1450657" y="954405"/>
                  </a:lnTo>
                  <a:lnTo>
                    <a:pt x="1450657" y="951548"/>
                  </a:lnTo>
                  <a:lnTo>
                    <a:pt x="1449705" y="948690"/>
                  </a:lnTo>
                  <a:lnTo>
                    <a:pt x="1446848" y="947738"/>
                  </a:lnTo>
                  <a:lnTo>
                    <a:pt x="1443990" y="946785"/>
                  </a:lnTo>
                  <a:lnTo>
                    <a:pt x="1442085" y="947738"/>
                  </a:lnTo>
                  <a:lnTo>
                    <a:pt x="1434465" y="954405"/>
                  </a:lnTo>
                  <a:lnTo>
                    <a:pt x="1428750" y="956310"/>
                  </a:lnTo>
                  <a:lnTo>
                    <a:pt x="1422082" y="962977"/>
                  </a:lnTo>
                  <a:lnTo>
                    <a:pt x="1420177" y="965835"/>
                  </a:lnTo>
                  <a:lnTo>
                    <a:pt x="1419225" y="967740"/>
                  </a:lnTo>
                  <a:lnTo>
                    <a:pt x="1421130" y="976313"/>
                  </a:lnTo>
                  <a:lnTo>
                    <a:pt x="1421130" y="979170"/>
                  </a:lnTo>
                  <a:lnTo>
                    <a:pt x="1419225" y="980123"/>
                  </a:lnTo>
                  <a:lnTo>
                    <a:pt x="1416368" y="981075"/>
                  </a:lnTo>
                  <a:lnTo>
                    <a:pt x="1408748" y="979170"/>
                  </a:lnTo>
                  <a:lnTo>
                    <a:pt x="1403032" y="977265"/>
                  </a:lnTo>
                  <a:lnTo>
                    <a:pt x="1400175" y="976313"/>
                  </a:lnTo>
                  <a:lnTo>
                    <a:pt x="1396365" y="977265"/>
                  </a:lnTo>
                  <a:lnTo>
                    <a:pt x="1392555" y="981075"/>
                  </a:lnTo>
                  <a:lnTo>
                    <a:pt x="1390650" y="982980"/>
                  </a:lnTo>
                  <a:lnTo>
                    <a:pt x="1382077" y="999173"/>
                  </a:lnTo>
                  <a:lnTo>
                    <a:pt x="1377315" y="1006793"/>
                  </a:lnTo>
                  <a:lnTo>
                    <a:pt x="1370648" y="1019175"/>
                  </a:lnTo>
                  <a:lnTo>
                    <a:pt x="1366838" y="1022985"/>
                  </a:lnTo>
                  <a:lnTo>
                    <a:pt x="1347788" y="1035368"/>
                  </a:lnTo>
                  <a:lnTo>
                    <a:pt x="1344930" y="1038225"/>
                  </a:lnTo>
                  <a:lnTo>
                    <a:pt x="1342073" y="1042035"/>
                  </a:lnTo>
                  <a:lnTo>
                    <a:pt x="1340168" y="1047750"/>
                  </a:lnTo>
                  <a:lnTo>
                    <a:pt x="1339215" y="1050608"/>
                  </a:lnTo>
                  <a:lnTo>
                    <a:pt x="1340168" y="1052513"/>
                  </a:lnTo>
                  <a:lnTo>
                    <a:pt x="1344930" y="1058227"/>
                  </a:lnTo>
                  <a:lnTo>
                    <a:pt x="1346835" y="1061085"/>
                  </a:lnTo>
                  <a:lnTo>
                    <a:pt x="1345882" y="1063943"/>
                  </a:lnTo>
                  <a:lnTo>
                    <a:pt x="1344930" y="1070610"/>
                  </a:lnTo>
                  <a:lnTo>
                    <a:pt x="1341120" y="1083945"/>
                  </a:lnTo>
                  <a:lnTo>
                    <a:pt x="1340168" y="1086802"/>
                  </a:lnTo>
                  <a:lnTo>
                    <a:pt x="1337310" y="1089660"/>
                  </a:lnTo>
                  <a:lnTo>
                    <a:pt x="1333500" y="1091565"/>
                  </a:lnTo>
                  <a:lnTo>
                    <a:pt x="1323975" y="1091565"/>
                  </a:lnTo>
                  <a:lnTo>
                    <a:pt x="1320165" y="1090613"/>
                  </a:lnTo>
                  <a:lnTo>
                    <a:pt x="1317307" y="1088708"/>
                  </a:lnTo>
                  <a:lnTo>
                    <a:pt x="1315402" y="1083945"/>
                  </a:lnTo>
                  <a:lnTo>
                    <a:pt x="1311593" y="1083945"/>
                  </a:lnTo>
                  <a:lnTo>
                    <a:pt x="1296352" y="1086802"/>
                  </a:lnTo>
                  <a:lnTo>
                    <a:pt x="1293495" y="1085850"/>
                  </a:lnTo>
                  <a:lnTo>
                    <a:pt x="1291590" y="1083945"/>
                  </a:lnTo>
                  <a:lnTo>
                    <a:pt x="1290638" y="1080135"/>
                  </a:lnTo>
                  <a:lnTo>
                    <a:pt x="1285875" y="1077277"/>
                  </a:lnTo>
                  <a:lnTo>
                    <a:pt x="1283018" y="1077277"/>
                  </a:lnTo>
                  <a:lnTo>
                    <a:pt x="1280160" y="1078230"/>
                  </a:lnTo>
                  <a:lnTo>
                    <a:pt x="1270635" y="1087755"/>
                  </a:lnTo>
                  <a:lnTo>
                    <a:pt x="1267777" y="1089660"/>
                  </a:lnTo>
                  <a:lnTo>
                    <a:pt x="1244918" y="1097280"/>
                  </a:lnTo>
                  <a:lnTo>
                    <a:pt x="1237298" y="1102043"/>
                  </a:lnTo>
                  <a:lnTo>
                    <a:pt x="1233488" y="1105852"/>
                  </a:lnTo>
                  <a:lnTo>
                    <a:pt x="1230630" y="1111568"/>
                  </a:lnTo>
                  <a:lnTo>
                    <a:pt x="1226820" y="1116330"/>
                  </a:lnTo>
                  <a:lnTo>
                    <a:pt x="1220152" y="1122045"/>
                  </a:lnTo>
                  <a:lnTo>
                    <a:pt x="1217295" y="1126808"/>
                  </a:lnTo>
                  <a:lnTo>
                    <a:pt x="1214438" y="1129665"/>
                  </a:lnTo>
                  <a:lnTo>
                    <a:pt x="1209675" y="1131570"/>
                  </a:lnTo>
                  <a:lnTo>
                    <a:pt x="1203007" y="1130618"/>
                  </a:lnTo>
                  <a:lnTo>
                    <a:pt x="1200150" y="1126808"/>
                  </a:lnTo>
                  <a:lnTo>
                    <a:pt x="1198245" y="1122998"/>
                  </a:lnTo>
                  <a:lnTo>
                    <a:pt x="1195388" y="1109663"/>
                  </a:lnTo>
                  <a:lnTo>
                    <a:pt x="1192530" y="1101090"/>
                  </a:lnTo>
                  <a:lnTo>
                    <a:pt x="1190625" y="1097280"/>
                  </a:lnTo>
                  <a:lnTo>
                    <a:pt x="1185863" y="1091565"/>
                  </a:lnTo>
                  <a:lnTo>
                    <a:pt x="1169670" y="1080135"/>
                  </a:lnTo>
                  <a:lnTo>
                    <a:pt x="1127760" y="1064895"/>
                  </a:lnTo>
                  <a:lnTo>
                    <a:pt x="1123950" y="1063943"/>
                  </a:lnTo>
                  <a:lnTo>
                    <a:pt x="1105852" y="1063943"/>
                  </a:lnTo>
                  <a:lnTo>
                    <a:pt x="1102995" y="1064895"/>
                  </a:lnTo>
                  <a:lnTo>
                    <a:pt x="1099185" y="1067752"/>
                  </a:lnTo>
                  <a:lnTo>
                    <a:pt x="1095375" y="1073468"/>
                  </a:lnTo>
                  <a:lnTo>
                    <a:pt x="1093470" y="1079183"/>
                  </a:lnTo>
                  <a:lnTo>
                    <a:pt x="1090613" y="1082993"/>
                  </a:lnTo>
                  <a:lnTo>
                    <a:pt x="1085850" y="1085850"/>
                  </a:lnTo>
                  <a:lnTo>
                    <a:pt x="1054418" y="1084898"/>
                  </a:lnTo>
                  <a:lnTo>
                    <a:pt x="1038225" y="1079183"/>
                  </a:lnTo>
                  <a:lnTo>
                    <a:pt x="1033463" y="1078230"/>
                  </a:lnTo>
                  <a:lnTo>
                    <a:pt x="1028700" y="1080135"/>
                  </a:lnTo>
                  <a:lnTo>
                    <a:pt x="1023938" y="1085850"/>
                  </a:lnTo>
                  <a:lnTo>
                    <a:pt x="1022032" y="1090613"/>
                  </a:lnTo>
                  <a:lnTo>
                    <a:pt x="1021080" y="1096327"/>
                  </a:lnTo>
                  <a:lnTo>
                    <a:pt x="1021080" y="1106805"/>
                  </a:lnTo>
                  <a:lnTo>
                    <a:pt x="1022985" y="1122045"/>
                  </a:lnTo>
                  <a:lnTo>
                    <a:pt x="1022985" y="1137285"/>
                  </a:lnTo>
                  <a:lnTo>
                    <a:pt x="1022032" y="1142048"/>
                  </a:lnTo>
                  <a:lnTo>
                    <a:pt x="1020127" y="1151573"/>
                  </a:lnTo>
                  <a:lnTo>
                    <a:pt x="1018223" y="1155383"/>
                  </a:lnTo>
                  <a:lnTo>
                    <a:pt x="1014413" y="1159193"/>
                  </a:lnTo>
                  <a:lnTo>
                    <a:pt x="1001077" y="1170623"/>
                  </a:lnTo>
                  <a:lnTo>
                    <a:pt x="995363" y="1176338"/>
                  </a:lnTo>
                  <a:lnTo>
                    <a:pt x="994410" y="1180148"/>
                  </a:lnTo>
                  <a:lnTo>
                    <a:pt x="992505" y="1184910"/>
                  </a:lnTo>
                  <a:lnTo>
                    <a:pt x="992505" y="1189673"/>
                  </a:lnTo>
                  <a:lnTo>
                    <a:pt x="989648" y="1198245"/>
                  </a:lnTo>
                  <a:lnTo>
                    <a:pt x="985838" y="1210627"/>
                  </a:lnTo>
                  <a:lnTo>
                    <a:pt x="982027" y="1214438"/>
                  </a:lnTo>
                  <a:lnTo>
                    <a:pt x="975360" y="1219200"/>
                  </a:lnTo>
                  <a:lnTo>
                    <a:pt x="958215" y="1223963"/>
                  </a:lnTo>
                  <a:lnTo>
                    <a:pt x="947738" y="1228725"/>
                  </a:lnTo>
                  <a:lnTo>
                    <a:pt x="935355" y="1232535"/>
                  </a:lnTo>
                  <a:lnTo>
                    <a:pt x="928688" y="1232535"/>
                  </a:lnTo>
                  <a:lnTo>
                    <a:pt x="924878" y="1233488"/>
                  </a:lnTo>
                  <a:lnTo>
                    <a:pt x="920115" y="1239202"/>
                  </a:lnTo>
                  <a:lnTo>
                    <a:pt x="917257" y="1240155"/>
                  </a:lnTo>
                  <a:lnTo>
                    <a:pt x="915353" y="1239202"/>
                  </a:lnTo>
                  <a:lnTo>
                    <a:pt x="913447" y="1237298"/>
                  </a:lnTo>
                  <a:lnTo>
                    <a:pt x="909638" y="1229677"/>
                  </a:lnTo>
                  <a:lnTo>
                    <a:pt x="906780" y="1226820"/>
                  </a:lnTo>
                  <a:lnTo>
                    <a:pt x="904875" y="1224915"/>
                  </a:lnTo>
                  <a:lnTo>
                    <a:pt x="897255" y="1222058"/>
                  </a:lnTo>
                  <a:lnTo>
                    <a:pt x="890588" y="1221105"/>
                  </a:lnTo>
                  <a:lnTo>
                    <a:pt x="881063" y="1222058"/>
                  </a:lnTo>
                  <a:lnTo>
                    <a:pt x="878205" y="1222058"/>
                  </a:lnTo>
                  <a:lnTo>
                    <a:pt x="866775" y="1217295"/>
                  </a:lnTo>
                  <a:lnTo>
                    <a:pt x="860107" y="1216343"/>
                  </a:lnTo>
                  <a:lnTo>
                    <a:pt x="841057" y="1217295"/>
                  </a:lnTo>
                  <a:lnTo>
                    <a:pt x="837247" y="1219200"/>
                  </a:lnTo>
                  <a:lnTo>
                    <a:pt x="811530" y="1234440"/>
                  </a:lnTo>
                  <a:lnTo>
                    <a:pt x="802957" y="1237298"/>
                  </a:lnTo>
                  <a:lnTo>
                    <a:pt x="782003" y="1237298"/>
                  </a:lnTo>
                  <a:lnTo>
                    <a:pt x="777240" y="1237298"/>
                  </a:lnTo>
                  <a:lnTo>
                    <a:pt x="770572" y="1237298"/>
                  </a:lnTo>
                  <a:lnTo>
                    <a:pt x="768668" y="1235393"/>
                  </a:lnTo>
                  <a:lnTo>
                    <a:pt x="762953" y="1230630"/>
                  </a:lnTo>
                  <a:lnTo>
                    <a:pt x="752475" y="1224915"/>
                  </a:lnTo>
                  <a:lnTo>
                    <a:pt x="737235" y="1220152"/>
                  </a:lnTo>
                  <a:lnTo>
                    <a:pt x="723900" y="1219200"/>
                  </a:lnTo>
                  <a:lnTo>
                    <a:pt x="715328" y="1215390"/>
                  </a:lnTo>
                  <a:lnTo>
                    <a:pt x="709613" y="1214438"/>
                  </a:lnTo>
                  <a:lnTo>
                    <a:pt x="682943" y="1216343"/>
                  </a:lnTo>
                  <a:lnTo>
                    <a:pt x="677228" y="1214438"/>
                  </a:lnTo>
                  <a:lnTo>
                    <a:pt x="672465" y="1214438"/>
                  </a:lnTo>
                  <a:lnTo>
                    <a:pt x="653415" y="1219200"/>
                  </a:lnTo>
                  <a:lnTo>
                    <a:pt x="646747" y="1220152"/>
                  </a:lnTo>
                  <a:lnTo>
                    <a:pt x="642938" y="1219200"/>
                  </a:lnTo>
                  <a:lnTo>
                    <a:pt x="641032" y="1217295"/>
                  </a:lnTo>
                  <a:lnTo>
                    <a:pt x="638175" y="1212533"/>
                  </a:lnTo>
                  <a:lnTo>
                    <a:pt x="636270" y="1211580"/>
                  </a:lnTo>
                  <a:lnTo>
                    <a:pt x="631507" y="1210627"/>
                  </a:lnTo>
                  <a:lnTo>
                    <a:pt x="624840" y="1211580"/>
                  </a:lnTo>
                  <a:lnTo>
                    <a:pt x="621030" y="1211580"/>
                  </a:lnTo>
                  <a:lnTo>
                    <a:pt x="617220" y="1209675"/>
                  </a:lnTo>
                  <a:lnTo>
                    <a:pt x="612457" y="1207770"/>
                  </a:lnTo>
                  <a:lnTo>
                    <a:pt x="608647" y="1206818"/>
                  </a:lnTo>
                  <a:lnTo>
                    <a:pt x="601028" y="1207770"/>
                  </a:lnTo>
                  <a:lnTo>
                    <a:pt x="594360" y="1205865"/>
                  </a:lnTo>
                  <a:lnTo>
                    <a:pt x="590550" y="1205865"/>
                  </a:lnTo>
                  <a:lnTo>
                    <a:pt x="584835" y="1207770"/>
                  </a:lnTo>
                  <a:lnTo>
                    <a:pt x="567690" y="1217295"/>
                  </a:lnTo>
                  <a:lnTo>
                    <a:pt x="551497" y="1232535"/>
                  </a:lnTo>
                  <a:lnTo>
                    <a:pt x="539115" y="1242060"/>
                  </a:lnTo>
                  <a:lnTo>
                    <a:pt x="534353" y="1247775"/>
                  </a:lnTo>
                  <a:lnTo>
                    <a:pt x="533400" y="1251585"/>
                  </a:lnTo>
                  <a:lnTo>
                    <a:pt x="536257" y="1256348"/>
                  </a:lnTo>
                  <a:lnTo>
                    <a:pt x="536257" y="1259205"/>
                  </a:lnTo>
                  <a:lnTo>
                    <a:pt x="537210" y="1263968"/>
                  </a:lnTo>
                  <a:lnTo>
                    <a:pt x="537210" y="1265873"/>
                  </a:lnTo>
                  <a:lnTo>
                    <a:pt x="531495" y="1288733"/>
                  </a:lnTo>
                  <a:lnTo>
                    <a:pt x="530543" y="1291590"/>
                  </a:lnTo>
                  <a:lnTo>
                    <a:pt x="526732" y="1296352"/>
                  </a:lnTo>
                  <a:lnTo>
                    <a:pt x="506730" y="1313498"/>
                  </a:lnTo>
                  <a:lnTo>
                    <a:pt x="501968" y="1320165"/>
                  </a:lnTo>
                  <a:lnTo>
                    <a:pt x="500063" y="1323975"/>
                  </a:lnTo>
                  <a:lnTo>
                    <a:pt x="503872" y="1327785"/>
                  </a:lnTo>
                  <a:lnTo>
                    <a:pt x="514350" y="1332548"/>
                  </a:lnTo>
                  <a:lnTo>
                    <a:pt x="517207" y="1334452"/>
                  </a:lnTo>
                  <a:lnTo>
                    <a:pt x="518160" y="1336358"/>
                  </a:lnTo>
                  <a:lnTo>
                    <a:pt x="519113" y="1338263"/>
                  </a:lnTo>
                  <a:lnTo>
                    <a:pt x="519113" y="1354455"/>
                  </a:lnTo>
                  <a:lnTo>
                    <a:pt x="519113" y="1361123"/>
                  </a:lnTo>
                  <a:lnTo>
                    <a:pt x="517207" y="1366838"/>
                  </a:lnTo>
                  <a:lnTo>
                    <a:pt x="514350" y="1369695"/>
                  </a:lnTo>
                  <a:lnTo>
                    <a:pt x="508635" y="1372552"/>
                  </a:lnTo>
                  <a:lnTo>
                    <a:pt x="470535" y="1376363"/>
                  </a:lnTo>
                  <a:lnTo>
                    <a:pt x="467678" y="1376363"/>
                  </a:lnTo>
                  <a:lnTo>
                    <a:pt x="463868" y="1372552"/>
                  </a:lnTo>
                  <a:lnTo>
                    <a:pt x="462915" y="1370648"/>
                  </a:lnTo>
                  <a:lnTo>
                    <a:pt x="460057" y="1365885"/>
                  </a:lnTo>
                  <a:lnTo>
                    <a:pt x="458153" y="1363980"/>
                  </a:lnTo>
                  <a:lnTo>
                    <a:pt x="455295" y="1363027"/>
                  </a:lnTo>
                  <a:lnTo>
                    <a:pt x="445770" y="1361123"/>
                  </a:lnTo>
                  <a:lnTo>
                    <a:pt x="433388" y="1362075"/>
                  </a:lnTo>
                  <a:lnTo>
                    <a:pt x="430530" y="1363027"/>
                  </a:lnTo>
                  <a:lnTo>
                    <a:pt x="427672" y="1365885"/>
                  </a:lnTo>
                  <a:lnTo>
                    <a:pt x="423863" y="1370648"/>
                  </a:lnTo>
                  <a:lnTo>
                    <a:pt x="421957" y="1374458"/>
                  </a:lnTo>
                  <a:lnTo>
                    <a:pt x="421005" y="1379220"/>
                  </a:lnTo>
                  <a:lnTo>
                    <a:pt x="420053" y="1388745"/>
                  </a:lnTo>
                  <a:lnTo>
                    <a:pt x="418147" y="1394460"/>
                  </a:lnTo>
                  <a:lnTo>
                    <a:pt x="349568" y="1430655"/>
                  </a:lnTo>
                  <a:lnTo>
                    <a:pt x="344805" y="1437323"/>
                  </a:lnTo>
                  <a:lnTo>
                    <a:pt x="342900" y="1437323"/>
                  </a:lnTo>
                  <a:lnTo>
                    <a:pt x="339090" y="1437323"/>
                  </a:lnTo>
                  <a:lnTo>
                    <a:pt x="331470" y="1435418"/>
                  </a:lnTo>
                  <a:lnTo>
                    <a:pt x="327660" y="1433513"/>
                  </a:lnTo>
                  <a:lnTo>
                    <a:pt x="324803" y="1431608"/>
                  </a:lnTo>
                  <a:lnTo>
                    <a:pt x="321945" y="1426845"/>
                  </a:lnTo>
                  <a:lnTo>
                    <a:pt x="320040" y="1424940"/>
                  </a:lnTo>
                  <a:lnTo>
                    <a:pt x="317182" y="1423988"/>
                  </a:lnTo>
                  <a:lnTo>
                    <a:pt x="312420" y="1424940"/>
                  </a:lnTo>
                  <a:lnTo>
                    <a:pt x="306705" y="1427798"/>
                  </a:lnTo>
                  <a:lnTo>
                    <a:pt x="291465" y="1439227"/>
                  </a:lnTo>
                  <a:lnTo>
                    <a:pt x="278130" y="1453515"/>
                  </a:lnTo>
                  <a:lnTo>
                    <a:pt x="271463" y="1456373"/>
                  </a:lnTo>
                  <a:lnTo>
                    <a:pt x="255270" y="1454468"/>
                  </a:lnTo>
                  <a:lnTo>
                    <a:pt x="246697" y="1446848"/>
                  </a:lnTo>
                  <a:lnTo>
                    <a:pt x="241935" y="1442085"/>
                  </a:lnTo>
                  <a:lnTo>
                    <a:pt x="237172" y="1440180"/>
                  </a:lnTo>
                  <a:lnTo>
                    <a:pt x="231457" y="1440180"/>
                  </a:lnTo>
                  <a:lnTo>
                    <a:pt x="225743" y="1442085"/>
                  </a:lnTo>
                  <a:lnTo>
                    <a:pt x="200978" y="1452563"/>
                  </a:lnTo>
                  <a:lnTo>
                    <a:pt x="196215" y="1453515"/>
                  </a:lnTo>
                  <a:lnTo>
                    <a:pt x="194310" y="1453515"/>
                  </a:lnTo>
                  <a:lnTo>
                    <a:pt x="192405" y="1451610"/>
                  </a:lnTo>
                  <a:lnTo>
                    <a:pt x="191453" y="1448752"/>
                  </a:lnTo>
                  <a:lnTo>
                    <a:pt x="192405" y="1443038"/>
                  </a:lnTo>
                  <a:lnTo>
                    <a:pt x="193357" y="1440180"/>
                  </a:lnTo>
                  <a:lnTo>
                    <a:pt x="194310" y="1438275"/>
                  </a:lnTo>
                  <a:lnTo>
                    <a:pt x="203835" y="1429702"/>
                  </a:lnTo>
                  <a:lnTo>
                    <a:pt x="205740" y="1427798"/>
                  </a:lnTo>
                  <a:lnTo>
                    <a:pt x="208597" y="1423035"/>
                  </a:lnTo>
                  <a:lnTo>
                    <a:pt x="210503" y="1419225"/>
                  </a:lnTo>
                  <a:lnTo>
                    <a:pt x="211455" y="1414463"/>
                  </a:lnTo>
                  <a:lnTo>
                    <a:pt x="212407" y="1411605"/>
                  </a:lnTo>
                  <a:lnTo>
                    <a:pt x="216218" y="1411605"/>
                  </a:lnTo>
                  <a:lnTo>
                    <a:pt x="218122" y="1410652"/>
                  </a:lnTo>
                  <a:lnTo>
                    <a:pt x="220980" y="1406843"/>
                  </a:lnTo>
                  <a:lnTo>
                    <a:pt x="223838" y="1403033"/>
                  </a:lnTo>
                  <a:lnTo>
                    <a:pt x="225743" y="1399223"/>
                  </a:lnTo>
                  <a:lnTo>
                    <a:pt x="225743" y="1392555"/>
                  </a:lnTo>
                  <a:lnTo>
                    <a:pt x="225743" y="1388745"/>
                  </a:lnTo>
                  <a:lnTo>
                    <a:pt x="222885" y="1378268"/>
                  </a:lnTo>
                  <a:lnTo>
                    <a:pt x="215265" y="1362075"/>
                  </a:lnTo>
                  <a:lnTo>
                    <a:pt x="205740" y="1349693"/>
                  </a:lnTo>
                  <a:lnTo>
                    <a:pt x="200025" y="1341120"/>
                  </a:lnTo>
                  <a:lnTo>
                    <a:pt x="195263" y="1331595"/>
                  </a:lnTo>
                  <a:lnTo>
                    <a:pt x="194310" y="1327785"/>
                  </a:lnTo>
                  <a:lnTo>
                    <a:pt x="193357" y="1321118"/>
                  </a:lnTo>
                  <a:lnTo>
                    <a:pt x="193357" y="1298258"/>
                  </a:lnTo>
                  <a:lnTo>
                    <a:pt x="192405" y="1295400"/>
                  </a:lnTo>
                  <a:lnTo>
                    <a:pt x="191453" y="1292543"/>
                  </a:lnTo>
                  <a:lnTo>
                    <a:pt x="187643" y="1290638"/>
                  </a:lnTo>
                  <a:lnTo>
                    <a:pt x="164782" y="1281113"/>
                  </a:lnTo>
                  <a:lnTo>
                    <a:pt x="147638" y="1268730"/>
                  </a:lnTo>
                  <a:lnTo>
                    <a:pt x="143828" y="1264920"/>
                  </a:lnTo>
                  <a:lnTo>
                    <a:pt x="140018" y="1261110"/>
                  </a:lnTo>
                  <a:lnTo>
                    <a:pt x="139065" y="1257300"/>
                  </a:lnTo>
                  <a:lnTo>
                    <a:pt x="139065" y="1253490"/>
                  </a:lnTo>
                  <a:lnTo>
                    <a:pt x="140018" y="1245870"/>
                  </a:lnTo>
                  <a:lnTo>
                    <a:pt x="140970" y="1242060"/>
                  </a:lnTo>
                  <a:lnTo>
                    <a:pt x="143828" y="1239202"/>
                  </a:lnTo>
                  <a:lnTo>
                    <a:pt x="152400" y="1234440"/>
                  </a:lnTo>
                  <a:lnTo>
                    <a:pt x="154305" y="1232535"/>
                  </a:lnTo>
                  <a:lnTo>
                    <a:pt x="155257" y="1230630"/>
                  </a:lnTo>
                  <a:lnTo>
                    <a:pt x="156210" y="1227773"/>
                  </a:lnTo>
                  <a:lnTo>
                    <a:pt x="153353" y="1224915"/>
                  </a:lnTo>
                  <a:lnTo>
                    <a:pt x="151447" y="1223010"/>
                  </a:lnTo>
                  <a:lnTo>
                    <a:pt x="148590" y="1222058"/>
                  </a:lnTo>
                  <a:lnTo>
                    <a:pt x="144780" y="1219200"/>
                  </a:lnTo>
                  <a:lnTo>
                    <a:pt x="141922" y="1216343"/>
                  </a:lnTo>
                  <a:lnTo>
                    <a:pt x="137160" y="1209675"/>
                  </a:lnTo>
                  <a:lnTo>
                    <a:pt x="133350" y="1207770"/>
                  </a:lnTo>
                  <a:lnTo>
                    <a:pt x="130493" y="1206818"/>
                  </a:lnTo>
                  <a:lnTo>
                    <a:pt x="116205" y="1207770"/>
                  </a:lnTo>
                  <a:lnTo>
                    <a:pt x="97155" y="1204913"/>
                  </a:lnTo>
                  <a:lnTo>
                    <a:pt x="94297" y="1203960"/>
                  </a:lnTo>
                  <a:lnTo>
                    <a:pt x="92393" y="1197293"/>
                  </a:lnTo>
                  <a:lnTo>
                    <a:pt x="82868" y="1147763"/>
                  </a:lnTo>
                  <a:lnTo>
                    <a:pt x="80010" y="1141095"/>
                  </a:lnTo>
                  <a:lnTo>
                    <a:pt x="78105" y="1139190"/>
                  </a:lnTo>
                  <a:lnTo>
                    <a:pt x="64770" y="1136333"/>
                  </a:lnTo>
                  <a:lnTo>
                    <a:pt x="60960" y="1132523"/>
                  </a:lnTo>
                  <a:lnTo>
                    <a:pt x="58103" y="1125855"/>
                  </a:lnTo>
                  <a:lnTo>
                    <a:pt x="57150" y="1119188"/>
                  </a:lnTo>
                  <a:lnTo>
                    <a:pt x="57150" y="1115377"/>
                  </a:lnTo>
                  <a:lnTo>
                    <a:pt x="59055" y="1111568"/>
                  </a:lnTo>
                  <a:lnTo>
                    <a:pt x="60960" y="1109663"/>
                  </a:lnTo>
                  <a:lnTo>
                    <a:pt x="66675" y="1104900"/>
                  </a:lnTo>
                  <a:lnTo>
                    <a:pt x="68580" y="1102043"/>
                  </a:lnTo>
                  <a:lnTo>
                    <a:pt x="68580" y="1098233"/>
                  </a:lnTo>
                  <a:lnTo>
                    <a:pt x="66675" y="1091565"/>
                  </a:lnTo>
                  <a:lnTo>
                    <a:pt x="63818" y="1084898"/>
                  </a:lnTo>
                  <a:lnTo>
                    <a:pt x="60007" y="1081088"/>
                  </a:lnTo>
                  <a:lnTo>
                    <a:pt x="55245" y="1078230"/>
                  </a:lnTo>
                  <a:lnTo>
                    <a:pt x="52388" y="1077277"/>
                  </a:lnTo>
                  <a:lnTo>
                    <a:pt x="43815" y="1077277"/>
                  </a:lnTo>
                  <a:lnTo>
                    <a:pt x="41910" y="1076325"/>
                  </a:lnTo>
                  <a:lnTo>
                    <a:pt x="34290" y="1069658"/>
                  </a:lnTo>
                  <a:lnTo>
                    <a:pt x="23813" y="1063943"/>
                  </a:lnTo>
                  <a:lnTo>
                    <a:pt x="22860" y="1062038"/>
                  </a:lnTo>
                  <a:lnTo>
                    <a:pt x="22860" y="1059180"/>
                  </a:lnTo>
                  <a:lnTo>
                    <a:pt x="25718" y="1054418"/>
                  </a:lnTo>
                  <a:lnTo>
                    <a:pt x="27622" y="1050608"/>
                  </a:lnTo>
                  <a:lnTo>
                    <a:pt x="31432" y="1039177"/>
                  </a:lnTo>
                  <a:lnTo>
                    <a:pt x="34290" y="1036320"/>
                  </a:lnTo>
                  <a:lnTo>
                    <a:pt x="37147" y="1034415"/>
                  </a:lnTo>
                  <a:lnTo>
                    <a:pt x="40005" y="1034415"/>
                  </a:lnTo>
                  <a:lnTo>
                    <a:pt x="41910" y="1032510"/>
                  </a:lnTo>
                  <a:lnTo>
                    <a:pt x="42863" y="1028700"/>
                  </a:lnTo>
                  <a:lnTo>
                    <a:pt x="41910" y="1020127"/>
                  </a:lnTo>
                  <a:lnTo>
                    <a:pt x="39053" y="1014413"/>
                  </a:lnTo>
                  <a:lnTo>
                    <a:pt x="35243" y="1010602"/>
                  </a:lnTo>
                  <a:lnTo>
                    <a:pt x="29528" y="1008698"/>
                  </a:lnTo>
                  <a:lnTo>
                    <a:pt x="13335" y="1008698"/>
                  </a:lnTo>
                  <a:lnTo>
                    <a:pt x="10478" y="1007745"/>
                  </a:lnTo>
                  <a:lnTo>
                    <a:pt x="5715" y="1004888"/>
                  </a:lnTo>
                  <a:lnTo>
                    <a:pt x="1905" y="1000125"/>
                  </a:lnTo>
                  <a:lnTo>
                    <a:pt x="0" y="993458"/>
                  </a:lnTo>
                  <a:lnTo>
                    <a:pt x="0" y="987743"/>
                  </a:lnTo>
                  <a:lnTo>
                    <a:pt x="953" y="982980"/>
                  </a:lnTo>
                  <a:lnTo>
                    <a:pt x="2857" y="978218"/>
                  </a:lnTo>
                  <a:lnTo>
                    <a:pt x="8572" y="968693"/>
                  </a:lnTo>
                  <a:lnTo>
                    <a:pt x="13335" y="965835"/>
                  </a:lnTo>
                  <a:lnTo>
                    <a:pt x="31432" y="954405"/>
                  </a:lnTo>
                  <a:lnTo>
                    <a:pt x="40957" y="950595"/>
                  </a:lnTo>
                  <a:lnTo>
                    <a:pt x="42863" y="947738"/>
                  </a:lnTo>
                  <a:lnTo>
                    <a:pt x="43815" y="943927"/>
                  </a:lnTo>
                  <a:lnTo>
                    <a:pt x="42863" y="930593"/>
                  </a:lnTo>
                  <a:lnTo>
                    <a:pt x="42863" y="926783"/>
                  </a:lnTo>
                  <a:lnTo>
                    <a:pt x="46672" y="922973"/>
                  </a:lnTo>
                  <a:lnTo>
                    <a:pt x="48578" y="921068"/>
                  </a:lnTo>
                  <a:lnTo>
                    <a:pt x="59055" y="915352"/>
                  </a:lnTo>
                  <a:lnTo>
                    <a:pt x="60007" y="913448"/>
                  </a:lnTo>
                  <a:lnTo>
                    <a:pt x="60960" y="909638"/>
                  </a:lnTo>
                  <a:lnTo>
                    <a:pt x="59055" y="901065"/>
                  </a:lnTo>
                  <a:lnTo>
                    <a:pt x="58103" y="896302"/>
                  </a:lnTo>
                  <a:lnTo>
                    <a:pt x="57150" y="892493"/>
                  </a:lnTo>
                  <a:lnTo>
                    <a:pt x="57150" y="888683"/>
                  </a:lnTo>
                  <a:lnTo>
                    <a:pt x="59055" y="884873"/>
                  </a:lnTo>
                  <a:lnTo>
                    <a:pt x="62865" y="879158"/>
                  </a:lnTo>
                  <a:lnTo>
                    <a:pt x="62865" y="875348"/>
                  </a:lnTo>
                  <a:lnTo>
                    <a:pt x="61913" y="871538"/>
                  </a:lnTo>
                  <a:lnTo>
                    <a:pt x="59055" y="866775"/>
                  </a:lnTo>
                  <a:lnTo>
                    <a:pt x="56197" y="863918"/>
                  </a:lnTo>
                  <a:lnTo>
                    <a:pt x="53340" y="862013"/>
                  </a:lnTo>
                  <a:lnTo>
                    <a:pt x="45720" y="857250"/>
                  </a:lnTo>
                  <a:lnTo>
                    <a:pt x="42863" y="856298"/>
                  </a:lnTo>
                  <a:lnTo>
                    <a:pt x="42863" y="849630"/>
                  </a:lnTo>
                  <a:lnTo>
                    <a:pt x="55245" y="836295"/>
                  </a:lnTo>
                  <a:lnTo>
                    <a:pt x="75247" y="842010"/>
                  </a:lnTo>
                  <a:lnTo>
                    <a:pt x="80010" y="846773"/>
                  </a:lnTo>
                  <a:lnTo>
                    <a:pt x="79057" y="849630"/>
                  </a:lnTo>
                  <a:lnTo>
                    <a:pt x="75247" y="851535"/>
                  </a:lnTo>
                  <a:lnTo>
                    <a:pt x="72390" y="853440"/>
                  </a:lnTo>
                  <a:lnTo>
                    <a:pt x="71438" y="856298"/>
                  </a:lnTo>
                  <a:lnTo>
                    <a:pt x="72390" y="862013"/>
                  </a:lnTo>
                  <a:lnTo>
                    <a:pt x="74295" y="865823"/>
                  </a:lnTo>
                  <a:lnTo>
                    <a:pt x="78105" y="870585"/>
                  </a:lnTo>
                  <a:lnTo>
                    <a:pt x="88582" y="878205"/>
                  </a:lnTo>
                  <a:lnTo>
                    <a:pt x="97155" y="882015"/>
                  </a:lnTo>
                  <a:lnTo>
                    <a:pt x="128588" y="878205"/>
                  </a:lnTo>
                  <a:lnTo>
                    <a:pt x="141922" y="879158"/>
                  </a:lnTo>
                  <a:lnTo>
                    <a:pt x="145732" y="877252"/>
                  </a:lnTo>
                  <a:lnTo>
                    <a:pt x="147638" y="874395"/>
                  </a:lnTo>
                  <a:lnTo>
                    <a:pt x="145732" y="865823"/>
                  </a:lnTo>
                  <a:lnTo>
                    <a:pt x="146685" y="862965"/>
                  </a:lnTo>
                  <a:lnTo>
                    <a:pt x="146685" y="860108"/>
                  </a:lnTo>
                  <a:lnTo>
                    <a:pt x="149543" y="856298"/>
                  </a:lnTo>
                  <a:lnTo>
                    <a:pt x="157163" y="848677"/>
                  </a:lnTo>
                  <a:lnTo>
                    <a:pt x="160972" y="844868"/>
                  </a:lnTo>
                  <a:lnTo>
                    <a:pt x="165735" y="837248"/>
                  </a:lnTo>
                  <a:lnTo>
                    <a:pt x="166688" y="833438"/>
                  </a:lnTo>
                  <a:lnTo>
                    <a:pt x="169545" y="824865"/>
                  </a:lnTo>
                  <a:lnTo>
                    <a:pt x="172403" y="820102"/>
                  </a:lnTo>
                  <a:lnTo>
                    <a:pt x="179070" y="817245"/>
                  </a:lnTo>
                  <a:lnTo>
                    <a:pt x="190500" y="808673"/>
                  </a:lnTo>
                  <a:lnTo>
                    <a:pt x="195263" y="806768"/>
                  </a:lnTo>
                  <a:lnTo>
                    <a:pt x="213360" y="806768"/>
                  </a:lnTo>
                  <a:lnTo>
                    <a:pt x="218122" y="805815"/>
                  </a:lnTo>
                  <a:lnTo>
                    <a:pt x="221932" y="803910"/>
                  </a:lnTo>
                  <a:lnTo>
                    <a:pt x="227647" y="795338"/>
                  </a:lnTo>
                  <a:lnTo>
                    <a:pt x="231457" y="790575"/>
                  </a:lnTo>
                  <a:lnTo>
                    <a:pt x="235268" y="788670"/>
                  </a:lnTo>
                  <a:lnTo>
                    <a:pt x="239078" y="789623"/>
                  </a:lnTo>
                  <a:lnTo>
                    <a:pt x="242888" y="790575"/>
                  </a:lnTo>
                  <a:lnTo>
                    <a:pt x="258128" y="791527"/>
                  </a:lnTo>
                  <a:lnTo>
                    <a:pt x="260985" y="792480"/>
                  </a:lnTo>
                  <a:lnTo>
                    <a:pt x="266700" y="795338"/>
                  </a:lnTo>
                  <a:lnTo>
                    <a:pt x="268605" y="796290"/>
                  </a:lnTo>
                  <a:lnTo>
                    <a:pt x="273368" y="797243"/>
                  </a:lnTo>
                  <a:lnTo>
                    <a:pt x="276225" y="796290"/>
                  </a:lnTo>
                  <a:lnTo>
                    <a:pt x="276225" y="793433"/>
                  </a:lnTo>
                  <a:lnTo>
                    <a:pt x="274320" y="788670"/>
                  </a:lnTo>
                  <a:lnTo>
                    <a:pt x="271463" y="782002"/>
                  </a:lnTo>
                  <a:lnTo>
                    <a:pt x="269557" y="778193"/>
                  </a:lnTo>
                  <a:lnTo>
                    <a:pt x="269557" y="776288"/>
                  </a:lnTo>
                  <a:lnTo>
                    <a:pt x="271463" y="773430"/>
                  </a:lnTo>
                  <a:lnTo>
                    <a:pt x="275272" y="769620"/>
                  </a:lnTo>
                  <a:lnTo>
                    <a:pt x="282893" y="765810"/>
                  </a:lnTo>
                  <a:lnTo>
                    <a:pt x="286703" y="761048"/>
                  </a:lnTo>
                  <a:lnTo>
                    <a:pt x="292418" y="754380"/>
                  </a:lnTo>
                  <a:lnTo>
                    <a:pt x="295275" y="753427"/>
                  </a:lnTo>
                  <a:lnTo>
                    <a:pt x="298132" y="753427"/>
                  </a:lnTo>
                  <a:lnTo>
                    <a:pt x="309563" y="758190"/>
                  </a:lnTo>
                  <a:lnTo>
                    <a:pt x="311468" y="760095"/>
                  </a:lnTo>
                  <a:lnTo>
                    <a:pt x="311468" y="762000"/>
                  </a:lnTo>
                  <a:lnTo>
                    <a:pt x="310515" y="764858"/>
                  </a:lnTo>
                  <a:lnTo>
                    <a:pt x="304800" y="774383"/>
                  </a:lnTo>
                  <a:lnTo>
                    <a:pt x="301943" y="779145"/>
                  </a:lnTo>
                  <a:lnTo>
                    <a:pt x="300990" y="782955"/>
                  </a:lnTo>
                  <a:lnTo>
                    <a:pt x="300990" y="785813"/>
                  </a:lnTo>
                  <a:lnTo>
                    <a:pt x="301943" y="787718"/>
                  </a:lnTo>
                  <a:lnTo>
                    <a:pt x="303847" y="789623"/>
                  </a:lnTo>
                  <a:lnTo>
                    <a:pt x="306705" y="791527"/>
                  </a:lnTo>
                  <a:lnTo>
                    <a:pt x="399097" y="810577"/>
                  </a:lnTo>
                  <a:lnTo>
                    <a:pt x="402907" y="813435"/>
                  </a:lnTo>
                  <a:lnTo>
                    <a:pt x="403860" y="815340"/>
                  </a:lnTo>
                  <a:lnTo>
                    <a:pt x="403860" y="822008"/>
                  </a:lnTo>
                  <a:lnTo>
                    <a:pt x="403860" y="824865"/>
                  </a:lnTo>
                  <a:lnTo>
                    <a:pt x="406718" y="828675"/>
                  </a:lnTo>
                  <a:lnTo>
                    <a:pt x="411480" y="831533"/>
                  </a:lnTo>
                  <a:lnTo>
                    <a:pt x="416243" y="831533"/>
                  </a:lnTo>
                  <a:lnTo>
                    <a:pt x="419100" y="829627"/>
                  </a:lnTo>
                  <a:lnTo>
                    <a:pt x="420053" y="826770"/>
                  </a:lnTo>
                  <a:lnTo>
                    <a:pt x="430530" y="782955"/>
                  </a:lnTo>
                  <a:lnTo>
                    <a:pt x="433388" y="773430"/>
                  </a:lnTo>
                  <a:lnTo>
                    <a:pt x="434340" y="770573"/>
                  </a:lnTo>
                  <a:lnTo>
                    <a:pt x="434340" y="761048"/>
                  </a:lnTo>
                  <a:lnTo>
                    <a:pt x="434340" y="754380"/>
                  </a:lnTo>
                  <a:lnTo>
                    <a:pt x="436245" y="747713"/>
                  </a:lnTo>
                  <a:lnTo>
                    <a:pt x="438150" y="744855"/>
                  </a:lnTo>
                  <a:lnTo>
                    <a:pt x="440055" y="741045"/>
                  </a:lnTo>
                  <a:lnTo>
                    <a:pt x="445770" y="738188"/>
                  </a:lnTo>
                  <a:lnTo>
                    <a:pt x="449580" y="736283"/>
                  </a:lnTo>
                  <a:lnTo>
                    <a:pt x="453390" y="736283"/>
                  </a:lnTo>
                  <a:lnTo>
                    <a:pt x="456247" y="737235"/>
                  </a:lnTo>
                  <a:lnTo>
                    <a:pt x="461010" y="740093"/>
                  </a:lnTo>
                  <a:lnTo>
                    <a:pt x="466725" y="745808"/>
                  </a:lnTo>
                  <a:lnTo>
                    <a:pt x="471488" y="753427"/>
                  </a:lnTo>
                  <a:lnTo>
                    <a:pt x="475297" y="757238"/>
                  </a:lnTo>
                  <a:lnTo>
                    <a:pt x="479107" y="757238"/>
                  </a:lnTo>
                  <a:lnTo>
                    <a:pt x="496253" y="751523"/>
                  </a:lnTo>
                  <a:lnTo>
                    <a:pt x="499110" y="749618"/>
                  </a:lnTo>
                  <a:lnTo>
                    <a:pt x="504825" y="743902"/>
                  </a:lnTo>
                  <a:lnTo>
                    <a:pt x="507682" y="743902"/>
                  </a:lnTo>
                  <a:lnTo>
                    <a:pt x="509588" y="744855"/>
                  </a:lnTo>
                  <a:lnTo>
                    <a:pt x="524828" y="753427"/>
                  </a:lnTo>
                  <a:lnTo>
                    <a:pt x="527685" y="752475"/>
                  </a:lnTo>
                  <a:lnTo>
                    <a:pt x="529590" y="751523"/>
                  </a:lnTo>
                  <a:lnTo>
                    <a:pt x="532447" y="746760"/>
                  </a:lnTo>
                  <a:lnTo>
                    <a:pt x="539115" y="732473"/>
                  </a:lnTo>
                  <a:lnTo>
                    <a:pt x="541020" y="729615"/>
                  </a:lnTo>
                  <a:lnTo>
                    <a:pt x="543878" y="729615"/>
                  </a:lnTo>
                  <a:lnTo>
                    <a:pt x="545782" y="730568"/>
                  </a:lnTo>
                  <a:lnTo>
                    <a:pt x="549593" y="734377"/>
                  </a:lnTo>
                  <a:lnTo>
                    <a:pt x="553403" y="735330"/>
                  </a:lnTo>
                  <a:lnTo>
                    <a:pt x="560070" y="736283"/>
                  </a:lnTo>
                  <a:lnTo>
                    <a:pt x="567690" y="733425"/>
                  </a:lnTo>
                  <a:lnTo>
                    <a:pt x="572453" y="733425"/>
                  </a:lnTo>
                  <a:lnTo>
                    <a:pt x="575310" y="733425"/>
                  </a:lnTo>
                  <a:lnTo>
                    <a:pt x="579120" y="737235"/>
                  </a:lnTo>
                  <a:lnTo>
                    <a:pt x="589597" y="755333"/>
                  </a:lnTo>
                  <a:lnTo>
                    <a:pt x="591503" y="758190"/>
                  </a:lnTo>
                  <a:lnTo>
                    <a:pt x="594360" y="760095"/>
                  </a:lnTo>
                  <a:lnTo>
                    <a:pt x="597218" y="760095"/>
                  </a:lnTo>
                  <a:lnTo>
                    <a:pt x="600075" y="760095"/>
                  </a:lnTo>
                  <a:lnTo>
                    <a:pt x="609600" y="753427"/>
                  </a:lnTo>
                  <a:lnTo>
                    <a:pt x="626745" y="748665"/>
                  </a:lnTo>
                  <a:lnTo>
                    <a:pt x="628650" y="746760"/>
                  </a:lnTo>
                  <a:lnTo>
                    <a:pt x="634365" y="740093"/>
                  </a:lnTo>
                  <a:lnTo>
                    <a:pt x="637222" y="737235"/>
                  </a:lnTo>
                  <a:lnTo>
                    <a:pt x="641985" y="734377"/>
                  </a:lnTo>
                  <a:lnTo>
                    <a:pt x="644843" y="735330"/>
                  </a:lnTo>
                  <a:lnTo>
                    <a:pt x="653415" y="739140"/>
                  </a:lnTo>
                  <a:lnTo>
                    <a:pt x="659130" y="738188"/>
                  </a:lnTo>
                  <a:lnTo>
                    <a:pt x="661988" y="737235"/>
                  </a:lnTo>
                  <a:lnTo>
                    <a:pt x="667703" y="731520"/>
                  </a:lnTo>
                  <a:lnTo>
                    <a:pt x="672465" y="727710"/>
                  </a:lnTo>
                  <a:lnTo>
                    <a:pt x="676275" y="727710"/>
                  </a:lnTo>
                  <a:lnTo>
                    <a:pt x="678180" y="728663"/>
                  </a:lnTo>
                  <a:lnTo>
                    <a:pt x="681038" y="733425"/>
                  </a:lnTo>
                  <a:lnTo>
                    <a:pt x="682943" y="736283"/>
                  </a:lnTo>
                  <a:lnTo>
                    <a:pt x="686753" y="738188"/>
                  </a:lnTo>
                  <a:lnTo>
                    <a:pt x="693420" y="740093"/>
                  </a:lnTo>
                  <a:lnTo>
                    <a:pt x="697230" y="736283"/>
                  </a:lnTo>
                  <a:lnTo>
                    <a:pt x="699135" y="732473"/>
                  </a:lnTo>
                  <a:lnTo>
                    <a:pt x="699135" y="729615"/>
                  </a:lnTo>
                  <a:lnTo>
                    <a:pt x="699135" y="720090"/>
                  </a:lnTo>
                  <a:lnTo>
                    <a:pt x="699135" y="717233"/>
                  </a:lnTo>
                  <a:lnTo>
                    <a:pt x="701040" y="710565"/>
                  </a:lnTo>
                  <a:lnTo>
                    <a:pt x="713422" y="687705"/>
                  </a:lnTo>
                  <a:lnTo>
                    <a:pt x="719138" y="681038"/>
                  </a:lnTo>
                  <a:lnTo>
                    <a:pt x="728663" y="673418"/>
                  </a:lnTo>
                  <a:lnTo>
                    <a:pt x="730568" y="671513"/>
                  </a:lnTo>
                  <a:lnTo>
                    <a:pt x="735330" y="663893"/>
                  </a:lnTo>
                  <a:lnTo>
                    <a:pt x="741045" y="658177"/>
                  </a:lnTo>
                  <a:lnTo>
                    <a:pt x="754380" y="645795"/>
                  </a:lnTo>
                  <a:lnTo>
                    <a:pt x="757238" y="641033"/>
                  </a:lnTo>
                  <a:lnTo>
                    <a:pt x="760095" y="638175"/>
                  </a:lnTo>
                  <a:lnTo>
                    <a:pt x="782955" y="622935"/>
                  </a:lnTo>
                  <a:lnTo>
                    <a:pt x="785813" y="618173"/>
                  </a:lnTo>
                  <a:lnTo>
                    <a:pt x="788670" y="614363"/>
                  </a:lnTo>
                  <a:lnTo>
                    <a:pt x="797243" y="592455"/>
                  </a:lnTo>
                  <a:lnTo>
                    <a:pt x="800100" y="588645"/>
                  </a:lnTo>
                  <a:lnTo>
                    <a:pt x="804863" y="583883"/>
                  </a:lnTo>
                  <a:lnTo>
                    <a:pt x="821055" y="572453"/>
                  </a:lnTo>
                  <a:lnTo>
                    <a:pt x="823913" y="569595"/>
                  </a:lnTo>
                  <a:lnTo>
                    <a:pt x="824865" y="563880"/>
                  </a:lnTo>
                  <a:lnTo>
                    <a:pt x="825818" y="554355"/>
                  </a:lnTo>
                  <a:lnTo>
                    <a:pt x="825818" y="548640"/>
                  </a:lnTo>
                  <a:lnTo>
                    <a:pt x="824865" y="545783"/>
                  </a:lnTo>
                  <a:lnTo>
                    <a:pt x="822960" y="543878"/>
                  </a:lnTo>
                  <a:lnTo>
                    <a:pt x="821055" y="541973"/>
                  </a:lnTo>
                  <a:lnTo>
                    <a:pt x="814388" y="540068"/>
                  </a:lnTo>
                  <a:lnTo>
                    <a:pt x="812482" y="539115"/>
                  </a:lnTo>
                  <a:lnTo>
                    <a:pt x="810578" y="537210"/>
                  </a:lnTo>
                  <a:lnTo>
                    <a:pt x="809625" y="531495"/>
                  </a:lnTo>
                  <a:lnTo>
                    <a:pt x="809625" y="521970"/>
                  </a:lnTo>
                  <a:lnTo>
                    <a:pt x="810578" y="519113"/>
                  </a:lnTo>
                  <a:lnTo>
                    <a:pt x="813435" y="515303"/>
                  </a:lnTo>
                  <a:lnTo>
                    <a:pt x="819150" y="509588"/>
                  </a:lnTo>
                  <a:lnTo>
                    <a:pt x="821055" y="506730"/>
                  </a:lnTo>
                  <a:lnTo>
                    <a:pt x="827722" y="488633"/>
                  </a:lnTo>
                  <a:lnTo>
                    <a:pt x="833438" y="478155"/>
                  </a:lnTo>
                  <a:lnTo>
                    <a:pt x="834390" y="471488"/>
                  </a:lnTo>
                  <a:lnTo>
                    <a:pt x="834390" y="468630"/>
                  </a:lnTo>
                  <a:lnTo>
                    <a:pt x="831532" y="461010"/>
                  </a:lnTo>
                  <a:lnTo>
                    <a:pt x="831532" y="459105"/>
                  </a:lnTo>
                  <a:lnTo>
                    <a:pt x="831532" y="456248"/>
                  </a:lnTo>
                  <a:lnTo>
                    <a:pt x="832485" y="453390"/>
                  </a:lnTo>
                  <a:lnTo>
                    <a:pt x="840105" y="441008"/>
                  </a:lnTo>
                  <a:lnTo>
                    <a:pt x="841057" y="438150"/>
                  </a:lnTo>
                  <a:lnTo>
                    <a:pt x="845820" y="408623"/>
                  </a:lnTo>
                  <a:lnTo>
                    <a:pt x="845820" y="405765"/>
                  </a:lnTo>
                  <a:lnTo>
                    <a:pt x="844868" y="402908"/>
                  </a:lnTo>
                  <a:lnTo>
                    <a:pt x="843915" y="401003"/>
                  </a:lnTo>
                  <a:lnTo>
                    <a:pt x="839153" y="397192"/>
                  </a:lnTo>
                  <a:lnTo>
                    <a:pt x="838200" y="395288"/>
                  </a:lnTo>
                  <a:lnTo>
                    <a:pt x="838200" y="388620"/>
                  </a:lnTo>
                  <a:lnTo>
                    <a:pt x="840105" y="384810"/>
                  </a:lnTo>
                  <a:lnTo>
                    <a:pt x="845820" y="372428"/>
                  </a:lnTo>
                  <a:lnTo>
                    <a:pt x="846772" y="366713"/>
                  </a:lnTo>
                  <a:lnTo>
                    <a:pt x="845820" y="364808"/>
                  </a:lnTo>
                  <a:lnTo>
                    <a:pt x="839153" y="360045"/>
                  </a:lnTo>
                  <a:lnTo>
                    <a:pt x="837247" y="358140"/>
                  </a:lnTo>
                  <a:lnTo>
                    <a:pt x="836295" y="355283"/>
                  </a:lnTo>
                  <a:lnTo>
                    <a:pt x="836295" y="353378"/>
                  </a:lnTo>
                  <a:lnTo>
                    <a:pt x="838200" y="350520"/>
                  </a:lnTo>
                  <a:lnTo>
                    <a:pt x="844868" y="341948"/>
                  </a:lnTo>
                  <a:lnTo>
                    <a:pt x="849630" y="331470"/>
                  </a:lnTo>
                  <a:lnTo>
                    <a:pt x="853440" y="326708"/>
                  </a:lnTo>
                  <a:lnTo>
                    <a:pt x="857250" y="323850"/>
                  </a:lnTo>
                  <a:lnTo>
                    <a:pt x="860107" y="321945"/>
                  </a:lnTo>
                  <a:lnTo>
                    <a:pt x="878205" y="320040"/>
                  </a:lnTo>
                  <a:lnTo>
                    <a:pt x="919163" y="291465"/>
                  </a:lnTo>
                  <a:lnTo>
                    <a:pt x="924878" y="289560"/>
                  </a:lnTo>
                  <a:lnTo>
                    <a:pt x="930593" y="288608"/>
                  </a:lnTo>
                  <a:lnTo>
                    <a:pt x="949643" y="288608"/>
                  </a:lnTo>
                  <a:lnTo>
                    <a:pt x="955357" y="287655"/>
                  </a:lnTo>
                  <a:lnTo>
                    <a:pt x="964882" y="284798"/>
                  </a:lnTo>
                  <a:lnTo>
                    <a:pt x="968693" y="283845"/>
                  </a:lnTo>
                  <a:lnTo>
                    <a:pt x="974407" y="284798"/>
                  </a:lnTo>
                  <a:lnTo>
                    <a:pt x="976313" y="285750"/>
                  </a:lnTo>
                  <a:lnTo>
                    <a:pt x="978218" y="287655"/>
                  </a:lnTo>
                  <a:lnTo>
                    <a:pt x="979170" y="296228"/>
                  </a:lnTo>
                  <a:lnTo>
                    <a:pt x="980123" y="299085"/>
                  </a:lnTo>
                  <a:lnTo>
                    <a:pt x="982980" y="303848"/>
                  </a:lnTo>
                  <a:lnTo>
                    <a:pt x="988695" y="309563"/>
                  </a:lnTo>
                  <a:lnTo>
                    <a:pt x="990600" y="314325"/>
                  </a:lnTo>
                  <a:lnTo>
                    <a:pt x="990600" y="320992"/>
                  </a:lnTo>
                  <a:lnTo>
                    <a:pt x="993457" y="325755"/>
                  </a:lnTo>
                  <a:lnTo>
                    <a:pt x="997268" y="330517"/>
                  </a:lnTo>
                  <a:lnTo>
                    <a:pt x="1001077" y="336233"/>
                  </a:lnTo>
                  <a:lnTo>
                    <a:pt x="1003935" y="338138"/>
                  </a:lnTo>
                  <a:lnTo>
                    <a:pt x="1006793" y="336233"/>
                  </a:lnTo>
                  <a:lnTo>
                    <a:pt x="1007745" y="333375"/>
                  </a:lnTo>
                  <a:lnTo>
                    <a:pt x="1008698" y="325755"/>
                  </a:lnTo>
                  <a:lnTo>
                    <a:pt x="1010602" y="321945"/>
                  </a:lnTo>
                  <a:lnTo>
                    <a:pt x="1013460" y="317183"/>
                  </a:lnTo>
                  <a:lnTo>
                    <a:pt x="1016318" y="316230"/>
                  </a:lnTo>
                  <a:lnTo>
                    <a:pt x="1018223" y="316230"/>
                  </a:lnTo>
                  <a:lnTo>
                    <a:pt x="1022985" y="320040"/>
                  </a:lnTo>
                  <a:lnTo>
                    <a:pt x="1025843" y="321945"/>
                  </a:lnTo>
                  <a:lnTo>
                    <a:pt x="1029652" y="322898"/>
                  </a:lnTo>
                  <a:lnTo>
                    <a:pt x="1036320" y="321945"/>
                  </a:lnTo>
                  <a:lnTo>
                    <a:pt x="1040130" y="320992"/>
                  </a:lnTo>
                  <a:lnTo>
                    <a:pt x="1042988" y="319088"/>
                  </a:lnTo>
                  <a:lnTo>
                    <a:pt x="1045845" y="314325"/>
                  </a:lnTo>
                  <a:lnTo>
                    <a:pt x="1046798" y="311467"/>
                  </a:lnTo>
                  <a:lnTo>
                    <a:pt x="1049655" y="296228"/>
                  </a:lnTo>
                  <a:lnTo>
                    <a:pt x="1051560" y="292417"/>
                  </a:lnTo>
                  <a:lnTo>
                    <a:pt x="1053465" y="290513"/>
                  </a:lnTo>
                  <a:lnTo>
                    <a:pt x="1056323" y="290513"/>
                  </a:lnTo>
                  <a:lnTo>
                    <a:pt x="1059180" y="291465"/>
                  </a:lnTo>
                  <a:lnTo>
                    <a:pt x="1061085" y="294323"/>
                  </a:lnTo>
                  <a:lnTo>
                    <a:pt x="1062038" y="299085"/>
                  </a:lnTo>
                  <a:lnTo>
                    <a:pt x="1061085" y="316230"/>
                  </a:lnTo>
                  <a:lnTo>
                    <a:pt x="1062038" y="319088"/>
                  </a:lnTo>
                  <a:lnTo>
                    <a:pt x="1062990" y="320992"/>
                  </a:lnTo>
                  <a:lnTo>
                    <a:pt x="1065848" y="322898"/>
                  </a:lnTo>
                  <a:lnTo>
                    <a:pt x="1115377" y="332423"/>
                  </a:lnTo>
                  <a:lnTo>
                    <a:pt x="1120140" y="330517"/>
                  </a:lnTo>
                  <a:lnTo>
                    <a:pt x="1122045" y="326708"/>
                  </a:lnTo>
                  <a:lnTo>
                    <a:pt x="1127760" y="315278"/>
                  </a:lnTo>
                  <a:lnTo>
                    <a:pt x="1133475" y="305753"/>
                  </a:lnTo>
                  <a:lnTo>
                    <a:pt x="1143000" y="296228"/>
                  </a:lnTo>
                  <a:lnTo>
                    <a:pt x="1143952" y="294323"/>
                  </a:lnTo>
                  <a:lnTo>
                    <a:pt x="1145857" y="287655"/>
                  </a:lnTo>
                  <a:lnTo>
                    <a:pt x="1144905" y="279083"/>
                  </a:lnTo>
                  <a:lnTo>
                    <a:pt x="1146810" y="274320"/>
                  </a:lnTo>
                  <a:lnTo>
                    <a:pt x="1160145" y="256223"/>
                  </a:lnTo>
                  <a:lnTo>
                    <a:pt x="1164907" y="244792"/>
                  </a:lnTo>
                  <a:lnTo>
                    <a:pt x="1167765" y="239078"/>
                  </a:lnTo>
                  <a:lnTo>
                    <a:pt x="1168718" y="232410"/>
                  </a:lnTo>
                  <a:lnTo>
                    <a:pt x="1168718" y="225742"/>
                  </a:lnTo>
                  <a:lnTo>
                    <a:pt x="1168718" y="219075"/>
                  </a:lnTo>
                  <a:lnTo>
                    <a:pt x="1166813" y="207645"/>
                  </a:lnTo>
                  <a:lnTo>
                    <a:pt x="1167765" y="205740"/>
                  </a:lnTo>
                  <a:lnTo>
                    <a:pt x="1169670" y="201930"/>
                  </a:lnTo>
                  <a:lnTo>
                    <a:pt x="1171575" y="200025"/>
                  </a:lnTo>
                  <a:lnTo>
                    <a:pt x="1174432" y="199073"/>
                  </a:lnTo>
                  <a:lnTo>
                    <a:pt x="1194435" y="192405"/>
                  </a:lnTo>
                  <a:lnTo>
                    <a:pt x="1199198" y="190500"/>
                  </a:lnTo>
                  <a:lnTo>
                    <a:pt x="1202055" y="187642"/>
                  </a:lnTo>
                  <a:lnTo>
                    <a:pt x="1203007" y="180975"/>
                  </a:lnTo>
                  <a:lnTo>
                    <a:pt x="1201102" y="176213"/>
                  </a:lnTo>
                  <a:lnTo>
                    <a:pt x="1198245" y="165735"/>
                  </a:lnTo>
                  <a:lnTo>
                    <a:pt x="1195388" y="154305"/>
                  </a:lnTo>
                  <a:lnTo>
                    <a:pt x="1195388" y="147638"/>
                  </a:lnTo>
                  <a:lnTo>
                    <a:pt x="1194435" y="141923"/>
                  </a:lnTo>
                  <a:lnTo>
                    <a:pt x="1190625" y="131445"/>
                  </a:lnTo>
                  <a:lnTo>
                    <a:pt x="1189673" y="128588"/>
                  </a:lnTo>
                  <a:lnTo>
                    <a:pt x="1192530" y="124778"/>
                  </a:lnTo>
                  <a:lnTo>
                    <a:pt x="1196340" y="120015"/>
                  </a:lnTo>
                  <a:lnTo>
                    <a:pt x="1213485" y="106680"/>
                  </a:lnTo>
                  <a:lnTo>
                    <a:pt x="1216343" y="103823"/>
                  </a:lnTo>
                  <a:lnTo>
                    <a:pt x="1219200" y="98108"/>
                  </a:lnTo>
                  <a:lnTo>
                    <a:pt x="1222057" y="90488"/>
                  </a:lnTo>
                  <a:lnTo>
                    <a:pt x="1223963" y="85725"/>
                  </a:lnTo>
                  <a:lnTo>
                    <a:pt x="1226820" y="84773"/>
                  </a:lnTo>
                  <a:lnTo>
                    <a:pt x="1231582" y="87630"/>
                  </a:lnTo>
                  <a:lnTo>
                    <a:pt x="1235393" y="87630"/>
                  </a:lnTo>
                  <a:lnTo>
                    <a:pt x="1242060" y="86678"/>
                  </a:lnTo>
                  <a:lnTo>
                    <a:pt x="1248727" y="83820"/>
                  </a:lnTo>
                  <a:lnTo>
                    <a:pt x="1259205" y="72390"/>
                  </a:lnTo>
                  <a:lnTo>
                    <a:pt x="1263015" y="67628"/>
                  </a:lnTo>
                  <a:lnTo>
                    <a:pt x="1265873" y="61913"/>
                  </a:lnTo>
                  <a:lnTo>
                    <a:pt x="1266825" y="59055"/>
                  </a:lnTo>
                  <a:lnTo>
                    <a:pt x="1266825" y="53340"/>
                  </a:lnTo>
                  <a:lnTo>
                    <a:pt x="1264920" y="48578"/>
                  </a:lnTo>
                  <a:lnTo>
                    <a:pt x="1257300" y="38100"/>
                  </a:lnTo>
                  <a:lnTo>
                    <a:pt x="1255395" y="34290"/>
                  </a:lnTo>
                  <a:lnTo>
                    <a:pt x="1255395" y="28575"/>
                  </a:lnTo>
                  <a:lnTo>
                    <a:pt x="1256348" y="21908"/>
                  </a:lnTo>
                  <a:lnTo>
                    <a:pt x="1258252" y="18098"/>
                  </a:lnTo>
                  <a:lnTo>
                    <a:pt x="1261110" y="13335"/>
                  </a:lnTo>
                  <a:lnTo>
                    <a:pt x="1266825" y="6667"/>
                  </a:lnTo>
                  <a:lnTo>
                    <a:pt x="1268730" y="3810"/>
                  </a:lnTo>
                  <a:lnTo>
                    <a:pt x="1271588" y="1905"/>
                  </a:lnTo>
                  <a:lnTo>
                    <a:pt x="1276350" y="0"/>
                  </a:lnTo>
                  <a:lnTo>
                    <a:pt x="1279207" y="0"/>
                  </a:lnTo>
                  <a:lnTo>
                    <a:pt x="1285875" y="0"/>
                  </a:lnTo>
                  <a:lnTo>
                    <a:pt x="1289685" y="1905"/>
                  </a:lnTo>
                  <a:lnTo>
                    <a:pt x="1294448" y="4763"/>
                  </a:lnTo>
                  <a:lnTo>
                    <a:pt x="1299210" y="7620"/>
                  </a:lnTo>
                  <a:lnTo>
                    <a:pt x="1305877" y="1047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F42D453E-8EFC-5E50-B6CB-58A20237159B}"/>
                </a:ext>
              </a:extLst>
            </p:cNvPr>
            <p:cNvSpPr/>
            <p:nvPr/>
          </p:nvSpPr>
          <p:spPr>
            <a:xfrm>
              <a:off x="5353050" y="2843213"/>
              <a:ext cx="2200275" cy="1200150"/>
            </a:xfrm>
            <a:custGeom>
              <a:avLst/>
              <a:gdLst>
                <a:gd name="connsiteX0" fmla="*/ 2205038 w 2200275"/>
                <a:gd name="connsiteY0" fmla="*/ 319088 h 1200150"/>
                <a:gd name="connsiteX1" fmla="*/ 2191702 w 2200275"/>
                <a:gd name="connsiteY1" fmla="*/ 340043 h 1200150"/>
                <a:gd name="connsiteX2" fmla="*/ 2188845 w 2200275"/>
                <a:gd name="connsiteY2" fmla="*/ 349568 h 1200150"/>
                <a:gd name="connsiteX3" fmla="*/ 2187893 w 2200275"/>
                <a:gd name="connsiteY3" fmla="*/ 353378 h 1200150"/>
                <a:gd name="connsiteX4" fmla="*/ 2186940 w 2200275"/>
                <a:gd name="connsiteY4" fmla="*/ 356235 h 1200150"/>
                <a:gd name="connsiteX5" fmla="*/ 2185035 w 2200275"/>
                <a:gd name="connsiteY5" fmla="*/ 360045 h 1200150"/>
                <a:gd name="connsiteX6" fmla="*/ 2180273 w 2200275"/>
                <a:gd name="connsiteY6" fmla="*/ 363855 h 1200150"/>
                <a:gd name="connsiteX7" fmla="*/ 2176463 w 2200275"/>
                <a:gd name="connsiteY7" fmla="*/ 370522 h 1200150"/>
                <a:gd name="connsiteX8" fmla="*/ 2173605 w 2200275"/>
                <a:gd name="connsiteY8" fmla="*/ 374332 h 1200150"/>
                <a:gd name="connsiteX9" fmla="*/ 2168843 w 2200275"/>
                <a:gd name="connsiteY9" fmla="*/ 377190 h 1200150"/>
                <a:gd name="connsiteX10" fmla="*/ 2165033 w 2200275"/>
                <a:gd name="connsiteY10" fmla="*/ 383857 h 1200150"/>
                <a:gd name="connsiteX11" fmla="*/ 2161223 w 2200275"/>
                <a:gd name="connsiteY11" fmla="*/ 397193 h 1200150"/>
                <a:gd name="connsiteX12" fmla="*/ 2158365 w 2200275"/>
                <a:gd name="connsiteY12" fmla="*/ 401955 h 1200150"/>
                <a:gd name="connsiteX13" fmla="*/ 2155508 w 2200275"/>
                <a:gd name="connsiteY13" fmla="*/ 403860 h 1200150"/>
                <a:gd name="connsiteX14" fmla="*/ 2152650 w 2200275"/>
                <a:gd name="connsiteY14" fmla="*/ 404813 h 1200150"/>
                <a:gd name="connsiteX15" fmla="*/ 2147888 w 2200275"/>
                <a:gd name="connsiteY15" fmla="*/ 401955 h 1200150"/>
                <a:gd name="connsiteX16" fmla="*/ 2147888 w 2200275"/>
                <a:gd name="connsiteY16" fmla="*/ 394335 h 1200150"/>
                <a:gd name="connsiteX17" fmla="*/ 2145030 w 2200275"/>
                <a:gd name="connsiteY17" fmla="*/ 388620 h 1200150"/>
                <a:gd name="connsiteX18" fmla="*/ 2145030 w 2200275"/>
                <a:gd name="connsiteY18" fmla="*/ 386715 h 1200150"/>
                <a:gd name="connsiteX19" fmla="*/ 2144077 w 2200275"/>
                <a:gd name="connsiteY19" fmla="*/ 377190 h 1200150"/>
                <a:gd name="connsiteX20" fmla="*/ 2143125 w 2200275"/>
                <a:gd name="connsiteY20" fmla="*/ 375285 h 1200150"/>
                <a:gd name="connsiteX21" fmla="*/ 2141220 w 2200275"/>
                <a:gd name="connsiteY21" fmla="*/ 375285 h 1200150"/>
                <a:gd name="connsiteX22" fmla="*/ 2139315 w 2200275"/>
                <a:gd name="connsiteY22" fmla="*/ 378143 h 1200150"/>
                <a:gd name="connsiteX23" fmla="*/ 2135505 w 2200275"/>
                <a:gd name="connsiteY23" fmla="*/ 383857 h 1200150"/>
                <a:gd name="connsiteX24" fmla="*/ 2132648 w 2200275"/>
                <a:gd name="connsiteY24" fmla="*/ 387668 h 1200150"/>
                <a:gd name="connsiteX25" fmla="*/ 2128838 w 2200275"/>
                <a:gd name="connsiteY25" fmla="*/ 388620 h 1200150"/>
                <a:gd name="connsiteX26" fmla="*/ 2127885 w 2200275"/>
                <a:gd name="connsiteY26" fmla="*/ 386715 h 1200150"/>
                <a:gd name="connsiteX27" fmla="*/ 2126933 w 2200275"/>
                <a:gd name="connsiteY27" fmla="*/ 383857 h 1200150"/>
                <a:gd name="connsiteX28" fmla="*/ 2128838 w 2200275"/>
                <a:gd name="connsiteY28" fmla="*/ 373380 h 1200150"/>
                <a:gd name="connsiteX29" fmla="*/ 2128838 w 2200275"/>
                <a:gd name="connsiteY29" fmla="*/ 370522 h 1200150"/>
                <a:gd name="connsiteX30" fmla="*/ 2126933 w 2200275"/>
                <a:gd name="connsiteY30" fmla="*/ 368618 h 1200150"/>
                <a:gd name="connsiteX31" fmla="*/ 2125027 w 2200275"/>
                <a:gd name="connsiteY31" fmla="*/ 366713 h 1200150"/>
                <a:gd name="connsiteX32" fmla="*/ 2118360 w 2200275"/>
                <a:gd name="connsiteY32" fmla="*/ 365760 h 1200150"/>
                <a:gd name="connsiteX33" fmla="*/ 2115502 w 2200275"/>
                <a:gd name="connsiteY33" fmla="*/ 365760 h 1200150"/>
                <a:gd name="connsiteX34" fmla="*/ 2110740 w 2200275"/>
                <a:gd name="connsiteY34" fmla="*/ 369570 h 1200150"/>
                <a:gd name="connsiteX35" fmla="*/ 2101215 w 2200275"/>
                <a:gd name="connsiteY35" fmla="*/ 382905 h 1200150"/>
                <a:gd name="connsiteX36" fmla="*/ 2097405 w 2200275"/>
                <a:gd name="connsiteY36" fmla="*/ 384810 h 1200150"/>
                <a:gd name="connsiteX37" fmla="*/ 2094548 w 2200275"/>
                <a:gd name="connsiteY37" fmla="*/ 385763 h 1200150"/>
                <a:gd name="connsiteX38" fmla="*/ 2091690 w 2200275"/>
                <a:gd name="connsiteY38" fmla="*/ 385763 h 1200150"/>
                <a:gd name="connsiteX39" fmla="*/ 2088832 w 2200275"/>
                <a:gd name="connsiteY39" fmla="*/ 383857 h 1200150"/>
                <a:gd name="connsiteX40" fmla="*/ 2086927 w 2200275"/>
                <a:gd name="connsiteY40" fmla="*/ 381953 h 1200150"/>
                <a:gd name="connsiteX41" fmla="*/ 2085975 w 2200275"/>
                <a:gd name="connsiteY41" fmla="*/ 380047 h 1200150"/>
                <a:gd name="connsiteX42" fmla="*/ 2084070 w 2200275"/>
                <a:gd name="connsiteY42" fmla="*/ 371475 h 1200150"/>
                <a:gd name="connsiteX43" fmla="*/ 2082165 w 2200275"/>
                <a:gd name="connsiteY43" fmla="*/ 369570 h 1200150"/>
                <a:gd name="connsiteX44" fmla="*/ 2080260 w 2200275"/>
                <a:gd name="connsiteY44" fmla="*/ 367665 h 1200150"/>
                <a:gd name="connsiteX45" fmla="*/ 2074545 w 2200275"/>
                <a:gd name="connsiteY45" fmla="*/ 365760 h 1200150"/>
                <a:gd name="connsiteX46" fmla="*/ 2070735 w 2200275"/>
                <a:gd name="connsiteY46" fmla="*/ 365760 h 1200150"/>
                <a:gd name="connsiteX47" fmla="*/ 2067877 w 2200275"/>
                <a:gd name="connsiteY47" fmla="*/ 366713 h 1200150"/>
                <a:gd name="connsiteX48" fmla="*/ 2046923 w 2200275"/>
                <a:gd name="connsiteY48" fmla="*/ 384810 h 1200150"/>
                <a:gd name="connsiteX49" fmla="*/ 2044065 w 2200275"/>
                <a:gd name="connsiteY49" fmla="*/ 384810 h 1200150"/>
                <a:gd name="connsiteX50" fmla="*/ 2040255 w 2200275"/>
                <a:gd name="connsiteY50" fmla="*/ 384810 h 1200150"/>
                <a:gd name="connsiteX51" fmla="*/ 2038350 w 2200275"/>
                <a:gd name="connsiteY51" fmla="*/ 382905 h 1200150"/>
                <a:gd name="connsiteX52" fmla="*/ 2035493 w 2200275"/>
                <a:gd name="connsiteY52" fmla="*/ 378143 h 1200150"/>
                <a:gd name="connsiteX53" fmla="*/ 2033588 w 2200275"/>
                <a:gd name="connsiteY53" fmla="*/ 376238 h 1200150"/>
                <a:gd name="connsiteX54" fmla="*/ 2031682 w 2200275"/>
                <a:gd name="connsiteY54" fmla="*/ 376238 h 1200150"/>
                <a:gd name="connsiteX55" fmla="*/ 2028825 w 2200275"/>
                <a:gd name="connsiteY55" fmla="*/ 376238 h 1200150"/>
                <a:gd name="connsiteX56" fmla="*/ 2025968 w 2200275"/>
                <a:gd name="connsiteY56" fmla="*/ 378143 h 1200150"/>
                <a:gd name="connsiteX57" fmla="*/ 2022157 w 2200275"/>
                <a:gd name="connsiteY57" fmla="*/ 381953 h 1200150"/>
                <a:gd name="connsiteX58" fmla="*/ 2014538 w 2200275"/>
                <a:gd name="connsiteY58" fmla="*/ 394335 h 1200150"/>
                <a:gd name="connsiteX59" fmla="*/ 2013585 w 2200275"/>
                <a:gd name="connsiteY59" fmla="*/ 399097 h 1200150"/>
                <a:gd name="connsiteX60" fmla="*/ 2016443 w 2200275"/>
                <a:gd name="connsiteY60" fmla="*/ 407670 h 1200150"/>
                <a:gd name="connsiteX61" fmla="*/ 2019300 w 2200275"/>
                <a:gd name="connsiteY61" fmla="*/ 411480 h 1200150"/>
                <a:gd name="connsiteX62" fmla="*/ 2021205 w 2200275"/>
                <a:gd name="connsiteY62" fmla="*/ 413385 h 1200150"/>
                <a:gd name="connsiteX63" fmla="*/ 2025968 w 2200275"/>
                <a:gd name="connsiteY63" fmla="*/ 416243 h 1200150"/>
                <a:gd name="connsiteX64" fmla="*/ 2027873 w 2200275"/>
                <a:gd name="connsiteY64" fmla="*/ 418147 h 1200150"/>
                <a:gd name="connsiteX65" fmla="*/ 2029777 w 2200275"/>
                <a:gd name="connsiteY65" fmla="*/ 422910 h 1200150"/>
                <a:gd name="connsiteX66" fmla="*/ 2032635 w 2200275"/>
                <a:gd name="connsiteY66" fmla="*/ 430530 h 1200150"/>
                <a:gd name="connsiteX67" fmla="*/ 2036445 w 2200275"/>
                <a:gd name="connsiteY67" fmla="*/ 434340 h 1200150"/>
                <a:gd name="connsiteX68" fmla="*/ 2038350 w 2200275"/>
                <a:gd name="connsiteY68" fmla="*/ 435293 h 1200150"/>
                <a:gd name="connsiteX69" fmla="*/ 2067877 w 2200275"/>
                <a:gd name="connsiteY69" fmla="*/ 441007 h 1200150"/>
                <a:gd name="connsiteX70" fmla="*/ 2070735 w 2200275"/>
                <a:gd name="connsiteY70" fmla="*/ 441960 h 1200150"/>
                <a:gd name="connsiteX71" fmla="*/ 2082165 w 2200275"/>
                <a:gd name="connsiteY71" fmla="*/ 450532 h 1200150"/>
                <a:gd name="connsiteX72" fmla="*/ 2087880 w 2200275"/>
                <a:gd name="connsiteY72" fmla="*/ 451485 h 1200150"/>
                <a:gd name="connsiteX73" fmla="*/ 2119313 w 2200275"/>
                <a:gd name="connsiteY73" fmla="*/ 453390 h 1200150"/>
                <a:gd name="connsiteX74" fmla="*/ 2121218 w 2200275"/>
                <a:gd name="connsiteY74" fmla="*/ 455295 h 1200150"/>
                <a:gd name="connsiteX75" fmla="*/ 2124075 w 2200275"/>
                <a:gd name="connsiteY75" fmla="*/ 460057 h 1200150"/>
                <a:gd name="connsiteX76" fmla="*/ 2125027 w 2200275"/>
                <a:gd name="connsiteY76" fmla="*/ 465772 h 1200150"/>
                <a:gd name="connsiteX77" fmla="*/ 2125980 w 2200275"/>
                <a:gd name="connsiteY77" fmla="*/ 467678 h 1200150"/>
                <a:gd name="connsiteX78" fmla="*/ 2128838 w 2200275"/>
                <a:gd name="connsiteY78" fmla="*/ 468630 h 1200150"/>
                <a:gd name="connsiteX79" fmla="*/ 2149793 w 2200275"/>
                <a:gd name="connsiteY79" fmla="*/ 473393 h 1200150"/>
                <a:gd name="connsiteX80" fmla="*/ 2152650 w 2200275"/>
                <a:gd name="connsiteY80" fmla="*/ 475297 h 1200150"/>
                <a:gd name="connsiteX81" fmla="*/ 2153602 w 2200275"/>
                <a:gd name="connsiteY81" fmla="*/ 477203 h 1200150"/>
                <a:gd name="connsiteX82" fmla="*/ 2152650 w 2200275"/>
                <a:gd name="connsiteY82" fmla="*/ 480060 h 1200150"/>
                <a:gd name="connsiteX83" fmla="*/ 2148840 w 2200275"/>
                <a:gd name="connsiteY83" fmla="*/ 483870 h 1200150"/>
                <a:gd name="connsiteX84" fmla="*/ 2142173 w 2200275"/>
                <a:gd name="connsiteY84" fmla="*/ 489585 h 1200150"/>
                <a:gd name="connsiteX85" fmla="*/ 2137410 w 2200275"/>
                <a:gd name="connsiteY85" fmla="*/ 491490 h 1200150"/>
                <a:gd name="connsiteX86" fmla="*/ 2133600 w 2200275"/>
                <a:gd name="connsiteY86" fmla="*/ 492443 h 1200150"/>
                <a:gd name="connsiteX87" fmla="*/ 2127885 w 2200275"/>
                <a:gd name="connsiteY87" fmla="*/ 493395 h 1200150"/>
                <a:gd name="connsiteX88" fmla="*/ 2125027 w 2200275"/>
                <a:gd name="connsiteY88" fmla="*/ 495300 h 1200150"/>
                <a:gd name="connsiteX89" fmla="*/ 2105977 w 2200275"/>
                <a:gd name="connsiteY89" fmla="*/ 515303 h 1200150"/>
                <a:gd name="connsiteX90" fmla="*/ 2101215 w 2200275"/>
                <a:gd name="connsiteY90" fmla="*/ 518160 h 1200150"/>
                <a:gd name="connsiteX91" fmla="*/ 2045970 w 2200275"/>
                <a:gd name="connsiteY91" fmla="*/ 545782 h 1200150"/>
                <a:gd name="connsiteX92" fmla="*/ 2041207 w 2200275"/>
                <a:gd name="connsiteY92" fmla="*/ 548640 h 1200150"/>
                <a:gd name="connsiteX93" fmla="*/ 2026920 w 2200275"/>
                <a:gd name="connsiteY93" fmla="*/ 563880 h 1200150"/>
                <a:gd name="connsiteX94" fmla="*/ 2023110 w 2200275"/>
                <a:gd name="connsiteY94" fmla="*/ 565785 h 1200150"/>
                <a:gd name="connsiteX95" fmla="*/ 2020252 w 2200275"/>
                <a:gd name="connsiteY95" fmla="*/ 565785 h 1200150"/>
                <a:gd name="connsiteX96" fmla="*/ 2019300 w 2200275"/>
                <a:gd name="connsiteY96" fmla="*/ 561975 h 1200150"/>
                <a:gd name="connsiteX97" fmla="*/ 2017395 w 2200275"/>
                <a:gd name="connsiteY97" fmla="*/ 561022 h 1200150"/>
                <a:gd name="connsiteX98" fmla="*/ 1972627 w 2200275"/>
                <a:gd name="connsiteY98" fmla="*/ 579120 h 1200150"/>
                <a:gd name="connsiteX99" fmla="*/ 1957388 w 2200275"/>
                <a:gd name="connsiteY99" fmla="*/ 588645 h 1200150"/>
                <a:gd name="connsiteX100" fmla="*/ 1955482 w 2200275"/>
                <a:gd name="connsiteY100" fmla="*/ 591503 h 1200150"/>
                <a:gd name="connsiteX101" fmla="*/ 1953577 w 2200275"/>
                <a:gd name="connsiteY101" fmla="*/ 594360 h 1200150"/>
                <a:gd name="connsiteX102" fmla="*/ 1953577 w 2200275"/>
                <a:gd name="connsiteY102" fmla="*/ 601028 h 1200150"/>
                <a:gd name="connsiteX103" fmla="*/ 1954530 w 2200275"/>
                <a:gd name="connsiteY103" fmla="*/ 607695 h 1200150"/>
                <a:gd name="connsiteX104" fmla="*/ 1955482 w 2200275"/>
                <a:gd name="connsiteY104" fmla="*/ 611505 h 1200150"/>
                <a:gd name="connsiteX105" fmla="*/ 1957388 w 2200275"/>
                <a:gd name="connsiteY105" fmla="*/ 612457 h 1200150"/>
                <a:gd name="connsiteX106" fmla="*/ 1962150 w 2200275"/>
                <a:gd name="connsiteY106" fmla="*/ 612457 h 1200150"/>
                <a:gd name="connsiteX107" fmla="*/ 1964055 w 2200275"/>
                <a:gd name="connsiteY107" fmla="*/ 613410 h 1200150"/>
                <a:gd name="connsiteX108" fmla="*/ 1964055 w 2200275"/>
                <a:gd name="connsiteY108" fmla="*/ 615315 h 1200150"/>
                <a:gd name="connsiteX109" fmla="*/ 1963102 w 2200275"/>
                <a:gd name="connsiteY109" fmla="*/ 621030 h 1200150"/>
                <a:gd name="connsiteX110" fmla="*/ 1963102 w 2200275"/>
                <a:gd name="connsiteY110" fmla="*/ 624840 h 1200150"/>
                <a:gd name="connsiteX111" fmla="*/ 1965007 w 2200275"/>
                <a:gd name="connsiteY111" fmla="*/ 629603 h 1200150"/>
                <a:gd name="connsiteX112" fmla="*/ 1976438 w 2200275"/>
                <a:gd name="connsiteY112" fmla="*/ 656272 h 1200150"/>
                <a:gd name="connsiteX113" fmla="*/ 1976438 w 2200275"/>
                <a:gd name="connsiteY113" fmla="*/ 659130 h 1200150"/>
                <a:gd name="connsiteX114" fmla="*/ 1975485 w 2200275"/>
                <a:gd name="connsiteY114" fmla="*/ 661988 h 1200150"/>
                <a:gd name="connsiteX115" fmla="*/ 1971675 w 2200275"/>
                <a:gd name="connsiteY115" fmla="*/ 664845 h 1200150"/>
                <a:gd name="connsiteX116" fmla="*/ 1969770 w 2200275"/>
                <a:gd name="connsiteY116" fmla="*/ 667703 h 1200150"/>
                <a:gd name="connsiteX117" fmla="*/ 1968818 w 2200275"/>
                <a:gd name="connsiteY117" fmla="*/ 672465 h 1200150"/>
                <a:gd name="connsiteX118" fmla="*/ 1969770 w 2200275"/>
                <a:gd name="connsiteY118" fmla="*/ 679132 h 1200150"/>
                <a:gd name="connsiteX119" fmla="*/ 1970723 w 2200275"/>
                <a:gd name="connsiteY119" fmla="*/ 681990 h 1200150"/>
                <a:gd name="connsiteX120" fmla="*/ 1972627 w 2200275"/>
                <a:gd name="connsiteY120" fmla="*/ 682943 h 1200150"/>
                <a:gd name="connsiteX121" fmla="*/ 1977390 w 2200275"/>
                <a:gd name="connsiteY121" fmla="*/ 685800 h 1200150"/>
                <a:gd name="connsiteX122" fmla="*/ 1978343 w 2200275"/>
                <a:gd name="connsiteY122" fmla="*/ 690563 h 1200150"/>
                <a:gd name="connsiteX123" fmla="*/ 1978343 w 2200275"/>
                <a:gd name="connsiteY123" fmla="*/ 697230 h 1200150"/>
                <a:gd name="connsiteX124" fmla="*/ 1982152 w 2200275"/>
                <a:gd name="connsiteY124" fmla="*/ 713422 h 1200150"/>
                <a:gd name="connsiteX125" fmla="*/ 1983105 w 2200275"/>
                <a:gd name="connsiteY125" fmla="*/ 754380 h 1200150"/>
                <a:gd name="connsiteX126" fmla="*/ 1984057 w 2200275"/>
                <a:gd name="connsiteY126" fmla="*/ 761047 h 1200150"/>
                <a:gd name="connsiteX127" fmla="*/ 1985963 w 2200275"/>
                <a:gd name="connsiteY127" fmla="*/ 764857 h 1200150"/>
                <a:gd name="connsiteX128" fmla="*/ 1987868 w 2200275"/>
                <a:gd name="connsiteY128" fmla="*/ 766763 h 1200150"/>
                <a:gd name="connsiteX129" fmla="*/ 1994535 w 2200275"/>
                <a:gd name="connsiteY129" fmla="*/ 768668 h 1200150"/>
                <a:gd name="connsiteX130" fmla="*/ 1996440 w 2200275"/>
                <a:gd name="connsiteY130" fmla="*/ 770572 h 1200150"/>
                <a:gd name="connsiteX131" fmla="*/ 1997393 w 2200275"/>
                <a:gd name="connsiteY131" fmla="*/ 772478 h 1200150"/>
                <a:gd name="connsiteX132" fmla="*/ 1998345 w 2200275"/>
                <a:gd name="connsiteY132" fmla="*/ 778193 h 1200150"/>
                <a:gd name="connsiteX133" fmla="*/ 1992630 w 2200275"/>
                <a:gd name="connsiteY133" fmla="*/ 815340 h 1200150"/>
                <a:gd name="connsiteX134" fmla="*/ 1991677 w 2200275"/>
                <a:gd name="connsiteY134" fmla="*/ 819150 h 1200150"/>
                <a:gd name="connsiteX135" fmla="*/ 1988820 w 2200275"/>
                <a:gd name="connsiteY135" fmla="*/ 822007 h 1200150"/>
                <a:gd name="connsiteX136" fmla="*/ 1982152 w 2200275"/>
                <a:gd name="connsiteY136" fmla="*/ 823913 h 1200150"/>
                <a:gd name="connsiteX137" fmla="*/ 1978343 w 2200275"/>
                <a:gd name="connsiteY137" fmla="*/ 824865 h 1200150"/>
                <a:gd name="connsiteX138" fmla="*/ 1974532 w 2200275"/>
                <a:gd name="connsiteY138" fmla="*/ 824865 h 1200150"/>
                <a:gd name="connsiteX139" fmla="*/ 1971675 w 2200275"/>
                <a:gd name="connsiteY139" fmla="*/ 825818 h 1200150"/>
                <a:gd name="connsiteX140" fmla="*/ 1968818 w 2200275"/>
                <a:gd name="connsiteY140" fmla="*/ 827722 h 1200150"/>
                <a:gd name="connsiteX141" fmla="*/ 1963102 w 2200275"/>
                <a:gd name="connsiteY141" fmla="*/ 839153 h 1200150"/>
                <a:gd name="connsiteX142" fmla="*/ 1961198 w 2200275"/>
                <a:gd name="connsiteY142" fmla="*/ 841057 h 1200150"/>
                <a:gd name="connsiteX143" fmla="*/ 1940243 w 2200275"/>
                <a:gd name="connsiteY143" fmla="*/ 861060 h 1200150"/>
                <a:gd name="connsiteX144" fmla="*/ 1935480 w 2200275"/>
                <a:gd name="connsiteY144" fmla="*/ 866775 h 1200150"/>
                <a:gd name="connsiteX145" fmla="*/ 1932623 w 2200275"/>
                <a:gd name="connsiteY145" fmla="*/ 869632 h 1200150"/>
                <a:gd name="connsiteX146" fmla="*/ 1929765 w 2200275"/>
                <a:gd name="connsiteY146" fmla="*/ 870585 h 1200150"/>
                <a:gd name="connsiteX147" fmla="*/ 1923098 w 2200275"/>
                <a:gd name="connsiteY147" fmla="*/ 871538 h 1200150"/>
                <a:gd name="connsiteX148" fmla="*/ 1917382 w 2200275"/>
                <a:gd name="connsiteY148" fmla="*/ 871538 h 1200150"/>
                <a:gd name="connsiteX149" fmla="*/ 1913573 w 2200275"/>
                <a:gd name="connsiteY149" fmla="*/ 867728 h 1200150"/>
                <a:gd name="connsiteX150" fmla="*/ 1908810 w 2200275"/>
                <a:gd name="connsiteY150" fmla="*/ 862013 h 1200150"/>
                <a:gd name="connsiteX151" fmla="*/ 1906905 w 2200275"/>
                <a:gd name="connsiteY151" fmla="*/ 861060 h 1200150"/>
                <a:gd name="connsiteX152" fmla="*/ 1904048 w 2200275"/>
                <a:gd name="connsiteY152" fmla="*/ 861060 h 1200150"/>
                <a:gd name="connsiteX153" fmla="*/ 1902143 w 2200275"/>
                <a:gd name="connsiteY153" fmla="*/ 862965 h 1200150"/>
                <a:gd name="connsiteX154" fmla="*/ 1900238 w 2200275"/>
                <a:gd name="connsiteY154" fmla="*/ 867728 h 1200150"/>
                <a:gd name="connsiteX155" fmla="*/ 1897380 w 2200275"/>
                <a:gd name="connsiteY155" fmla="*/ 872490 h 1200150"/>
                <a:gd name="connsiteX156" fmla="*/ 1875473 w 2200275"/>
                <a:gd name="connsiteY156" fmla="*/ 896303 h 1200150"/>
                <a:gd name="connsiteX157" fmla="*/ 1874520 w 2200275"/>
                <a:gd name="connsiteY157" fmla="*/ 899160 h 1200150"/>
                <a:gd name="connsiteX158" fmla="*/ 1869757 w 2200275"/>
                <a:gd name="connsiteY158" fmla="*/ 910590 h 1200150"/>
                <a:gd name="connsiteX159" fmla="*/ 1865948 w 2200275"/>
                <a:gd name="connsiteY159" fmla="*/ 922972 h 1200150"/>
                <a:gd name="connsiteX160" fmla="*/ 1864043 w 2200275"/>
                <a:gd name="connsiteY160" fmla="*/ 924878 h 1200150"/>
                <a:gd name="connsiteX161" fmla="*/ 1862138 w 2200275"/>
                <a:gd name="connsiteY161" fmla="*/ 926782 h 1200150"/>
                <a:gd name="connsiteX162" fmla="*/ 1859280 w 2200275"/>
                <a:gd name="connsiteY162" fmla="*/ 924878 h 1200150"/>
                <a:gd name="connsiteX163" fmla="*/ 1857375 w 2200275"/>
                <a:gd name="connsiteY163" fmla="*/ 922972 h 1200150"/>
                <a:gd name="connsiteX164" fmla="*/ 1856423 w 2200275"/>
                <a:gd name="connsiteY164" fmla="*/ 920115 h 1200150"/>
                <a:gd name="connsiteX165" fmla="*/ 1854518 w 2200275"/>
                <a:gd name="connsiteY165" fmla="*/ 912495 h 1200150"/>
                <a:gd name="connsiteX166" fmla="*/ 1854518 w 2200275"/>
                <a:gd name="connsiteY166" fmla="*/ 906780 h 1200150"/>
                <a:gd name="connsiteX167" fmla="*/ 1855470 w 2200275"/>
                <a:gd name="connsiteY167" fmla="*/ 903922 h 1200150"/>
                <a:gd name="connsiteX168" fmla="*/ 1858327 w 2200275"/>
                <a:gd name="connsiteY168" fmla="*/ 897255 h 1200150"/>
                <a:gd name="connsiteX169" fmla="*/ 1858327 w 2200275"/>
                <a:gd name="connsiteY169" fmla="*/ 895350 h 1200150"/>
                <a:gd name="connsiteX170" fmla="*/ 1854518 w 2200275"/>
                <a:gd name="connsiteY170" fmla="*/ 873443 h 1200150"/>
                <a:gd name="connsiteX171" fmla="*/ 1852613 w 2200275"/>
                <a:gd name="connsiteY171" fmla="*/ 869632 h 1200150"/>
                <a:gd name="connsiteX172" fmla="*/ 1850707 w 2200275"/>
                <a:gd name="connsiteY172" fmla="*/ 869632 h 1200150"/>
                <a:gd name="connsiteX173" fmla="*/ 1847850 w 2200275"/>
                <a:gd name="connsiteY173" fmla="*/ 870585 h 1200150"/>
                <a:gd name="connsiteX174" fmla="*/ 1845945 w 2200275"/>
                <a:gd name="connsiteY174" fmla="*/ 872490 h 1200150"/>
                <a:gd name="connsiteX175" fmla="*/ 1843088 w 2200275"/>
                <a:gd name="connsiteY175" fmla="*/ 886778 h 1200150"/>
                <a:gd name="connsiteX176" fmla="*/ 1841182 w 2200275"/>
                <a:gd name="connsiteY176" fmla="*/ 896303 h 1200150"/>
                <a:gd name="connsiteX177" fmla="*/ 1839277 w 2200275"/>
                <a:gd name="connsiteY177" fmla="*/ 902970 h 1200150"/>
                <a:gd name="connsiteX178" fmla="*/ 1840230 w 2200275"/>
                <a:gd name="connsiteY178" fmla="*/ 908685 h 1200150"/>
                <a:gd name="connsiteX179" fmla="*/ 1840230 w 2200275"/>
                <a:gd name="connsiteY179" fmla="*/ 914400 h 1200150"/>
                <a:gd name="connsiteX180" fmla="*/ 1841182 w 2200275"/>
                <a:gd name="connsiteY180" fmla="*/ 920115 h 1200150"/>
                <a:gd name="connsiteX181" fmla="*/ 1840230 w 2200275"/>
                <a:gd name="connsiteY181" fmla="*/ 926782 h 1200150"/>
                <a:gd name="connsiteX182" fmla="*/ 1837373 w 2200275"/>
                <a:gd name="connsiteY182" fmla="*/ 936307 h 1200150"/>
                <a:gd name="connsiteX183" fmla="*/ 1835468 w 2200275"/>
                <a:gd name="connsiteY183" fmla="*/ 939165 h 1200150"/>
                <a:gd name="connsiteX184" fmla="*/ 1831657 w 2200275"/>
                <a:gd name="connsiteY184" fmla="*/ 941070 h 1200150"/>
                <a:gd name="connsiteX185" fmla="*/ 1819275 w 2200275"/>
                <a:gd name="connsiteY185" fmla="*/ 944880 h 1200150"/>
                <a:gd name="connsiteX186" fmla="*/ 1799273 w 2200275"/>
                <a:gd name="connsiteY186" fmla="*/ 942975 h 1200150"/>
                <a:gd name="connsiteX187" fmla="*/ 1795463 w 2200275"/>
                <a:gd name="connsiteY187" fmla="*/ 943928 h 1200150"/>
                <a:gd name="connsiteX188" fmla="*/ 1791652 w 2200275"/>
                <a:gd name="connsiteY188" fmla="*/ 946785 h 1200150"/>
                <a:gd name="connsiteX189" fmla="*/ 1784032 w 2200275"/>
                <a:gd name="connsiteY189" fmla="*/ 952500 h 1200150"/>
                <a:gd name="connsiteX190" fmla="*/ 1779270 w 2200275"/>
                <a:gd name="connsiteY190" fmla="*/ 957263 h 1200150"/>
                <a:gd name="connsiteX191" fmla="*/ 1775460 w 2200275"/>
                <a:gd name="connsiteY191" fmla="*/ 962025 h 1200150"/>
                <a:gd name="connsiteX192" fmla="*/ 1770698 w 2200275"/>
                <a:gd name="connsiteY192" fmla="*/ 971550 h 1200150"/>
                <a:gd name="connsiteX193" fmla="*/ 1766888 w 2200275"/>
                <a:gd name="connsiteY193" fmla="*/ 977265 h 1200150"/>
                <a:gd name="connsiteX194" fmla="*/ 1761173 w 2200275"/>
                <a:gd name="connsiteY194" fmla="*/ 981075 h 1200150"/>
                <a:gd name="connsiteX195" fmla="*/ 1756410 w 2200275"/>
                <a:gd name="connsiteY195" fmla="*/ 982028 h 1200150"/>
                <a:gd name="connsiteX196" fmla="*/ 1752600 w 2200275"/>
                <a:gd name="connsiteY196" fmla="*/ 984885 h 1200150"/>
                <a:gd name="connsiteX197" fmla="*/ 1750695 w 2200275"/>
                <a:gd name="connsiteY197" fmla="*/ 986790 h 1200150"/>
                <a:gd name="connsiteX198" fmla="*/ 1744980 w 2200275"/>
                <a:gd name="connsiteY198" fmla="*/ 1007745 h 1200150"/>
                <a:gd name="connsiteX199" fmla="*/ 1739265 w 2200275"/>
                <a:gd name="connsiteY199" fmla="*/ 1034415 h 1200150"/>
                <a:gd name="connsiteX200" fmla="*/ 1730693 w 2200275"/>
                <a:gd name="connsiteY200" fmla="*/ 1027747 h 1200150"/>
                <a:gd name="connsiteX201" fmla="*/ 1728788 w 2200275"/>
                <a:gd name="connsiteY201" fmla="*/ 1025843 h 1200150"/>
                <a:gd name="connsiteX202" fmla="*/ 1728788 w 2200275"/>
                <a:gd name="connsiteY202" fmla="*/ 1022985 h 1200150"/>
                <a:gd name="connsiteX203" fmla="*/ 1728788 w 2200275"/>
                <a:gd name="connsiteY203" fmla="*/ 1013460 h 1200150"/>
                <a:gd name="connsiteX204" fmla="*/ 1727835 w 2200275"/>
                <a:gd name="connsiteY204" fmla="*/ 1008697 h 1200150"/>
                <a:gd name="connsiteX205" fmla="*/ 1725930 w 2200275"/>
                <a:gd name="connsiteY205" fmla="*/ 1004888 h 1200150"/>
                <a:gd name="connsiteX206" fmla="*/ 1716405 w 2200275"/>
                <a:gd name="connsiteY206" fmla="*/ 993457 h 1200150"/>
                <a:gd name="connsiteX207" fmla="*/ 1714500 w 2200275"/>
                <a:gd name="connsiteY207" fmla="*/ 989647 h 1200150"/>
                <a:gd name="connsiteX208" fmla="*/ 1712595 w 2200275"/>
                <a:gd name="connsiteY208" fmla="*/ 983932 h 1200150"/>
                <a:gd name="connsiteX209" fmla="*/ 1711643 w 2200275"/>
                <a:gd name="connsiteY209" fmla="*/ 979170 h 1200150"/>
                <a:gd name="connsiteX210" fmla="*/ 1709738 w 2200275"/>
                <a:gd name="connsiteY210" fmla="*/ 973455 h 1200150"/>
                <a:gd name="connsiteX211" fmla="*/ 1707832 w 2200275"/>
                <a:gd name="connsiteY211" fmla="*/ 972503 h 1200150"/>
                <a:gd name="connsiteX212" fmla="*/ 1704975 w 2200275"/>
                <a:gd name="connsiteY212" fmla="*/ 972503 h 1200150"/>
                <a:gd name="connsiteX213" fmla="*/ 1693545 w 2200275"/>
                <a:gd name="connsiteY213" fmla="*/ 980122 h 1200150"/>
                <a:gd name="connsiteX214" fmla="*/ 1690688 w 2200275"/>
                <a:gd name="connsiteY214" fmla="*/ 981075 h 1200150"/>
                <a:gd name="connsiteX215" fmla="*/ 1677352 w 2200275"/>
                <a:gd name="connsiteY215" fmla="*/ 978218 h 1200150"/>
                <a:gd name="connsiteX216" fmla="*/ 1671638 w 2200275"/>
                <a:gd name="connsiteY216" fmla="*/ 978218 h 1200150"/>
                <a:gd name="connsiteX217" fmla="*/ 1664970 w 2200275"/>
                <a:gd name="connsiteY217" fmla="*/ 980122 h 1200150"/>
                <a:gd name="connsiteX218" fmla="*/ 1661160 w 2200275"/>
                <a:gd name="connsiteY218" fmla="*/ 982028 h 1200150"/>
                <a:gd name="connsiteX219" fmla="*/ 1659255 w 2200275"/>
                <a:gd name="connsiteY219" fmla="*/ 984885 h 1200150"/>
                <a:gd name="connsiteX220" fmla="*/ 1658302 w 2200275"/>
                <a:gd name="connsiteY220" fmla="*/ 987743 h 1200150"/>
                <a:gd name="connsiteX221" fmla="*/ 1657350 w 2200275"/>
                <a:gd name="connsiteY221" fmla="*/ 993457 h 1200150"/>
                <a:gd name="connsiteX222" fmla="*/ 1658302 w 2200275"/>
                <a:gd name="connsiteY222" fmla="*/ 999172 h 1200150"/>
                <a:gd name="connsiteX223" fmla="*/ 1660207 w 2200275"/>
                <a:gd name="connsiteY223" fmla="*/ 1006793 h 1200150"/>
                <a:gd name="connsiteX224" fmla="*/ 1660207 w 2200275"/>
                <a:gd name="connsiteY224" fmla="*/ 1010603 h 1200150"/>
                <a:gd name="connsiteX225" fmla="*/ 1658302 w 2200275"/>
                <a:gd name="connsiteY225" fmla="*/ 1012507 h 1200150"/>
                <a:gd name="connsiteX226" fmla="*/ 1654493 w 2200275"/>
                <a:gd name="connsiteY226" fmla="*/ 1015365 h 1200150"/>
                <a:gd name="connsiteX227" fmla="*/ 1638300 w 2200275"/>
                <a:gd name="connsiteY227" fmla="*/ 1018222 h 1200150"/>
                <a:gd name="connsiteX228" fmla="*/ 1636395 w 2200275"/>
                <a:gd name="connsiteY228" fmla="*/ 1020128 h 1200150"/>
                <a:gd name="connsiteX229" fmla="*/ 1635443 w 2200275"/>
                <a:gd name="connsiteY229" fmla="*/ 1022985 h 1200150"/>
                <a:gd name="connsiteX230" fmla="*/ 1631632 w 2200275"/>
                <a:gd name="connsiteY230" fmla="*/ 1031557 h 1200150"/>
                <a:gd name="connsiteX231" fmla="*/ 1630680 w 2200275"/>
                <a:gd name="connsiteY231" fmla="*/ 1033463 h 1200150"/>
                <a:gd name="connsiteX232" fmla="*/ 1627823 w 2200275"/>
                <a:gd name="connsiteY232" fmla="*/ 1034415 h 1200150"/>
                <a:gd name="connsiteX233" fmla="*/ 1624013 w 2200275"/>
                <a:gd name="connsiteY233" fmla="*/ 1034415 h 1200150"/>
                <a:gd name="connsiteX234" fmla="*/ 1618298 w 2200275"/>
                <a:gd name="connsiteY234" fmla="*/ 1031557 h 1200150"/>
                <a:gd name="connsiteX235" fmla="*/ 1615440 w 2200275"/>
                <a:gd name="connsiteY235" fmla="*/ 1028700 h 1200150"/>
                <a:gd name="connsiteX236" fmla="*/ 1613535 w 2200275"/>
                <a:gd name="connsiteY236" fmla="*/ 1026795 h 1200150"/>
                <a:gd name="connsiteX237" fmla="*/ 1607820 w 2200275"/>
                <a:gd name="connsiteY237" fmla="*/ 1018222 h 1200150"/>
                <a:gd name="connsiteX238" fmla="*/ 1605915 w 2200275"/>
                <a:gd name="connsiteY238" fmla="*/ 1016318 h 1200150"/>
                <a:gd name="connsiteX239" fmla="*/ 1603057 w 2200275"/>
                <a:gd name="connsiteY239" fmla="*/ 1016318 h 1200150"/>
                <a:gd name="connsiteX240" fmla="*/ 1592580 w 2200275"/>
                <a:gd name="connsiteY240" fmla="*/ 1020128 h 1200150"/>
                <a:gd name="connsiteX241" fmla="*/ 1570673 w 2200275"/>
                <a:gd name="connsiteY241" fmla="*/ 1023938 h 1200150"/>
                <a:gd name="connsiteX242" fmla="*/ 1564005 w 2200275"/>
                <a:gd name="connsiteY242" fmla="*/ 1027747 h 1200150"/>
                <a:gd name="connsiteX243" fmla="*/ 1560195 w 2200275"/>
                <a:gd name="connsiteY243" fmla="*/ 1030605 h 1200150"/>
                <a:gd name="connsiteX244" fmla="*/ 1558290 w 2200275"/>
                <a:gd name="connsiteY244" fmla="*/ 1032510 h 1200150"/>
                <a:gd name="connsiteX245" fmla="*/ 1555432 w 2200275"/>
                <a:gd name="connsiteY245" fmla="*/ 1037272 h 1200150"/>
                <a:gd name="connsiteX246" fmla="*/ 1553527 w 2200275"/>
                <a:gd name="connsiteY246" fmla="*/ 1042988 h 1200150"/>
                <a:gd name="connsiteX247" fmla="*/ 1552575 w 2200275"/>
                <a:gd name="connsiteY247" fmla="*/ 1049655 h 1200150"/>
                <a:gd name="connsiteX248" fmla="*/ 1553527 w 2200275"/>
                <a:gd name="connsiteY248" fmla="*/ 1055370 h 1200150"/>
                <a:gd name="connsiteX249" fmla="*/ 1556385 w 2200275"/>
                <a:gd name="connsiteY249" fmla="*/ 1059180 h 1200150"/>
                <a:gd name="connsiteX250" fmla="*/ 1559243 w 2200275"/>
                <a:gd name="connsiteY250" fmla="*/ 1060132 h 1200150"/>
                <a:gd name="connsiteX251" fmla="*/ 1567815 w 2200275"/>
                <a:gd name="connsiteY251" fmla="*/ 1062038 h 1200150"/>
                <a:gd name="connsiteX252" fmla="*/ 1569720 w 2200275"/>
                <a:gd name="connsiteY252" fmla="*/ 1062990 h 1200150"/>
                <a:gd name="connsiteX253" fmla="*/ 1570673 w 2200275"/>
                <a:gd name="connsiteY253" fmla="*/ 1064895 h 1200150"/>
                <a:gd name="connsiteX254" fmla="*/ 1570673 w 2200275"/>
                <a:gd name="connsiteY254" fmla="*/ 1071563 h 1200150"/>
                <a:gd name="connsiteX255" fmla="*/ 1569720 w 2200275"/>
                <a:gd name="connsiteY255" fmla="*/ 1077278 h 1200150"/>
                <a:gd name="connsiteX256" fmla="*/ 1567815 w 2200275"/>
                <a:gd name="connsiteY256" fmla="*/ 1079182 h 1200150"/>
                <a:gd name="connsiteX257" fmla="*/ 1565910 w 2200275"/>
                <a:gd name="connsiteY257" fmla="*/ 1079182 h 1200150"/>
                <a:gd name="connsiteX258" fmla="*/ 1551623 w 2200275"/>
                <a:gd name="connsiteY258" fmla="*/ 1081088 h 1200150"/>
                <a:gd name="connsiteX259" fmla="*/ 1545907 w 2200275"/>
                <a:gd name="connsiteY259" fmla="*/ 1082993 h 1200150"/>
                <a:gd name="connsiteX260" fmla="*/ 1544002 w 2200275"/>
                <a:gd name="connsiteY260" fmla="*/ 1083945 h 1200150"/>
                <a:gd name="connsiteX261" fmla="*/ 1542098 w 2200275"/>
                <a:gd name="connsiteY261" fmla="*/ 1088707 h 1200150"/>
                <a:gd name="connsiteX262" fmla="*/ 1541145 w 2200275"/>
                <a:gd name="connsiteY262" fmla="*/ 1091565 h 1200150"/>
                <a:gd name="connsiteX263" fmla="*/ 1543050 w 2200275"/>
                <a:gd name="connsiteY263" fmla="*/ 1096328 h 1200150"/>
                <a:gd name="connsiteX264" fmla="*/ 1546860 w 2200275"/>
                <a:gd name="connsiteY264" fmla="*/ 1102995 h 1200150"/>
                <a:gd name="connsiteX265" fmla="*/ 1547813 w 2200275"/>
                <a:gd name="connsiteY265" fmla="*/ 1108710 h 1200150"/>
                <a:gd name="connsiteX266" fmla="*/ 1546860 w 2200275"/>
                <a:gd name="connsiteY266" fmla="*/ 1115378 h 1200150"/>
                <a:gd name="connsiteX267" fmla="*/ 1546860 w 2200275"/>
                <a:gd name="connsiteY267" fmla="*/ 1118235 h 1200150"/>
                <a:gd name="connsiteX268" fmla="*/ 1547813 w 2200275"/>
                <a:gd name="connsiteY268" fmla="*/ 1121093 h 1200150"/>
                <a:gd name="connsiteX269" fmla="*/ 1552575 w 2200275"/>
                <a:gd name="connsiteY269" fmla="*/ 1126807 h 1200150"/>
                <a:gd name="connsiteX270" fmla="*/ 1552575 w 2200275"/>
                <a:gd name="connsiteY270" fmla="*/ 1128713 h 1200150"/>
                <a:gd name="connsiteX271" fmla="*/ 1551623 w 2200275"/>
                <a:gd name="connsiteY271" fmla="*/ 1130618 h 1200150"/>
                <a:gd name="connsiteX272" fmla="*/ 1549718 w 2200275"/>
                <a:gd name="connsiteY272" fmla="*/ 1132523 h 1200150"/>
                <a:gd name="connsiteX273" fmla="*/ 1539240 w 2200275"/>
                <a:gd name="connsiteY273" fmla="*/ 1134428 h 1200150"/>
                <a:gd name="connsiteX274" fmla="*/ 1537335 w 2200275"/>
                <a:gd name="connsiteY274" fmla="*/ 1135380 h 1200150"/>
                <a:gd name="connsiteX275" fmla="*/ 1536382 w 2200275"/>
                <a:gd name="connsiteY275" fmla="*/ 1138238 h 1200150"/>
                <a:gd name="connsiteX276" fmla="*/ 1535430 w 2200275"/>
                <a:gd name="connsiteY276" fmla="*/ 1144905 h 1200150"/>
                <a:gd name="connsiteX277" fmla="*/ 1535430 w 2200275"/>
                <a:gd name="connsiteY277" fmla="*/ 1147763 h 1200150"/>
                <a:gd name="connsiteX278" fmla="*/ 1535430 w 2200275"/>
                <a:gd name="connsiteY278" fmla="*/ 1160145 h 1200150"/>
                <a:gd name="connsiteX279" fmla="*/ 1534477 w 2200275"/>
                <a:gd name="connsiteY279" fmla="*/ 1162050 h 1200150"/>
                <a:gd name="connsiteX280" fmla="*/ 1533525 w 2200275"/>
                <a:gd name="connsiteY280" fmla="*/ 1164907 h 1200150"/>
                <a:gd name="connsiteX281" fmla="*/ 1530668 w 2200275"/>
                <a:gd name="connsiteY281" fmla="*/ 1164907 h 1200150"/>
                <a:gd name="connsiteX282" fmla="*/ 1439227 w 2200275"/>
                <a:gd name="connsiteY282" fmla="*/ 1180148 h 1200150"/>
                <a:gd name="connsiteX283" fmla="*/ 1434465 w 2200275"/>
                <a:gd name="connsiteY283" fmla="*/ 1179195 h 1200150"/>
                <a:gd name="connsiteX284" fmla="*/ 1399223 w 2200275"/>
                <a:gd name="connsiteY284" fmla="*/ 1166813 h 1200150"/>
                <a:gd name="connsiteX285" fmla="*/ 1397318 w 2200275"/>
                <a:gd name="connsiteY285" fmla="*/ 1164907 h 1200150"/>
                <a:gd name="connsiteX286" fmla="*/ 1390650 w 2200275"/>
                <a:gd name="connsiteY286" fmla="*/ 1163955 h 1200150"/>
                <a:gd name="connsiteX287" fmla="*/ 1384935 w 2200275"/>
                <a:gd name="connsiteY287" fmla="*/ 1164907 h 1200150"/>
                <a:gd name="connsiteX288" fmla="*/ 1379220 w 2200275"/>
                <a:gd name="connsiteY288" fmla="*/ 1167765 h 1200150"/>
                <a:gd name="connsiteX289" fmla="*/ 1376363 w 2200275"/>
                <a:gd name="connsiteY289" fmla="*/ 1168718 h 1200150"/>
                <a:gd name="connsiteX290" fmla="*/ 1374457 w 2200275"/>
                <a:gd name="connsiteY290" fmla="*/ 1167765 h 1200150"/>
                <a:gd name="connsiteX291" fmla="*/ 1364932 w 2200275"/>
                <a:gd name="connsiteY291" fmla="*/ 1158240 h 1200150"/>
                <a:gd name="connsiteX292" fmla="*/ 1350645 w 2200275"/>
                <a:gd name="connsiteY292" fmla="*/ 1149668 h 1200150"/>
                <a:gd name="connsiteX293" fmla="*/ 1344930 w 2200275"/>
                <a:gd name="connsiteY293" fmla="*/ 1147763 h 1200150"/>
                <a:gd name="connsiteX294" fmla="*/ 1336357 w 2200275"/>
                <a:gd name="connsiteY294" fmla="*/ 1145857 h 1200150"/>
                <a:gd name="connsiteX295" fmla="*/ 1316355 w 2200275"/>
                <a:gd name="connsiteY295" fmla="*/ 1148715 h 1200150"/>
                <a:gd name="connsiteX296" fmla="*/ 1312545 w 2200275"/>
                <a:gd name="connsiteY296" fmla="*/ 1150620 h 1200150"/>
                <a:gd name="connsiteX297" fmla="*/ 1309688 w 2200275"/>
                <a:gd name="connsiteY297" fmla="*/ 1152525 h 1200150"/>
                <a:gd name="connsiteX298" fmla="*/ 1306830 w 2200275"/>
                <a:gd name="connsiteY298" fmla="*/ 1156335 h 1200150"/>
                <a:gd name="connsiteX299" fmla="*/ 1295400 w 2200275"/>
                <a:gd name="connsiteY299" fmla="*/ 1175385 h 1200150"/>
                <a:gd name="connsiteX300" fmla="*/ 1288732 w 2200275"/>
                <a:gd name="connsiteY300" fmla="*/ 1189673 h 1200150"/>
                <a:gd name="connsiteX301" fmla="*/ 1282065 w 2200275"/>
                <a:gd name="connsiteY301" fmla="*/ 1198245 h 1200150"/>
                <a:gd name="connsiteX302" fmla="*/ 1279207 w 2200275"/>
                <a:gd name="connsiteY302" fmla="*/ 1202055 h 1200150"/>
                <a:gd name="connsiteX303" fmla="*/ 1276350 w 2200275"/>
                <a:gd name="connsiteY303" fmla="*/ 1203007 h 1200150"/>
                <a:gd name="connsiteX304" fmla="*/ 1271588 w 2200275"/>
                <a:gd name="connsiteY304" fmla="*/ 1204913 h 1200150"/>
                <a:gd name="connsiteX305" fmla="*/ 1265873 w 2200275"/>
                <a:gd name="connsiteY305" fmla="*/ 1205865 h 1200150"/>
                <a:gd name="connsiteX306" fmla="*/ 1262063 w 2200275"/>
                <a:gd name="connsiteY306" fmla="*/ 1204913 h 1200150"/>
                <a:gd name="connsiteX307" fmla="*/ 1256348 w 2200275"/>
                <a:gd name="connsiteY307" fmla="*/ 1203007 h 1200150"/>
                <a:gd name="connsiteX308" fmla="*/ 1245870 w 2200275"/>
                <a:gd name="connsiteY308" fmla="*/ 1197293 h 1200150"/>
                <a:gd name="connsiteX309" fmla="*/ 1241107 w 2200275"/>
                <a:gd name="connsiteY309" fmla="*/ 1194435 h 1200150"/>
                <a:gd name="connsiteX310" fmla="*/ 1239202 w 2200275"/>
                <a:gd name="connsiteY310" fmla="*/ 1190625 h 1200150"/>
                <a:gd name="connsiteX311" fmla="*/ 1237298 w 2200275"/>
                <a:gd name="connsiteY311" fmla="*/ 1185863 h 1200150"/>
                <a:gd name="connsiteX312" fmla="*/ 1232535 w 2200275"/>
                <a:gd name="connsiteY312" fmla="*/ 1177290 h 1200150"/>
                <a:gd name="connsiteX313" fmla="*/ 1228725 w 2200275"/>
                <a:gd name="connsiteY313" fmla="*/ 1172528 h 1200150"/>
                <a:gd name="connsiteX314" fmla="*/ 1226820 w 2200275"/>
                <a:gd name="connsiteY314" fmla="*/ 1171575 h 1200150"/>
                <a:gd name="connsiteX315" fmla="*/ 1214438 w 2200275"/>
                <a:gd name="connsiteY315" fmla="*/ 1164907 h 1200150"/>
                <a:gd name="connsiteX316" fmla="*/ 1208723 w 2200275"/>
                <a:gd name="connsiteY316" fmla="*/ 1159193 h 1200150"/>
                <a:gd name="connsiteX317" fmla="*/ 1204913 w 2200275"/>
                <a:gd name="connsiteY317" fmla="*/ 1157288 h 1200150"/>
                <a:gd name="connsiteX318" fmla="*/ 1185863 w 2200275"/>
                <a:gd name="connsiteY318" fmla="*/ 1154430 h 1200150"/>
                <a:gd name="connsiteX319" fmla="*/ 1180148 w 2200275"/>
                <a:gd name="connsiteY319" fmla="*/ 1155382 h 1200150"/>
                <a:gd name="connsiteX320" fmla="*/ 1176338 w 2200275"/>
                <a:gd name="connsiteY320" fmla="*/ 1157288 h 1200150"/>
                <a:gd name="connsiteX321" fmla="*/ 1174432 w 2200275"/>
                <a:gd name="connsiteY321" fmla="*/ 1165860 h 1200150"/>
                <a:gd name="connsiteX322" fmla="*/ 1172527 w 2200275"/>
                <a:gd name="connsiteY322" fmla="*/ 1167765 h 1200150"/>
                <a:gd name="connsiteX323" fmla="*/ 1169670 w 2200275"/>
                <a:gd name="connsiteY323" fmla="*/ 1168718 h 1200150"/>
                <a:gd name="connsiteX324" fmla="*/ 1123950 w 2200275"/>
                <a:gd name="connsiteY324" fmla="*/ 1168718 h 1200150"/>
                <a:gd name="connsiteX325" fmla="*/ 1120140 w 2200275"/>
                <a:gd name="connsiteY325" fmla="*/ 1168718 h 1200150"/>
                <a:gd name="connsiteX326" fmla="*/ 1117282 w 2200275"/>
                <a:gd name="connsiteY326" fmla="*/ 1166813 h 1200150"/>
                <a:gd name="connsiteX327" fmla="*/ 1115377 w 2200275"/>
                <a:gd name="connsiteY327" fmla="*/ 1163003 h 1200150"/>
                <a:gd name="connsiteX328" fmla="*/ 1114425 w 2200275"/>
                <a:gd name="connsiteY328" fmla="*/ 1159193 h 1200150"/>
                <a:gd name="connsiteX329" fmla="*/ 1114425 w 2200275"/>
                <a:gd name="connsiteY329" fmla="*/ 1155382 h 1200150"/>
                <a:gd name="connsiteX330" fmla="*/ 1115377 w 2200275"/>
                <a:gd name="connsiteY330" fmla="*/ 1148715 h 1200150"/>
                <a:gd name="connsiteX331" fmla="*/ 1115377 w 2200275"/>
                <a:gd name="connsiteY331" fmla="*/ 1143000 h 1200150"/>
                <a:gd name="connsiteX332" fmla="*/ 1109663 w 2200275"/>
                <a:gd name="connsiteY332" fmla="*/ 1134428 h 1200150"/>
                <a:gd name="connsiteX333" fmla="*/ 1108710 w 2200275"/>
                <a:gd name="connsiteY333" fmla="*/ 1128713 h 1200150"/>
                <a:gd name="connsiteX334" fmla="*/ 1108710 w 2200275"/>
                <a:gd name="connsiteY334" fmla="*/ 1125855 h 1200150"/>
                <a:gd name="connsiteX335" fmla="*/ 1111568 w 2200275"/>
                <a:gd name="connsiteY335" fmla="*/ 1121093 h 1200150"/>
                <a:gd name="connsiteX336" fmla="*/ 1120140 w 2200275"/>
                <a:gd name="connsiteY336" fmla="*/ 1106805 h 1200150"/>
                <a:gd name="connsiteX337" fmla="*/ 1122998 w 2200275"/>
                <a:gd name="connsiteY337" fmla="*/ 1102043 h 1200150"/>
                <a:gd name="connsiteX338" fmla="*/ 1122998 w 2200275"/>
                <a:gd name="connsiteY338" fmla="*/ 1099185 h 1200150"/>
                <a:gd name="connsiteX339" fmla="*/ 1122045 w 2200275"/>
                <a:gd name="connsiteY339" fmla="*/ 1093470 h 1200150"/>
                <a:gd name="connsiteX340" fmla="*/ 1120140 w 2200275"/>
                <a:gd name="connsiteY340" fmla="*/ 1088707 h 1200150"/>
                <a:gd name="connsiteX341" fmla="*/ 1108710 w 2200275"/>
                <a:gd name="connsiteY341" fmla="*/ 1074420 h 1200150"/>
                <a:gd name="connsiteX342" fmla="*/ 1106805 w 2200275"/>
                <a:gd name="connsiteY342" fmla="*/ 1072515 h 1200150"/>
                <a:gd name="connsiteX343" fmla="*/ 1104900 w 2200275"/>
                <a:gd name="connsiteY343" fmla="*/ 1067753 h 1200150"/>
                <a:gd name="connsiteX344" fmla="*/ 1103948 w 2200275"/>
                <a:gd name="connsiteY344" fmla="*/ 1059180 h 1200150"/>
                <a:gd name="connsiteX345" fmla="*/ 1102043 w 2200275"/>
                <a:gd name="connsiteY345" fmla="*/ 1054418 h 1200150"/>
                <a:gd name="connsiteX346" fmla="*/ 1099185 w 2200275"/>
                <a:gd name="connsiteY346" fmla="*/ 1050607 h 1200150"/>
                <a:gd name="connsiteX347" fmla="*/ 1096327 w 2200275"/>
                <a:gd name="connsiteY347" fmla="*/ 1049655 h 1200150"/>
                <a:gd name="connsiteX348" fmla="*/ 1093470 w 2200275"/>
                <a:gd name="connsiteY348" fmla="*/ 1048703 h 1200150"/>
                <a:gd name="connsiteX349" fmla="*/ 1080135 w 2200275"/>
                <a:gd name="connsiteY349" fmla="*/ 1051560 h 1200150"/>
                <a:gd name="connsiteX350" fmla="*/ 1077277 w 2200275"/>
                <a:gd name="connsiteY350" fmla="*/ 1050607 h 1200150"/>
                <a:gd name="connsiteX351" fmla="*/ 1070610 w 2200275"/>
                <a:gd name="connsiteY351" fmla="*/ 1044893 h 1200150"/>
                <a:gd name="connsiteX352" fmla="*/ 1063943 w 2200275"/>
                <a:gd name="connsiteY352" fmla="*/ 1036320 h 1200150"/>
                <a:gd name="connsiteX353" fmla="*/ 1047750 w 2200275"/>
                <a:gd name="connsiteY353" fmla="*/ 1007745 h 1200150"/>
                <a:gd name="connsiteX354" fmla="*/ 1040130 w 2200275"/>
                <a:gd name="connsiteY354" fmla="*/ 994410 h 1200150"/>
                <a:gd name="connsiteX355" fmla="*/ 1039177 w 2200275"/>
                <a:gd name="connsiteY355" fmla="*/ 989647 h 1200150"/>
                <a:gd name="connsiteX356" fmla="*/ 1041082 w 2200275"/>
                <a:gd name="connsiteY356" fmla="*/ 988695 h 1200150"/>
                <a:gd name="connsiteX357" fmla="*/ 1062038 w 2200275"/>
                <a:gd name="connsiteY357" fmla="*/ 979170 h 1200150"/>
                <a:gd name="connsiteX358" fmla="*/ 1067752 w 2200275"/>
                <a:gd name="connsiteY358" fmla="*/ 974407 h 1200150"/>
                <a:gd name="connsiteX359" fmla="*/ 1071563 w 2200275"/>
                <a:gd name="connsiteY359" fmla="*/ 970597 h 1200150"/>
                <a:gd name="connsiteX360" fmla="*/ 1072515 w 2200275"/>
                <a:gd name="connsiteY360" fmla="*/ 967740 h 1200150"/>
                <a:gd name="connsiteX361" fmla="*/ 1073468 w 2200275"/>
                <a:gd name="connsiteY361" fmla="*/ 961072 h 1200150"/>
                <a:gd name="connsiteX362" fmla="*/ 1073468 w 2200275"/>
                <a:gd name="connsiteY362" fmla="*/ 955357 h 1200150"/>
                <a:gd name="connsiteX363" fmla="*/ 1070610 w 2200275"/>
                <a:gd name="connsiteY363" fmla="*/ 947738 h 1200150"/>
                <a:gd name="connsiteX364" fmla="*/ 1066800 w 2200275"/>
                <a:gd name="connsiteY364" fmla="*/ 934403 h 1200150"/>
                <a:gd name="connsiteX365" fmla="*/ 1065848 w 2200275"/>
                <a:gd name="connsiteY365" fmla="*/ 932497 h 1200150"/>
                <a:gd name="connsiteX366" fmla="*/ 1062990 w 2200275"/>
                <a:gd name="connsiteY366" fmla="*/ 930593 h 1200150"/>
                <a:gd name="connsiteX367" fmla="*/ 1058227 w 2200275"/>
                <a:gd name="connsiteY367" fmla="*/ 929640 h 1200150"/>
                <a:gd name="connsiteX368" fmla="*/ 1037273 w 2200275"/>
                <a:gd name="connsiteY368" fmla="*/ 934403 h 1200150"/>
                <a:gd name="connsiteX369" fmla="*/ 1034415 w 2200275"/>
                <a:gd name="connsiteY369" fmla="*/ 933450 h 1200150"/>
                <a:gd name="connsiteX370" fmla="*/ 1030605 w 2200275"/>
                <a:gd name="connsiteY370" fmla="*/ 932497 h 1200150"/>
                <a:gd name="connsiteX371" fmla="*/ 1025843 w 2200275"/>
                <a:gd name="connsiteY371" fmla="*/ 928688 h 1200150"/>
                <a:gd name="connsiteX372" fmla="*/ 1022032 w 2200275"/>
                <a:gd name="connsiteY372" fmla="*/ 927735 h 1200150"/>
                <a:gd name="connsiteX373" fmla="*/ 1018223 w 2200275"/>
                <a:gd name="connsiteY373" fmla="*/ 926782 h 1200150"/>
                <a:gd name="connsiteX374" fmla="*/ 1011555 w 2200275"/>
                <a:gd name="connsiteY374" fmla="*/ 927735 h 1200150"/>
                <a:gd name="connsiteX375" fmla="*/ 1006793 w 2200275"/>
                <a:gd name="connsiteY375" fmla="*/ 925830 h 1200150"/>
                <a:gd name="connsiteX376" fmla="*/ 1003935 w 2200275"/>
                <a:gd name="connsiteY376" fmla="*/ 923925 h 1200150"/>
                <a:gd name="connsiteX377" fmla="*/ 996315 w 2200275"/>
                <a:gd name="connsiteY377" fmla="*/ 915353 h 1200150"/>
                <a:gd name="connsiteX378" fmla="*/ 994410 w 2200275"/>
                <a:gd name="connsiteY378" fmla="*/ 914400 h 1200150"/>
                <a:gd name="connsiteX379" fmla="*/ 990600 w 2200275"/>
                <a:gd name="connsiteY379" fmla="*/ 913447 h 1200150"/>
                <a:gd name="connsiteX380" fmla="*/ 982027 w 2200275"/>
                <a:gd name="connsiteY380" fmla="*/ 917257 h 1200150"/>
                <a:gd name="connsiteX381" fmla="*/ 979170 w 2200275"/>
                <a:gd name="connsiteY381" fmla="*/ 919163 h 1200150"/>
                <a:gd name="connsiteX382" fmla="*/ 977265 w 2200275"/>
                <a:gd name="connsiteY382" fmla="*/ 921068 h 1200150"/>
                <a:gd name="connsiteX383" fmla="*/ 976313 w 2200275"/>
                <a:gd name="connsiteY383" fmla="*/ 923925 h 1200150"/>
                <a:gd name="connsiteX384" fmla="*/ 976313 w 2200275"/>
                <a:gd name="connsiteY384" fmla="*/ 926782 h 1200150"/>
                <a:gd name="connsiteX385" fmla="*/ 976313 w 2200275"/>
                <a:gd name="connsiteY385" fmla="*/ 935355 h 1200150"/>
                <a:gd name="connsiteX386" fmla="*/ 976313 w 2200275"/>
                <a:gd name="connsiteY386" fmla="*/ 938213 h 1200150"/>
                <a:gd name="connsiteX387" fmla="*/ 971550 w 2200275"/>
                <a:gd name="connsiteY387" fmla="*/ 941070 h 1200150"/>
                <a:gd name="connsiteX388" fmla="*/ 963930 w 2200275"/>
                <a:gd name="connsiteY388" fmla="*/ 942022 h 1200150"/>
                <a:gd name="connsiteX389" fmla="*/ 961073 w 2200275"/>
                <a:gd name="connsiteY389" fmla="*/ 942022 h 1200150"/>
                <a:gd name="connsiteX390" fmla="*/ 958215 w 2200275"/>
                <a:gd name="connsiteY390" fmla="*/ 941070 h 1200150"/>
                <a:gd name="connsiteX391" fmla="*/ 956310 w 2200275"/>
                <a:gd name="connsiteY391" fmla="*/ 938213 h 1200150"/>
                <a:gd name="connsiteX392" fmla="*/ 954405 w 2200275"/>
                <a:gd name="connsiteY392" fmla="*/ 936307 h 1200150"/>
                <a:gd name="connsiteX393" fmla="*/ 951548 w 2200275"/>
                <a:gd name="connsiteY393" fmla="*/ 936307 h 1200150"/>
                <a:gd name="connsiteX394" fmla="*/ 947738 w 2200275"/>
                <a:gd name="connsiteY394" fmla="*/ 939165 h 1200150"/>
                <a:gd name="connsiteX395" fmla="*/ 945832 w 2200275"/>
                <a:gd name="connsiteY395" fmla="*/ 942022 h 1200150"/>
                <a:gd name="connsiteX396" fmla="*/ 944880 w 2200275"/>
                <a:gd name="connsiteY396" fmla="*/ 945832 h 1200150"/>
                <a:gd name="connsiteX397" fmla="*/ 943927 w 2200275"/>
                <a:gd name="connsiteY397" fmla="*/ 955357 h 1200150"/>
                <a:gd name="connsiteX398" fmla="*/ 942975 w 2200275"/>
                <a:gd name="connsiteY398" fmla="*/ 961072 h 1200150"/>
                <a:gd name="connsiteX399" fmla="*/ 941070 w 2200275"/>
                <a:gd name="connsiteY399" fmla="*/ 962978 h 1200150"/>
                <a:gd name="connsiteX400" fmla="*/ 939165 w 2200275"/>
                <a:gd name="connsiteY400" fmla="*/ 963930 h 1200150"/>
                <a:gd name="connsiteX401" fmla="*/ 935355 w 2200275"/>
                <a:gd name="connsiteY401" fmla="*/ 963930 h 1200150"/>
                <a:gd name="connsiteX402" fmla="*/ 932498 w 2200275"/>
                <a:gd name="connsiteY402" fmla="*/ 962978 h 1200150"/>
                <a:gd name="connsiteX403" fmla="*/ 929640 w 2200275"/>
                <a:gd name="connsiteY403" fmla="*/ 960120 h 1200150"/>
                <a:gd name="connsiteX404" fmla="*/ 929640 w 2200275"/>
                <a:gd name="connsiteY404" fmla="*/ 955357 h 1200150"/>
                <a:gd name="connsiteX405" fmla="*/ 932498 w 2200275"/>
                <a:gd name="connsiteY405" fmla="*/ 948690 h 1200150"/>
                <a:gd name="connsiteX406" fmla="*/ 934402 w 2200275"/>
                <a:gd name="connsiteY406" fmla="*/ 942975 h 1200150"/>
                <a:gd name="connsiteX407" fmla="*/ 936307 w 2200275"/>
                <a:gd name="connsiteY407" fmla="*/ 925830 h 1200150"/>
                <a:gd name="connsiteX408" fmla="*/ 935355 w 2200275"/>
                <a:gd name="connsiteY408" fmla="*/ 920115 h 1200150"/>
                <a:gd name="connsiteX409" fmla="*/ 933450 w 2200275"/>
                <a:gd name="connsiteY409" fmla="*/ 916305 h 1200150"/>
                <a:gd name="connsiteX410" fmla="*/ 929640 w 2200275"/>
                <a:gd name="connsiteY410" fmla="*/ 913447 h 1200150"/>
                <a:gd name="connsiteX411" fmla="*/ 900113 w 2200275"/>
                <a:gd name="connsiteY411" fmla="*/ 916305 h 1200150"/>
                <a:gd name="connsiteX412" fmla="*/ 893445 w 2200275"/>
                <a:gd name="connsiteY412" fmla="*/ 918210 h 1200150"/>
                <a:gd name="connsiteX413" fmla="*/ 888682 w 2200275"/>
                <a:gd name="connsiteY413" fmla="*/ 920115 h 1200150"/>
                <a:gd name="connsiteX414" fmla="*/ 886777 w 2200275"/>
                <a:gd name="connsiteY414" fmla="*/ 922020 h 1200150"/>
                <a:gd name="connsiteX415" fmla="*/ 884873 w 2200275"/>
                <a:gd name="connsiteY415" fmla="*/ 922972 h 1200150"/>
                <a:gd name="connsiteX416" fmla="*/ 881063 w 2200275"/>
                <a:gd name="connsiteY416" fmla="*/ 922020 h 1200150"/>
                <a:gd name="connsiteX417" fmla="*/ 877252 w 2200275"/>
                <a:gd name="connsiteY417" fmla="*/ 919163 h 1200150"/>
                <a:gd name="connsiteX418" fmla="*/ 874395 w 2200275"/>
                <a:gd name="connsiteY418" fmla="*/ 917257 h 1200150"/>
                <a:gd name="connsiteX419" fmla="*/ 872490 w 2200275"/>
                <a:gd name="connsiteY419" fmla="*/ 911543 h 1200150"/>
                <a:gd name="connsiteX420" fmla="*/ 870585 w 2200275"/>
                <a:gd name="connsiteY420" fmla="*/ 909638 h 1200150"/>
                <a:gd name="connsiteX421" fmla="*/ 868680 w 2200275"/>
                <a:gd name="connsiteY421" fmla="*/ 908685 h 1200150"/>
                <a:gd name="connsiteX422" fmla="*/ 860107 w 2200275"/>
                <a:gd name="connsiteY422" fmla="*/ 912495 h 1200150"/>
                <a:gd name="connsiteX423" fmla="*/ 851535 w 2200275"/>
                <a:gd name="connsiteY423" fmla="*/ 919163 h 1200150"/>
                <a:gd name="connsiteX424" fmla="*/ 846772 w 2200275"/>
                <a:gd name="connsiteY424" fmla="*/ 919163 h 1200150"/>
                <a:gd name="connsiteX425" fmla="*/ 798195 w 2200275"/>
                <a:gd name="connsiteY425" fmla="*/ 912495 h 1200150"/>
                <a:gd name="connsiteX426" fmla="*/ 792480 w 2200275"/>
                <a:gd name="connsiteY426" fmla="*/ 909638 h 1200150"/>
                <a:gd name="connsiteX427" fmla="*/ 789622 w 2200275"/>
                <a:gd name="connsiteY427" fmla="*/ 907732 h 1200150"/>
                <a:gd name="connsiteX428" fmla="*/ 787718 w 2200275"/>
                <a:gd name="connsiteY428" fmla="*/ 903922 h 1200150"/>
                <a:gd name="connsiteX429" fmla="*/ 786765 w 2200275"/>
                <a:gd name="connsiteY429" fmla="*/ 901065 h 1200150"/>
                <a:gd name="connsiteX430" fmla="*/ 786765 w 2200275"/>
                <a:gd name="connsiteY430" fmla="*/ 898207 h 1200150"/>
                <a:gd name="connsiteX431" fmla="*/ 786765 w 2200275"/>
                <a:gd name="connsiteY431" fmla="*/ 885825 h 1200150"/>
                <a:gd name="connsiteX432" fmla="*/ 785813 w 2200275"/>
                <a:gd name="connsiteY432" fmla="*/ 882015 h 1200150"/>
                <a:gd name="connsiteX433" fmla="*/ 783907 w 2200275"/>
                <a:gd name="connsiteY433" fmla="*/ 880110 h 1200150"/>
                <a:gd name="connsiteX434" fmla="*/ 771525 w 2200275"/>
                <a:gd name="connsiteY434" fmla="*/ 877253 h 1200150"/>
                <a:gd name="connsiteX435" fmla="*/ 767715 w 2200275"/>
                <a:gd name="connsiteY435" fmla="*/ 874395 h 1200150"/>
                <a:gd name="connsiteX436" fmla="*/ 765810 w 2200275"/>
                <a:gd name="connsiteY436" fmla="*/ 872490 h 1200150"/>
                <a:gd name="connsiteX437" fmla="*/ 765810 w 2200275"/>
                <a:gd name="connsiteY437" fmla="*/ 869632 h 1200150"/>
                <a:gd name="connsiteX438" fmla="*/ 763905 w 2200275"/>
                <a:gd name="connsiteY438" fmla="*/ 848678 h 1200150"/>
                <a:gd name="connsiteX439" fmla="*/ 762953 w 2200275"/>
                <a:gd name="connsiteY439" fmla="*/ 842963 h 1200150"/>
                <a:gd name="connsiteX440" fmla="*/ 759143 w 2200275"/>
                <a:gd name="connsiteY440" fmla="*/ 842010 h 1200150"/>
                <a:gd name="connsiteX441" fmla="*/ 754380 w 2200275"/>
                <a:gd name="connsiteY441" fmla="*/ 840105 h 1200150"/>
                <a:gd name="connsiteX442" fmla="*/ 745807 w 2200275"/>
                <a:gd name="connsiteY442" fmla="*/ 839153 h 1200150"/>
                <a:gd name="connsiteX443" fmla="*/ 737235 w 2200275"/>
                <a:gd name="connsiteY443" fmla="*/ 836295 h 1200150"/>
                <a:gd name="connsiteX444" fmla="*/ 699135 w 2200275"/>
                <a:gd name="connsiteY444" fmla="*/ 833438 h 1200150"/>
                <a:gd name="connsiteX445" fmla="*/ 687705 w 2200275"/>
                <a:gd name="connsiteY445" fmla="*/ 834390 h 1200150"/>
                <a:gd name="connsiteX446" fmla="*/ 669607 w 2200275"/>
                <a:gd name="connsiteY446" fmla="*/ 841057 h 1200150"/>
                <a:gd name="connsiteX447" fmla="*/ 662940 w 2200275"/>
                <a:gd name="connsiteY447" fmla="*/ 844868 h 1200150"/>
                <a:gd name="connsiteX448" fmla="*/ 658178 w 2200275"/>
                <a:gd name="connsiteY448" fmla="*/ 849630 h 1200150"/>
                <a:gd name="connsiteX449" fmla="*/ 657225 w 2200275"/>
                <a:gd name="connsiteY449" fmla="*/ 856297 h 1200150"/>
                <a:gd name="connsiteX450" fmla="*/ 655320 w 2200275"/>
                <a:gd name="connsiteY450" fmla="*/ 862013 h 1200150"/>
                <a:gd name="connsiteX451" fmla="*/ 653415 w 2200275"/>
                <a:gd name="connsiteY451" fmla="*/ 863918 h 1200150"/>
                <a:gd name="connsiteX452" fmla="*/ 649605 w 2200275"/>
                <a:gd name="connsiteY452" fmla="*/ 865822 h 1200150"/>
                <a:gd name="connsiteX453" fmla="*/ 632460 w 2200275"/>
                <a:gd name="connsiteY453" fmla="*/ 871538 h 1200150"/>
                <a:gd name="connsiteX454" fmla="*/ 628650 w 2200275"/>
                <a:gd name="connsiteY454" fmla="*/ 874395 h 1200150"/>
                <a:gd name="connsiteX455" fmla="*/ 625793 w 2200275"/>
                <a:gd name="connsiteY455" fmla="*/ 878205 h 1200150"/>
                <a:gd name="connsiteX456" fmla="*/ 623888 w 2200275"/>
                <a:gd name="connsiteY456" fmla="*/ 880110 h 1200150"/>
                <a:gd name="connsiteX457" fmla="*/ 620078 w 2200275"/>
                <a:gd name="connsiteY457" fmla="*/ 882968 h 1200150"/>
                <a:gd name="connsiteX458" fmla="*/ 616268 w 2200275"/>
                <a:gd name="connsiteY458" fmla="*/ 883920 h 1200150"/>
                <a:gd name="connsiteX459" fmla="*/ 612457 w 2200275"/>
                <a:gd name="connsiteY459" fmla="*/ 882968 h 1200150"/>
                <a:gd name="connsiteX460" fmla="*/ 604838 w 2200275"/>
                <a:gd name="connsiteY460" fmla="*/ 880110 h 1200150"/>
                <a:gd name="connsiteX461" fmla="*/ 602932 w 2200275"/>
                <a:gd name="connsiteY461" fmla="*/ 877253 h 1200150"/>
                <a:gd name="connsiteX462" fmla="*/ 601028 w 2200275"/>
                <a:gd name="connsiteY462" fmla="*/ 874395 h 1200150"/>
                <a:gd name="connsiteX463" fmla="*/ 601028 w 2200275"/>
                <a:gd name="connsiteY463" fmla="*/ 868680 h 1200150"/>
                <a:gd name="connsiteX464" fmla="*/ 600075 w 2200275"/>
                <a:gd name="connsiteY464" fmla="*/ 865822 h 1200150"/>
                <a:gd name="connsiteX465" fmla="*/ 596265 w 2200275"/>
                <a:gd name="connsiteY465" fmla="*/ 862013 h 1200150"/>
                <a:gd name="connsiteX466" fmla="*/ 593407 w 2200275"/>
                <a:gd name="connsiteY466" fmla="*/ 861060 h 1200150"/>
                <a:gd name="connsiteX467" fmla="*/ 590550 w 2200275"/>
                <a:gd name="connsiteY467" fmla="*/ 860107 h 1200150"/>
                <a:gd name="connsiteX468" fmla="*/ 586740 w 2200275"/>
                <a:gd name="connsiteY468" fmla="*/ 861060 h 1200150"/>
                <a:gd name="connsiteX469" fmla="*/ 581978 w 2200275"/>
                <a:gd name="connsiteY469" fmla="*/ 864870 h 1200150"/>
                <a:gd name="connsiteX470" fmla="*/ 580072 w 2200275"/>
                <a:gd name="connsiteY470" fmla="*/ 866775 h 1200150"/>
                <a:gd name="connsiteX471" fmla="*/ 578168 w 2200275"/>
                <a:gd name="connsiteY471" fmla="*/ 869632 h 1200150"/>
                <a:gd name="connsiteX472" fmla="*/ 574357 w 2200275"/>
                <a:gd name="connsiteY472" fmla="*/ 880110 h 1200150"/>
                <a:gd name="connsiteX473" fmla="*/ 572453 w 2200275"/>
                <a:gd name="connsiteY473" fmla="*/ 882015 h 1200150"/>
                <a:gd name="connsiteX474" fmla="*/ 569595 w 2200275"/>
                <a:gd name="connsiteY474" fmla="*/ 882015 h 1200150"/>
                <a:gd name="connsiteX475" fmla="*/ 563880 w 2200275"/>
                <a:gd name="connsiteY475" fmla="*/ 880110 h 1200150"/>
                <a:gd name="connsiteX476" fmla="*/ 561975 w 2200275"/>
                <a:gd name="connsiteY476" fmla="*/ 877253 h 1200150"/>
                <a:gd name="connsiteX477" fmla="*/ 560070 w 2200275"/>
                <a:gd name="connsiteY477" fmla="*/ 874395 h 1200150"/>
                <a:gd name="connsiteX478" fmla="*/ 559118 w 2200275"/>
                <a:gd name="connsiteY478" fmla="*/ 868680 h 1200150"/>
                <a:gd name="connsiteX479" fmla="*/ 554355 w 2200275"/>
                <a:gd name="connsiteY479" fmla="*/ 866775 h 1200150"/>
                <a:gd name="connsiteX480" fmla="*/ 547688 w 2200275"/>
                <a:gd name="connsiteY480" fmla="*/ 865822 h 1200150"/>
                <a:gd name="connsiteX481" fmla="*/ 531495 w 2200275"/>
                <a:gd name="connsiteY481" fmla="*/ 865822 h 1200150"/>
                <a:gd name="connsiteX482" fmla="*/ 516255 w 2200275"/>
                <a:gd name="connsiteY482" fmla="*/ 862965 h 1200150"/>
                <a:gd name="connsiteX483" fmla="*/ 510540 w 2200275"/>
                <a:gd name="connsiteY483" fmla="*/ 863918 h 1200150"/>
                <a:gd name="connsiteX484" fmla="*/ 485775 w 2200275"/>
                <a:gd name="connsiteY484" fmla="*/ 872490 h 1200150"/>
                <a:gd name="connsiteX485" fmla="*/ 479107 w 2200275"/>
                <a:gd name="connsiteY485" fmla="*/ 876300 h 1200150"/>
                <a:gd name="connsiteX486" fmla="*/ 474345 w 2200275"/>
                <a:gd name="connsiteY486" fmla="*/ 879157 h 1200150"/>
                <a:gd name="connsiteX487" fmla="*/ 473393 w 2200275"/>
                <a:gd name="connsiteY487" fmla="*/ 881063 h 1200150"/>
                <a:gd name="connsiteX488" fmla="*/ 471488 w 2200275"/>
                <a:gd name="connsiteY488" fmla="*/ 887730 h 1200150"/>
                <a:gd name="connsiteX489" fmla="*/ 468630 w 2200275"/>
                <a:gd name="connsiteY489" fmla="*/ 891540 h 1200150"/>
                <a:gd name="connsiteX490" fmla="*/ 465772 w 2200275"/>
                <a:gd name="connsiteY490" fmla="*/ 893445 h 1200150"/>
                <a:gd name="connsiteX491" fmla="*/ 460057 w 2200275"/>
                <a:gd name="connsiteY491" fmla="*/ 893445 h 1200150"/>
                <a:gd name="connsiteX492" fmla="*/ 440055 w 2200275"/>
                <a:gd name="connsiteY492" fmla="*/ 888682 h 1200150"/>
                <a:gd name="connsiteX493" fmla="*/ 416243 w 2200275"/>
                <a:gd name="connsiteY493" fmla="*/ 880110 h 1200150"/>
                <a:gd name="connsiteX494" fmla="*/ 412432 w 2200275"/>
                <a:gd name="connsiteY494" fmla="*/ 879157 h 1200150"/>
                <a:gd name="connsiteX495" fmla="*/ 407670 w 2200275"/>
                <a:gd name="connsiteY495" fmla="*/ 879157 h 1200150"/>
                <a:gd name="connsiteX496" fmla="*/ 402907 w 2200275"/>
                <a:gd name="connsiteY496" fmla="*/ 878205 h 1200150"/>
                <a:gd name="connsiteX497" fmla="*/ 321945 w 2200275"/>
                <a:gd name="connsiteY497" fmla="*/ 878205 h 1200150"/>
                <a:gd name="connsiteX498" fmla="*/ 319088 w 2200275"/>
                <a:gd name="connsiteY498" fmla="*/ 881063 h 1200150"/>
                <a:gd name="connsiteX499" fmla="*/ 315278 w 2200275"/>
                <a:gd name="connsiteY499" fmla="*/ 895350 h 1200150"/>
                <a:gd name="connsiteX500" fmla="*/ 312420 w 2200275"/>
                <a:gd name="connsiteY500" fmla="*/ 900113 h 1200150"/>
                <a:gd name="connsiteX501" fmla="*/ 308610 w 2200275"/>
                <a:gd name="connsiteY501" fmla="*/ 901065 h 1200150"/>
                <a:gd name="connsiteX502" fmla="*/ 293370 w 2200275"/>
                <a:gd name="connsiteY502" fmla="*/ 900113 h 1200150"/>
                <a:gd name="connsiteX503" fmla="*/ 182880 w 2200275"/>
                <a:gd name="connsiteY503" fmla="*/ 894397 h 1200150"/>
                <a:gd name="connsiteX504" fmla="*/ 163830 w 2200275"/>
                <a:gd name="connsiteY504" fmla="*/ 884872 h 1200150"/>
                <a:gd name="connsiteX505" fmla="*/ 153353 w 2200275"/>
                <a:gd name="connsiteY505" fmla="*/ 869632 h 1200150"/>
                <a:gd name="connsiteX506" fmla="*/ 145732 w 2200275"/>
                <a:gd name="connsiteY506" fmla="*/ 850582 h 1200150"/>
                <a:gd name="connsiteX507" fmla="*/ 137160 w 2200275"/>
                <a:gd name="connsiteY507" fmla="*/ 833438 h 1200150"/>
                <a:gd name="connsiteX508" fmla="*/ 128588 w 2200275"/>
                <a:gd name="connsiteY508" fmla="*/ 836295 h 1200150"/>
                <a:gd name="connsiteX509" fmla="*/ 121920 w 2200275"/>
                <a:gd name="connsiteY509" fmla="*/ 841057 h 1200150"/>
                <a:gd name="connsiteX510" fmla="*/ 117157 w 2200275"/>
                <a:gd name="connsiteY510" fmla="*/ 842010 h 1200150"/>
                <a:gd name="connsiteX511" fmla="*/ 114300 w 2200275"/>
                <a:gd name="connsiteY511" fmla="*/ 842010 h 1200150"/>
                <a:gd name="connsiteX512" fmla="*/ 111443 w 2200275"/>
                <a:gd name="connsiteY512" fmla="*/ 839153 h 1200150"/>
                <a:gd name="connsiteX513" fmla="*/ 104775 w 2200275"/>
                <a:gd name="connsiteY513" fmla="*/ 832485 h 1200150"/>
                <a:gd name="connsiteX514" fmla="*/ 100965 w 2200275"/>
                <a:gd name="connsiteY514" fmla="*/ 831532 h 1200150"/>
                <a:gd name="connsiteX515" fmla="*/ 98107 w 2200275"/>
                <a:gd name="connsiteY515" fmla="*/ 832485 h 1200150"/>
                <a:gd name="connsiteX516" fmla="*/ 97155 w 2200275"/>
                <a:gd name="connsiteY516" fmla="*/ 834390 h 1200150"/>
                <a:gd name="connsiteX517" fmla="*/ 93345 w 2200275"/>
                <a:gd name="connsiteY517" fmla="*/ 839153 h 1200150"/>
                <a:gd name="connsiteX518" fmla="*/ 81915 w 2200275"/>
                <a:gd name="connsiteY518" fmla="*/ 861060 h 1200150"/>
                <a:gd name="connsiteX519" fmla="*/ 79057 w 2200275"/>
                <a:gd name="connsiteY519" fmla="*/ 863918 h 1200150"/>
                <a:gd name="connsiteX520" fmla="*/ 76200 w 2200275"/>
                <a:gd name="connsiteY520" fmla="*/ 865822 h 1200150"/>
                <a:gd name="connsiteX521" fmla="*/ 73343 w 2200275"/>
                <a:gd name="connsiteY521" fmla="*/ 865822 h 1200150"/>
                <a:gd name="connsiteX522" fmla="*/ 71438 w 2200275"/>
                <a:gd name="connsiteY522" fmla="*/ 864870 h 1200150"/>
                <a:gd name="connsiteX523" fmla="*/ 68580 w 2200275"/>
                <a:gd name="connsiteY523" fmla="*/ 862965 h 1200150"/>
                <a:gd name="connsiteX524" fmla="*/ 59055 w 2200275"/>
                <a:gd name="connsiteY524" fmla="*/ 850582 h 1200150"/>
                <a:gd name="connsiteX525" fmla="*/ 49530 w 2200275"/>
                <a:gd name="connsiteY525" fmla="*/ 842963 h 1200150"/>
                <a:gd name="connsiteX526" fmla="*/ 46672 w 2200275"/>
                <a:gd name="connsiteY526" fmla="*/ 842010 h 1200150"/>
                <a:gd name="connsiteX527" fmla="*/ 43815 w 2200275"/>
                <a:gd name="connsiteY527" fmla="*/ 841057 h 1200150"/>
                <a:gd name="connsiteX528" fmla="*/ 41910 w 2200275"/>
                <a:gd name="connsiteY528" fmla="*/ 841057 h 1200150"/>
                <a:gd name="connsiteX529" fmla="*/ 33338 w 2200275"/>
                <a:gd name="connsiteY529" fmla="*/ 844868 h 1200150"/>
                <a:gd name="connsiteX530" fmla="*/ 20003 w 2200275"/>
                <a:gd name="connsiteY530" fmla="*/ 846772 h 1200150"/>
                <a:gd name="connsiteX531" fmla="*/ 19050 w 2200275"/>
                <a:gd name="connsiteY531" fmla="*/ 841057 h 1200150"/>
                <a:gd name="connsiteX532" fmla="*/ 21907 w 2200275"/>
                <a:gd name="connsiteY532" fmla="*/ 834390 h 1200150"/>
                <a:gd name="connsiteX533" fmla="*/ 24765 w 2200275"/>
                <a:gd name="connsiteY533" fmla="*/ 830580 h 1200150"/>
                <a:gd name="connsiteX534" fmla="*/ 25718 w 2200275"/>
                <a:gd name="connsiteY534" fmla="*/ 826770 h 1200150"/>
                <a:gd name="connsiteX535" fmla="*/ 26670 w 2200275"/>
                <a:gd name="connsiteY535" fmla="*/ 823913 h 1200150"/>
                <a:gd name="connsiteX536" fmla="*/ 23813 w 2200275"/>
                <a:gd name="connsiteY536" fmla="*/ 817245 h 1200150"/>
                <a:gd name="connsiteX537" fmla="*/ 25718 w 2200275"/>
                <a:gd name="connsiteY537" fmla="*/ 809625 h 1200150"/>
                <a:gd name="connsiteX538" fmla="*/ 24765 w 2200275"/>
                <a:gd name="connsiteY538" fmla="*/ 806768 h 1200150"/>
                <a:gd name="connsiteX539" fmla="*/ 20003 w 2200275"/>
                <a:gd name="connsiteY539" fmla="*/ 804863 h 1200150"/>
                <a:gd name="connsiteX540" fmla="*/ 6668 w 2200275"/>
                <a:gd name="connsiteY540" fmla="*/ 801053 h 1200150"/>
                <a:gd name="connsiteX541" fmla="*/ 1905 w 2200275"/>
                <a:gd name="connsiteY541" fmla="*/ 798195 h 1200150"/>
                <a:gd name="connsiteX542" fmla="*/ 953 w 2200275"/>
                <a:gd name="connsiteY542" fmla="*/ 796290 h 1200150"/>
                <a:gd name="connsiteX543" fmla="*/ 0 w 2200275"/>
                <a:gd name="connsiteY543" fmla="*/ 794385 h 1200150"/>
                <a:gd name="connsiteX544" fmla="*/ 2857 w 2200275"/>
                <a:gd name="connsiteY544" fmla="*/ 788670 h 1200150"/>
                <a:gd name="connsiteX545" fmla="*/ 12382 w 2200275"/>
                <a:gd name="connsiteY545" fmla="*/ 774382 h 1200150"/>
                <a:gd name="connsiteX546" fmla="*/ 16193 w 2200275"/>
                <a:gd name="connsiteY546" fmla="*/ 768668 h 1200150"/>
                <a:gd name="connsiteX547" fmla="*/ 20003 w 2200275"/>
                <a:gd name="connsiteY547" fmla="*/ 757238 h 1200150"/>
                <a:gd name="connsiteX548" fmla="*/ 20955 w 2200275"/>
                <a:gd name="connsiteY548" fmla="*/ 753428 h 1200150"/>
                <a:gd name="connsiteX549" fmla="*/ 20955 w 2200275"/>
                <a:gd name="connsiteY549" fmla="*/ 746760 h 1200150"/>
                <a:gd name="connsiteX550" fmla="*/ 21907 w 2200275"/>
                <a:gd name="connsiteY550" fmla="*/ 740093 h 1200150"/>
                <a:gd name="connsiteX551" fmla="*/ 20955 w 2200275"/>
                <a:gd name="connsiteY551" fmla="*/ 732472 h 1200150"/>
                <a:gd name="connsiteX552" fmla="*/ 21907 w 2200275"/>
                <a:gd name="connsiteY552" fmla="*/ 728663 h 1200150"/>
                <a:gd name="connsiteX553" fmla="*/ 26670 w 2200275"/>
                <a:gd name="connsiteY553" fmla="*/ 721995 h 1200150"/>
                <a:gd name="connsiteX554" fmla="*/ 43815 w 2200275"/>
                <a:gd name="connsiteY554" fmla="*/ 705803 h 1200150"/>
                <a:gd name="connsiteX555" fmla="*/ 55245 w 2200275"/>
                <a:gd name="connsiteY555" fmla="*/ 691515 h 1200150"/>
                <a:gd name="connsiteX556" fmla="*/ 58103 w 2200275"/>
                <a:gd name="connsiteY556" fmla="*/ 686753 h 1200150"/>
                <a:gd name="connsiteX557" fmla="*/ 63818 w 2200275"/>
                <a:gd name="connsiteY557" fmla="*/ 677228 h 1200150"/>
                <a:gd name="connsiteX558" fmla="*/ 67628 w 2200275"/>
                <a:gd name="connsiteY558" fmla="*/ 673418 h 1200150"/>
                <a:gd name="connsiteX559" fmla="*/ 77153 w 2200275"/>
                <a:gd name="connsiteY559" fmla="*/ 664845 h 1200150"/>
                <a:gd name="connsiteX560" fmla="*/ 80010 w 2200275"/>
                <a:gd name="connsiteY560" fmla="*/ 663893 h 1200150"/>
                <a:gd name="connsiteX561" fmla="*/ 84772 w 2200275"/>
                <a:gd name="connsiteY561" fmla="*/ 663893 h 1200150"/>
                <a:gd name="connsiteX562" fmla="*/ 92393 w 2200275"/>
                <a:gd name="connsiteY562" fmla="*/ 665797 h 1200150"/>
                <a:gd name="connsiteX563" fmla="*/ 94297 w 2200275"/>
                <a:gd name="connsiteY563" fmla="*/ 668655 h 1200150"/>
                <a:gd name="connsiteX564" fmla="*/ 95250 w 2200275"/>
                <a:gd name="connsiteY564" fmla="*/ 671513 h 1200150"/>
                <a:gd name="connsiteX565" fmla="*/ 94297 w 2200275"/>
                <a:gd name="connsiteY565" fmla="*/ 678180 h 1200150"/>
                <a:gd name="connsiteX566" fmla="*/ 95250 w 2200275"/>
                <a:gd name="connsiteY566" fmla="*/ 681038 h 1200150"/>
                <a:gd name="connsiteX567" fmla="*/ 99060 w 2200275"/>
                <a:gd name="connsiteY567" fmla="*/ 687705 h 1200150"/>
                <a:gd name="connsiteX568" fmla="*/ 100013 w 2200275"/>
                <a:gd name="connsiteY568" fmla="*/ 690563 h 1200150"/>
                <a:gd name="connsiteX569" fmla="*/ 102870 w 2200275"/>
                <a:gd name="connsiteY569" fmla="*/ 703897 h 1200150"/>
                <a:gd name="connsiteX570" fmla="*/ 105728 w 2200275"/>
                <a:gd name="connsiteY570" fmla="*/ 708660 h 1200150"/>
                <a:gd name="connsiteX571" fmla="*/ 106680 w 2200275"/>
                <a:gd name="connsiteY571" fmla="*/ 710565 h 1200150"/>
                <a:gd name="connsiteX572" fmla="*/ 110490 w 2200275"/>
                <a:gd name="connsiteY572" fmla="*/ 708660 h 1200150"/>
                <a:gd name="connsiteX573" fmla="*/ 116205 w 2200275"/>
                <a:gd name="connsiteY573" fmla="*/ 703897 h 1200150"/>
                <a:gd name="connsiteX574" fmla="*/ 127635 w 2200275"/>
                <a:gd name="connsiteY574" fmla="*/ 689610 h 1200150"/>
                <a:gd name="connsiteX575" fmla="*/ 135255 w 2200275"/>
                <a:gd name="connsiteY575" fmla="*/ 676275 h 1200150"/>
                <a:gd name="connsiteX576" fmla="*/ 137160 w 2200275"/>
                <a:gd name="connsiteY576" fmla="*/ 673418 h 1200150"/>
                <a:gd name="connsiteX577" fmla="*/ 140970 w 2200275"/>
                <a:gd name="connsiteY577" fmla="*/ 671513 h 1200150"/>
                <a:gd name="connsiteX578" fmla="*/ 159068 w 2200275"/>
                <a:gd name="connsiteY578" fmla="*/ 668655 h 1200150"/>
                <a:gd name="connsiteX579" fmla="*/ 165735 w 2200275"/>
                <a:gd name="connsiteY579" fmla="*/ 664845 h 1200150"/>
                <a:gd name="connsiteX580" fmla="*/ 179070 w 2200275"/>
                <a:gd name="connsiteY580" fmla="*/ 646747 h 1200150"/>
                <a:gd name="connsiteX581" fmla="*/ 195263 w 2200275"/>
                <a:gd name="connsiteY581" fmla="*/ 648653 h 1200150"/>
                <a:gd name="connsiteX582" fmla="*/ 201930 w 2200275"/>
                <a:gd name="connsiteY582" fmla="*/ 645795 h 1200150"/>
                <a:gd name="connsiteX583" fmla="*/ 215265 w 2200275"/>
                <a:gd name="connsiteY583" fmla="*/ 631507 h 1200150"/>
                <a:gd name="connsiteX584" fmla="*/ 230505 w 2200275"/>
                <a:gd name="connsiteY584" fmla="*/ 620078 h 1200150"/>
                <a:gd name="connsiteX585" fmla="*/ 236220 w 2200275"/>
                <a:gd name="connsiteY585" fmla="*/ 617220 h 1200150"/>
                <a:gd name="connsiteX586" fmla="*/ 240982 w 2200275"/>
                <a:gd name="connsiteY586" fmla="*/ 616268 h 1200150"/>
                <a:gd name="connsiteX587" fmla="*/ 243840 w 2200275"/>
                <a:gd name="connsiteY587" fmla="*/ 617220 h 1200150"/>
                <a:gd name="connsiteX588" fmla="*/ 245745 w 2200275"/>
                <a:gd name="connsiteY588" fmla="*/ 619125 h 1200150"/>
                <a:gd name="connsiteX589" fmla="*/ 248603 w 2200275"/>
                <a:gd name="connsiteY589" fmla="*/ 623888 h 1200150"/>
                <a:gd name="connsiteX590" fmla="*/ 251460 w 2200275"/>
                <a:gd name="connsiteY590" fmla="*/ 625793 h 1200150"/>
                <a:gd name="connsiteX591" fmla="*/ 255270 w 2200275"/>
                <a:gd name="connsiteY591" fmla="*/ 627697 h 1200150"/>
                <a:gd name="connsiteX592" fmla="*/ 262890 w 2200275"/>
                <a:gd name="connsiteY592" fmla="*/ 629603 h 1200150"/>
                <a:gd name="connsiteX593" fmla="*/ 266700 w 2200275"/>
                <a:gd name="connsiteY593" fmla="*/ 629603 h 1200150"/>
                <a:gd name="connsiteX594" fmla="*/ 268605 w 2200275"/>
                <a:gd name="connsiteY594" fmla="*/ 629603 h 1200150"/>
                <a:gd name="connsiteX595" fmla="*/ 273368 w 2200275"/>
                <a:gd name="connsiteY595" fmla="*/ 622935 h 1200150"/>
                <a:gd name="connsiteX596" fmla="*/ 341947 w 2200275"/>
                <a:gd name="connsiteY596" fmla="*/ 586740 h 1200150"/>
                <a:gd name="connsiteX597" fmla="*/ 343853 w 2200275"/>
                <a:gd name="connsiteY597" fmla="*/ 581025 h 1200150"/>
                <a:gd name="connsiteX598" fmla="*/ 344805 w 2200275"/>
                <a:gd name="connsiteY598" fmla="*/ 571500 h 1200150"/>
                <a:gd name="connsiteX599" fmla="*/ 345757 w 2200275"/>
                <a:gd name="connsiteY599" fmla="*/ 566738 h 1200150"/>
                <a:gd name="connsiteX600" fmla="*/ 347663 w 2200275"/>
                <a:gd name="connsiteY600" fmla="*/ 562928 h 1200150"/>
                <a:gd name="connsiteX601" fmla="*/ 351472 w 2200275"/>
                <a:gd name="connsiteY601" fmla="*/ 558165 h 1200150"/>
                <a:gd name="connsiteX602" fmla="*/ 354330 w 2200275"/>
                <a:gd name="connsiteY602" fmla="*/ 555307 h 1200150"/>
                <a:gd name="connsiteX603" fmla="*/ 357188 w 2200275"/>
                <a:gd name="connsiteY603" fmla="*/ 554355 h 1200150"/>
                <a:gd name="connsiteX604" fmla="*/ 369570 w 2200275"/>
                <a:gd name="connsiteY604" fmla="*/ 553403 h 1200150"/>
                <a:gd name="connsiteX605" fmla="*/ 379095 w 2200275"/>
                <a:gd name="connsiteY605" fmla="*/ 555307 h 1200150"/>
                <a:gd name="connsiteX606" fmla="*/ 381953 w 2200275"/>
                <a:gd name="connsiteY606" fmla="*/ 556260 h 1200150"/>
                <a:gd name="connsiteX607" fmla="*/ 383857 w 2200275"/>
                <a:gd name="connsiteY607" fmla="*/ 558165 h 1200150"/>
                <a:gd name="connsiteX608" fmla="*/ 386715 w 2200275"/>
                <a:gd name="connsiteY608" fmla="*/ 562928 h 1200150"/>
                <a:gd name="connsiteX609" fmla="*/ 387668 w 2200275"/>
                <a:gd name="connsiteY609" fmla="*/ 564832 h 1200150"/>
                <a:gd name="connsiteX610" fmla="*/ 391478 w 2200275"/>
                <a:gd name="connsiteY610" fmla="*/ 568643 h 1200150"/>
                <a:gd name="connsiteX611" fmla="*/ 394335 w 2200275"/>
                <a:gd name="connsiteY611" fmla="*/ 568643 h 1200150"/>
                <a:gd name="connsiteX612" fmla="*/ 432435 w 2200275"/>
                <a:gd name="connsiteY612" fmla="*/ 564832 h 1200150"/>
                <a:gd name="connsiteX613" fmla="*/ 438150 w 2200275"/>
                <a:gd name="connsiteY613" fmla="*/ 561975 h 1200150"/>
                <a:gd name="connsiteX614" fmla="*/ 441007 w 2200275"/>
                <a:gd name="connsiteY614" fmla="*/ 559118 h 1200150"/>
                <a:gd name="connsiteX615" fmla="*/ 442913 w 2200275"/>
                <a:gd name="connsiteY615" fmla="*/ 553403 h 1200150"/>
                <a:gd name="connsiteX616" fmla="*/ 442913 w 2200275"/>
                <a:gd name="connsiteY616" fmla="*/ 546735 h 1200150"/>
                <a:gd name="connsiteX617" fmla="*/ 442913 w 2200275"/>
                <a:gd name="connsiteY617" fmla="*/ 530543 h 1200150"/>
                <a:gd name="connsiteX618" fmla="*/ 441960 w 2200275"/>
                <a:gd name="connsiteY618" fmla="*/ 528638 h 1200150"/>
                <a:gd name="connsiteX619" fmla="*/ 441007 w 2200275"/>
                <a:gd name="connsiteY619" fmla="*/ 526732 h 1200150"/>
                <a:gd name="connsiteX620" fmla="*/ 438150 w 2200275"/>
                <a:gd name="connsiteY620" fmla="*/ 524828 h 1200150"/>
                <a:gd name="connsiteX621" fmla="*/ 427672 w 2200275"/>
                <a:gd name="connsiteY621" fmla="*/ 520065 h 1200150"/>
                <a:gd name="connsiteX622" fmla="*/ 423863 w 2200275"/>
                <a:gd name="connsiteY622" fmla="*/ 516255 h 1200150"/>
                <a:gd name="connsiteX623" fmla="*/ 425768 w 2200275"/>
                <a:gd name="connsiteY623" fmla="*/ 512445 h 1200150"/>
                <a:gd name="connsiteX624" fmla="*/ 430530 w 2200275"/>
                <a:gd name="connsiteY624" fmla="*/ 505778 h 1200150"/>
                <a:gd name="connsiteX625" fmla="*/ 450532 w 2200275"/>
                <a:gd name="connsiteY625" fmla="*/ 488632 h 1200150"/>
                <a:gd name="connsiteX626" fmla="*/ 454343 w 2200275"/>
                <a:gd name="connsiteY626" fmla="*/ 483870 h 1200150"/>
                <a:gd name="connsiteX627" fmla="*/ 455295 w 2200275"/>
                <a:gd name="connsiteY627" fmla="*/ 481013 h 1200150"/>
                <a:gd name="connsiteX628" fmla="*/ 461010 w 2200275"/>
                <a:gd name="connsiteY628" fmla="*/ 458153 h 1200150"/>
                <a:gd name="connsiteX629" fmla="*/ 461010 w 2200275"/>
                <a:gd name="connsiteY629" fmla="*/ 456247 h 1200150"/>
                <a:gd name="connsiteX630" fmla="*/ 460057 w 2200275"/>
                <a:gd name="connsiteY630" fmla="*/ 451485 h 1200150"/>
                <a:gd name="connsiteX631" fmla="*/ 460057 w 2200275"/>
                <a:gd name="connsiteY631" fmla="*/ 448628 h 1200150"/>
                <a:gd name="connsiteX632" fmla="*/ 457200 w 2200275"/>
                <a:gd name="connsiteY632" fmla="*/ 443865 h 1200150"/>
                <a:gd name="connsiteX633" fmla="*/ 458153 w 2200275"/>
                <a:gd name="connsiteY633" fmla="*/ 440055 h 1200150"/>
                <a:gd name="connsiteX634" fmla="*/ 462915 w 2200275"/>
                <a:gd name="connsiteY634" fmla="*/ 434340 h 1200150"/>
                <a:gd name="connsiteX635" fmla="*/ 475297 w 2200275"/>
                <a:gd name="connsiteY635" fmla="*/ 424815 h 1200150"/>
                <a:gd name="connsiteX636" fmla="*/ 491490 w 2200275"/>
                <a:gd name="connsiteY636" fmla="*/ 409575 h 1200150"/>
                <a:gd name="connsiteX637" fmla="*/ 508635 w 2200275"/>
                <a:gd name="connsiteY637" fmla="*/ 400050 h 1200150"/>
                <a:gd name="connsiteX638" fmla="*/ 514350 w 2200275"/>
                <a:gd name="connsiteY638" fmla="*/ 398145 h 1200150"/>
                <a:gd name="connsiteX639" fmla="*/ 518160 w 2200275"/>
                <a:gd name="connsiteY639" fmla="*/ 398145 h 1200150"/>
                <a:gd name="connsiteX640" fmla="*/ 524828 w 2200275"/>
                <a:gd name="connsiteY640" fmla="*/ 400050 h 1200150"/>
                <a:gd name="connsiteX641" fmla="*/ 532447 w 2200275"/>
                <a:gd name="connsiteY641" fmla="*/ 399097 h 1200150"/>
                <a:gd name="connsiteX642" fmla="*/ 536257 w 2200275"/>
                <a:gd name="connsiteY642" fmla="*/ 400050 h 1200150"/>
                <a:gd name="connsiteX643" fmla="*/ 541020 w 2200275"/>
                <a:gd name="connsiteY643" fmla="*/ 401955 h 1200150"/>
                <a:gd name="connsiteX644" fmla="*/ 544830 w 2200275"/>
                <a:gd name="connsiteY644" fmla="*/ 403860 h 1200150"/>
                <a:gd name="connsiteX645" fmla="*/ 548640 w 2200275"/>
                <a:gd name="connsiteY645" fmla="*/ 403860 h 1200150"/>
                <a:gd name="connsiteX646" fmla="*/ 555307 w 2200275"/>
                <a:gd name="connsiteY646" fmla="*/ 402907 h 1200150"/>
                <a:gd name="connsiteX647" fmla="*/ 560070 w 2200275"/>
                <a:gd name="connsiteY647" fmla="*/ 403860 h 1200150"/>
                <a:gd name="connsiteX648" fmla="*/ 561975 w 2200275"/>
                <a:gd name="connsiteY648" fmla="*/ 404813 h 1200150"/>
                <a:gd name="connsiteX649" fmla="*/ 564832 w 2200275"/>
                <a:gd name="connsiteY649" fmla="*/ 409575 h 1200150"/>
                <a:gd name="connsiteX650" fmla="*/ 566738 w 2200275"/>
                <a:gd name="connsiteY650" fmla="*/ 411480 h 1200150"/>
                <a:gd name="connsiteX651" fmla="*/ 570547 w 2200275"/>
                <a:gd name="connsiteY651" fmla="*/ 412432 h 1200150"/>
                <a:gd name="connsiteX652" fmla="*/ 577215 w 2200275"/>
                <a:gd name="connsiteY652" fmla="*/ 411480 h 1200150"/>
                <a:gd name="connsiteX653" fmla="*/ 596265 w 2200275"/>
                <a:gd name="connsiteY653" fmla="*/ 406718 h 1200150"/>
                <a:gd name="connsiteX654" fmla="*/ 601028 w 2200275"/>
                <a:gd name="connsiteY654" fmla="*/ 406718 h 1200150"/>
                <a:gd name="connsiteX655" fmla="*/ 606743 w 2200275"/>
                <a:gd name="connsiteY655" fmla="*/ 408622 h 1200150"/>
                <a:gd name="connsiteX656" fmla="*/ 633413 w 2200275"/>
                <a:gd name="connsiteY656" fmla="*/ 406718 h 1200150"/>
                <a:gd name="connsiteX657" fmla="*/ 639128 w 2200275"/>
                <a:gd name="connsiteY657" fmla="*/ 407670 h 1200150"/>
                <a:gd name="connsiteX658" fmla="*/ 647700 w 2200275"/>
                <a:gd name="connsiteY658" fmla="*/ 411480 h 1200150"/>
                <a:gd name="connsiteX659" fmla="*/ 661035 w 2200275"/>
                <a:gd name="connsiteY659" fmla="*/ 412432 h 1200150"/>
                <a:gd name="connsiteX660" fmla="*/ 676275 w 2200275"/>
                <a:gd name="connsiteY660" fmla="*/ 417195 h 1200150"/>
                <a:gd name="connsiteX661" fmla="*/ 686753 w 2200275"/>
                <a:gd name="connsiteY661" fmla="*/ 422910 h 1200150"/>
                <a:gd name="connsiteX662" fmla="*/ 692468 w 2200275"/>
                <a:gd name="connsiteY662" fmla="*/ 427672 h 1200150"/>
                <a:gd name="connsiteX663" fmla="*/ 694372 w 2200275"/>
                <a:gd name="connsiteY663" fmla="*/ 429578 h 1200150"/>
                <a:gd name="connsiteX664" fmla="*/ 701040 w 2200275"/>
                <a:gd name="connsiteY664" fmla="*/ 429578 h 1200150"/>
                <a:gd name="connsiteX665" fmla="*/ 705803 w 2200275"/>
                <a:gd name="connsiteY665" fmla="*/ 429578 h 1200150"/>
                <a:gd name="connsiteX666" fmla="*/ 726757 w 2200275"/>
                <a:gd name="connsiteY666" fmla="*/ 429578 h 1200150"/>
                <a:gd name="connsiteX667" fmla="*/ 735330 w 2200275"/>
                <a:gd name="connsiteY667" fmla="*/ 426720 h 1200150"/>
                <a:gd name="connsiteX668" fmla="*/ 761047 w 2200275"/>
                <a:gd name="connsiteY668" fmla="*/ 411480 h 1200150"/>
                <a:gd name="connsiteX669" fmla="*/ 764857 w 2200275"/>
                <a:gd name="connsiteY669" fmla="*/ 409575 h 1200150"/>
                <a:gd name="connsiteX670" fmla="*/ 783907 w 2200275"/>
                <a:gd name="connsiteY670" fmla="*/ 408622 h 1200150"/>
                <a:gd name="connsiteX671" fmla="*/ 790575 w 2200275"/>
                <a:gd name="connsiteY671" fmla="*/ 409575 h 1200150"/>
                <a:gd name="connsiteX672" fmla="*/ 802005 w 2200275"/>
                <a:gd name="connsiteY672" fmla="*/ 414338 h 1200150"/>
                <a:gd name="connsiteX673" fmla="*/ 804863 w 2200275"/>
                <a:gd name="connsiteY673" fmla="*/ 414338 h 1200150"/>
                <a:gd name="connsiteX674" fmla="*/ 814388 w 2200275"/>
                <a:gd name="connsiteY674" fmla="*/ 413385 h 1200150"/>
                <a:gd name="connsiteX675" fmla="*/ 821055 w 2200275"/>
                <a:gd name="connsiteY675" fmla="*/ 414338 h 1200150"/>
                <a:gd name="connsiteX676" fmla="*/ 828675 w 2200275"/>
                <a:gd name="connsiteY676" fmla="*/ 417195 h 1200150"/>
                <a:gd name="connsiteX677" fmla="*/ 830580 w 2200275"/>
                <a:gd name="connsiteY677" fmla="*/ 419100 h 1200150"/>
                <a:gd name="connsiteX678" fmla="*/ 833438 w 2200275"/>
                <a:gd name="connsiteY678" fmla="*/ 421957 h 1200150"/>
                <a:gd name="connsiteX679" fmla="*/ 837247 w 2200275"/>
                <a:gd name="connsiteY679" fmla="*/ 429578 h 1200150"/>
                <a:gd name="connsiteX680" fmla="*/ 839153 w 2200275"/>
                <a:gd name="connsiteY680" fmla="*/ 431482 h 1200150"/>
                <a:gd name="connsiteX681" fmla="*/ 841057 w 2200275"/>
                <a:gd name="connsiteY681" fmla="*/ 432435 h 1200150"/>
                <a:gd name="connsiteX682" fmla="*/ 843915 w 2200275"/>
                <a:gd name="connsiteY682" fmla="*/ 431482 h 1200150"/>
                <a:gd name="connsiteX683" fmla="*/ 848678 w 2200275"/>
                <a:gd name="connsiteY683" fmla="*/ 425768 h 1200150"/>
                <a:gd name="connsiteX684" fmla="*/ 852488 w 2200275"/>
                <a:gd name="connsiteY684" fmla="*/ 424815 h 1200150"/>
                <a:gd name="connsiteX685" fmla="*/ 859155 w 2200275"/>
                <a:gd name="connsiteY685" fmla="*/ 424815 h 1200150"/>
                <a:gd name="connsiteX686" fmla="*/ 871538 w 2200275"/>
                <a:gd name="connsiteY686" fmla="*/ 421005 h 1200150"/>
                <a:gd name="connsiteX687" fmla="*/ 882015 w 2200275"/>
                <a:gd name="connsiteY687" fmla="*/ 416243 h 1200150"/>
                <a:gd name="connsiteX688" fmla="*/ 899160 w 2200275"/>
                <a:gd name="connsiteY688" fmla="*/ 411480 h 1200150"/>
                <a:gd name="connsiteX689" fmla="*/ 905827 w 2200275"/>
                <a:gd name="connsiteY689" fmla="*/ 406718 h 1200150"/>
                <a:gd name="connsiteX690" fmla="*/ 909638 w 2200275"/>
                <a:gd name="connsiteY690" fmla="*/ 402907 h 1200150"/>
                <a:gd name="connsiteX691" fmla="*/ 913448 w 2200275"/>
                <a:gd name="connsiteY691" fmla="*/ 390525 h 1200150"/>
                <a:gd name="connsiteX692" fmla="*/ 916305 w 2200275"/>
                <a:gd name="connsiteY692" fmla="*/ 381953 h 1200150"/>
                <a:gd name="connsiteX693" fmla="*/ 916305 w 2200275"/>
                <a:gd name="connsiteY693" fmla="*/ 377190 h 1200150"/>
                <a:gd name="connsiteX694" fmla="*/ 918210 w 2200275"/>
                <a:gd name="connsiteY694" fmla="*/ 372428 h 1200150"/>
                <a:gd name="connsiteX695" fmla="*/ 919163 w 2200275"/>
                <a:gd name="connsiteY695" fmla="*/ 368618 h 1200150"/>
                <a:gd name="connsiteX696" fmla="*/ 924877 w 2200275"/>
                <a:gd name="connsiteY696" fmla="*/ 362903 h 1200150"/>
                <a:gd name="connsiteX697" fmla="*/ 938213 w 2200275"/>
                <a:gd name="connsiteY697" fmla="*/ 351472 h 1200150"/>
                <a:gd name="connsiteX698" fmla="*/ 942023 w 2200275"/>
                <a:gd name="connsiteY698" fmla="*/ 347663 h 1200150"/>
                <a:gd name="connsiteX699" fmla="*/ 943927 w 2200275"/>
                <a:gd name="connsiteY699" fmla="*/ 343853 h 1200150"/>
                <a:gd name="connsiteX700" fmla="*/ 945832 w 2200275"/>
                <a:gd name="connsiteY700" fmla="*/ 334328 h 1200150"/>
                <a:gd name="connsiteX701" fmla="*/ 946785 w 2200275"/>
                <a:gd name="connsiteY701" fmla="*/ 329565 h 1200150"/>
                <a:gd name="connsiteX702" fmla="*/ 946785 w 2200275"/>
                <a:gd name="connsiteY702" fmla="*/ 314325 h 1200150"/>
                <a:gd name="connsiteX703" fmla="*/ 944880 w 2200275"/>
                <a:gd name="connsiteY703" fmla="*/ 299085 h 1200150"/>
                <a:gd name="connsiteX704" fmla="*/ 944880 w 2200275"/>
                <a:gd name="connsiteY704" fmla="*/ 288607 h 1200150"/>
                <a:gd name="connsiteX705" fmla="*/ 945832 w 2200275"/>
                <a:gd name="connsiteY705" fmla="*/ 282893 h 1200150"/>
                <a:gd name="connsiteX706" fmla="*/ 947738 w 2200275"/>
                <a:gd name="connsiteY706" fmla="*/ 278130 h 1200150"/>
                <a:gd name="connsiteX707" fmla="*/ 952500 w 2200275"/>
                <a:gd name="connsiteY707" fmla="*/ 272415 h 1200150"/>
                <a:gd name="connsiteX708" fmla="*/ 957263 w 2200275"/>
                <a:gd name="connsiteY708" fmla="*/ 270510 h 1200150"/>
                <a:gd name="connsiteX709" fmla="*/ 962025 w 2200275"/>
                <a:gd name="connsiteY709" fmla="*/ 271463 h 1200150"/>
                <a:gd name="connsiteX710" fmla="*/ 978218 w 2200275"/>
                <a:gd name="connsiteY710" fmla="*/ 277178 h 1200150"/>
                <a:gd name="connsiteX711" fmla="*/ 1009650 w 2200275"/>
                <a:gd name="connsiteY711" fmla="*/ 278130 h 1200150"/>
                <a:gd name="connsiteX712" fmla="*/ 1014413 w 2200275"/>
                <a:gd name="connsiteY712" fmla="*/ 275272 h 1200150"/>
                <a:gd name="connsiteX713" fmla="*/ 1017270 w 2200275"/>
                <a:gd name="connsiteY713" fmla="*/ 271463 h 1200150"/>
                <a:gd name="connsiteX714" fmla="*/ 1019175 w 2200275"/>
                <a:gd name="connsiteY714" fmla="*/ 265747 h 1200150"/>
                <a:gd name="connsiteX715" fmla="*/ 1022985 w 2200275"/>
                <a:gd name="connsiteY715" fmla="*/ 260032 h 1200150"/>
                <a:gd name="connsiteX716" fmla="*/ 1026795 w 2200275"/>
                <a:gd name="connsiteY716" fmla="*/ 257175 h 1200150"/>
                <a:gd name="connsiteX717" fmla="*/ 1029652 w 2200275"/>
                <a:gd name="connsiteY717" fmla="*/ 256222 h 1200150"/>
                <a:gd name="connsiteX718" fmla="*/ 1047750 w 2200275"/>
                <a:gd name="connsiteY718" fmla="*/ 256222 h 1200150"/>
                <a:gd name="connsiteX719" fmla="*/ 1051560 w 2200275"/>
                <a:gd name="connsiteY719" fmla="*/ 257175 h 1200150"/>
                <a:gd name="connsiteX720" fmla="*/ 1093470 w 2200275"/>
                <a:gd name="connsiteY720" fmla="*/ 272415 h 1200150"/>
                <a:gd name="connsiteX721" fmla="*/ 1109663 w 2200275"/>
                <a:gd name="connsiteY721" fmla="*/ 283845 h 1200150"/>
                <a:gd name="connsiteX722" fmla="*/ 1114425 w 2200275"/>
                <a:gd name="connsiteY722" fmla="*/ 289560 h 1200150"/>
                <a:gd name="connsiteX723" fmla="*/ 1116330 w 2200275"/>
                <a:gd name="connsiteY723" fmla="*/ 293370 h 1200150"/>
                <a:gd name="connsiteX724" fmla="*/ 1119188 w 2200275"/>
                <a:gd name="connsiteY724" fmla="*/ 301943 h 1200150"/>
                <a:gd name="connsiteX725" fmla="*/ 1122045 w 2200275"/>
                <a:gd name="connsiteY725" fmla="*/ 315278 h 1200150"/>
                <a:gd name="connsiteX726" fmla="*/ 1123950 w 2200275"/>
                <a:gd name="connsiteY726" fmla="*/ 319088 h 1200150"/>
                <a:gd name="connsiteX727" fmla="*/ 1126807 w 2200275"/>
                <a:gd name="connsiteY727" fmla="*/ 322897 h 1200150"/>
                <a:gd name="connsiteX728" fmla="*/ 1133475 w 2200275"/>
                <a:gd name="connsiteY728" fmla="*/ 323850 h 1200150"/>
                <a:gd name="connsiteX729" fmla="*/ 1138238 w 2200275"/>
                <a:gd name="connsiteY729" fmla="*/ 321945 h 1200150"/>
                <a:gd name="connsiteX730" fmla="*/ 1141095 w 2200275"/>
                <a:gd name="connsiteY730" fmla="*/ 319088 h 1200150"/>
                <a:gd name="connsiteX731" fmla="*/ 1143952 w 2200275"/>
                <a:gd name="connsiteY731" fmla="*/ 314325 h 1200150"/>
                <a:gd name="connsiteX732" fmla="*/ 1150620 w 2200275"/>
                <a:gd name="connsiteY732" fmla="*/ 308610 h 1200150"/>
                <a:gd name="connsiteX733" fmla="*/ 1154430 w 2200275"/>
                <a:gd name="connsiteY733" fmla="*/ 303847 h 1200150"/>
                <a:gd name="connsiteX734" fmla="*/ 1157288 w 2200275"/>
                <a:gd name="connsiteY734" fmla="*/ 298132 h 1200150"/>
                <a:gd name="connsiteX735" fmla="*/ 1161098 w 2200275"/>
                <a:gd name="connsiteY735" fmla="*/ 294322 h 1200150"/>
                <a:gd name="connsiteX736" fmla="*/ 1168718 w 2200275"/>
                <a:gd name="connsiteY736" fmla="*/ 289560 h 1200150"/>
                <a:gd name="connsiteX737" fmla="*/ 1191577 w 2200275"/>
                <a:gd name="connsiteY737" fmla="*/ 281940 h 1200150"/>
                <a:gd name="connsiteX738" fmla="*/ 1194435 w 2200275"/>
                <a:gd name="connsiteY738" fmla="*/ 280035 h 1200150"/>
                <a:gd name="connsiteX739" fmla="*/ 1203960 w 2200275"/>
                <a:gd name="connsiteY739" fmla="*/ 270510 h 1200150"/>
                <a:gd name="connsiteX740" fmla="*/ 1206818 w 2200275"/>
                <a:gd name="connsiteY740" fmla="*/ 269557 h 1200150"/>
                <a:gd name="connsiteX741" fmla="*/ 1209675 w 2200275"/>
                <a:gd name="connsiteY741" fmla="*/ 269557 h 1200150"/>
                <a:gd name="connsiteX742" fmla="*/ 1214438 w 2200275"/>
                <a:gd name="connsiteY742" fmla="*/ 272415 h 1200150"/>
                <a:gd name="connsiteX743" fmla="*/ 1215390 w 2200275"/>
                <a:gd name="connsiteY743" fmla="*/ 276225 h 1200150"/>
                <a:gd name="connsiteX744" fmla="*/ 1217295 w 2200275"/>
                <a:gd name="connsiteY744" fmla="*/ 278130 h 1200150"/>
                <a:gd name="connsiteX745" fmla="*/ 1220152 w 2200275"/>
                <a:gd name="connsiteY745" fmla="*/ 279082 h 1200150"/>
                <a:gd name="connsiteX746" fmla="*/ 1235393 w 2200275"/>
                <a:gd name="connsiteY746" fmla="*/ 276225 h 1200150"/>
                <a:gd name="connsiteX747" fmla="*/ 1239202 w 2200275"/>
                <a:gd name="connsiteY747" fmla="*/ 276225 h 1200150"/>
                <a:gd name="connsiteX748" fmla="*/ 1241107 w 2200275"/>
                <a:gd name="connsiteY748" fmla="*/ 280988 h 1200150"/>
                <a:gd name="connsiteX749" fmla="*/ 1243965 w 2200275"/>
                <a:gd name="connsiteY749" fmla="*/ 282893 h 1200150"/>
                <a:gd name="connsiteX750" fmla="*/ 1247775 w 2200275"/>
                <a:gd name="connsiteY750" fmla="*/ 283845 h 1200150"/>
                <a:gd name="connsiteX751" fmla="*/ 1257300 w 2200275"/>
                <a:gd name="connsiteY751" fmla="*/ 283845 h 1200150"/>
                <a:gd name="connsiteX752" fmla="*/ 1261110 w 2200275"/>
                <a:gd name="connsiteY752" fmla="*/ 281940 h 1200150"/>
                <a:gd name="connsiteX753" fmla="*/ 1263968 w 2200275"/>
                <a:gd name="connsiteY753" fmla="*/ 279082 h 1200150"/>
                <a:gd name="connsiteX754" fmla="*/ 1264920 w 2200275"/>
                <a:gd name="connsiteY754" fmla="*/ 276225 h 1200150"/>
                <a:gd name="connsiteX755" fmla="*/ 1268730 w 2200275"/>
                <a:gd name="connsiteY755" fmla="*/ 262890 h 1200150"/>
                <a:gd name="connsiteX756" fmla="*/ 1269682 w 2200275"/>
                <a:gd name="connsiteY756" fmla="*/ 256222 h 1200150"/>
                <a:gd name="connsiteX757" fmla="*/ 1270635 w 2200275"/>
                <a:gd name="connsiteY757" fmla="*/ 253365 h 1200150"/>
                <a:gd name="connsiteX758" fmla="*/ 1268730 w 2200275"/>
                <a:gd name="connsiteY758" fmla="*/ 250507 h 1200150"/>
                <a:gd name="connsiteX759" fmla="*/ 1263968 w 2200275"/>
                <a:gd name="connsiteY759" fmla="*/ 244793 h 1200150"/>
                <a:gd name="connsiteX760" fmla="*/ 1263015 w 2200275"/>
                <a:gd name="connsiteY760" fmla="*/ 242888 h 1200150"/>
                <a:gd name="connsiteX761" fmla="*/ 1263968 w 2200275"/>
                <a:gd name="connsiteY761" fmla="*/ 240030 h 1200150"/>
                <a:gd name="connsiteX762" fmla="*/ 1265873 w 2200275"/>
                <a:gd name="connsiteY762" fmla="*/ 234315 h 1200150"/>
                <a:gd name="connsiteX763" fmla="*/ 1268730 w 2200275"/>
                <a:gd name="connsiteY763" fmla="*/ 230505 h 1200150"/>
                <a:gd name="connsiteX764" fmla="*/ 1271588 w 2200275"/>
                <a:gd name="connsiteY764" fmla="*/ 227647 h 1200150"/>
                <a:gd name="connsiteX765" fmla="*/ 1290638 w 2200275"/>
                <a:gd name="connsiteY765" fmla="*/ 215265 h 1200150"/>
                <a:gd name="connsiteX766" fmla="*/ 1294448 w 2200275"/>
                <a:gd name="connsiteY766" fmla="*/ 211455 h 1200150"/>
                <a:gd name="connsiteX767" fmla="*/ 1301115 w 2200275"/>
                <a:gd name="connsiteY767" fmla="*/ 199072 h 1200150"/>
                <a:gd name="connsiteX768" fmla="*/ 1305877 w 2200275"/>
                <a:gd name="connsiteY768" fmla="*/ 191453 h 1200150"/>
                <a:gd name="connsiteX769" fmla="*/ 1314450 w 2200275"/>
                <a:gd name="connsiteY769" fmla="*/ 175260 h 1200150"/>
                <a:gd name="connsiteX770" fmla="*/ 1316355 w 2200275"/>
                <a:gd name="connsiteY770" fmla="*/ 173355 h 1200150"/>
                <a:gd name="connsiteX771" fmla="*/ 1320165 w 2200275"/>
                <a:gd name="connsiteY771" fmla="*/ 169545 h 1200150"/>
                <a:gd name="connsiteX772" fmla="*/ 1323975 w 2200275"/>
                <a:gd name="connsiteY772" fmla="*/ 168593 h 1200150"/>
                <a:gd name="connsiteX773" fmla="*/ 1326832 w 2200275"/>
                <a:gd name="connsiteY773" fmla="*/ 169545 h 1200150"/>
                <a:gd name="connsiteX774" fmla="*/ 1332548 w 2200275"/>
                <a:gd name="connsiteY774" fmla="*/ 171450 h 1200150"/>
                <a:gd name="connsiteX775" fmla="*/ 1340168 w 2200275"/>
                <a:gd name="connsiteY775" fmla="*/ 173355 h 1200150"/>
                <a:gd name="connsiteX776" fmla="*/ 1343025 w 2200275"/>
                <a:gd name="connsiteY776" fmla="*/ 172403 h 1200150"/>
                <a:gd name="connsiteX777" fmla="*/ 1344930 w 2200275"/>
                <a:gd name="connsiteY777" fmla="*/ 171450 h 1200150"/>
                <a:gd name="connsiteX778" fmla="*/ 1344930 w 2200275"/>
                <a:gd name="connsiteY778" fmla="*/ 168593 h 1200150"/>
                <a:gd name="connsiteX779" fmla="*/ 1343025 w 2200275"/>
                <a:gd name="connsiteY779" fmla="*/ 160020 h 1200150"/>
                <a:gd name="connsiteX780" fmla="*/ 1343977 w 2200275"/>
                <a:gd name="connsiteY780" fmla="*/ 158115 h 1200150"/>
                <a:gd name="connsiteX781" fmla="*/ 1345882 w 2200275"/>
                <a:gd name="connsiteY781" fmla="*/ 155257 h 1200150"/>
                <a:gd name="connsiteX782" fmla="*/ 1352550 w 2200275"/>
                <a:gd name="connsiteY782" fmla="*/ 148590 h 1200150"/>
                <a:gd name="connsiteX783" fmla="*/ 1358265 w 2200275"/>
                <a:gd name="connsiteY783" fmla="*/ 146685 h 1200150"/>
                <a:gd name="connsiteX784" fmla="*/ 1365885 w 2200275"/>
                <a:gd name="connsiteY784" fmla="*/ 140018 h 1200150"/>
                <a:gd name="connsiteX785" fmla="*/ 1367790 w 2200275"/>
                <a:gd name="connsiteY785" fmla="*/ 139065 h 1200150"/>
                <a:gd name="connsiteX786" fmla="*/ 1370648 w 2200275"/>
                <a:gd name="connsiteY786" fmla="*/ 140018 h 1200150"/>
                <a:gd name="connsiteX787" fmla="*/ 1373505 w 2200275"/>
                <a:gd name="connsiteY787" fmla="*/ 140970 h 1200150"/>
                <a:gd name="connsiteX788" fmla="*/ 1374457 w 2200275"/>
                <a:gd name="connsiteY788" fmla="*/ 143828 h 1200150"/>
                <a:gd name="connsiteX789" fmla="*/ 1374457 w 2200275"/>
                <a:gd name="connsiteY789" fmla="*/ 146685 h 1200150"/>
                <a:gd name="connsiteX790" fmla="*/ 1373505 w 2200275"/>
                <a:gd name="connsiteY790" fmla="*/ 152400 h 1200150"/>
                <a:gd name="connsiteX791" fmla="*/ 1374457 w 2200275"/>
                <a:gd name="connsiteY791" fmla="*/ 155257 h 1200150"/>
                <a:gd name="connsiteX792" fmla="*/ 1375410 w 2200275"/>
                <a:gd name="connsiteY792" fmla="*/ 157163 h 1200150"/>
                <a:gd name="connsiteX793" fmla="*/ 1380173 w 2200275"/>
                <a:gd name="connsiteY793" fmla="*/ 160020 h 1200150"/>
                <a:gd name="connsiteX794" fmla="*/ 1382077 w 2200275"/>
                <a:gd name="connsiteY794" fmla="*/ 161925 h 1200150"/>
                <a:gd name="connsiteX795" fmla="*/ 1383030 w 2200275"/>
                <a:gd name="connsiteY795" fmla="*/ 164782 h 1200150"/>
                <a:gd name="connsiteX796" fmla="*/ 1383982 w 2200275"/>
                <a:gd name="connsiteY796" fmla="*/ 170497 h 1200150"/>
                <a:gd name="connsiteX797" fmla="*/ 1385888 w 2200275"/>
                <a:gd name="connsiteY797" fmla="*/ 172403 h 1200150"/>
                <a:gd name="connsiteX798" fmla="*/ 1387793 w 2200275"/>
                <a:gd name="connsiteY798" fmla="*/ 174307 h 1200150"/>
                <a:gd name="connsiteX799" fmla="*/ 1393507 w 2200275"/>
                <a:gd name="connsiteY799" fmla="*/ 176213 h 1200150"/>
                <a:gd name="connsiteX800" fmla="*/ 1402080 w 2200275"/>
                <a:gd name="connsiteY800" fmla="*/ 178118 h 1200150"/>
                <a:gd name="connsiteX801" fmla="*/ 1408748 w 2200275"/>
                <a:gd name="connsiteY801" fmla="*/ 178118 h 1200150"/>
                <a:gd name="connsiteX802" fmla="*/ 1412557 w 2200275"/>
                <a:gd name="connsiteY802" fmla="*/ 177165 h 1200150"/>
                <a:gd name="connsiteX803" fmla="*/ 1415415 w 2200275"/>
                <a:gd name="connsiteY803" fmla="*/ 176213 h 1200150"/>
                <a:gd name="connsiteX804" fmla="*/ 1422082 w 2200275"/>
                <a:gd name="connsiteY804" fmla="*/ 169545 h 1200150"/>
                <a:gd name="connsiteX805" fmla="*/ 1426845 w 2200275"/>
                <a:gd name="connsiteY805" fmla="*/ 165735 h 1200150"/>
                <a:gd name="connsiteX806" fmla="*/ 1429702 w 2200275"/>
                <a:gd name="connsiteY806" fmla="*/ 164782 h 1200150"/>
                <a:gd name="connsiteX807" fmla="*/ 1431607 w 2200275"/>
                <a:gd name="connsiteY807" fmla="*/ 165735 h 1200150"/>
                <a:gd name="connsiteX808" fmla="*/ 1432560 w 2200275"/>
                <a:gd name="connsiteY808" fmla="*/ 168593 h 1200150"/>
                <a:gd name="connsiteX809" fmla="*/ 1433513 w 2200275"/>
                <a:gd name="connsiteY809" fmla="*/ 171450 h 1200150"/>
                <a:gd name="connsiteX810" fmla="*/ 1432560 w 2200275"/>
                <a:gd name="connsiteY810" fmla="*/ 191453 h 1200150"/>
                <a:gd name="connsiteX811" fmla="*/ 1432560 w 2200275"/>
                <a:gd name="connsiteY811" fmla="*/ 194310 h 1200150"/>
                <a:gd name="connsiteX812" fmla="*/ 1433513 w 2200275"/>
                <a:gd name="connsiteY812" fmla="*/ 196215 h 1200150"/>
                <a:gd name="connsiteX813" fmla="*/ 1437323 w 2200275"/>
                <a:gd name="connsiteY813" fmla="*/ 203835 h 1200150"/>
                <a:gd name="connsiteX814" fmla="*/ 1457325 w 2200275"/>
                <a:gd name="connsiteY814" fmla="*/ 231457 h 1200150"/>
                <a:gd name="connsiteX815" fmla="*/ 1461135 w 2200275"/>
                <a:gd name="connsiteY815" fmla="*/ 238125 h 1200150"/>
                <a:gd name="connsiteX816" fmla="*/ 1463040 w 2200275"/>
                <a:gd name="connsiteY816" fmla="*/ 245745 h 1200150"/>
                <a:gd name="connsiteX817" fmla="*/ 1463993 w 2200275"/>
                <a:gd name="connsiteY817" fmla="*/ 260985 h 1200150"/>
                <a:gd name="connsiteX818" fmla="*/ 1464945 w 2200275"/>
                <a:gd name="connsiteY818" fmla="*/ 266700 h 1200150"/>
                <a:gd name="connsiteX819" fmla="*/ 1466850 w 2200275"/>
                <a:gd name="connsiteY819" fmla="*/ 268605 h 1200150"/>
                <a:gd name="connsiteX820" fmla="*/ 1470660 w 2200275"/>
                <a:gd name="connsiteY820" fmla="*/ 269557 h 1200150"/>
                <a:gd name="connsiteX821" fmla="*/ 1478280 w 2200275"/>
                <a:gd name="connsiteY821" fmla="*/ 269557 h 1200150"/>
                <a:gd name="connsiteX822" fmla="*/ 1482090 w 2200275"/>
                <a:gd name="connsiteY822" fmla="*/ 267653 h 1200150"/>
                <a:gd name="connsiteX823" fmla="*/ 1483995 w 2200275"/>
                <a:gd name="connsiteY823" fmla="*/ 265747 h 1200150"/>
                <a:gd name="connsiteX824" fmla="*/ 1484948 w 2200275"/>
                <a:gd name="connsiteY824" fmla="*/ 259080 h 1200150"/>
                <a:gd name="connsiteX825" fmla="*/ 1483995 w 2200275"/>
                <a:gd name="connsiteY825" fmla="*/ 256222 h 1200150"/>
                <a:gd name="connsiteX826" fmla="*/ 1485900 w 2200275"/>
                <a:gd name="connsiteY826" fmla="*/ 249555 h 1200150"/>
                <a:gd name="connsiteX827" fmla="*/ 1489710 w 2200275"/>
                <a:gd name="connsiteY827" fmla="*/ 245745 h 1200150"/>
                <a:gd name="connsiteX828" fmla="*/ 1492568 w 2200275"/>
                <a:gd name="connsiteY828" fmla="*/ 244793 h 1200150"/>
                <a:gd name="connsiteX829" fmla="*/ 1495425 w 2200275"/>
                <a:gd name="connsiteY829" fmla="*/ 245745 h 1200150"/>
                <a:gd name="connsiteX830" fmla="*/ 1500188 w 2200275"/>
                <a:gd name="connsiteY830" fmla="*/ 248603 h 1200150"/>
                <a:gd name="connsiteX831" fmla="*/ 1506855 w 2200275"/>
                <a:gd name="connsiteY831" fmla="*/ 253365 h 1200150"/>
                <a:gd name="connsiteX832" fmla="*/ 1509713 w 2200275"/>
                <a:gd name="connsiteY832" fmla="*/ 255270 h 1200150"/>
                <a:gd name="connsiteX833" fmla="*/ 1513523 w 2200275"/>
                <a:gd name="connsiteY833" fmla="*/ 256222 h 1200150"/>
                <a:gd name="connsiteX834" fmla="*/ 1520190 w 2200275"/>
                <a:gd name="connsiteY834" fmla="*/ 256222 h 1200150"/>
                <a:gd name="connsiteX835" fmla="*/ 1524952 w 2200275"/>
                <a:gd name="connsiteY835" fmla="*/ 256222 h 1200150"/>
                <a:gd name="connsiteX836" fmla="*/ 1527810 w 2200275"/>
                <a:gd name="connsiteY836" fmla="*/ 254318 h 1200150"/>
                <a:gd name="connsiteX837" fmla="*/ 1537335 w 2200275"/>
                <a:gd name="connsiteY837" fmla="*/ 246697 h 1200150"/>
                <a:gd name="connsiteX838" fmla="*/ 1542098 w 2200275"/>
                <a:gd name="connsiteY838" fmla="*/ 240030 h 1200150"/>
                <a:gd name="connsiteX839" fmla="*/ 1544955 w 2200275"/>
                <a:gd name="connsiteY839" fmla="*/ 235268 h 1200150"/>
                <a:gd name="connsiteX840" fmla="*/ 1547813 w 2200275"/>
                <a:gd name="connsiteY840" fmla="*/ 228600 h 1200150"/>
                <a:gd name="connsiteX841" fmla="*/ 1549718 w 2200275"/>
                <a:gd name="connsiteY841" fmla="*/ 225743 h 1200150"/>
                <a:gd name="connsiteX842" fmla="*/ 1553527 w 2200275"/>
                <a:gd name="connsiteY842" fmla="*/ 221932 h 1200150"/>
                <a:gd name="connsiteX843" fmla="*/ 1556385 w 2200275"/>
                <a:gd name="connsiteY843" fmla="*/ 220980 h 1200150"/>
                <a:gd name="connsiteX844" fmla="*/ 1560195 w 2200275"/>
                <a:gd name="connsiteY844" fmla="*/ 221932 h 1200150"/>
                <a:gd name="connsiteX845" fmla="*/ 1565910 w 2200275"/>
                <a:gd name="connsiteY845" fmla="*/ 223838 h 1200150"/>
                <a:gd name="connsiteX846" fmla="*/ 1579245 w 2200275"/>
                <a:gd name="connsiteY846" fmla="*/ 233363 h 1200150"/>
                <a:gd name="connsiteX847" fmla="*/ 1585913 w 2200275"/>
                <a:gd name="connsiteY847" fmla="*/ 239078 h 1200150"/>
                <a:gd name="connsiteX848" fmla="*/ 1593532 w 2200275"/>
                <a:gd name="connsiteY848" fmla="*/ 241935 h 1200150"/>
                <a:gd name="connsiteX849" fmla="*/ 1602105 w 2200275"/>
                <a:gd name="connsiteY849" fmla="*/ 241935 h 1200150"/>
                <a:gd name="connsiteX850" fmla="*/ 1605915 w 2200275"/>
                <a:gd name="connsiteY850" fmla="*/ 240982 h 1200150"/>
                <a:gd name="connsiteX851" fmla="*/ 1608773 w 2200275"/>
                <a:gd name="connsiteY851" fmla="*/ 238125 h 1200150"/>
                <a:gd name="connsiteX852" fmla="*/ 1610677 w 2200275"/>
                <a:gd name="connsiteY852" fmla="*/ 234315 h 1200150"/>
                <a:gd name="connsiteX853" fmla="*/ 1614488 w 2200275"/>
                <a:gd name="connsiteY853" fmla="*/ 230505 h 1200150"/>
                <a:gd name="connsiteX854" fmla="*/ 1638300 w 2200275"/>
                <a:gd name="connsiteY854" fmla="*/ 210503 h 1200150"/>
                <a:gd name="connsiteX855" fmla="*/ 1642110 w 2200275"/>
                <a:gd name="connsiteY855" fmla="*/ 206693 h 1200150"/>
                <a:gd name="connsiteX856" fmla="*/ 1644015 w 2200275"/>
                <a:gd name="connsiteY856" fmla="*/ 202882 h 1200150"/>
                <a:gd name="connsiteX857" fmla="*/ 1644015 w 2200275"/>
                <a:gd name="connsiteY857" fmla="*/ 196215 h 1200150"/>
                <a:gd name="connsiteX858" fmla="*/ 1643063 w 2200275"/>
                <a:gd name="connsiteY858" fmla="*/ 194310 h 1200150"/>
                <a:gd name="connsiteX859" fmla="*/ 1641157 w 2200275"/>
                <a:gd name="connsiteY859" fmla="*/ 193357 h 1200150"/>
                <a:gd name="connsiteX860" fmla="*/ 1631632 w 2200275"/>
                <a:gd name="connsiteY860" fmla="*/ 190500 h 1200150"/>
                <a:gd name="connsiteX861" fmla="*/ 1629727 w 2200275"/>
                <a:gd name="connsiteY861" fmla="*/ 188595 h 1200150"/>
                <a:gd name="connsiteX862" fmla="*/ 1627823 w 2200275"/>
                <a:gd name="connsiteY862" fmla="*/ 186690 h 1200150"/>
                <a:gd name="connsiteX863" fmla="*/ 1615440 w 2200275"/>
                <a:gd name="connsiteY863" fmla="*/ 151447 h 1200150"/>
                <a:gd name="connsiteX864" fmla="*/ 1614488 w 2200275"/>
                <a:gd name="connsiteY864" fmla="*/ 148590 h 1200150"/>
                <a:gd name="connsiteX865" fmla="*/ 1614488 w 2200275"/>
                <a:gd name="connsiteY865" fmla="*/ 142875 h 1200150"/>
                <a:gd name="connsiteX866" fmla="*/ 1614488 w 2200275"/>
                <a:gd name="connsiteY866" fmla="*/ 120968 h 1200150"/>
                <a:gd name="connsiteX867" fmla="*/ 1613535 w 2200275"/>
                <a:gd name="connsiteY867" fmla="*/ 112395 h 1200150"/>
                <a:gd name="connsiteX868" fmla="*/ 1609725 w 2200275"/>
                <a:gd name="connsiteY868" fmla="*/ 93345 h 1200150"/>
                <a:gd name="connsiteX869" fmla="*/ 1605915 w 2200275"/>
                <a:gd name="connsiteY869" fmla="*/ 82868 h 1200150"/>
                <a:gd name="connsiteX870" fmla="*/ 1603057 w 2200275"/>
                <a:gd name="connsiteY870" fmla="*/ 79057 h 1200150"/>
                <a:gd name="connsiteX871" fmla="*/ 1599248 w 2200275"/>
                <a:gd name="connsiteY871" fmla="*/ 74295 h 1200150"/>
                <a:gd name="connsiteX872" fmla="*/ 1593532 w 2200275"/>
                <a:gd name="connsiteY872" fmla="*/ 69532 h 1200150"/>
                <a:gd name="connsiteX873" fmla="*/ 1589723 w 2200275"/>
                <a:gd name="connsiteY873" fmla="*/ 65722 h 1200150"/>
                <a:gd name="connsiteX874" fmla="*/ 1589723 w 2200275"/>
                <a:gd name="connsiteY874" fmla="*/ 62865 h 1200150"/>
                <a:gd name="connsiteX875" fmla="*/ 1589723 w 2200275"/>
                <a:gd name="connsiteY875" fmla="*/ 60007 h 1200150"/>
                <a:gd name="connsiteX876" fmla="*/ 1602105 w 2200275"/>
                <a:gd name="connsiteY876" fmla="*/ 25718 h 1200150"/>
                <a:gd name="connsiteX877" fmla="*/ 1603057 w 2200275"/>
                <a:gd name="connsiteY877" fmla="*/ 22860 h 1200150"/>
                <a:gd name="connsiteX878" fmla="*/ 1608773 w 2200275"/>
                <a:gd name="connsiteY878" fmla="*/ 0 h 1200150"/>
                <a:gd name="connsiteX879" fmla="*/ 1740218 w 2200275"/>
                <a:gd name="connsiteY879" fmla="*/ 64770 h 1200150"/>
                <a:gd name="connsiteX880" fmla="*/ 1795463 w 2200275"/>
                <a:gd name="connsiteY880" fmla="*/ 106680 h 1200150"/>
                <a:gd name="connsiteX881" fmla="*/ 1799273 w 2200275"/>
                <a:gd name="connsiteY881" fmla="*/ 110490 h 1200150"/>
                <a:gd name="connsiteX882" fmla="*/ 1803082 w 2200275"/>
                <a:gd name="connsiteY882" fmla="*/ 114300 h 1200150"/>
                <a:gd name="connsiteX883" fmla="*/ 1812607 w 2200275"/>
                <a:gd name="connsiteY883" fmla="*/ 129540 h 1200150"/>
                <a:gd name="connsiteX884" fmla="*/ 1816418 w 2200275"/>
                <a:gd name="connsiteY884" fmla="*/ 139065 h 1200150"/>
                <a:gd name="connsiteX885" fmla="*/ 1822132 w 2200275"/>
                <a:gd name="connsiteY885" fmla="*/ 148590 h 1200150"/>
                <a:gd name="connsiteX886" fmla="*/ 1824038 w 2200275"/>
                <a:gd name="connsiteY886" fmla="*/ 151447 h 1200150"/>
                <a:gd name="connsiteX887" fmla="*/ 1827848 w 2200275"/>
                <a:gd name="connsiteY887" fmla="*/ 154305 h 1200150"/>
                <a:gd name="connsiteX888" fmla="*/ 1877377 w 2200275"/>
                <a:gd name="connsiteY888" fmla="*/ 159068 h 1200150"/>
                <a:gd name="connsiteX889" fmla="*/ 1879282 w 2200275"/>
                <a:gd name="connsiteY889" fmla="*/ 160020 h 1200150"/>
                <a:gd name="connsiteX890" fmla="*/ 1881188 w 2200275"/>
                <a:gd name="connsiteY890" fmla="*/ 167640 h 1200150"/>
                <a:gd name="connsiteX891" fmla="*/ 1884045 w 2200275"/>
                <a:gd name="connsiteY891" fmla="*/ 170497 h 1200150"/>
                <a:gd name="connsiteX892" fmla="*/ 1887855 w 2200275"/>
                <a:gd name="connsiteY892" fmla="*/ 172403 h 1200150"/>
                <a:gd name="connsiteX893" fmla="*/ 1900238 w 2200275"/>
                <a:gd name="connsiteY893" fmla="*/ 176213 h 1200150"/>
                <a:gd name="connsiteX894" fmla="*/ 1903095 w 2200275"/>
                <a:gd name="connsiteY894" fmla="*/ 179070 h 1200150"/>
                <a:gd name="connsiteX895" fmla="*/ 1904048 w 2200275"/>
                <a:gd name="connsiteY895" fmla="*/ 181928 h 1200150"/>
                <a:gd name="connsiteX896" fmla="*/ 1903095 w 2200275"/>
                <a:gd name="connsiteY896" fmla="*/ 184785 h 1200150"/>
                <a:gd name="connsiteX897" fmla="*/ 1901190 w 2200275"/>
                <a:gd name="connsiteY897" fmla="*/ 186690 h 1200150"/>
                <a:gd name="connsiteX898" fmla="*/ 1898332 w 2200275"/>
                <a:gd name="connsiteY898" fmla="*/ 187643 h 1200150"/>
                <a:gd name="connsiteX899" fmla="*/ 1890713 w 2200275"/>
                <a:gd name="connsiteY899" fmla="*/ 189547 h 1200150"/>
                <a:gd name="connsiteX900" fmla="*/ 1888807 w 2200275"/>
                <a:gd name="connsiteY900" fmla="*/ 190500 h 1200150"/>
                <a:gd name="connsiteX901" fmla="*/ 1888807 w 2200275"/>
                <a:gd name="connsiteY901" fmla="*/ 193357 h 1200150"/>
                <a:gd name="connsiteX902" fmla="*/ 1888807 w 2200275"/>
                <a:gd name="connsiteY902" fmla="*/ 201930 h 1200150"/>
                <a:gd name="connsiteX903" fmla="*/ 1888807 w 2200275"/>
                <a:gd name="connsiteY903" fmla="*/ 204788 h 1200150"/>
                <a:gd name="connsiteX904" fmla="*/ 1886902 w 2200275"/>
                <a:gd name="connsiteY904" fmla="*/ 206693 h 1200150"/>
                <a:gd name="connsiteX905" fmla="*/ 1884045 w 2200275"/>
                <a:gd name="connsiteY905" fmla="*/ 210503 h 1200150"/>
                <a:gd name="connsiteX906" fmla="*/ 1879282 w 2200275"/>
                <a:gd name="connsiteY906" fmla="*/ 213360 h 1200150"/>
                <a:gd name="connsiteX907" fmla="*/ 1878330 w 2200275"/>
                <a:gd name="connsiteY907" fmla="*/ 215265 h 1200150"/>
                <a:gd name="connsiteX908" fmla="*/ 1881188 w 2200275"/>
                <a:gd name="connsiteY908" fmla="*/ 218122 h 1200150"/>
                <a:gd name="connsiteX909" fmla="*/ 1888807 w 2200275"/>
                <a:gd name="connsiteY909" fmla="*/ 224790 h 1200150"/>
                <a:gd name="connsiteX910" fmla="*/ 1890713 w 2200275"/>
                <a:gd name="connsiteY910" fmla="*/ 226695 h 1200150"/>
                <a:gd name="connsiteX911" fmla="*/ 1900238 w 2200275"/>
                <a:gd name="connsiteY911" fmla="*/ 239078 h 1200150"/>
                <a:gd name="connsiteX912" fmla="*/ 1902143 w 2200275"/>
                <a:gd name="connsiteY912" fmla="*/ 243840 h 1200150"/>
                <a:gd name="connsiteX913" fmla="*/ 1904048 w 2200275"/>
                <a:gd name="connsiteY913" fmla="*/ 245745 h 1200150"/>
                <a:gd name="connsiteX914" fmla="*/ 1913573 w 2200275"/>
                <a:gd name="connsiteY914" fmla="*/ 252413 h 1200150"/>
                <a:gd name="connsiteX915" fmla="*/ 1916430 w 2200275"/>
                <a:gd name="connsiteY915" fmla="*/ 254318 h 1200150"/>
                <a:gd name="connsiteX916" fmla="*/ 1918335 w 2200275"/>
                <a:gd name="connsiteY916" fmla="*/ 258128 h 1200150"/>
                <a:gd name="connsiteX917" fmla="*/ 1920240 w 2200275"/>
                <a:gd name="connsiteY917" fmla="*/ 260032 h 1200150"/>
                <a:gd name="connsiteX918" fmla="*/ 1922145 w 2200275"/>
                <a:gd name="connsiteY918" fmla="*/ 260032 h 1200150"/>
                <a:gd name="connsiteX919" fmla="*/ 1926907 w 2200275"/>
                <a:gd name="connsiteY919" fmla="*/ 257175 h 1200150"/>
                <a:gd name="connsiteX920" fmla="*/ 1931670 w 2200275"/>
                <a:gd name="connsiteY920" fmla="*/ 248603 h 1200150"/>
                <a:gd name="connsiteX921" fmla="*/ 1937385 w 2200275"/>
                <a:gd name="connsiteY921" fmla="*/ 248603 h 1200150"/>
                <a:gd name="connsiteX922" fmla="*/ 1945005 w 2200275"/>
                <a:gd name="connsiteY922" fmla="*/ 250507 h 1200150"/>
                <a:gd name="connsiteX923" fmla="*/ 1961198 w 2200275"/>
                <a:gd name="connsiteY923" fmla="*/ 258128 h 1200150"/>
                <a:gd name="connsiteX924" fmla="*/ 1966913 w 2200275"/>
                <a:gd name="connsiteY924" fmla="*/ 262890 h 1200150"/>
                <a:gd name="connsiteX925" fmla="*/ 1970723 w 2200275"/>
                <a:gd name="connsiteY925" fmla="*/ 266700 h 1200150"/>
                <a:gd name="connsiteX926" fmla="*/ 1974532 w 2200275"/>
                <a:gd name="connsiteY926" fmla="*/ 269557 h 1200150"/>
                <a:gd name="connsiteX927" fmla="*/ 1997393 w 2200275"/>
                <a:gd name="connsiteY927" fmla="*/ 279082 h 1200150"/>
                <a:gd name="connsiteX928" fmla="*/ 2002155 w 2200275"/>
                <a:gd name="connsiteY928" fmla="*/ 283845 h 1200150"/>
                <a:gd name="connsiteX929" fmla="*/ 2005013 w 2200275"/>
                <a:gd name="connsiteY929" fmla="*/ 286703 h 1200150"/>
                <a:gd name="connsiteX930" fmla="*/ 2006918 w 2200275"/>
                <a:gd name="connsiteY930" fmla="*/ 289560 h 1200150"/>
                <a:gd name="connsiteX931" fmla="*/ 2009775 w 2200275"/>
                <a:gd name="connsiteY931" fmla="*/ 290513 h 1200150"/>
                <a:gd name="connsiteX932" fmla="*/ 2015490 w 2200275"/>
                <a:gd name="connsiteY932" fmla="*/ 288607 h 1200150"/>
                <a:gd name="connsiteX933" fmla="*/ 2019300 w 2200275"/>
                <a:gd name="connsiteY933" fmla="*/ 286703 h 1200150"/>
                <a:gd name="connsiteX934" fmla="*/ 2021205 w 2200275"/>
                <a:gd name="connsiteY934" fmla="*/ 284797 h 1200150"/>
                <a:gd name="connsiteX935" fmla="*/ 2026920 w 2200275"/>
                <a:gd name="connsiteY935" fmla="*/ 274320 h 1200150"/>
                <a:gd name="connsiteX936" fmla="*/ 2030730 w 2200275"/>
                <a:gd name="connsiteY936" fmla="*/ 273368 h 1200150"/>
                <a:gd name="connsiteX937" fmla="*/ 2035493 w 2200275"/>
                <a:gd name="connsiteY937" fmla="*/ 273368 h 1200150"/>
                <a:gd name="connsiteX938" fmla="*/ 2054543 w 2200275"/>
                <a:gd name="connsiteY938" fmla="*/ 282893 h 1200150"/>
                <a:gd name="connsiteX939" fmla="*/ 2058352 w 2200275"/>
                <a:gd name="connsiteY939" fmla="*/ 286703 h 1200150"/>
                <a:gd name="connsiteX940" fmla="*/ 2064068 w 2200275"/>
                <a:gd name="connsiteY940" fmla="*/ 292418 h 1200150"/>
                <a:gd name="connsiteX941" fmla="*/ 2065973 w 2200275"/>
                <a:gd name="connsiteY941" fmla="*/ 294322 h 1200150"/>
                <a:gd name="connsiteX942" fmla="*/ 2069782 w 2200275"/>
                <a:gd name="connsiteY942" fmla="*/ 303847 h 1200150"/>
                <a:gd name="connsiteX943" fmla="*/ 2071688 w 2200275"/>
                <a:gd name="connsiteY943" fmla="*/ 309563 h 1200150"/>
                <a:gd name="connsiteX944" fmla="*/ 2071688 w 2200275"/>
                <a:gd name="connsiteY944" fmla="*/ 314325 h 1200150"/>
                <a:gd name="connsiteX945" fmla="*/ 2073593 w 2200275"/>
                <a:gd name="connsiteY945" fmla="*/ 316230 h 1200150"/>
                <a:gd name="connsiteX946" fmla="*/ 2075498 w 2200275"/>
                <a:gd name="connsiteY946" fmla="*/ 316230 h 1200150"/>
                <a:gd name="connsiteX947" fmla="*/ 2079307 w 2200275"/>
                <a:gd name="connsiteY947" fmla="*/ 313372 h 1200150"/>
                <a:gd name="connsiteX948" fmla="*/ 2081213 w 2200275"/>
                <a:gd name="connsiteY948" fmla="*/ 310515 h 1200150"/>
                <a:gd name="connsiteX949" fmla="*/ 2082165 w 2200275"/>
                <a:gd name="connsiteY949" fmla="*/ 306705 h 1200150"/>
                <a:gd name="connsiteX950" fmla="*/ 2084070 w 2200275"/>
                <a:gd name="connsiteY950" fmla="*/ 292418 h 1200150"/>
                <a:gd name="connsiteX951" fmla="*/ 2086927 w 2200275"/>
                <a:gd name="connsiteY951" fmla="*/ 286703 h 1200150"/>
                <a:gd name="connsiteX952" fmla="*/ 2089785 w 2200275"/>
                <a:gd name="connsiteY952" fmla="*/ 284797 h 1200150"/>
                <a:gd name="connsiteX953" fmla="*/ 2095500 w 2200275"/>
                <a:gd name="connsiteY953" fmla="*/ 283845 h 1200150"/>
                <a:gd name="connsiteX954" fmla="*/ 2105025 w 2200275"/>
                <a:gd name="connsiteY954" fmla="*/ 282893 h 1200150"/>
                <a:gd name="connsiteX955" fmla="*/ 2109788 w 2200275"/>
                <a:gd name="connsiteY955" fmla="*/ 280988 h 1200150"/>
                <a:gd name="connsiteX956" fmla="*/ 2113598 w 2200275"/>
                <a:gd name="connsiteY956" fmla="*/ 279082 h 1200150"/>
                <a:gd name="connsiteX957" fmla="*/ 2114550 w 2200275"/>
                <a:gd name="connsiteY957" fmla="*/ 276225 h 1200150"/>
                <a:gd name="connsiteX958" fmla="*/ 2130743 w 2200275"/>
                <a:gd name="connsiteY958" fmla="*/ 273368 h 1200150"/>
                <a:gd name="connsiteX959" fmla="*/ 2145983 w 2200275"/>
                <a:gd name="connsiteY959" fmla="*/ 288607 h 1200150"/>
                <a:gd name="connsiteX960" fmla="*/ 2155508 w 2200275"/>
                <a:gd name="connsiteY960" fmla="*/ 291465 h 1200150"/>
                <a:gd name="connsiteX961" fmla="*/ 2173605 w 2200275"/>
                <a:gd name="connsiteY961" fmla="*/ 292418 h 1200150"/>
                <a:gd name="connsiteX962" fmla="*/ 2182177 w 2200275"/>
                <a:gd name="connsiteY962" fmla="*/ 293370 h 1200150"/>
                <a:gd name="connsiteX963" fmla="*/ 2190750 w 2200275"/>
                <a:gd name="connsiteY963" fmla="*/ 298132 h 1200150"/>
                <a:gd name="connsiteX964" fmla="*/ 2194560 w 2200275"/>
                <a:gd name="connsiteY964" fmla="*/ 302895 h 1200150"/>
                <a:gd name="connsiteX965" fmla="*/ 2205038 w 2200275"/>
                <a:gd name="connsiteY965" fmla="*/ 319088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</a:cxnLst>
              <a:rect l="l" t="t" r="r" b="b"/>
              <a:pathLst>
                <a:path w="2200275" h="1200150">
                  <a:moveTo>
                    <a:pt x="2205038" y="319088"/>
                  </a:moveTo>
                  <a:lnTo>
                    <a:pt x="2191702" y="340043"/>
                  </a:lnTo>
                  <a:lnTo>
                    <a:pt x="2188845" y="349568"/>
                  </a:lnTo>
                  <a:lnTo>
                    <a:pt x="2187893" y="353378"/>
                  </a:lnTo>
                  <a:lnTo>
                    <a:pt x="2186940" y="356235"/>
                  </a:lnTo>
                  <a:lnTo>
                    <a:pt x="2185035" y="360045"/>
                  </a:lnTo>
                  <a:lnTo>
                    <a:pt x="2180273" y="363855"/>
                  </a:lnTo>
                  <a:lnTo>
                    <a:pt x="2176463" y="370522"/>
                  </a:lnTo>
                  <a:lnTo>
                    <a:pt x="2173605" y="374332"/>
                  </a:lnTo>
                  <a:lnTo>
                    <a:pt x="2168843" y="377190"/>
                  </a:lnTo>
                  <a:lnTo>
                    <a:pt x="2165033" y="383857"/>
                  </a:lnTo>
                  <a:lnTo>
                    <a:pt x="2161223" y="397193"/>
                  </a:lnTo>
                  <a:lnTo>
                    <a:pt x="2158365" y="401955"/>
                  </a:lnTo>
                  <a:lnTo>
                    <a:pt x="2155508" y="403860"/>
                  </a:lnTo>
                  <a:lnTo>
                    <a:pt x="2152650" y="404813"/>
                  </a:lnTo>
                  <a:lnTo>
                    <a:pt x="2147888" y="401955"/>
                  </a:lnTo>
                  <a:lnTo>
                    <a:pt x="2147888" y="394335"/>
                  </a:lnTo>
                  <a:lnTo>
                    <a:pt x="2145030" y="388620"/>
                  </a:lnTo>
                  <a:lnTo>
                    <a:pt x="2145030" y="386715"/>
                  </a:lnTo>
                  <a:lnTo>
                    <a:pt x="2144077" y="377190"/>
                  </a:lnTo>
                  <a:lnTo>
                    <a:pt x="2143125" y="375285"/>
                  </a:lnTo>
                  <a:lnTo>
                    <a:pt x="2141220" y="375285"/>
                  </a:lnTo>
                  <a:lnTo>
                    <a:pt x="2139315" y="378143"/>
                  </a:lnTo>
                  <a:lnTo>
                    <a:pt x="2135505" y="383857"/>
                  </a:lnTo>
                  <a:lnTo>
                    <a:pt x="2132648" y="387668"/>
                  </a:lnTo>
                  <a:lnTo>
                    <a:pt x="2128838" y="388620"/>
                  </a:lnTo>
                  <a:lnTo>
                    <a:pt x="2127885" y="386715"/>
                  </a:lnTo>
                  <a:lnTo>
                    <a:pt x="2126933" y="383857"/>
                  </a:lnTo>
                  <a:lnTo>
                    <a:pt x="2128838" y="373380"/>
                  </a:lnTo>
                  <a:lnTo>
                    <a:pt x="2128838" y="370522"/>
                  </a:lnTo>
                  <a:lnTo>
                    <a:pt x="2126933" y="368618"/>
                  </a:lnTo>
                  <a:lnTo>
                    <a:pt x="2125027" y="366713"/>
                  </a:lnTo>
                  <a:lnTo>
                    <a:pt x="2118360" y="365760"/>
                  </a:lnTo>
                  <a:lnTo>
                    <a:pt x="2115502" y="365760"/>
                  </a:lnTo>
                  <a:lnTo>
                    <a:pt x="2110740" y="369570"/>
                  </a:lnTo>
                  <a:lnTo>
                    <a:pt x="2101215" y="382905"/>
                  </a:lnTo>
                  <a:lnTo>
                    <a:pt x="2097405" y="384810"/>
                  </a:lnTo>
                  <a:lnTo>
                    <a:pt x="2094548" y="385763"/>
                  </a:lnTo>
                  <a:lnTo>
                    <a:pt x="2091690" y="385763"/>
                  </a:lnTo>
                  <a:lnTo>
                    <a:pt x="2088832" y="383857"/>
                  </a:lnTo>
                  <a:lnTo>
                    <a:pt x="2086927" y="381953"/>
                  </a:lnTo>
                  <a:lnTo>
                    <a:pt x="2085975" y="380047"/>
                  </a:lnTo>
                  <a:lnTo>
                    <a:pt x="2084070" y="371475"/>
                  </a:lnTo>
                  <a:lnTo>
                    <a:pt x="2082165" y="369570"/>
                  </a:lnTo>
                  <a:lnTo>
                    <a:pt x="2080260" y="367665"/>
                  </a:lnTo>
                  <a:lnTo>
                    <a:pt x="2074545" y="365760"/>
                  </a:lnTo>
                  <a:lnTo>
                    <a:pt x="2070735" y="365760"/>
                  </a:lnTo>
                  <a:lnTo>
                    <a:pt x="2067877" y="366713"/>
                  </a:lnTo>
                  <a:lnTo>
                    <a:pt x="2046923" y="384810"/>
                  </a:lnTo>
                  <a:lnTo>
                    <a:pt x="2044065" y="384810"/>
                  </a:lnTo>
                  <a:lnTo>
                    <a:pt x="2040255" y="384810"/>
                  </a:lnTo>
                  <a:lnTo>
                    <a:pt x="2038350" y="382905"/>
                  </a:lnTo>
                  <a:lnTo>
                    <a:pt x="2035493" y="378143"/>
                  </a:lnTo>
                  <a:lnTo>
                    <a:pt x="2033588" y="376238"/>
                  </a:lnTo>
                  <a:lnTo>
                    <a:pt x="2031682" y="376238"/>
                  </a:lnTo>
                  <a:lnTo>
                    <a:pt x="2028825" y="376238"/>
                  </a:lnTo>
                  <a:lnTo>
                    <a:pt x="2025968" y="378143"/>
                  </a:lnTo>
                  <a:lnTo>
                    <a:pt x="2022157" y="381953"/>
                  </a:lnTo>
                  <a:lnTo>
                    <a:pt x="2014538" y="394335"/>
                  </a:lnTo>
                  <a:lnTo>
                    <a:pt x="2013585" y="399097"/>
                  </a:lnTo>
                  <a:lnTo>
                    <a:pt x="2016443" y="407670"/>
                  </a:lnTo>
                  <a:lnTo>
                    <a:pt x="2019300" y="411480"/>
                  </a:lnTo>
                  <a:lnTo>
                    <a:pt x="2021205" y="413385"/>
                  </a:lnTo>
                  <a:lnTo>
                    <a:pt x="2025968" y="416243"/>
                  </a:lnTo>
                  <a:lnTo>
                    <a:pt x="2027873" y="418147"/>
                  </a:lnTo>
                  <a:lnTo>
                    <a:pt x="2029777" y="422910"/>
                  </a:lnTo>
                  <a:lnTo>
                    <a:pt x="2032635" y="430530"/>
                  </a:lnTo>
                  <a:lnTo>
                    <a:pt x="2036445" y="434340"/>
                  </a:lnTo>
                  <a:lnTo>
                    <a:pt x="2038350" y="435293"/>
                  </a:lnTo>
                  <a:lnTo>
                    <a:pt x="2067877" y="441007"/>
                  </a:lnTo>
                  <a:lnTo>
                    <a:pt x="2070735" y="441960"/>
                  </a:lnTo>
                  <a:lnTo>
                    <a:pt x="2082165" y="450532"/>
                  </a:lnTo>
                  <a:lnTo>
                    <a:pt x="2087880" y="451485"/>
                  </a:lnTo>
                  <a:lnTo>
                    <a:pt x="2119313" y="453390"/>
                  </a:lnTo>
                  <a:lnTo>
                    <a:pt x="2121218" y="455295"/>
                  </a:lnTo>
                  <a:lnTo>
                    <a:pt x="2124075" y="460057"/>
                  </a:lnTo>
                  <a:lnTo>
                    <a:pt x="2125027" y="465772"/>
                  </a:lnTo>
                  <a:lnTo>
                    <a:pt x="2125980" y="467678"/>
                  </a:lnTo>
                  <a:lnTo>
                    <a:pt x="2128838" y="468630"/>
                  </a:lnTo>
                  <a:lnTo>
                    <a:pt x="2149793" y="473393"/>
                  </a:lnTo>
                  <a:lnTo>
                    <a:pt x="2152650" y="475297"/>
                  </a:lnTo>
                  <a:lnTo>
                    <a:pt x="2153602" y="477203"/>
                  </a:lnTo>
                  <a:lnTo>
                    <a:pt x="2152650" y="480060"/>
                  </a:lnTo>
                  <a:lnTo>
                    <a:pt x="2148840" y="483870"/>
                  </a:lnTo>
                  <a:lnTo>
                    <a:pt x="2142173" y="489585"/>
                  </a:lnTo>
                  <a:lnTo>
                    <a:pt x="2137410" y="491490"/>
                  </a:lnTo>
                  <a:lnTo>
                    <a:pt x="2133600" y="492443"/>
                  </a:lnTo>
                  <a:lnTo>
                    <a:pt x="2127885" y="493395"/>
                  </a:lnTo>
                  <a:lnTo>
                    <a:pt x="2125027" y="495300"/>
                  </a:lnTo>
                  <a:lnTo>
                    <a:pt x="2105977" y="515303"/>
                  </a:lnTo>
                  <a:lnTo>
                    <a:pt x="2101215" y="518160"/>
                  </a:lnTo>
                  <a:lnTo>
                    <a:pt x="2045970" y="545782"/>
                  </a:lnTo>
                  <a:lnTo>
                    <a:pt x="2041207" y="548640"/>
                  </a:lnTo>
                  <a:lnTo>
                    <a:pt x="2026920" y="563880"/>
                  </a:lnTo>
                  <a:lnTo>
                    <a:pt x="2023110" y="565785"/>
                  </a:lnTo>
                  <a:lnTo>
                    <a:pt x="2020252" y="565785"/>
                  </a:lnTo>
                  <a:lnTo>
                    <a:pt x="2019300" y="561975"/>
                  </a:lnTo>
                  <a:lnTo>
                    <a:pt x="2017395" y="561022"/>
                  </a:lnTo>
                  <a:lnTo>
                    <a:pt x="1972627" y="579120"/>
                  </a:lnTo>
                  <a:lnTo>
                    <a:pt x="1957388" y="588645"/>
                  </a:lnTo>
                  <a:lnTo>
                    <a:pt x="1955482" y="591503"/>
                  </a:lnTo>
                  <a:lnTo>
                    <a:pt x="1953577" y="594360"/>
                  </a:lnTo>
                  <a:lnTo>
                    <a:pt x="1953577" y="601028"/>
                  </a:lnTo>
                  <a:lnTo>
                    <a:pt x="1954530" y="607695"/>
                  </a:lnTo>
                  <a:lnTo>
                    <a:pt x="1955482" y="611505"/>
                  </a:lnTo>
                  <a:lnTo>
                    <a:pt x="1957388" y="612457"/>
                  </a:lnTo>
                  <a:lnTo>
                    <a:pt x="1962150" y="612457"/>
                  </a:lnTo>
                  <a:lnTo>
                    <a:pt x="1964055" y="613410"/>
                  </a:lnTo>
                  <a:lnTo>
                    <a:pt x="1964055" y="615315"/>
                  </a:lnTo>
                  <a:lnTo>
                    <a:pt x="1963102" y="621030"/>
                  </a:lnTo>
                  <a:lnTo>
                    <a:pt x="1963102" y="624840"/>
                  </a:lnTo>
                  <a:lnTo>
                    <a:pt x="1965007" y="629603"/>
                  </a:lnTo>
                  <a:lnTo>
                    <a:pt x="1976438" y="656272"/>
                  </a:lnTo>
                  <a:lnTo>
                    <a:pt x="1976438" y="659130"/>
                  </a:lnTo>
                  <a:lnTo>
                    <a:pt x="1975485" y="661988"/>
                  </a:lnTo>
                  <a:lnTo>
                    <a:pt x="1971675" y="664845"/>
                  </a:lnTo>
                  <a:lnTo>
                    <a:pt x="1969770" y="667703"/>
                  </a:lnTo>
                  <a:lnTo>
                    <a:pt x="1968818" y="672465"/>
                  </a:lnTo>
                  <a:lnTo>
                    <a:pt x="1969770" y="679132"/>
                  </a:lnTo>
                  <a:lnTo>
                    <a:pt x="1970723" y="681990"/>
                  </a:lnTo>
                  <a:lnTo>
                    <a:pt x="1972627" y="682943"/>
                  </a:lnTo>
                  <a:lnTo>
                    <a:pt x="1977390" y="685800"/>
                  </a:lnTo>
                  <a:lnTo>
                    <a:pt x="1978343" y="690563"/>
                  </a:lnTo>
                  <a:lnTo>
                    <a:pt x="1978343" y="697230"/>
                  </a:lnTo>
                  <a:lnTo>
                    <a:pt x="1982152" y="713422"/>
                  </a:lnTo>
                  <a:lnTo>
                    <a:pt x="1983105" y="754380"/>
                  </a:lnTo>
                  <a:lnTo>
                    <a:pt x="1984057" y="761047"/>
                  </a:lnTo>
                  <a:lnTo>
                    <a:pt x="1985963" y="764857"/>
                  </a:lnTo>
                  <a:lnTo>
                    <a:pt x="1987868" y="766763"/>
                  </a:lnTo>
                  <a:lnTo>
                    <a:pt x="1994535" y="768668"/>
                  </a:lnTo>
                  <a:lnTo>
                    <a:pt x="1996440" y="770572"/>
                  </a:lnTo>
                  <a:lnTo>
                    <a:pt x="1997393" y="772478"/>
                  </a:lnTo>
                  <a:lnTo>
                    <a:pt x="1998345" y="778193"/>
                  </a:lnTo>
                  <a:lnTo>
                    <a:pt x="1992630" y="815340"/>
                  </a:lnTo>
                  <a:lnTo>
                    <a:pt x="1991677" y="819150"/>
                  </a:lnTo>
                  <a:lnTo>
                    <a:pt x="1988820" y="822007"/>
                  </a:lnTo>
                  <a:lnTo>
                    <a:pt x="1982152" y="823913"/>
                  </a:lnTo>
                  <a:lnTo>
                    <a:pt x="1978343" y="824865"/>
                  </a:lnTo>
                  <a:lnTo>
                    <a:pt x="1974532" y="824865"/>
                  </a:lnTo>
                  <a:lnTo>
                    <a:pt x="1971675" y="825818"/>
                  </a:lnTo>
                  <a:lnTo>
                    <a:pt x="1968818" y="827722"/>
                  </a:lnTo>
                  <a:lnTo>
                    <a:pt x="1963102" y="839153"/>
                  </a:lnTo>
                  <a:lnTo>
                    <a:pt x="1961198" y="841057"/>
                  </a:lnTo>
                  <a:lnTo>
                    <a:pt x="1940243" y="861060"/>
                  </a:lnTo>
                  <a:lnTo>
                    <a:pt x="1935480" y="866775"/>
                  </a:lnTo>
                  <a:lnTo>
                    <a:pt x="1932623" y="869632"/>
                  </a:lnTo>
                  <a:lnTo>
                    <a:pt x="1929765" y="870585"/>
                  </a:lnTo>
                  <a:lnTo>
                    <a:pt x="1923098" y="871538"/>
                  </a:lnTo>
                  <a:lnTo>
                    <a:pt x="1917382" y="871538"/>
                  </a:lnTo>
                  <a:lnTo>
                    <a:pt x="1913573" y="867728"/>
                  </a:lnTo>
                  <a:lnTo>
                    <a:pt x="1908810" y="862013"/>
                  </a:lnTo>
                  <a:lnTo>
                    <a:pt x="1906905" y="861060"/>
                  </a:lnTo>
                  <a:lnTo>
                    <a:pt x="1904048" y="861060"/>
                  </a:lnTo>
                  <a:lnTo>
                    <a:pt x="1902143" y="862965"/>
                  </a:lnTo>
                  <a:lnTo>
                    <a:pt x="1900238" y="867728"/>
                  </a:lnTo>
                  <a:lnTo>
                    <a:pt x="1897380" y="872490"/>
                  </a:lnTo>
                  <a:lnTo>
                    <a:pt x="1875473" y="896303"/>
                  </a:lnTo>
                  <a:lnTo>
                    <a:pt x="1874520" y="899160"/>
                  </a:lnTo>
                  <a:lnTo>
                    <a:pt x="1869757" y="910590"/>
                  </a:lnTo>
                  <a:lnTo>
                    <a:pt x="1865948" y="922972"/>
                  </a:lnTo>
                  <a:lnTo>
                    <a:pt x="1864043" y="924878"/>
                  </a:lnTo>
                  <a:lnTo>
                    <a:pt x="1862138" y="926782"/>
                  </a:lnTo>
                  <a:lnTo>
                    <a:pt x="1859280" y="924878"/>
                  </a:lnTo>
                  <a:lnTo>
                    <a:pt x="1857375" y="922972"/>
                  </a:lnTo>
                  <a:lnTo>
                    <a:pt x="1856423" y="920115"/>
                  </a:lnTo>
                  <a:lnTo>
                    <a:pt x="1854518" y="912495"/>
                  </a:lnTo>
                  <a:lnTo>
                    <a:pt x="1854518" y="906780"/>
                  </a:lnTo>
                  <a:lnTo>
                    <a:pt x="1855470" y="903922"/>
                  </a:lnTo>
                  <a:lnTo>
                    <a:pt x="1858327" y="897255"/>
                  </a:lnTo>
                  <a:lnTo>
                    <a:pt x="1858327" y="895350"/>
                  </a:lnTo>
                  <a:lnTo>
                    <a:pt x="1854518" y="873443"/>
                  </a:lnTo>
                  <a:lnTo>
                    <a:pt x="1852613" y="869632"/>
                  </a:lnTo>
                  <a:lnTo>
                    <a:pt x="1850707" y="869632"/>
                  </a:lnTo>
                  <a:lnTo>
                    <a:pt x="1847850" y="870585"/>
                  </a:lnTo>
                  <a:lnTo>
                    <a:pt x="1845945" y="872490"/>
                  </a:lnTo>
                  <a:lnTo>
                    <a:pt x="1843088" y="886778"/>
                  </a:lnTo>
                  <a:lnTo>
                    <a:pt x="1841182" y="896303"/>
                  </a:lnTo>
                  <a:lnTo>
                    <a:pt x="1839277" y="902970"/>
                  </a:lnTo>
                  <a:lnTo>
                    <a:pt x="1840230" y="908685"/>
                  </a:lnTo>
                  <a:lnTo>
                    <a:pt x="1840230" y="914400"/>
                  </a:lnTo>
                  <a:lnTo>
                    <a:pt x="1841182" y="920115"/>
                  </a:lnTo>
                  <a:lnTo>
                    <a:pt x="1840230" y="926782"/>
                  </a:lnTo>
                  <a:lnTo>
                    <a:pt x="1837373" y="936307"/>
                  </a:lnTo>
                  <a:lnTo>
                    <a:pt x="1835468" y="939165"/>
                  </a:lnTo>
                  <a:lnTo>
                    <a:pt x="1831657" y="941070"/>
                  </a:lnTo>
                  <a:lnTo>
                    <a:pt x="1819275" y="944880"/>
                  </a:lnTo>
                  <a:lnTo>
                    <a:pt x="1799273" y="942975"/>
                  </a:lnTo>
                  <a:lnTo>
                    <a:pt x="1795463" y="943928"/>
                  </a:lnTo>
                  <a:lnTo>
                    <a:pt x="1791652" y="946785"/>
                  </a:lnTo>
                  <a:lnTo>
                    <a:pt x="1784032" y="952500"/>
                  </a:lnTo>
                  <a:lnTo>
                    <a:pt x="1779270" y="957263"/>
                  </a:lnTo>
                  <a:lnTo>
                    <a:pt x="1775460" y="962025"/>
                  </a:lnTo>
                  <a:lnTo>
                    <a:pt x="1770698" y="971550"/>
                  </a:lnTo>
                  <a:lnTo>
                    <a:pt x="1766888" y="977265"/>
                  </a:lnTo>
                  <a:lnTo>
                    <a:pt x="1761173" y="981075"/>
                  </a:lnTo>
                  <a:lnTo>
                    <a:pt x="1756410" y="982028"/>
                  </a:lnTo>
                  <a:lnTo>
                    <a:pt x="1752600" y="984885"/>
                  </a:lnTo>
                  <a:lnTo>
                    <a:pt x="1750695" y="986790"/>
                  </a:lnTo>
                  <a:lnTo>
                    <a:pt x="1744980" y="1007745"/>
                  </a:lnTo>
                  <a:lnTo>
                    <a:pt x="1739265" y="1034415"/>
                  </a:lnTo>
                  <a:lnTo>
                    <a:pt x="1730693" y="1027747"/>
                  </a:lnTo>
                  <a:lnTo>
                    <a:pt x="1728788" y="1025843"/>
                  </a:lnTo>
                  <a:lnTo>
                    <a:pt x="1728788" y="1022985"/>
                  </a:lnTo>
                  <a:lnTo>
                    <a:pt x="1728788" y="1013460"/>
                  </a:lnTo>
                  <a:lnTo>
                    <a:pt x="1727835" y="1008697"/>
                  </a:lnTo>
                  <a:lnTo>
                    <a:pt x="1725930" y="1004888"/>
                  </a:lnTo>
                  <a:lnTo>
                    <a:pt x="1716405" y="993457"/>
                  </a:lnTo>
                  <a:lnTo>
                    <a:pt x="1714500" y="989647"/>
                  </a:lnTo>
                  <a:lnTo>
                    <a:pt x="1712595" y="983932"/>
                  </a:lnTo>
                  <a:lnTo>
                    <a:pt x="1711643" y="979170"/>
                  </a:lnTo>
                  <a:lnTo>
                    <a:pt x="1709738" y="973455"/>
                  </a:lnTo>
                  <a:lnTo>
                    <a:pt x="1707832" y="972503"/>
                  </a:lnTo>
                  <a:lnTo>
                    <a:pt x="1704975" y="972503"/>
                  </a:lnTo>
                  <a:lnTo>
                    <a:pt x="1693545" y="980122"/>
                  </a:lnTo>
                  <a:lnTo>
                    <a:pt x="1690688" y="981075"/>
                  </a:lnTo>
                  <a:lnTo>
                    <a:pt x="1677352" y="978218"/>
                  </a:lnTo>
                  <a:lnTo>
                    <a:pt x="1671638" y="978218"/>
                  </a:lnTo>
                  <a:lnTo>
                    <a:pt x="1664970" y="980122"/>
                  </a:lnTo>
                  <a:lnTo>
                    <a:pt x="1661160" y="982028"/>
                  </a:lnTo>
                  <a:lnTo>
                    <a:pt x="1659255" y="984885"/>
                  </a:lnTo>
                  <a:lnTo>
                    <a:pt x="1658302" y="987743"/>
                  </a:lnTo>
                  <a:lnTo>
                    <a:pt x="1657350" y="993457"/>
                  </a:lnTo>
                  <a:lnTo>
                    <a:pt x="1658302" y="999172"/>
                  </a:lnTo>
                  <a:lnTo>
                    <a:pt x="1660207" y="1006793"/>
                  </a:lnTo>
                  <a:lnTo>
                    <a:pt x="1660207" y="1010603"/>
                  </a:lnTo>
                  <a:lnTo>
                    <a:pt x="1658302" y="1012507"/>
                  </a:lnTo>
                  <a:lnTo>
                    <a:pt x="1654493" y="1015365"/>
                  </a:lnTo>
                  <a:lnTo>
                    <a:pt x="1638300" y="1018222"/>
                  </a:lnTo>
                  <a:lnTo>
                    <a:pt x="1636395" y="1020128"/>
                  </a:lnTo>
                  <a:lnTo>
                    <a:pt x="1635443" y="1022985"/>
                  </a:lnTo>
                  <a:lnTo>
                    <a:pt x="1631632" y="1031557"/>
                  </a:lnTo>
                  <a:lnTo>
                    <a:pt x="1630680" y="1033463"/>
                  </a:lnTo>
                  <a:lnTo>
                    <a:pt x="1627823" y="1034415"/>
                  </a:lnTo>
                  <a:lnTo>
                    <a:pt x="1624013" y="1034415"/>
                  </a:lnTo>
                  <a:lnTo>
                    <a:pt x="1618298" y="1031557"/>
                  </a:lnTo>
                  <a:lnTo>
                    <a:pt x="1615440" y="1028700"/>
                  </a:lnTo>
                  <a:lnTo>
                    <a:pt x="1613535" y="1026795"/>
                  </a:lnTo>
                  <a:lnTo>
                    <a:pt x="1607820" y="1018222"/>
                  </a:lnTo>
                  <a:lnTo>
                    <a:pt x="1605915" y="1016318"/>
                  </a:lnTo>
                  <a:lnTo>
                    <a:pt x="1603057" y="1016318"/>
                  </a:lnTo>
                  <a:lnTo>
                    <a:pt x="1592580" y="1020128"/>
                  </a:lnTo>
                  <a:lnTo>
                    <a:pt x="1570673" y="1023938"/>
                  </a:lnTo>
                  <a:lnTo>
                    <a:pt x="1564005" y="1027747"/>
                  </a:lnTo>
                  <a:lnTo>
                    <a:pt x="1560195" y="1030605"/>
                  </a:lnTo>
                  <a:lnTo>
                    <a:pt x="1558290" y="1032510"/>
                  </a:lnTo>
                  <a:lnTo>
                    <a:pt x="1555432" y="1037272"/>
                  </a:lnTo>
                  <a:lnTo>
                    <a:pt x="1553527" y="1042988"/>
                  </a:lnTo>
                  <a:lnTo>
                    <a:pt x="1552575" y="1049655"/>
                  </a:lnTo>
                  <a:lnTo>
                    <a:pt x="1553527" y="1055370"/>
                  </a:lnTo>
                  <a:lnTo>
                    <a:pt x="1556385" y="1059180"/>
                  </a:lnTo>
                  <a:lnTo>
                    <a:pt x="1559243" y="1060132"/>
                  </a:lnTo>
                  <a:lnTo>
                    <a:pt x="1567815" y="1062038"/>
                  </a:lnTo>
                  <a:lnTo>
                    <a:pt x="1569720" y="1062990"/>
                  </a:lnTo>
                  <a:lnTo>
                    <a:pt x="1570673" y="1064895"/>
                  </a:lnTo>
                  <a:lnTo>
                    <a:pt x="1570673" y="1071563"/>
                  </a:lnTo>
                  <a:lnTo>
                    <a:pt x="1569720" y="1077278"/>
                  </a:lnTo>
                  <a:lnTo>
                    <a:pt x="1567815" y="1079182"/>
                  </a:lnTo>
                  <a:lnTo>
                    <a:pt x="1565910" y="1079182"/>
                  </a:lnTo>
                  <a:lnTo>
                    <a:pt x="1551623" y="1081088"/>
                  </a:lnTo>
                  <a:lnTo>
                    <a:pt x="1545907" y="1082993"/>
                  </a:lnTo>
                  <a:lnTo>
                    <a:pt x="1544002" y="1083945"/>
                  </a:lnTo>
                  <a:lnTo>
                    <a:pt x="1542098" y="1088707"/>
                  </a:lnTo>
                  <a:lnTo>
                    <a:pt x="1541145" y="1091565"/>
                  </a:lnTo>
                  <a:lnTo>
                    <a:pt x="1543050" y="1096328"/>
                  </a:lnTo>
                  <a:lnTo>
                    <a:pt x="1546860" y="1102995"/>
                  </a:lnTo>
                  <a:lnTo>
                    <a:pt x="1547813" y="1108710"/>
                  </a:lnTo>
                  <a:lnTo>
                    <a:pt x="1546860" y="1115378"/>
                  </a:lnTo>
                  <a:lnTo>
                    <a:pt x="1546860" y="1118235"/>
                  </a:lnTo>
                  <a:lnTo>
                    <a:pt x="1547813" y="1121093"/>
                  </a:lnTo>
                  <a:lnTo>
                    <a:pt x="1552575" y="1126807"/>
                  </a:lnTo>
                  <a:lnTo>
                    <a:pt x="1552575" y="1128713"/>
                  </a:lnTo>
                  <a:lnTo>
                    <a:pt x="1551623" y="1130618"/>
                  </a:lnTo>
                  <a:lnTo>
                    <a:pt x="1549718" y="1132523"/>
                  </a:lnTo>
                  <a:lnTo>
                    <a:pt x="1539240" y="1134428"/>
                  </a:lnTo>
                  <a:lnTo>
                    <a:pt x="1537335" y="1135380"/>
                  </a:lnTo>
                  <a:lnTo>
                    <a:pt x="1536382" y="1138238"/>
                  </a:lnTo>
                  <a:lnTo>
                    <a:pt x="1535430" y="1144905"/>
                  </a:lnTo>
                  <a:lnTo>
                    <a:pt x="1535430" y="1147763"/>
                  </a:lnTo>
                  <a:lnTo>
                    <a:pt x="1535430" y="1160145"/>
                  </a:lnTo>
                  <a:lnTo>
                    <a:pt x="1534477" y="1162050"/>
                  </a:lnTo>
                  <a:lnTo>
                    <a:pt x="1533525" y="1164907"/>
                  </a:lnTo>
                  <a:lnTo>
                    <a:pt x="1530668" y="1164907"/>
                  </a:lnTo>
                  <a:lnTo>
                    <a:pt x="1439227" y="1180148"/>
                  </a:lnTo>
                  <a:lnTo>
                    <a:pt x="1434465" y="1179195"/>
                  </a:lnTo>
                  <a:lnTo>
                    <a:pt x="1399223" y="1166813"/>
                  </a:lnTo>
                  <a:lnTo>
                    <a:pt x="1397318" y="1164907"/>
                  </a:lnTo>
                  <a:lnTo>
                    <a:pt x="1390650" y="1163955"/>
                  </a:lnTo>
                  <a:lnTo>
                    <a:pt x="1384935" y="1164907"/>
                  </a:lnTo>
                  <a:lnTo>
                    <a:pt x="1379220" y="1167765"/>
                  </a:lnTo>
                  <a:lnTo>
                    <a:pt x="1376363" y="1168718"/>
                  </a:lnTo>
                  <a:lnTo>
                    <a:pt x="1374457" y="1167765"/>
                  </a:lnTo>
                  <a:lnTo>
                    <a:pt x="1364932" y="1158240"/>
                  </a:lnTo>
                  <a:lnTo>
                    <a:pt x="1350645" y="1149668"/>
                  </a:lnTo>
                  <a:lnTo>
                    <a:pt x="1344930" y="1147763"/>
                  </a:lnTo>
                  <a:lnTo>
                    <a:pt x="1336357" y="1145857"/>
                  </a:lnTo>
                  <a:lnTo>
                    <a:pt x="1316355" y="1148715"/>
                  </a:lnTo>
                  <a:lnTo>
                    <a:pt x="1312545" y="1150620"/>
                  </a:lnTo>
                  <a:lnTo>
                    <a:pt x="1309688" y="1152525"/>
                  </a:lnTo>
                  <a:lnTo>
                    <a:pt x="1306830" y="1156335"/>
                  </a:lnTo>
                  <a:lnTo>
                    <a:pt x="1295400" y="1175385"/>
                  </a:lnTo>
                  <a:lnTo>
                    <a:pt x="1288732" y="1189673"/>
                  </a:lnTo>
                  <a:lnTo>
                    <a:pt x="1282065" y="1198245"/>
                  </a:lnTo>
                  <a:lnTo>
                    <a:pt x="1279207" y="1202055"/>
                  </a:lnTo>
                  <a:lnTo>
                    <a:pt x="1276350" y="1203007"/>
                  </a:lnTo>
                  <a:lnTo>
                    <a:pt x="1271588" y="1204913"/>
                  </a:lnTo>
                  <a:lnTo>
                    <a:pt x="1265873" y="1205865"/>
                  </a:lnTo>
                  <a:lnTo>
                    <a:pt x="1262063" y="1204913"/>
                  </a:lnTo>
                  <a:lnTo>
                    <a:pt x="1256348" y="1203007"/>
                  </a:lnTo>
                  <a:lnTo>
                    <a:pt x="1245870" y="1197293"/>
                  </a:lnTo>
                  <a:lnTo>
                    <a:pt x="1241107" y="1194435"/>
                  </a:lnTo>
                  <a:lnTo>
                    <a:pt x="1239202" y="1190625"/>
                  </a:lnTo>
                  <a:lnTo>
                    <a:pt x="1237298" y="1185863"/>
                  </a:lnTo>
                  <a:lnTo>
                    <a:pt x="1232535" y="1177290"/>
                  </a:lnTo>
                  <a:lnTo>
                    <a:pt x="1228725" y="1172528"/>
                  </a:lnTo>
                  <a:lnTo>
                    <a:pt x="1226820" y="1171575"/>
                  </a:lnTo>
                  <a:lnTo>
                    <a:pt x="1214438" y="1164907"/>
                  </a:lnTo>
                  <a:lnTo>
                    <a:pt x="1208723" y="1159193"/>
                  </a:lnTo>
                  <a:lnTo>
                    <a:pt x="1204913" y="1157288"/>
                  </a:lnTo>
                  <a:lnTo>
                    <a:pt x="1185863" y="1154430"/>
                  </a:lnTo>
                  <a:lnTo>
                    <a:pt x="1180148" y="1155382"/>
                  </a:lnTo>
                  <a:lnTo>
                    <a:pt x="1176338" y="1157288"/>
                  </a:lnTo>
                  <a:lnTo>
                    <a:pt x="1174432" y="1165860"/>
                  </a:lnTo>
                  <a:lnTo>
                    <a:pt x="1172527" y="1167765"/>
                  </a:lnTo>
                  <a:lnTo>
                    <a:pt x="1169670" y="1168718"/>
                  </a:lnTo>
                  <a:lnTo>
                    <a:pt x="1123950" y="1168718"/>
                  </a:lnTo>
                  <a:lnTo>
                    <a:pt x="1120140" y="1168718"/>
                  </a:lnTo>
                  <a:lnTo>
                    <a:pt x="1117282" y="1166813"/>
                  </a:lnTo>
                  <a:lnTo>
                    <a:pt x="1115377" y="1163003"/>
                  </a:lnTo>
                  <a:lnTo>
                    <a:pt x="1114425" y="1159193"/>
                  </a:lnTo>
                  <a:lnTo>
                    <a:pt x="1114425" y="1155382"/>
                  </a:lnTo>
                  <a:lnTo>
                    <a:pt x="1115377" y="1148715"/>
                  </a:lnTo>
                  <a:lnTo>
                    <a:pt x="1115377" y="1143000"/>
                  </a:lnTo>
                  <a:lnTo>
                    <a:pt x="1109663" y="1134428"/>
                  </a:lnTo>
                  <a:lnTo>
                    <a:pt x="1108710" y="1128713"/>
                  </a:lnTo>
                  <a:lnTo>
                    <a:pt x="1108710" y="1125855"/>
                  </a:lnTo>
                  <a:lnTo>
                    <a:pt x="1111568" y="1121093"/>
                  </a:lnTo>
                  <a:lnTo>
                    <a:pt x="1120140" y="1106805"/>
                  </a:lnTo>
                  <a:lnTo>
                    <a:pt x="1122998" y="1102043"/>
                  </a:lnTo>
                  <a:lnTo>
                    <a:pt x="1122998" y="1099185"/>
                  </a:lnTo>
                  <a:lnTo>
                    <a:pt x="1122045" y="1093470"/>
                  </a:lnTo>
                  <a:lnTo>
                    <a:pt x="1120140" y="1088707"/>
                  </a:lnTo>
                  <a:lnTo>
                    <a:pt x="1108710" y="1074420"/>
                  </a:lnTo>
                  <a:lnTo>
                    <a:pt x="1106805" y="1072515"/>
                  </a:lnTo>
                  <a:lnTo>
                    <a:pt x="1104900" y="1067753"/>
                  </a:lnTo>
                  <a:lnTo>
                    <a:pt x="1103948" y="1059180"/>
                  </a:lnTo>
                  <a:lnTo>
                    <a:pt x="1102043" y="1054418"/>
                  </a:lnTo>
                  <a:lnTo>
                    <a:pt x="1099185" y="1050607"/>
                  </a:lnTo>
                  <a:lnTo>
                    <a:pt x="1096327" y="1049655"/>
                  </a:lnTo>
                  <a:lnTo>
                    <a:pt x="1093470" y="1048703"/>
                  </a:lnTo>
                  <a:lnTo>
                    <a:pt x="1080135" y="1051560"/>
                  </a:lnTo>
                  <a:lnTo>
                    <a:pt x="1077277" y="1050607"/>
                  </a:lnTo>
                  <a:lnTo>
                    <a:pt x="1070610" y="1044893"/>
                  </a:lnTo>
                  <a:lnTo>
                    <a:pt x="1063943" y="1036320"/>
                  </a:lnTo>
                  <a:lnTo>
                    <a:pt x="1047750" y="1007745"/>
                  </a:lnTo>
                  <a:lnTo>
                    <a:pt x="1040130" y="994410"/>
                  </a:lnTo>
                  <a:lnTo>
                    <a:pt x="1039177" y="989647"/>
                  </a:lnTo>
                  <a:lnTo>
                    <a:pt x="1041082" y="988695"/>
                  </a:lnTo>
                  <a:lnTo>
                    <a:pt x="1062038" y="979170"/>
                  </a:lnTo>
                  <a:lnTo>
                    <a:pt x="1067752" y="974407"/>
                  </a:lnTo>
                  <a:lnTo>
                    <a:pt x="1071563" y="970597"/>
                  </a:lnTo>
                  <a:lnTo>
                    <a:pt x="1072515" y="967740"/>
                  </a:lnTo>
                  <a:lnTo>
                    <a:pt x="1073468" y="961072"/>
                  </a:lnTo>
                  <a:lnTo>
                    <a:pt x="1073468" y="955357"/>
                  </a:lnTo>
                  <a:lnTo>
                    <a:pt x="1070610" y="947738"/>
                  </a:lnTo>
                  <a:lnTo>
                    <a:pt x="1066800" y="934403"/>
                  </a:lnTo>
                  <a:lnTo>
                    <a:pt x="1065848" y="932497"/>
                  </a:lnTo>
                  <a:lnTo>
                    <a:pt x="1062990" y="930593"/>
                  </a:lnTo>
                  <a:lnTo>
                    <a:pt x="1058227" y="929640"/>
                  </a:lnTo>
                  <a:lnTo>
                    <a:pt x="1037273" y="934403"/>
                  </a:lnTo>
                  <a:lnTo>
                    <a:pt x="1034415" y="933450"/>
                  </a:lnTo>
                  <a:lnTo>
                    <a:pt x="1030605" y="932497"/>
                  </a:lnTo>
                  <a:lnTo>
                    <a:pt x="1025843" y="928688"/>
                  </a:lnTo>
                  <a:lnTo>
                    <a:pt x="1022032" y="927735"/>
                  </a:lnTo>
                  <a:lnTo>
                    <a:pt x="1018223" y="926782"/>
                  </a:lnTo>
                  <a:lnTo>
                    <a:pt x="1011555" y="927735"/>
                  </a:lnTo>
                  <a:lnTo>
                    <a:pt x="1006793" y="925830"/>
                  </a:lnTo>
                  <a:lnTo>
                    <a:pt x="1003935" y="923925"/>
                  </a:lnTo>
                  <a:lnTo>
                    <a:pt x="996315" y="915353"/>
                  </a:lnTo>
                  <a:lnTo>
                    <a:pt x="994410" y="914400"/>
                  </a:lnTo>
                  <a:lnTo>
                    <a:pt x="990600" y="913447"/>
                  </a:lnTo>
                  <a:lnTo>
                    <a:pt x="982027" y="917257"/>
                  </a:lnTo>
                  <a:lnTo>
                    <a:pt x="979170" y="919163"/>
                  </a:lnTo>
                  <a:lnTo>
                    <a:pt x="977265" y="921068"/>
                  </a:lnTo>
                  <a:lnTo>
                    <a:pt x="976313" y="923925"/>
                  </a:lnTo>
                  <a:lnTo>
                    <a:pt x="976313" y="926782"/>
                  </a:lnTo>
                  <a:lnTo>
                    <a:pt x="976313" y="935355"/>
                  </a:lnTo>
                  <a:lnTo>
                    <a:pt x="976313" y="938213"/>
                  </a:lnTo>
                  <a:lnTo>
                    <a:pt x="971550" y="941070"/>
                  </a:lnTo>
                  <a:lnTo>
                    <a:pt x="963930" y="942022"/>
                  </a:lnTo>
                  <a:lnTo>
                    <a:pt x="961073" y="942022"/>
                  </a:lnTo>
                  <a:lnTo>
                    <a:pt x="958215" y="941070"/>
                  </a:lnTo>
                  <a:lnTo>
                    <a:pt x="956310" y="938213"/>
                  </a:lnTo>
                  <a:lnTo>
                    <a:pt x="954405" y="936307"/>
                  </a:lnTo>
                  <a:lnTo>
                    <a:pt x="951548" y="936307"/>
                  </a:lnTo>
                  <a:lnTo>
                    <a:pt x="947738" y="939165"/>
                  </a:lnTo>
                  <a:lnTo>
                    <a:pt x="945832" y="942022"/>
                  </a:lnTo>
                  <a:lnTo>
                    <a:pt x="944880" y="945832"/>
                  </a:lnTo>
                  <a:lnTo>
                    <a:pt x="943927" y="955357"/>
                  </a:lnTo>
                  <a:lnTo>
                    <a:pt x="942975" y="961072"/>
                  </a:lnTo>
                  <a:lnTo>
                    <a:pt x="941070" y="962978"/>
                  </a:lnTo>
                  <a:lnTo>
                    <a:pt x="939165" y="963930"/>
                  </a:lnTo>
                  <a:lnTo>
                    <a:pt x="935355" y="963930"/>
                  </a:lnTo>
                  <a:lnTo>
                    <a:pt x="932498" y="962978"/>
                  </a:lnTo>
                  <a:lnTo>
                    <a:pt x="929640" y="960120"/>
                  </a:lnTo>
                  <a:lnTo>
                    <a:pt x="929640" y="955357"/>
                  </a:lnTo>
                  <a:lnTo>
                    <a:pt x="932498" y="948690"/>
                  </a:lnTo>
                  <a:lnTo>
                    <a:pt x="934402" y="942975"/>
                  </a:lnTo>
                  <a:lnTo>
                    <a:pt x="936307" y="925830"/>
                  </a:lnTo>
                  <a:lnTo>
                    <a:pt x="935355" y="920115"/>
                  </a:lnTo>
                  <a:lnTo>
                    <a:pt x="933450" y="916305"/>
                  </a:lnTo>
                  <a:lnTo>
                    <a:pt x="929640" y="913447"/>
                  </a:lnTo>
                  <a:lnTo>
                    <a:pt x="900113" y="916305"/>
                  </a:lnTo>
                  <a:lnTo>
                    <a:pt x="893445" y="918210"/>
                  </a:lnTo>
                  <a:lnTo>
                    <a:pt x="888682" y="920115"/>
                  </a:lnTo>
                  <a:lnTo>
                    <a:pt x="886777" y="922020"/>
                  </a:lnTo>
                  <a:lnTo>
                    <a:pt x="884873" y="922972"/>
                  </a:lnTo>
                  <a:lnTo>
                    <a:pt x="881063" y="922020"/>
                  </a:lnTo>
                  <a:lnTo>
                    <a:pt x="877252" y="919163"/>
                  </a:lnTo>
                  <a:lnTo>
                    <a:pt x="874395" y="917257"/>
                  </a:lnTo>
                  <a:lnTo>
                    <a:pt x="872490" y="911543"/>
                  </a:lnTo>
                  <a:lnTo>
                    <a:pt x="870585" y="909638"/>
                  </a:lnTo>
                  <a:lnTo>
                    <a:pt x="868680" y="908685"/>
                  </a:lnTo>
                  <a:lnTo>
                    <a:pt x="860107" y="912495"/>
                  </a:lnTo>
                  <a:lnTo>
                    <a:pt x="851535" y="919163"/>
                  </a:lnTo>
                  <a:lnTo>
                    <a:pt x="846772" y="919163"/>
                  </a:lnTo>
                  <a:lnTo>
                    <a:pt x="798195" y="912495"/>
                  </a:lnTo>
                  <a:lnTo>
                    <a:pt x="792480" y="909638"/>
                  </a:lnTo>
                  <a:lnTo>
                    <a:pt x="789622" y="907732"/>
                  </a:lnTo>
                  <a:lnTo>
                    <a:pt x="787718" y="903922"/>
                  </a:lnTo>
                  <a:lnTo>
                    <a:pt x="786765" y="901065"/>
                  </a:lnTo>
                  <a:lnTo>
                    <a:pt x="786765" y="898207"/>
                  </a:lnTo>
                  <a:lnTo>
                    <a:pt x="786765" y="885825"/>
                  </a:lnTo>
                  <a:lnTo>
                    <a:pt x="785813" y="882015"/>
                  </a:lnTo>
                  <a:lnTo>
                    <a:pt x="783907" y="880110"/>
                  </a:lnTo>
                  <a:lnTo>
                    <a:pt x="771525" y="877253"/>
                  </a:lnTo>
                  <a:lnTo>
                    <a:pt x="767715" y="874395"/>
                  </a:lnTo>
                  <a:lnTo>
                    <a:pt x="765810" y="872490"/>
                  </a:lnTo>
                  <a:lnTo>
                    <a:pt x="765810" y="869632"/>
                  </a:lnTo>
                  <a:lnTo>
                    <a:pt x="763905" y="848678"/>
                  </a:lnTo>
                  <a:lnTo>
                    <a:pt x="762953" y="842963"/>
                  </a:lnTo>
                  <a:lnTo>
                    <a:pt x="759143" y="842010"/>
                  </a:lnTo>
                  <a:lnTo>
                    <a:pt x="754380" y="840105"/>
                  </a:lnTo>
                  <a:lnTo>
                    <a:pt x="745807" y="839153"/>
                  </a:lnTo>
                  <a:lnTo>
                    <a:pt x="737235" y="836295"/>
                  </a:lnTo>
                  <a:lnTo>
                    <a:pt x="699135" y="833438"/>
                  </a:lnTo>
                  <a:lnTo>
                    <a:pt x="687705" y="834390"/>
                  </a:lnTo>
                  <a:lnTo>
                    <a:pt x="669607" y="841057"/>
                  </a:lnTo>
                  <a:lnTo>
                    <a:pt x="662940" y="844868"/>
                  </a:lnTo>
                  <a:lnTo>
                    <a:pt x="658178" y="849630"/>
                  </a:lnTo>
                  <a:lnTo>
                    <a:pt x="657225" y="856297"/>
                  </a:lnTo>
                  <a:lnTo>
                    <a:pt x="655320" y="862013"/>
                  </a:lnTo>
                  <a:lnTo>
                    <a:pt x="653415" y="863918"/>
                  </a:lnTo>
                  <a:lnTo>
                    <a:pt x="649605" y="865822"/>
                  </a:lnTo>
                  <a:lnTo>
                    <a:pt x="632460" y="871538"/>
                  </a:lnTo>
                  <a:lnTo>
                    <a:pt x="628650" y="874395"/>
                  </a:lnTo>
                  <a:lnTo>
                    <a:pt x="625793" y="878205"/>
                  </a:lnTo>
                  <a:lnTo>
                    <a:pt x="623888" y="880110"/>
                  </a:lnTo>
                  <a:lnTo>
                    <a:pt x="620078" y="882968"/>
                  </a:lnTo>
                  <a:lnTo>
                    <a:pt x="616268" y="883920"/>
                  </a:lnTo>
                  <a:lnTo>
                    <a:pt x="612457" y="882968"/>
                  </a:lnTo>
                  <a:lnTo>
                    <a:pt x="604838" y="880110"/>
                  </a:lnTo>
                  <a:lnTo>
                    <a:pt x="602932" y="877253"/>
                  </a:lnTo>
                  <a:lnTo>
                    <a:pt x="601028" y="874395"/>
                  </a:lnTo>
                  <a:lnTo>
                    <a:pt x="601028" y="868680"/>
                  </a:lnTo>
                  <a:lnTo>
                    <a:pt x="600075" y="865822"/>
                  </a:lnTo>
                  <a:lnTo>
                    <a:pt x="596265" y="862013"/>
                  </a:lnTo>
                  <a:lnTo>
                    <a:pt x="593407" y="861060"/>
                  </a:lnTo>
                  <a:lnTo>
                    <a:pt x="590550" y="860107"/>
                  </a:lnTo>
                  <a:lnTo>
                    <a:pt x="586740" y="861060"/>
                  </a:lnTo>
                  <a:lnTo>
                    <a:pt x="581978" y="864870"/>
                  </a:lnTo>
                  <a:lnTo>
                    <a:pt x="580072" y="866775"/>
                  </a:lnTo>
                  <a:lnTo>
                    <a:pt x="578168" y="869632"/>
                  </a:lnTo>
                  <a:lnTo>
                    <a:pt x="574357" y="880110"/>
                  </a:lnTo>
                  <a:lnTo>
                    <a:pt x="572453" y="882015"/>
                  </a:lnTo>
                  <a:lnTo>
                    <a:pt x="569595" y="882015"/>
                  </a:lnTo>
                  <a:lnTo>
                    <a:pt x="563880" y="880110"/>
                  </a:lnTo>
                  <a:lnTo>
                    <a:pt x="561975" y="877253"/>
                  </a:lnTo>
                  <a:lnTo>
                    <a:pt x="560070" y="874395"/>
                  </a:lnTo>
                  <a:lnTo>
                    <a:pt x="559118" y="868680"/>
                  </a:lnTo>
                  <a:lnTo>
                    <a:pt x="554355" y="866775"/>
                  </a:lnTo>
                  <a:lnTo>
                    <a:pt x="547688" y="865822"/>
                  </a:lnTo>
                  <a:lnTo>
                    <a:pt x="531495" y="865822"/>
                  </a:lnTo>
                  <a:lnTo>
                    <a:pt x="516255" y="862965"/>
                  </a:lnTo>
                  <a:lnTo>
                    <a:pt x="510540" y="863918"/>
                  </a:lnTo>
                  <a:lnTo>
                    <a:pt x="485775" y="872490"/>
                  </a:lnTo>
                  <a:lnTo>
                    <a:pt x="479107" y="876300"/>
                  </a:lnTo>
                  <a:lnTo>
                    <a:pt x="474345" y="879157"/>
                  </a:lnTo>
                  <a:lnTo>
                    <a:pt x="473393" y="881063"/>
                  </a:lnTo>
                  <a:lnTo>
                    <a:pt x="471488" y="887730"/>
                  </a:lnTo>
                  <a:lnTo>
                    <a:pt x="468630" y="891540"/>
                  </a:lnTo>
                  <a:lnTo>
                    <a:pt x="465772" y="893445"/>
                  </a:lnTo>
                  <a:lnTo>
                    <a:pt x="460057" y="893445"/>
                  </a:lnTo>
                  <a:lnTo>
                    <a:pt x="440055" y="888682"/>
                  </a:lnTo>
                  <a:lnTo>
                    <a:pt x="416243" y="880110"/>
                  </a:lnTo>
                  <a:lnTo>
                    <a:pt x="412432" y="879157"/>
                  </a:lnTo>
                  <a:lnTo>
                    <a:pt x="407670" y="879157"/>
                  </a:lnTo>
                  <a:lnTo>
                    <a:pt x="402907" y="878205"/>
                  </a:lnTo>
                  <a:lnTo>
                    <a:pt x="321945" y="878205"/>
                  </a:lnTo>
                  <a:lnTo>
                    <a:pt x="319088" y="881063"/>
                  </a:lnTo>
                  <a:lnTo>
                    <a:pt x="315278" y="895350"/>
                  </a:lnTo>
                  <a:lnTo>
                    <a:pt x="312420" y="900113"/>
                  </a:lnTo>
                  <a:lnTo>
                    <a:pt x="308610" y="901065"/>
                  </a:lnTo>
                  <a:lnTo>
                    <a:pt x="293370" y="900113"/>
                  </a:lnTo>
                  <a:lnTo>
                    <a:pt x="182880" y="894397"/>
                  </a:lnTo>
                  <a:lnTo>
                    <a:pt x="163830" y="884872"/>
                  </a:lnTo>
                  <a:lnTo>
                    <a:pt x="153353" y="869632"/>
                  </a:lnTo>
                  <a:lnTo>
                    <a:pt x="145732" y="850582"/>
                  </a:lnTo>
                  <a:lnTo>
                    <a:pt x="137160" y="833438"/>
                  </a:lnTo>
                  <a:lnTo>
                    <a:pt x="128588" y="836295"/>
                  </a:lnTo>
                  <a:lnTo>
                    <a:pt x="121920" y="841057"/>
                  </a:lnTo>
                  <a:lnTo>
                    <a:pt x="117157" y="842010"/>
                  </a:lnTo>
                  <a:lnTo>
                    <a:pt x="114300" y="842010"/>
                  </a:lnTo>
                  <a:lnTo>
                    <a:pt x="111443" y="839153"/>
                  </a:lnTo>
                  <a:lnTo>
                    <a:pt x="104775" y="832485"/>
                  </a:lnTo>
                  <a:lnTo>
                    <a:pt x="100965" y="831532"/>
                  </a:lnTo>
                  <a:lnTo>
                    <a:pt x="98107" y="832485"/>
                  </a:lnTo>
                  <a:lnTo>
                    <a:pt x="97155" y="834390"/>
                  </a:lnTo>
                  <a:lnTo>
                    <a:pt x="93345" y="839153"/>
                  </a:lnTo>
                  <a:lnTo>
                    <a:pt x="81915" y="861060"/>
                  </a:lnTo>
                  <a:lnTo>
                    <a:pt x="79057" y="863918"/>
                  </a:lnTo>
                  <a:lnTo>
                    <a:pt x="76200" y="865822"/>
                  </a:lnTo>
                  <a:lnTo>
                    <a:pt x="73343" y="865822"/>
                  </a:lnTo>
                  <a:lnTo>
                    <a:pt x="71438" y="864870"/>
                  </a:lnTo>
                  <a:lnTo>
                    <a:pt x="68580" y="862965"/>
                  </a:lnTo>
                  <a:lnTo>
                    <a:pt x="59055" y="850582"/>
                  </a:lnTo>
                  <a:lnTo>
                    <a:pt x="49530" y="842963"/>
                  </a:lnTo>
                  <a:lnTo>
                    <a:pt x="46672" y="842010"/>
                  </a:lnTo>
                  <a:lnTo>
                    <a:pt x="43815" y="841057"/>
                  </a:lnTo>
                  <a:lnTo>
                    <a:pt x="41910" y="841057"/>
                  </a:lnTo>
                  <a:lnTo>
                    <a:pt x="33338" y="844868"/>
                  </a:lnTo>
                  <a:lnTo>
                    <a:pt x="20003" y="846772"/>
                  </a:lnTo>
                  <a:lnTo>
                    <a:pt x="19050" y="841057"/>
                  </a:lnTo>
                  <a:lnTo>
                    <a:pt x="21907" y="834390"/>
                  </a:lnTo>
                  <a:lnTo>
                    <a:pt x="24765" y="830580"/>
                  </a:lnTo>
                  <a:lnTo>
                    <a:pt x="25718" y="826770"/>
                  </a:lnTo>
                  <a:lnTo>
                    <a:pt x="26670" y="823913"/>
                  </a:lnTo>
                  <a:lnTo>
                    <a:pt x="23813" y="817245"/>
                  </a:lnTo>
                  <a:lnTo>
                    <a:pt x="25718" y="809625"/>
                  </a:lnTo>
                  <a:lnTo>
                    <a:pt x="24765" y="806768"/>
                  </a:lnTo>
                  <a:lnTo>
                    <a:pt x="20003" y="804863"/>
                  </a:lnTo>
                  <a:lnTo>
                    <a:pt x="6668" y="801053"/>
                  </a:lnTo>
                  <a:lnTo>
                    <a:pt x="1905" y="798195"/>
                  </a:lnTo>
                  <a:lnTo>
                    <a:pt x="953" y="796290"/>
                  </a:lnTo>
                  <a:lnTo>
                    <a:pt x="0" y="794385"/>
                  </a:lnTo>
                  <a:lnTo>
                    <a:pt x="2857" y="788670"/>
                  </a:lnTo>
                  <a:lnTo>
                    <a:pt x="12382" y="774382"/>
                  </a:lnTo>
                  <a:lnTo>
                    <a:pt x="16193" y="768668"/>
                  </a:lnTo>
                  <a:lnTo>
                    <a:pt x="20003" y="757238"/>
                  </a:lnTo>
                  <a:lnTo>
                    <a:pt x="20955" y="753428"/>
                  </a:lnTo>
                  <a:lnTo>
                    <a:pt x="20955" y="746760"/>
                  </a:lnTo>
                  <a:lnTo>
                    <a:pt x="21907" y="740093"/>
                  </a:lnTo>
                  <a:lnTo>
                    <a:pt x="20955" y="732472"/>
                  </a:lnTo>
                  <a:lnTo>
                    <a:pt x="21907" y="728663"/>
                  </a:lnTo>
                  <a:lnTo>
                    <a:pt x="26670" y="721995"/>
                  </a:lnTo>
                  <a:lnTo>
                    <a:pt x="43815" y="705803"/>
                  </a:lnTo>
                  <a:lnTo>
                    <a:pt x="55245" y="691515"/>
                  </a:lnTo>
                  <a:lnTo>
                    <a:pt x="58103" y="686753"/>
                  </a:lnTo>
                  <a:lnTo>
                    <a:pt x="63818" y="677228"/>
                  </a:lnTo>
                  <a:lnTo>
                    <a:pt x="67628" y="673418"/>
                  </a:lnTo>
                  <a:lnTo>
                    <a:pt x="77153" y="664845"/>
                  </a:lnTo>
                  <a:lnTo>
                    <a:pt x="80010" y="663893"/>
                  </a:lnTo>
                  <a:lnTo>
                    <a:pt x="84772" y="663893"/>
                  </a:lnTo>
                  <a:lnTo>
                    <a:pt x="92393" y="665797"/>
                  </a:lnTo>
                  <a:lnTo>
                    <a:pt x="94297" y="668655"/>
                  </a:lnTo>
                  <a:lnTo>
                    <a:pt x="95250" y="671513"/>
                  </a:lnTo>
                  <a:lnTo>
                    <a:pt x="94297" y="678180"/>
                  </a:lnTo>
                  <a:lnTo>
                    <a:pt x="95250" y="681038"/>
                  </a:lnTo>
                  <a:lnTo>
                    <a:pt x="99060" y="687705"/>
                  </a:lnTo>
                  <a:lnTo>
                    <a:pt x="100013" y="690563"/>
                  </a:lnTo>
                  <a:lnTo>
                    <a:pt x="102870" y="703897"/>
                  </a:lnTo>
                  <a:lnTo>
                    <a:pt x="105728" y="708660"/>
                  </a:lnTo>
                  <a:lnTo>
                    <a:pt x="106680" y="710565"/>
                  </a:lnTo>
                  <a:lnTo>
                    <a:pt x="110490" y="708660"/>
                  </a:lnTo>
                  <a:lnTo>
                    <a:pt x="116205" y="703897"/>
                  </a:lnTo>
                  <a:lnTo>
                    <a:pt x="127635" y="689610"/>
                  </a:lnTo>
                  <a:lnTo>
                    <a:pt x="135255" y="676275"/>
                  </a:lnTo>
                  <a:lnTo>
                    <a:pt x="137160" y="673418"/>
                  </a:lnTo>
                  <a:lnTo>
                    <a:pt x="140970" y="671513"/>
                  </a:lnTo>
                  <a:lnTo>
                    <a:pt x="159068" y="668655"/>
                  </a:lnTo>
                  <a:lnTo>
                    <a:pt x="165735" y="664845"/>
                  </a:lnTo>
                  <a:lnTo>
                    <a:pt x="179070" y="646747"/>
                  </a:lnTo>
                  <a:lnTo>
                    <a:pt x="195263" y="648653"/>
                  </a:lnTo>
                  <a:lnTo>
                    <a:pt x="201930" y="645795"/>
                  </a:lnTo>
                  <a:lnTo>
                    <a:pt x="215265" y="631507"/>
                  </a:lnTo>
                  <a:lnTo>
                    <a:pt x="230505" y="620078"/>
                  </a:lnTo>
                  <a:lnTo>
                    <a:pt x="236220" y="617220"/>
                  </a:lnTo>
                  <a:lnTo>
                    <a:pt x="240982" y="616268"/>
                  </a:lnTo>
                  <a:lnTo>
                    <a:pt x="243840" y="617220"/>
                  </a:lnTo>
                  <a:lnTo>
                    <a:pt x="245745" y="619125"/>
                  </a:lnTo>
                  <a:lnTo>
                    <a:pt x="248603" y="623888"/>
                  </a:lnTo>
                  <a:lnTo>
                    <a:pt x="251460" y="625793"/>
                  </a:lnTo>
                  <a:lnTo>
                    <a:pt x="255270" y="627697"/>
                  </a:lnTo>
                  <a:lnTo>
                    <a:pt x="262890" y="629603"/>
                  </a:lnTo>
                  <a:lnTo>
                    <a:pt x="266700" y="629603"/>
                  </a:lnTo>
                  <a:lnTo>
                    <a:pt x="268605" y="629603"/>
                  </a:lnTo>
                  <a:lnTo>
                    <a:pt x="273368" y="622935"/>
                  </a:lnTo>
                  <a:lnTo>
                    <a:pt x="341947" y="586740"/>
                  </a:lnTo>
                  <a:lnTo>
                    <a:pt x="343853" y="581025"/>
                  </a:lnTo>
                  <a:lnTo>
                    <a:pt x="344805" y="571500"/>
                  </a:lnTo>
                  <a:lnTo>
                    <a:pt x="345757" y="566738"/>
                  </a:lnTo>
                  <a:lnTo>
                    <a:pt x="347663" y="562928"/>
                  </a:lnTo>
                  <a:lnTo>
                    <a:pt x="351472" y="558165"/>
                  </a:lnTo>
                  <a:lnTo>
                    <a:pt x="354330" y="555307"/>
                  </a:lnTo>
                  <a:lnTo>
                    <a:pt x="357188" y="554355"/>
                  </a:lnTo>
                  <a:lnTo>
                    <a:pt x="369570" y="553403"/>
                  </a:lnTo>
                  <a:lnTo>
                    <a:pt x="379095" y="555307"/>
                  </a:lnTo>
                  <a:lnTo>
                    <a:pt x="381953" y="556260"/>
                  </a:lnTo>
                  <a:lnTo>
                    <a:pt x="383857" y="558165"/>
                  </a:lnTo>
                  <a:lnTo>
                    <a:pt x="386715" y="562928"/>
                  </a:lnTo>
                  <a:lnTo>
                    <a:pt x="387668" y="564832"/>
                  </a:lnTo>
                  <a:lnTo>
                    <a:pt x="391478" y="568643"/>
                  </a:lnTo>
                  <a:lnTo>
                    <a:pt x="394335" y="568643"/>
                  </a:lnTo>
                  <a:lnTo>
                    <a:pt x="432435" y="564832"/>
                  </a:lnTo>
                  <a:lnTo>
                    <a:pt x="438150" y="561975"/>
                  </a:lnTo>
                  <a:lnTo>
                    <a:pt x="441007" y="559118"/>
                  </a:lnTo>
                  <a:lnTo>
                    <a:pt x="442913" y="553403"/>
                  </a:lnTo>
                  <a:lnTo>
                    <a:pt x="442913" y="546735"/>
                  </a:lnTo>
                  <a:lnTo>
                    <a:pt x="442913" y="530543"/>
                  </a:lnTo>
                  <a:lnTo>
                    <a:pt x="441960" y="528638"/>
                  </a:lnTo>
                  <a:lnTo>
                    <a:pt x="441007" y="526732"/>
                  </a:lnTo>
                  <a:lnTo>
                    <a:pt x="438150" y="524828"/>
                  </a:lnTo>
                  <a:lnTo>
                    <a:pt x="427672" y="520065"/>
                  </a:lnTo>
                  <a:lnTo>
                    <a:pt x="423863" y="516255"/>
                  </a:lnTo>
                  <a:lnTo>
                    <a:pt x="425768" y="512445"/>
                  </a:lnTo>
                  <a:lnTo>
                    <a:pt x="430530" y="505778"/>
                  </a:lnTo>
                  <a:lnTo>
                    <a:pt x="450532" y="488632"/>
                  </a:lnTo>
                  <a:lnTo>
                    <a:pt x="454343" y="483870"/>
                  </a:lnTo>
                  <a:lnTo>
                    <a:pt x="455295" y="481013"/>
                  </a:lnTo>
                  <a:lnTo>
                    <a:pt x="461010" y="458153"/>
                  </a:lnTo>
                  <a:lnTo>
                    <a:pt x="461010" y="456247"/>
                  </a:lnTo>
                  <a:lnTo>
                    <a:pt x="460057" y="451485"/>
                  </a:lnTo>
                  <a:lnTo>
                    <a:pt x="460057" y="448628"/>
                  </a:lnTo>
                  <a:lnTo>
                    <a:pt x="457200" y="443865"/>
                  </a:lnTo>
                  <a:lnTo>
                    <a:pt x="458153" y="440055"/>
                  </a:lnTo>
                  <a:lnTo>
                    <a:pt x="462915" y="434340"/>
                  </a:lnTo>
                  <a:lnTo>
                    <a:pt x="475297" y="424815"/>
                  </a:lnTo>
                  <a:lnTo>
                    <a:pt x="491490" y="409575"/>
                  </a:lnTo>
                  <a:lnTo>
                    <a:pt x="508635" y="400050"/>
                  </a:lnTo>
                  <a:lnTo>
                    <a:pt x="514350" y="398145"/>
                  </a:lnTo>
                  <a:lnTo>
                    <a:pt x="518160" y="398145"/>
                  </a:lnTo>
                  <a:lnTo>
                    <a:pt x="524828" y="400050"/>
                  </a:lnTo>
                  <a:lnTo>
                    <a:pt x="532447" y="399097"/>
                  </a:lnTo>
                  <a:lnTo>
                    <a:pt x="536257" y="400050"/>
                  </a:lnTo>
                  <a:lnTo>
                    <a:pt x="541020" y="401955"/>
                  </a:lnTo>
                  <a:lnTo>
                    <a:pt x="544830" y="403860"/>
                  </a:lnTo>
                  <a:lnTo>
                    <a:pt x="548640" y="403860"/>
                  </a:lnTo>
                  <a:lnTo>
                    <a:pt x="555307" y="402907"/>
                  </a:lnTo>
                  <a:lnTo>
                    <a:pt x="560070" y="403860"/>
                  </a:lnTo>
                  <a:lnTo>
                    <a:pt x="561975" y="404813"/>
                  </a:lnTo>
                  <a:lnTo>
                    <a:pt x="564832" y="409575"/>
                  </a:lnTo>
                  <a:lnTo>
                    <a:pt x="566738" y="411480"/>
                  </a:lnTo>
                  <a:lnTo>
                    <a:pt x="570547" y="412432"/>
                  </a:lnTo>
                  <a:lnTo>
                    <a:pt x="577215" y="411480"/>
                  </a:lnTo>
                  <a:lnTo>
                    <a:pt x="596265" y="406718"/>
                  </a:lnTo>
                  <a:lnTo>
                    <a:pt x="601028" y="406718"/>
                  </a:lnTo>
                  <a:lnTo>
                    <a:pt x="606743" y="408622"/>
                  </a:lnTo>
                  <a:lnTo>
                    <a:pt x="633413" y="406718"/>
                  </a:lnTo>
                  <a:lnTo>
                    <a:pt x="639128" y="407670"/>
                  </a:lnTo>
                  <a:lnTo>
                    <a:pt x="647700" y="411480"/>
                  </a:lnTo>
                  <a:lnTo>
                    <a:pt x="661035" y="412432"/>
                  </a:lnTo>
                  <a:lnTo>
                    <a:pt x="676275" y="417195"/>
                  </a:lnTo>
                  <a:lnTo>
                    <a:pt x="686753" y="422910"/>
                  </a:lnTo>
                  <a:lnTo>
                    <a:pt x="692468" y="427672"/>
                  </a:lnTo>
                  <a:lnTo>
                    <a:pt x="694372" y="429578"/>
                  </a:lnTo>
                  <a:lnTo>
                    <a:pt x="701040" y="429578"/>
                  </a:lnTo>
                  <a:lnTo>
                    <a:pt x="705803" y="429578"/>
                  </a:lnTo>
                  <a:lnTo>
                    <a:pt x="726757" y="429578"/>
                  </a:lnTo>
                  <a:lnTo>
                    <a:pt x="735330" y="426720"/>
                  </a:lnTo>
                  <a:lnTo>
                    <a:pt x="761047" y="411480"/>
                  </a:lnTo>
                  <a:lnTo>
                    <a:pt x="764857" y="409575"/>
                  </a:lnTo>
                  <a:lnTo>
                    <a:pt x="783907" y="408622"/>
                  </a:lnTo>
                  <a:lnTo>
                    <a:pt x="790575" y="409575"/>
                  </a:lnTo>
                  <a:lnTo>
                    <a:pt x="802005" y="414338"/>
                  </a:lnTo>
                  <a:lnTo>
                    <a:pt x="804863" y="414338"/>
                  </a:lnTo>
                  <a:lnTo>
                    <a:pt x="814388" y="413385"/>
                  </a:lnTo>
                  <a:lnTo>
                    <a:pt x="821055" y="414338"/>
                  </a:lnTo>
                  <a:lnTo>
                    <a:pt x="828675" y="417195"/>
                  </a:lnTo>
                  <a:lnTo>
                    <a:pt x="830580" y="419100"/>
                  </a:lnTo>
                  <a:lnTo>
                    <a:pt x="833438" y="421957"/>
                  </a:lnTo>
                  <a:lnTo>
                    <a:pt x="837247" y="429578"/>
                  </a:lnTo>
                  <a:lnTo>
                    <a:pt x="839153" y="431482"/>
                  </a:lnTo>
                  <a:lnTo>
                    <a:pt x="841057" y="432435"/>
                  </a:lnTo>
                  <a:lnTo>
                    <a:pt x="843915" y="431482"/>
                  </a:lnTo>
                  <a:lnTo>
                    <a:pt x="848678" y="425768"/>
                  </a:lnTo>
                  <a:lnTo>
                    <a:pt x="852488" y="424815"/>
                  </a:lnTo>
                  <a:lnTo>
                    <a:pt x="859155" y="424815"/>
                  </a:lnTo>
                  <a:lnTo>
                    <a:pt x="871538" y="421005"/>
                  </a:lnTo>
                  <a:lnTo>
                    <a:pt x="882015" y="416243"/>
                  </a:lnTo>
                  <a:lnTo>
                    <a:pt x="899160" y="411480"/>
                  </a:lnTo>
                  <a:lnTo>
                    <a:pt x="905827" y="406718"/>
                  </a:lnTo>
                  <a:lnTo>
                    <a:pt x="909638" y="402907"/>
                  </a:lnTo>
                  <a:lnTo>
                    <a:pt x="913448" y="390525"/>
                  </a:lnTo>
                  <a:lnTo>
                    <a:pt x="916305" y="381953"/>
                  </a:lnTo>
                  <a:lnTo>
                    <a:pt x="916305" y="377190"/>
                  </a:lnTo>
                  <a:lnTo>
                    <a:pt x="918210" y="372428"/>
                  </a:lnTo>
                  <a:lnTo>
                    <a:pt x="919163" y="368618"/>
                  </a:lnTo>
                  <a:lnTo>
                    <a:pt x="924877" y="362903"/>
                  </a:lnTo>
                  <a:lnTo>
                    <a:pt x="938213" y="351472"/>
                  </a:lnTo>
                  <a:lnTo>
                    <a:pt x="942023" y="347663"/>
                  </a:lnTo>
                  <a:lnTo>
                    <a:pt x="943927" y="343853"/>
                  </a:lnTo>
                  <a:lnTo>
                    <a:pt x="945832" y="334328"/>
                  </a:lnTo>
                  <a:lnTo>
                    <a:pt x="946785" y="329565"/>
                  </a:lnTo>
                  <a:lnTo>
                    <a:pt x="946785" y="314325"/>
                  </a:lnTo>
                  <a:lnTo>
                    <a:pt x="944880" y="299085"/>
                  </a:lnTo>
                  <a:lnTo>
                    <a:pt x="944880" y="288607"/>
                  </a:lnTo>
                  <a:lnTo>
                    <a:pt x="945832" y="282893"/>
                  </a:lnTo>
                  <a:lnTo>
                    <a:pt x="947738" y="278130"/>
                  </a:lnTo>
                  <a:lnTo>
                    <a:pt x="952500" y="272415"/>
                  </a:lnTo>
                  <a:lnTo>
                    <a:pt x="957263" y="270510"/>
                  </a:lnTo>
                  <a:lnTo>
                    <a:pt x="962025" y="271463"/>
                  </a:lnTo>
                  <a:lnTo>
                    <a:pt x="978218" y="277178"/>
                  </a:lnTo>
                  <a:lnTo>
                    <a:pt x="1009650" y="278130"/>
                  </a:lnTo>
                  <a:lnTo>
                    <a:pt x="1014413" y="275272"/>
                  </a:lnTo>
                  <a:lnTo>
                    <a:pt x="1017270" y="271463"/>
                  </a:lnTo>
                  <a:lnTo>
                    <a:pt x="1019175" y="265747"/>
                  </a:lnTo>
                  <a:lnTo>
                    <a:pt x="1022985" y="260032"/>
                  </a:lnTo>
                  <a:lnTo>
                    <a:pt x="1026795" y="257175"/>
                  </a:lnTo>
                  <a:lnTo>
                    <a:pt x="1029652" y="256222"/>
                  </a:lnTo>
                  <a:lnTo>
                    <a:pt x="1047750" y="256222"/>
                  </a:lnTo>
                  <a:lnTo>
                    <a:pt x="1051560" y="257175"/>
                  </a:lnTo>
                  <a:lnTo>
                    <a:pt x="1093470" y="272415"/>
                  </a:lnTo>
                  <a:lnTo>
                    <a:pt x="1109663" y="283845"/>
                  </a:lnTo>
                  <a:lnTo>
                    <a:pt x="1114425" y="289560"/>
                  </a:lnTo>
                  <a:lnTo>
                    <a:pt x="1116330" y="293370"/>
                  </a:lnTo>
                  <a:lnTo>
                    <a:pt x="1119188" y="301943"/>
                  </a:lnTo>
                  <a:lnTo>
                    <a:pt x="1122045" y="315278"/>
                  </a:lnTo>
                  <a:lnTo>
                    <a:pt x="1123950" y="319088"/>
                  </a:lnTo>
                  <a:lnTo>
                    <a:pt x="1126807" y="322897"/>
                  </a:lnTo>
                  <a:lnTo>
                    <a:pt x="1133475" y="323850"/>
                  </a:lnTo>
                  <a:lnTo>
                    <a:pt x="1138238" y="321945"/>
                  </a:lnTo>
                  <a:lnTo>
                    <a:pt x="1141095" y="319088"/>
                  </a:lnTo>
                  <a:lnTo>
                    <a:pt x="1143952" y="314325"/>
                  </a:lnTo>
                  <a:lnTo>
                    <a:pt x="1150620" y="308610"/>
                  </a:lnTo>
                  <a:lnTo>
                    <a:pt x="1154430" y="303847"/>
                  </a:lnTo>
                  <a:lnTo>
                    <a:pt x="1157288" y="298132"/>
                  </a:lnTo>
                  <a:lnTo>
                    <a:pt x="1161098" y="294322"/>
                  </a:lnTo>
                  <a:lnTo>
                    <a:pt x="1168718" y="289560"/>
                  </a:lnTo>
                  <a:lnTo>
                    <a:pt x="1191577" y="281940"/>
                  </a:lnTo>
                  <a:lnTo>
                    <a:pt x="1194435" y="280035"/>
                  </a:lnTo>
                  <a:lnTo>
                    <a:pt x="1203960" y="270510"/>
                  </a:lnTo>
                  <a:lnTo>
                    <a:pt x="1206818" y="269557"/>
                  </a:lnTo>
                  <a:lnTo>
                    <a:pt x="1209675" y="269557"/>
                  </a:lnTo>
                  <a:lnTo>
                    <a:pt x="1214438" y="272415"/>
                  </a:lnTo>
                  <a:lnTo>
                    <a:pt x="1215390" y="276225"/>
                  </a:lnTo>
                  <a:lnTo>
                    <a:pt x="1217295" y="278130"/>
                  </a:lnTo>
                  <a:lnTo>
                    <a:pt x="1220152" y="279082"/>
                  </a:lnTo>
                  <a:lnTo>
                    <a:pt x="1235393" y="276225"/>
                  </a:lnTo>
                  <a:lnTo>
                    <a:pt x="1239202" y="276225"/>
                  </a:lnTo>
                  <a:lnTo>
                    <a:pt x="1241107" y="280988"/>
                  </a:lnTo>
                  <a:lnTo>
                    <a:pt x="1243965" y="282893"/>
                  </a:lnTo>
                  <a:lnTo>
                    <a:pt x="1247775" y="283845"/>
                  </a:lnTo>
                  <a:lnTo>
                    <a:pt x="1257300" y="283845"/>
                  </a:lnTo>
                  <a:lnTo>
                    <a:pt x="1261110" y="281940"/>
                  </a:lnTo>
                  <a:lnTo>
                    <a:pt x="1263968" y="279082"/>
                  </a:lnTo>
                  <a:lnTo>
                    <a:pt x="1264920" y="276225"/>
                  </a:lnTo>
                  <a:lnTo>
                    <a:pt x="1268730" y="262890"/>
                  </a:lnTo>
                  <a:lnTo>
                    <a:pt x="1269682" y="256222"/>
                  </a:lnTo>
                  <a:lnTo>
                    <a:pt x="1270635" y="253365"/>
                  </a:lnTo>
                  <a:lnTo>
                    <a:pt x="1268730" y="250507"/>
                  </a:lnTo>
                  <a:lnTo>
                    <a:pt x="1263968" y="244793"/>
                  </a:lnTo>
                  <a:lnTo>
                    <a:pt x="1263015" y="242888"/>
                  </a:lnTo>
                  <a:lnTo>
                    <a:pt x="1263968" y="240030"/>
                  </a:lnTo>
                  <a:lnTo>
                    <a:pt x="1265873" y="234315"/>
                  </a:lnTo>
                  <a:lnTo>
                    <a:pt x="1268730" y="230505"/>
                  </a:lnTo>
                  <a:lnTo>
                    <a:pt x="1271588" y="227647"/>
                  </a:lnTo>
                  <a:lnTo>
                    <a:pt x="1290638" y="215265"/>
                  </a:lnTo>
                  <a:lnTo>
                    <a:pt x="1294448" y="211455"/>
                  </a:lnTo>
                  <a:lnTo>
                    <a:pt x="1301115" y="199072"/>
                  </a:lnTo>
                  <a:lnTo>
                    <a:pt x="1305877" y="191453"/>
                  </a:lnTo>
                  <a:lnTo>
                    <a:pt x="1314450" y="175260"/>
                  </a:lnTo>
                  <a:lnTo>
                    <a:pt x="1316355" y="173355"/>
                  </a:lnTo>
                  <a:lnTo>
                    <a:pt x="1320165" y="169545"/>
                  </a:lnTo>
                  <a:lnTo>
                    <a:pt x="1323975" y="168593"/>
                  </a:lnTo>
                  <a:lnTo>
                    <a:pt x="1326832" y="169545"/>
                  </a:lnTo>
                  <a:lnTo>
                    <a:pt x="1332548" y="171450"/>
                  </a:lnTo>
                  <a:lnTo>
                    <a:pt x="1340168" y="173355"/>
                  </a:lnTo>
                  <a:lnTo>
                    <a:pt x="1343025" y="172403"/>
                  </a:lnTo>
                  <a:lnTo>
                    <a:pt x="1344930" y="171450"/>
                  </a:lnTo>
                  <a:lnTo>
                    <a:pt x="1344930" y="168593"/>
                  </a:lnTo>
                  <a:lnTo>
                    <a:pt x="1343025" y="160020"/>
                  </a:lnTo>
                  <a:lnTo>
                    <a:pt x="1343977" y="158115"/>
                  </a:lnTo>
                  <a:lnTo>
                    <a:pt x="1345882" y="155257"/>
                  </a:lnTo>
                  <a:lnTo>
                    <a:pt x="1352550" y="148590"/>
                  </a:lnTo>
                  <a:lnTo>
                    <a:pt x="1358265" y="146685"/>
                  </a:lnTo>
                  <a:lnTo>
                    <a:pt x="1365885" y="140018"/>
                  </a:lnTo>
                  <a:lnTo>
                    <a:pt x="1367790" y="139065"/>
                  </a:lnTo>
                  <a:lnTo>
                    <a:pt x="1370648" y="140018"/>
                  </a:lnTo>
                  <a:lnTo>
                    <a:pt x="1373505" y="140970"/>
                  </a:lnTo>
                  <a:lnTo>
                    <a:pt x="1374457" y="143828"/>
                  </a:lnTo>
                  <a:lnTo>
                    <a:pt x="1374457" y="146685"/>
                  </a:lnTo>
                  <a:lnTo>
                    <a:pt x="1373505" y="152400"/>
                  </a:lnTo>
                  <a:lnTo>
                    <a:pt x="1374457" y="155257"/>
                  </a:lnTo>
                  <a:lnTo>
                    <a:pt x="1375410" y="157163"/>
                  </a:lnTo>
                  <a:lnTo>
                    <a:pt x="1380173" y="160020"/>
                  </a:lnTo>
                  <a:lnTo>
                    <a:pt x="1382077" y="161925"/>
                  </a:lnTo>
                  <a:lnTo>
                    <a:pt x="1383030" y="164782"/>
                  </a:lnTo>
                  <a:lnTo>
                    <a:pt x="1383982" y="170497"/>
                  </a:lnTo>
                  <a:lnTo>
                    <a:pt x="1385888" y="172403"/>
                  </a:lnTo>
                  <a:lnTo>
                    <a:pt x="1387793" y="174307"/>
                  </a:lnTo>
                  <a:lnTo>
                    <a:pt x="1393507" y="176213"/>
                  </a:lnTo>
                  <a:lnTo>
                    <a:pt x="1402080" y="178118"/>
                  </a:lnTo>
                  <a:lnTo>
                    <a:pt x="1408748" y="178118"/>
                  </a:lnTo>
                  <a:lnTo>
                    <a:pt x="1412557" y="177165"/>
                  </a:lnTo>
                  <a:lnTo>
                    <a:pt x="1415415" y="176213"/>
                  </a:lnTo>
                  <a:lnTo>
                    <a:pt x="1422082" y="169545"/>
                  </a:lnTo>
                  <a:lnTo>
                    <a:pt x="1426845" y="165735"/>
                  </a:lnTo>
                  <a:lnTo>
                    <a:pt x="1429702" y="164782"/>
                  </a:lnTo>
                  <a:lnTo>
                    <a:pt x="1431607" y="165735"/>
                  </a:lnTo>
                  <a:lnTo>
                    <a:pt x="1432560" y="168593"/>
                  </a:lnTo>
                  <a:lnTo>
                    <a:pt x="1433513" y="171450"/>
                  </a:lnTo>
                  <a:lnTo>
                    <a:pt x="1432560" y="191453"/>
                  </a:lnTo>
                  <a:lnTo>
                    <a:pt x="1432560" y="194310"/>
                  </a:lnTo>
                  <a:lnTo>
                    <a:pt x="1433513" y="196215"/>
                  </a:lnTo>
                  <a:lnTo>
                    <a:pt x="1437323" y="203835"/>
                  </a:lnTo>
                  <a:lnTo>
                    <a:pt x="1457325" y="231457"/>
                  </a:lnTo>
                  <a:lnTo>
                    <a:pt x="1461135" y="238125"/>
                  </a:lnTo>
                  <a:lnTo>
                    <a:pt x="1463040" y="245745"/>
                  </a:lnTo>
                  <a:lnTo>
                    <a:pt x="1463993" y="260985"/>
                  </a:lnTo>
                  <a:lnTo>
                    <a:pt x="1464945" y="266700"/>
                  </a:lnTo>
                  <a:lnTo>
                    <a:pt x="1466850" y="268605"/>
                  </a:lnTo>
                  <a:lnTo>
                    <a:pt x="1470660" y="269557"/>
                  </a:lnTo>
                  <a:lnTo>
                    <a:pt x="1478280" y="269557"/>
                  </a:lnTo>
                  <a:lnTo>
                    <a:pt x="1482090" y="267653"/>
                  </a:lnTo>
                  <a:lnTo>
                    <a:pt x="1483995" y="265747"/>
                  </a:lnTo>
                  <a:lnTo>
                    <a:pt x="1484948" y="259080"/>
                  </a:lnTo>
                  <a:lnTo>
                    <a:pt x="1483995" y="256222"/>
                  </a:lnTo>
                  <a:lnTo>
                    <a:pt x="1485900" y="249555"/>
                  </a:lnTo>
                  <a:lnTo>
                    <a:pt x="1489710" y="245745"/>
                  </a:lnTo>
                  <a:lnTo>
                    <a:pt x="1492568" y="244793"/>
                  </a:lnTo>
                  <a:lnTo>
                    <a:pt x="1495425" y="245745"/>
                  </a:lnTo>
                  <a:lnTo>
                    <a:pt x="1500188" y="248603"/>
                  </a:lnTo>
                  <a:lnTo>
                    <a:pt x="1506855" y="253365"/>
                  </a:lnTo>
                  <a:lnTo>
                    <a:pt x="1509713" y="255270"/>
                  </a:lnTo>
                  <a:lnTo>
                    <a:pt x="1513523" y="256222"/>
                  </a:lnTo>
                  <a:lnTo>
                    <a:pt x="1520190" y="256222"/>
                  </a:lnTo>
                  <a:lnTo>
                    <a:pt x="1524952" y="256222"/>
                  </a:lnTo>
                  <a:lnTo>
                    <a:pt x="1527810" y="254318"/>
                  </a:lnTo>
                  <a:lnTo>
                    <a:pt x="1537335" y="246697"/>
                  </a:lnTo>
                  <a:lnTo>
                    <a:pt x="1542098" y="240030"/>
                  </a:lnTo>
                  <a:lnTo>
                    <a:pt x="1544955" y="235268"/>
                  </a:lnTo>
                  <a:lnTo>
                    <a:pt x="1547813" y="228600"/>
                  </a:lnTo>
                  <a:lnTo>
                    <a:pt x="1549718" y="225743"/>
                  </a:lnTo>
                  <a:lnTo>
                    <a:pt x="1553527" y="221932"/>
                  </a:lnTo>
                  <a:lnTo>
                    <a:pt x="1556385" y="220980"/>
                  </a:lnTo>
                  <a:lnTo>
                    <a:pt x="1560195" y="221932"/>
                  </a:lnTo>
                  <a:lnTo>
                    <a:pt x="1565910" y="223838"/>
                  </a:lnTo>
                  <a:lnTo>
                    <a:pt x="1579245" y="233363"/>
                  </a:lnTo>
                  <a:lnTo>
                    <a:pt x="1585913" y="239078"/>
                  </a:lnTo>
                  <a:lnTo>
                    <a:pt x="1593532" y="241935"/>
                  </a:lnTo>
                  <a:lnTo>
                    <a:pt x="1602105" y="241935"/>
                  </a:lnTo>
                  <a:lnTo>
                    <a:pt x="1605915" y="240982"/>
                  </a:lnTo>
                  <a:lnTo>
                    <a:pt x="1608773" y="238125"/>
                  </a:lnTo>
                  <a:lnTo>
                    <a:pt x="1610677" y="234315"/>
                  </a:lnTo>
                  <a:lnTo>
                    <a:pt x="1614488" y="230505"/>
                  </a:lnTo>
                  <a:lnTo>
                    <a:pt x="1638300" y="210503"/>
                  </a:lnTo>
                  <a:lnTo>
                    <a:pt x="1642110" y="206693"/>
                  </a:lnTo>
                  <a:lnTo>
                    <a:pt x="1644015" y="202882"/>
                  </a:lnTo>
                  <a:lnTo>
                    <a:pt x="1644015" y="196215"/>
                  </a:lnTo>
                  <a:lnTo>
                    <a:pt x="1643063" y="194310"/>
                  </a:lnTo>
                  <a:lnTo>
                    <a:pt x="1641157" y="193357"/>
                  </a:lnTo>
                  <a:lnTo>
                    <a:pt x="1631632" y="190500"/>
                  </a:lnTo>
                  <a:lnTo>
                    <a:pt x="1629727" y="188595"/>
                  </a:lnTo>
                  <a:lnTo>
                    <a:pt x="1627823" y="186690"/>
                  </a:lnTo>
                  <a:lnTo>
                    <a:pt x="1615440" y="151447"/>
                  </a:lnTo>
                  <a:lnTo>
                    <a:pt x="1614488" y="148590"/>
                  </a:lnTo>
                  <a:lnTo>
                    <a:pt x="1614488" y="142875"/>
                  </a:lnTo>
                  <a:lnTo>
                    <a:pt x="1614488" y="120968"/>
                  </a:lnTo>
                  <a:lnTo>
                    <a:pt x="1613535" y="112395"/>
                  </a:lnTo>
                  <a:lnTo>
                    <a:pt x="1609725" y="93345"/>
                  </a:lnTo>
                  <a:lnTo>
                    <a:pt x="1605915" y="82868"/>
                  </a:lnTo>
                  <a:lnTo>
                    <a:pt x="1603057" y="79057"/>
                  </a:lnTo>
                  <a:lnTo>
                    <a:pt x="1599248" y="74295"/>
                  </a:lnTo>
                  <a:lnTo>
                    <a:pt x="1593532" y="69532"/>
                  </a:lnTo>
                  <a:lnTo>
                    <a:pt x="1589723" y="65722"/>
                  </a:lnTo>
                  <a:lnTo>
                    <a:pt x="1589723" y="62865"/>
                  </a:lnTo>
                  <a:lnTo>
                    <a:pt x="1589723" y="60007"/>
                  </a:lnTo>
                  <a:lnTo>
                    <a:pt x="1602105" y="25718"/>
                  </a:lnTo>
                  <a:lnTo>
                    <a:pt x="1603057" y="22860"/>
                  </a:lnTo>
                  <a:lnTo>
                    <a:pt x="1608773" y="0"/>
                  </a:lnTo>
                  <a:lnTo>
                    <a:pt x="1740218" y="64770"/>
                  </a:lnTo>
                  <a:lnTo>
                    <a:pt x="1795463" y="106680"/>
                  </a:lnTo>
                  <a:lnTo>
                    <a:pt x="1799273" y="110490"/>
                  </a:lnTo>
                  <a:lnTo>
                    <a:pt x="1803082" y="114300"/>
                  </a:lnTo>
                  <a:lnTo>
                    <a:pt x="1812607" y="129540"/>
                  </a:lnTo>
                  <a:lnTo>
                    <a:pt x="1816418" y="139065"/>
                  </a:lnTo>
                  <a:lnTo>
                    <a:pt x="1822132" y="148590"/>
                  </a:lnTo>
                  <a:lnTo>
                    <a:pt x="1824038" y="151447"/>
                  </a:lnTo>
                  <a:lnTo>
                    <a:pt x="1827848" y="154305"/>
                  </a:lnTo>
                  <a:lnTo>
                    <a:pt x="1877377" y="159068"/>
                  </a:lnTo>
                  <a:lnTo>
                    <a:pt x="1879282" y="160020"/>
                  </a:lnTo>
                  <a:lnTo>
                    <a:pt x="1881188" y="167640"/>
                  </a:lnTo>
                  <a:lnTo>
                    <a:pt x="1884045" y="170497"/>
                  </a:lnTo>
                  <a:lnTo>
                    <a:pt x="1887855" y="172403"/>
                  </a:lnTo>
                  <a:lnTo>
                    <a:pt x="1900238" y="176213"/>
                  </a:lnTo>
                  <a:lnTo>
                    <a:pt x="1903095" y="179070"/>
                  </a:lnTo>
                  <a:lnTo>
                    <a:pt x="1904048" y="181928"/>
                  </a:lnTo>
                  <a:lnTo>
                    <a:pt x="1903095" y="184785"/>
                  </a:lnTo>
                  <a:lnTo>
                    <a:pt x="1901190" y="186690"/>
                  </a:lnTo>
                  <a:lnTo>
                    <a:pt x="1898332" y="187643"/>
                  </a:lnTo>
                  <a:lnTo>
                    <a:pt x="1890713" y="189547"/>
                  </a:lnTo>
                  <a:lnTo>
                    <a:pt x="1888807" y="190500"/>
                  </a:lnTo>
                  <a:lnTo>
                    <a:pt x="1888807" y="193357"/>
                  </a:lnTo>
                  <a:lnTo>
                    <a:pt x="1888807" y="201930"/>
                  </a:lnTo>
                  <a:lnTo>
                    <a:pt x="1888807" y="204788"/>
                  </a:lnTo>
                  <a:lnTo>
                    <a:pt x="1886902" y="206693"/>
                  </a:lnTo>
                  <a:lnTo>
                    <a:pt x="1884045" y="210503"/>
                  </a:lnTo>
                  <a:lnTo>
                    <a:pt x="1879282" y="213360"/>
                  </a:lnTo>
                  <a:lnTo>
                    <a:pt x="1878330" y="215265"/>
                  </a:lnTo>
                  <a:lnTo>
                    <a:pt x="1881188" y="218122"/>
                  </a:lnTo>
                  <a:lnTo>
                    <a:pt x="1888807" y="224790"/>
                  </a:lnTo>
                  <a:lnTo>
                    <a:pt x="1890713" y="226695"/>
                  </a:lnTo>
                  <a:lnTo>
                    <a:pt x="1900238" y="239078"/>
                  </a:lnTo>
                  <a:lnTo>
                    <a:pt x="1902143" y="243840"/>
                  </a:lnTo>
                  <a:lnTo>
                    <a:pt x="1904048" y="245745"/>
                  </a:lnTo>
                  <a:lnTo>
                    <a:pt x="1913573" y="252413"/>
                  </a:lnTo>
                  <a:lnTo>
                    <a:pt x="1916430" y="254318"/>
                  </a:lnTo>
                  <a:lnTo>
                    <a:pt x="1918335" y="258128"/>
                  </a:lnTo>
                  <a:lnTo>
                    <a:pt x="1920240" y="260032"/>
                  </a:lnTo>
                  <a:lnTo>
                    <a:pt x="1922145" y="260032"/>
                  </a:lnTo>
                  <a:lnTo>
                    <a:pt x="1926907" y="257175"/>
                  </a:lnTo>
                  <a:lnTo>
                    <a:pt x="1931670" y="248603"/>
                  </a:lnTo>
                  <a:lnTo>
                    <a:pt x="1937385" y="248603"/>
                  </a:lnTo>
                  <a:lnTo>
                    <a:pt x="1945005" y="250507"/>
                  </a:lnTo>
                  <a:lnTo>
                    <a:pt x="1961198" y="258128"/>
                  </a:lnTo>
                  <a:lnTo>
                    <a:pt x="1966913" y="262890"/>
                  </a:lnTo>
                  <a:lnTo>
                    <a:pt x="1970723" y="266700"/>
                  </a:lnTo>
                  <a:lnTo>
                    <a:pt x="1974532" y="269557"/>
                  </a:lnTo>
                  <a:lnTo>
                    <a:pt x="1997393" y="279082"/>
                  </a:lnTo>
                  <a:lnTo>
                    <a:pt x="2002155" y="283845"/>
                  </a:lnTo>
                  <a:lnTo>
                    <a:pt x="2005013" y="286703"/>
                  </a:lnTo>
                  <a:lnTo>
                    <a:pt x="2006918" y="289560"/>
                  </a:lnTo>
                  <a:lnTo>
                    <a:pt x="2009775" y="290513"/>
                  </a:lnTo>
                  <a:lnTo>
                    <a:pt x="2015490" y="288607"/>
                  </a:lnTo>
                  <a:lnTo>
                    <a:pt x="2019300" y="286703"/>
                  </a:lnTo>
                  <a:lnTo>
                    <a:pt x="2021205" y="284797"/>
                  </a:lnTo>
                  <a:lnTo>
                    <a:pt x="2026920" y="274320"/>
                  </a:lnTo>
                  <a:lnTo>
                    <a:pt x="2030730" y="273368"/>
                  </a:lnTo>
                  <a:lnTo>
                    <a:pt x="2035493" y="273368"/>
                  </a:lnTo>
                  <a:lnTo>
                    <a:pt x="2054543" y="282893"/>
                  </a:lnTo>
                  <a:lnTo>
                    <a:pt x="2058352" y="286703"/>
                  </a:lnTo>
                  <a:lnTo>
                    <a:pt x="2064068" y="292418"/>
                  </a:lnTo>
                  <a:lnTo>
                    <a:pt x="2065973" y="294322"/>
                  </a:lnTo>
                  <a:lnTo>
                    <a:pt x="2069782" y="303847"/>
                  </a:lnTo>
                  <a:lnTo>
                    <a:pt x="2071688" y="309563"/>
                  </a:lnTo>
                  <a:lnTo>
                    <a:pt x="2071688" y="314325"/>
                  </a:lnTo>
                  <a:lnTo>
                    <a:pt x="2073593" y="316230"/>
                  </a:lnTo>
                  <a:lnTo>
                    <a:pt x="2075498" y="316230"/>
                  </a:lnTo>
                  <a:lnTo>
                    <a:pt x="2079307" y="313372"/>
                  </a:lnTo>
                  <a:lnTo>
                    <a:pt x="2081213" y="310515"/>
                  </a:lnTo>
                  <a:lnTo>
                    <a:pt x="2082165" y="306705"/>
                  </a:lnTo>
                  <a:lnTo>
                    <a:pt x="2084070" y="292418"/>
                  </a:lnTo>
                  <a:lnTo>
                    <a:pt x="2086927" y="286703"/>
                  </a:lnTo>
                  <a:lnTo>
                    <a:pt x="2089785" y="284797"/>
                  </a:lnTo>
                  <a:lnTo>
                    <a:pt x="2095500" y="283845"/>
                  </a:lnTo>
                  <a:lnTo>
                    <a:pt x="2105025" y="282893"/>
                  </a:lnTo>
                  <a:lnTo>
                    <a:pt x="2109788" y="280988"/>
                  </a:lnTo>
                  <a:lnTo>
                    <a:pt x="2113598" y="279082"/>
                  </a:lnTo>
                  <a:lnTo>
                    <a:pt x="2114550" y="276225"/>
                  </a:lnTo>
                  <a:lnTo>
                    <a:pt x="2130743" y="273368"/>
                  </a:lnTo>
                  <a:lnTo>
                    <a:pt x="2145983" y="288607"/>
                  </a:lnTo>
                  <a:lnTo>
                    <a:pt x="2155508" y="291465"/>
                  </a:lnTo>
                  <a:lnTo>
                    <a:pt x="2173605" y="292418"/>
                  </a:lnTo>
                  <a:lnTo>
                    <a:pt x="2182177" y="293370"/>
                  </a:lnTo>
                  <a:lnTo>
                    <a:pt x="2190750" y="298132"/>
                  </a:lnTo>
                  <a:lnTo>
                    <a:pt x="2194560" y="302895"/>
                  </a:lnTo>
                  <a:lnTo>
                    <a:pt x="2205038" y="31908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E1B68F8E-9E59-A965-6DF2-9EF75A944A44}"/>
                </a:ext>
              </a:extLst>
            </p:cNvPr>
            <p:cNvSpPr/>
            <p:nvPr/>
          </p:nvSpPr>
          <p:spPr>
            <a:xfrm>
              <a:off x="5107305" y="997267"/>
              <a:ext cx="1504950" cy="1914525"/>
            </a:xfrm>
            <a:custGeom>
              <a:avLst/>
              <a:gdLst>
                <a:gd name="connsiteX0" fmla="*/ 677227 w 1504950"/>
                <a:gd name="connsiteY0" fmla="*/ 211455 h 1914525"/>
                <a:gd name="connsiteX1" fmla="*/ 678180 w 1504950"/>
                <a:gd name="connsiteY1" fmla="*/ 218123 h 1914525"/>
                <a:gd name="connsiteX2" fmla="*/ 677227 w 1504950"/>
                <a:gd name="connsiteY2" fmla="*/ 220980 h 1914525"/>
                <a:gd name="connsiteX3" fmla="*/ 676275 w 1504950"/>
                <a:gd name="connsiteY3" fmla="*/ 222885 h 1914525"/>
                <a:gd name="connsiteX4" fmla="*/ 674370 w 1504950"/>
                <a:gd name="connsiteY4" fmla="*/ 224790 h 1914525"/>
                <a:gd name="connsiteX5" fmla="*/ 671513 w 1504950"/>
                <a:gd name="connsiteY5" fmla="*/ 224790 h 1914525"/>
                <a:gd name="connsiteX6" fmla="*/ 661035 w 1504950"/>
                <a:gd name="connsiteY6" fmla="*/ 223838 h 1914525"/>
                <a:gd name="connsiteX7" fmla="*/ 658177 w 1504950"/>
                <a:gd name="connsiteY7" fmla="*/ 224790 h 1914525"/>
                <a:gd name="connsiteX8" fmla="*/ 656272 w 1504950"/>
                <a:gd name="connsiteY8" fmla="*/ 226695 h 1914525"/>
                <a:gd name="connsiteX9" fmla="*/ 655320 w 1504950"/>
                <a:gd name="connsiteY9" fmla="*/ 230505 h 1914525"/>
                <a:gd name="connsiteX10" fmla="*/ 656272 w 1504950"/>
                <a:gd name="connsiteY10" fmla="*/ 235268 h 1914525"/>
                <a:gd name="connsiteX11" fmla="*/ 662940 w 1504950"/>
                <a:gd name="connsiteY11" fmla="*/ 251460 h 1914525"/>
                <a:gd name="connsiteX12" fmla="*/ 663892 w 1504950"/>
                <a:gd name="connsiteY12" fmla="*/ 257175 h 1914525"/>
                <a:gd name="connsiteX13" fmla="*/ 664845 w 1504950"/>
                <a:gd name="connsiteY13" fmla="*/ 263843 h 1914525"/>
                <a:gd name="connsiteX14" fmla="*/ 663892 w 1504950"/>
                <a:gd name="connsiteY14" fmla="*/ 270510 h 1914525"/>
                <a:gd name="connsiteX15" fmla="*/ 654367 w 1504950"/>
                <a:gd name="connsiteY15" fmla="*/ 317183 h 1914525"/>
                <a:gd name="connsiteX16" fmla="*/ 653415 w 1504950"/>
                <a:gd name="connsiteY16" fmla="*/ 324803 h 1914525"/>
                <a:gd name="connsiteX17" fmla="*/ 652463 w 1504950"/>
                <a:gd name="connsiteY17" fmla="*/ 376238 h 1914525"/>
                <a:gd name="connsiteX18" fmla="*/ 654367 w 1504950"/>
                <a:gd name="connsiteY18" fmla="*/ 401003 h 1914525"/>
                <a:gd name="connsiteX19" fmla="*/ 655320 w 1504950"/>
                <a:gd name="connsiteY19" fmla="*/ 404813 h 1914525"/>
                <a:gd name="connsiteX20" fmla="*/ 656272 w 1504950"/>
                <a:gd name="connsiteY20" fmla="*/ 406718 h 1914525"/>
                <a:gd name="connsiteX21" fmla="*/ 659130 w 1504950"/>
                <a:gd name="connsiteY21" fmla="*/ 408623 h 1914525"/>
                <a:gd name="connsiteX22" fmla="*/ 664845 w 1504950"/>
                <a:gd name="connsiteY22" fmla="*/ 408623 h 1914525"/>
                <a:gd name="connsiteX23" fmla="*/ 667702 w 1504950"/>
                <a:gd name="connsiteY23" fmla="*/ 406718 h 1914525"/>
                <a:gd name="connsiteX24" fmla="*/ 672465 w 1504950"/>
                <a:gd name="connsiteY24" fmla="*/ 402908 h 1914525"/>
                <a:gd name="connsiteX25" fmla="*/ 674370 w 1504950"/>
                <a:gd name="connsiteY25" fmla="*/ 401003 h 1914525"/>
                <a:gd name="connsiteX26" fmla="*/ 677227 w 1504950"/>
                <a:gd name="connsiteY26" fmla="*/ 401003 h 1914525"/>
                <a:gd name="connsiteX27" fmla="*/ 683895 w 1504950"/>
                <a:gd name="connsiteY27" fmla="*/ 404813 h 1914525"/>
                <a:gd name="connsiteX28" fmla="*/ 689610 w 1504950"/>
                <a:gd name="connsiteY28" fmla="*/ 409575 h 1914525"/>
                <a:gd name="connsiteX29" fmla="*/ 696277 w 1504950"/>
                <a:gd name="connsiteY29" fmla="*/ 411480 h 1914525"/>
                <a:gd name="connsiteX30" fmla="*/ 701040 w 1504950"/>
                <a:gd name="connsiteY30" fmla="*/ 411480 h 1914525"/>
                <a:gd name="connsiteX31" fmla="*/ 703897 w 1504950"/>
                <a:gd name="connsiteY31" fmla="*/ 411480 h 1914525"/>
                <a:gd name="connsiteX32" fmla="*/ 708660 w 1504950"/>
                <a:gd name="connsiteY32" fmla="*/ 412433 h 1914525"/>
                <a:gd name="connsiteX33" fmla="*/ 713422 w 1504950"/>
                <a:gd name="connsiteY33" fmla="*/ 415290 h 1914525"/>
                <a:gd name="connsiteX34" fmla="*/ 726757 w 1504950"/>
                <a:gd name="connsiteY34" fmla="*/ 427673 h 1914525"/>
                <a:gd name="connsiteX35" fmla="*/ 729615 w 1504950"/>
                <a:gd name="connsiteY35" fmla="*/ 431483 h 1914525"/>
                <a:gd name="connsiteX36" fmla="*/ 731520 w 1504950"/>
                <a:gd name="connsiteY36" fmla="*/ 436245 h 1914525"/>
                <a:gd name="connsiteX37" fmla="*/ 733425 w 1504950"/>
                <a:gd name="connsiteY37" fmla="*/ 444818 h 1914525"/>
                <a:gd name="connsiteX38" fmla="*/ 734377 w 1504950"/>
                <a:gd name="connsiteY38" fmla="*/ 451485 h 1914525"/>
                <a:gd name="connsiteX39" fmla="*/ 734377 w 1504950"/>
                <a:gd name="connsiteY39" fmla="*/ 458153 h 1914525"/>
                <a:gd name="connsiteX40" fmla="*/ 731520 w 1504950"/>
                <a:gd name="connsiteY40" fmla="*/ 472440 h 1914525"/>
                <a:gd name="connsiteX41" fmla="*/ 728663 w 1504950"/>
                <a:gd name="connsiteY41" fmla="*/ 486728 h 1914525"/>
                <a:gd name="connsiteX42" fmla="*/ 727710 w 1504950"/>
                <a:gd name="connsiteY42" fmla="*/ 490538 h 1914525"/>
                <a:gd name="connsiteX43" fmla="*/ 727710 w 1504950"/>
                <a:gd name="connsiteY43" fmla="*/ 497205 h 1914525"/>
                <a:gd name="connsiteX44" fmla="*/ 728663 w 1504950"/>
                <a:gd name="connsiteY44" fmla="*/ 502920 h 1914525"/>
                <a:gd name="connsiteX45" fmla="*/ 729615 w 1504950"/>
                <a:gd name="connsiteY45" fmla="*/ 505778 h 1914525"/>
                <a:gd name="connsiteX46" fmla="*/ 733425 w 1504950"/>
                <a:gd name="connsiteY46" fmla="*/ 508635 h 1914525"/>
                <a:gd name="connsiteX47" fmla="*/ 738188 w 1504950"/>
                <a:gd name="connsiteY47" fmla="*/ 511492 h 1914525"/>
                <a:gd name="connsiteX48" fmla="*/ 766763 w 1504950"/>
                <a:gd name="connsiteY48" fmla="*/ 521970 h 1914525"/>
                <a:gd name="connsiteX49" fmla="*/ 771525 w 1504950"/>
                <a:gd name="connsiteY49" fmla="*/ 524828 h 1914525"/>
                <a:gd name="connsiteX50" fmla="*/ 788670 w 1504950"/>
                <a:gd name="connsiteY50" fmla="*/ 538163 h 1914525"/>
                <a:gd name="connsiteX51" fmla="*/ 793432 w 1504950"/>
                <a:gd name="connsiteY51" fmla="*/ 542925 h 1914525"/>
                <a:gd name="connsiteX52" fmla="*/ 795338 w 1504950"/>
                <a:gd name="connsiteY52" fmla="*/ 546735 h 1914525"/>
                <a:gd name="connsiteX53" fmla="*/ 795338 w 1504950"/>
                <a:gd name="connsiteY53" fmla="*/ 548640 h 1914525"/>
                <a:gd name="connsiteX54" fmla="*/ 792480 w 1504950"/>
                <a:gd name="connsiteY54" fmla="*/ 566738 h 1914525"/>
                <a:gd name="connsiteX55" fmla="*/ 791527 w 1504950"/>
                <a:gd name="connsiteY55" fmla="*/ 573405 h 1914525"/>
                <a:gd name="connsiteX56" fmla="*/ 787717 w 1504950"/>
                <a:gd name="connsiteY56" fmla="*/ 582930 h 1914525"/>
                <a:gd name="connsiteX57" fmla="*/ 782955 w 1504950"/>
                <a:gd name="connsiteY57" fmla="*/ 594360 h 1914525"/>
                <a:gd name="connsiteX58" fmla="*/ 775335 w 1504950"/>
                <a:gd name="connsiteY58" fmla="*/ 607695 h 1914525"/>
                <a:gd name="connsiteX59" fmla="*/ 773430 w 1504950"/>
                <a:gd name="connsiteY59" fmla="*/ 612458 h 1914525"/>
                <a:gd name="connsiteX60" fmla="*/ 773430 w 1504950"/>
                <a:gd name="connsiteY60" fmla="*/ 616268 h 1914525"/>
                <a:gd name="connsiteX61" fmla="*/ 775335 w 1504950"/>
                <a:gd name="connsiteY61" fmla="*/ 618173 h 1914525"/>
                <a:gd name="connsiteX62" fmla="*/ 778192 w 1504950"/>
                <a:gd name="connsiteY62" fmla="*/ 620078 h 1914525"/>
                <a:gd name="connsiteX63" fmla="*/ 783907 w 1504950"/>
                <a:gd name="connsiteY63" fmla="*/ 620078 h 1914525"/>
                <a:gd name="connsiteX64" fmla="*/ 799147 w 1504950"/>
                <a:gd name="connsiteY64" fmla="*/ 615315 h 1914525"/>
                <a:gd name="connsiteX65" fmla="*/ 802957 w 1504950"/>
                <a:gd name="connsiteY65" fmla="*/ 616268 h 1914525"/>
                <a:gd name="connsiteX66" fmla="*/ 807720 w 1504950"/>
                <a:gd name="connsiteY66" fmla="*/ 618173 h 1914525"/>
                <a:gd name="connsiteX67" fmla="*/ 813435 w 1504950"/>
                <a:gd name="connsiteY67" fmla="*/ 623888 h 1914525"/>
                <a:gd name="connsiteX68" fmla="*/ 816292 w 1504950"/>
                <a:gd name="connsiteY68" fmla="*/ 627698 h 1914525"/>
                <a:gd name="connsiteX69" fmla="*/ 820102 w 1504950"/>
                <a:gd name="connsiteY69" fmla="*/ 632460 h 1914525"/>
                <a:gd name="connsiteX70" fmla="*/ 822007 w 1504950"/>
                <a:gd name="connsiteY70" fmla="*/ 634365 h 1914525"/>
                <a:gd name="connsiteX71" fmla="*/ 824865 w 1504950"/>
                <a:gd name="connsiteY71" fmla="*/ 635318 h 1914525"/>
                <a:gd name="connsiteX72" fmla="*/ 829627 w 1504950"/>
                <a:gd name="connsiteY72" fmla="*/ 634365 h 1914525"/>
                <a:gd name="connsiteX73" fmla="*/ 832485 w 1504950"/>
                <a:gd name="connsiteY73" fmla="*/ 632460 h 1914525"/>
                <a:gd name="connsiteX74" fmla="*/ 835342 w 1504950"/>
                <a:gd name="connsiteY74" fmla="*/ 630555 h 1914525"/>
                <a:gd name="connsiteX75" fmla="*/ 839152 w 1504950"/>
                <a:gd name="connsiteY75" fmla="*/ 621983 h 1914525"/>
                <a:gd name="connsiteX76" fmla="*/ 841057 w 1504950"/>
                <a:gd name="connsiteY76" fmla="*/ 621030 h 1914525"/>
                <a:gd name="connsiteX77" fmla="*/ 843915 w 1504950"/>
                <a:gd name="connsiteY77" fmla="*/ 620078 h 1914525"/>
                <a:gd name="connsiteX78" fmla="*/ 868680 w 1504950"/>
                <a:gd name="connsiteY78" fmla="*/ 626745 h 1914525"/>
                <a:gd name="connsiteX79" fmla="*/ 875347 w 1504950"/>
                <a:gd name="connsiteY79" fmla="*/ 627698 h 1914525"/>
                <a:gd name="connsiteX80" fmla="*/ 879157 w 1504950"/>
                <a:gd name="connsiteY80" fmla="*/ 626745 h 1914525"/>
                <a:gd name="connsiteX81" fmla="*/ 886777 w 1504950"/>
                <a:gd name="connsiteY81" fmla="*/ 619125 h 1914525"/>
                <a:gd name="connsiteX82" fmla="*/ 892492 w 1504950"/>
                <a:gd name="connsiteY82" fmla="*/ 617220 h 1914525"/>
                <a:gd name="connsiteX83" fmla="*/ 899160 w 1504950"/>
                <a:gd name="connsiteY83" fmla="*/ 617220 h 1914525"/>
                <a:gd name="connsiteX84" fmla="*/ 927735 w 1504950"/>
                <a:gd name="connsiteY84" fmla="*/ 619125 h 1914525"/>
                <a:gd name="connsiteX85" fmla="*/ 933450 w 1504950"/>
                <a:gd name="connsiteY85" fmla="*/ 619125 h 1914525"/>
                <a:gd name="connsiteX86" fmla="*/ 939165 w 1504950"/>
                <a:gd name="connsiteY86" fmla="*/ 617220 h 1914525"/>
                <a:gd name="connsiteX87" fmla="*/ 942022 w 1504950"/>
                <a:gd name="connsiteY87" fmla="*/ 616268 h 1914525"/>
                <a:gd name="connsiteX88" fmla="*/ 947738 w 1504950"/>
                <a:gd name="connsiteY88" fmla="*/ 611505 h 1914525"/>
                <a:gd name="connsiteX89" fmla="*/ 952500 w 1504950"/>
                <a:gd name="connsiteY89" fmla="*/ 608648 h 1914525"/>
                <a:gd name="connsiteX90" fmla="*/ 955357 w 1504950"/>
                <a:gd name="connsiteY90" fmla="*/ 608648 h 1914525"/>
                <a:gd name="connsiteX91" fmla="*/ 959167 w 1504950"/>
                <a:gd name="connsiteY91" fmla="*/ 609600 h 1914525"/>
                <a:gd name="connsiteX92" fmla="*/ 961072 w 1504950"/>
                <a:gd name="connsiteY92" fmla="*/ 612458 h 1914525"/>
                <a:gd name="connsiteX93" fmla="*/ 962977 w 1504950"/>
                <a:gd name="connsiteY93" fmla="*/ 617220 h 1914525"/>
                <a:gd name="connsiteX94" fmla="*/ 967740 w 1504950"/>
                <a:gd name="connsiteY94" fmla="*/ 623888 h 1914525"/>
                <a:gd name="connsiteX95" fmla="*/ 971550 w 1504950"/>
                <a:gd name="connsiteY95" fmla="*/ 628650 h 1914525"/>
                <a:gd name="connsiteX96" fmla="*/ 972502 w 1504950"/>
                <a:gd name="connsiteY96" fmla="*/ 631508 h 1914525"/>
                <a:gd name="connsiteX97" fmla="*/ 971550 w 1504950"/>
                <a:gd name="connsiteY97" fmla="*/ 634365 h 1914525"/>
                <a:gd name="connsiteX98" fmla="*/ 969645 w 1504950"/>
                <a:gd name="connsiteY98" fmla="*/ 641033 h 1914525"/>
                <a:gd name="connsiteX99" fmla="*/ 969645 w 1504950"/>
                <a:gd name="connsiteY99" fmla="*/ 643890 h 1914525"/>
                <a:gd name="connsiteX100" fmla="*/ 971550 w 1504950"/>
                <a:gd name="connsiteY100" fmla="*/ 646748 h 1914525"/>
                <a:gd name="connsiteX101" fmla="*/ 974407 w 1504950"/>
                <a:gd name="connsiteY101" fmla="*/ 648653 h 1914525"/>
                <a:gd name="connsiteX102" fmla="*/ 982027 w 1504950"/>
                <a:gd name="connsiteY102" fmla="*/ 649605 h 1914525"/>
                <a:gd name="connsiteX103" fmla="*/ 989647 w 1504950"/>
                <a:gd name="connsiteY103" fmla="*/ 650558 h 1914525"/>
                <a:gd name="connsiteX104" fmla="*/ 993457 w 1504950"/>
                <a:gd name="connsiteY104" fmla="*/ 651510 h 1914525"/>
                <a:gd name="connsiteX105" fmla="*/ 995363 w 1504950"/>
                <a:gd name="connsiteY105" fmla="*/ 653415 h 1914525"/>
                <a:gd name="connsiteX106" fmla="*/ 995363 w 1504950"/>
                <a:gd name="connsiteY106" fmla="*/ 657225 h 1914525"/>
                <a:gd name="connsiteX107" fmla="*/ 995363 w 1504950"/>
                <a:gd name="connsiteY107" fmla="*/ 664845 h 1914525"/>
                <a:gd name="connsiteX108" fmla="*/ 997267 w 1504950"/>
                <a:gd name="connsiteY108" fmla="*/ 667703 h 1914525"/>
                <a:gd name="connsiteX109" fmla="*/ 1009650 w 1504950"/>
                <a:gd name="connsiteY109" fmla="*/ 678180 h 1914525"/>
                <a:gd name="connsiteX110" fmla="*/ 1016317 w 1504950"/>
                <a:gd name="connsiteY110" fmla="*/ 685800 h 1914525"/>
                <a:gd name="connsiteX111" fmla="*/ 1020127 w 1504950"/>
                <a:gd name="connsiteY111" fmla="*/ 690563 h 1914525"/>
                <a:gd name="connsiteX112" fmla="*/ 1022032 w 1504950"/>
                <a:gd name="connsiteY112" fmla="*/ 695325 h 1914525"/>
                <a:gd name="connsiteX113" fmla="*/ 1023938 w 1504950"/>
                <a:gd name="connsiteY113" fmla="*/ 700088 h 1914525"/>
                <a:gd name="connsiteX114" fmla="*/ 1026795 w 1504950"/>
                <a:gd name="connsiteY114" fmla="*/ 711518 h 1914525"/>
                <a:gd name="connsiteX115" fmla="*/ 1027747 w 1504950"/>
                <a:gd name="connsiteY115" fmla="*/ 720090 h 1914525"/>
                <a:gd name="connsiteX116" fmla="*/ 1027747 w 1504950"/>
                <a:gd name="connsiteY116" fmla="*/ 726758 h 1914525"/>
                <a:gd name="connsiteX117" fmla="*/ 1026795 w 1504950"/>
                <a:gd name="connsiteY117" fmla="*/ 730568 h 1914525"/>
                <a:gd name="connsiteX118" fmla="*/ 1024890 w 1504950"/>
                <a:gd name="connsiteY118" fmla="*/ 736283 h 1914525"/>
                <a:gd name="connsiteX119" fmla="*/ 1021080 w 1504950"/>
                <a:gd name="connsiteY119" fmla="*/ 741045 h 1914525"/>
                <a:gd name="connsiteX120" fmla="*/ 1019175 w 1504950"/>
                <a:gd name="connsiteY120" fmla="*/ 742950 h 1914525"/>
                <a:gd name="connsiteX121" fmla="*/ 1017270 w 1504950"/>
                <a:gd name="connsiteY121" fmla="*/ 743903 h 1914525"/>
                <a:gd name="connsiteX122" fmla="*/ 1011555 w 1504950"/>
                <a:gd name="connsiteY122" fmla="*/ 742950 h 1914525"/>
                <a:gd name="connsiteX123" fmla="*/ 1009650 w 1504950"/>
                <a:gd name="connsiteY123" fmla="*/ 743903 h 1914525"/>
                <a:gd name="connsiteX124" fmla="*/ 1007745 w 1504950"/>
                <a:gd name="connsiteY124" fmla="*/ 746760 h 1914525"/>
                <a:gd name="connsiteX125" fmla="*/ 1006792 w 1504950"/>
                <a:gd name="connsiteY125" fmla="*/ 753428 h 1914525"/>
                <a:gd name="connsiteX126" fmla="*/ 1005840 w 1504950"/>
                <a:gd name="connsiteY126" fmla="*/ 756285 h 1914525"/>
                <a:gd name="connsiteX127" fmla="*/ 1006792 w 1504950"/>
                <a:gd name="connsiteY127" fmla="*/ 759143 h 1914525"/>
                <a:gd name="connsiteX128" fmla="*/ 1009650 w 1504950"/>
                <a:gd name="connsiteY128" fmla="*/ 763905 h 1914525"/>
                <a:gd name="connsiteX129" fmla="*/ 1024890 w 1504950"/>
                <a:gd name="connsiteY129" fmla="*/ 779145 h 1914525"/>
                <a:gd name="connsiteX130" fmla="*/ 1027747 w 1504950"/>
                <a:gd name="connsiteY130" fmla="*/ 781050 h 1914525"/>
                <a:gd name="connsiteX131" fmla="*/ 1030605 w 1504950"/>
                <a:gd name="connsiteY131" fmla="*/ 782955 h 1914525"/>
                <a:gd name="connsiteX132" fmla="*/ 1041082 w 1504950"/>
                <a:gd name="connsiteY132" fmla="*/ 782003 h 1914525"/>
                <a:gd name="connsiteX133" fmla="*/ 1044892 w 1504950"/>
                <a:gd name="connsiteY133" fmla="*/ 782955 h 1914525"/>
                <a:gd name="connsiteX134" fmla="*/ 1047750 w 1504950"/>
                <a:gd name="connsiteY134" fmla="*/ 784860 h 1914525"/>
                <a:gd name="connsiteX135" fmla="*/ 1049655 w 1504950"/>
                <a:gd name="connsiteY135" fmla="*/ 788670 h 1914525"/>
                <a:gd name="connsiteX136" fmla="*/ 1050607 w 1504950"/>
                <a:gd name="connsiteY136" fmla="*/ 792480 h 1914525"/>
                <a:gd name="connsiteX137" fmla="*/ 1049655 w 1504950"/>
                <a:gd name="connsiteY137" fmla="*/ 803910 h 1914525"/>
                <a:gd name="connsiteX138" fmla="*/ 1051560 w 1504950"/>
                <a:gd name="connsiteY138" fmla="*/ 808673 h 1914525"/>
                <a:gd name="connsiteX139" fmla="*/ 1054417 w 1504950"/>
                <a:gd name="connsiteY139" fmla="*/ 813435 h 1914525"/>
                <a:gd name="connsiteX140" fmla="*/ 1056323 w 1504950"/>
                <a:gd name="connsiteY140" fmla="*/ 815340 h 1914525"/>
                <a:gd name="connsiteX141" fmla="*/ 1059180 w 1504950"/>
                <a:gd name="connsiteY141" fmla="*/ 816293 h 1914525"/>
                <a:gd name="connsiteX142" fmla="*/ 1062990 w 1504950"/>
                <a:gd name="connsiteY142" fmla="*/ 817245 h 1914525"/>
                <a:gd name="connsiteX143" fmla="*/ 1068705 w 1504950"/>
                <a:gd name="connsiteY143" fmla="*/ 817245 h 1914525"/>
                <a:gd name="connsiteX144" fmla="*/ 1073467 w 1504950"/>
                <a:gd name="connsiteY144" fmla="*/ 819150 h 1914525"/>
                <a:gd name="connsiteX145" fmla="*/ 1078230 w 1504950"/>
                <a:gd name="connsiteY145" fmla="*/ 822960 h 1914525"/>
                <a:gd name="connsiteX146" fmla="*/ 1081088 w 1504950"/>
                <a:gd name="connsiteY146" fmla="*/ 823913 h 1914525"/>
                <a:gd name="connsiteX147" fmla="*/ 1084898 w 1504950"/>
                <a:gd name="connsiteY147" fmla="*/ 825818 h 1914525"/>
                <a:gd name="connsiteX148" fmla="*/ 1090613 w 1504950"/>
                <a:gd name="connsiteY148" fmla="*/ 823913 h 1914525"/>
                <a:gd name="connsiteX149" fmla="*/ 1093470 w 1504950"/>
                <a:gd name="connsiteY149" fmla="*/ 822960 h 1914525"/>
                <a:gd name="connsiteX150" fmla="*/ 1096327 w 1504950"/>
                <a:gd name="connsiteY150" fmla="*/ 821055 h 1914525"/>
                <a:gd name="connsiteX151" fmla="*/ 1103947 w 1504950"/>
                <a:gd name="connsiteY151" fmla="*/ 821055 h 1914525"/>
                <a:gd name="connsiteX152" fmla="*/ 1114425 w 1504950"/>
                <a:gd name="connsiteY152" fmla="*/ 822008 h 1914525"/>
                <a:gd name="connsiteX153" fmla="*/ 1155382 w 1504950"/>
                <a:gd name="connsiteY153" fmla="*/ 832485 h 1914525"/>
                <a:gd name="connsiteX154" fmla="*/ 1161097 w 1504950"/>
                <a:gd name="connsiteY154" fmla="*/ 827723 h 1914525"/>
                <a:gd name="connsiteX155" fmla="*/ 1166813 w 1504950"/>
                <a:gd name="connsiteY155" fmla="*/ 821055 h 1914525"/>
                <a:gd name="connsiteX156" fmla="*/ 1170622 w 1504950"/>
                <a:gd name="connsiteY156" fmla="*/ 818198 h 1914525"/>
                <a:gd name="connsiteX157" fmla="*/ 1175385 w 1504950"/>
                <a:gd name="connsiteY157" fmla="*/ 817245 h 1914525"/>
                <a:gd name="connsiteX158" fmla="*/ 1207770 w 1504950"/>
                <a:gd name="connsiteY158" fmla="*/ 824865 h 1914525"/>
                <a:gd name="connsiteX159" fmla="*/ 1210627 w 1504950"/>
                <a:gd name="connsiteY159" fmla="*/ 824865 h 1914525"/>
                <a:gd name="connsiteX160" fmla="*/ 1215390 w 1504950"/>
                <a:gd name="connsiteY160" fmla="*/ 822960 h 1914525"/>
                <a:gd name="connsiteX161" fmla="*/ 1220152 w 1504950"/>
                <a:gd name="connsiteY161" fmla="*/ 819150 h 1914525"/>
                <a:gd name="connsiteX162" fmla="*/ 1222057 w 1504950"/>
                <a:gd name="connsiteY162" fmla="*/ 818198 h 1914525"/>
                <a:gd name="connsiteX163" fmla="*/ 1224915 w 1504950"/>
                <a:gd name="connsiteY163" fmla="*/ 817245 h 1914525"/>
                <a:gd name="connsiteX164" fmla="*/ 1232535 w 1504950"/>
                <a:gd name="connsiteY164" fmla="*/ 818198 h 1914525"/>
                <a:gd name="connsiteX165" fmla="*/ 1235393 w 1504950"/>
                <a:gd name="connsiteY165" fmla="*/ 818198 h 1914525"/>
                <a:gd name="connsiteX166" fmla="*/ 1237297 w 1504950"/>
                <a:gd name="connsiteY166" fmla="*/ 816293 h 1914525"/>
                <a:gd name="connsiteX167" fmla="*/ 1239202 w 1504950"/>
                <a:gd name="connsiteY167" fmla="*/ 814388 h 1914525"/>
                <a:gd name="connsiteX168" fmla="*/ 1244918 w 1504950"/>
                <a:gd name="connsiteY168" fmla="*/ 807720 h 1914525"/>
                <a:gd name="connsiteX169" fmla="*/ 1248727 w 1504950"/>
                <a:gd name="connsiteY169" fmla="*/ 804863 h 1914525"/>
                <a:gd name="connsiteX170" fmla="*/ 1251585 w 1504950"/>
                <a:gd name="connsiteY170" fmla="*/ 803910 h 1914525"/>
                <a:gd name="connsiteX171" fmla="*/ 1257300 w 1504950"/>
                <a:gd name="connsiteY171" fmla="*/ 802958 h 1914525"/>
                <a:gd name="connsiteX172" fmla="*/ 1260157 w 1504950"/>
                <a:gd name="connsiteY172" fmla="*/ 802005 h 1914525"/>
                <a:gd name="connsiteX173" fmla="*/ 1262063 w 1504950"/>
                <a:gd name="connsiteY173" fmla="*/ 800100 h 1914525"/>
                <a:gd name="connsiteX174" fmla="*/ 1264920 w 1504950"/>
                <a:gd name="connsiteY174" fmla="*/ 795338 h 1914525"/>
                <a:gd name="connsiteX175" fmla="*/ 1268730 w 1504950"/>
                <a:gd name="connsiteY175" fmla="*/ 791528 h 1914525"/>
                <a:gd name="connsiteX176" fmla="*/ 1273493 w 1504950"/>
                <a:gd name="connsiteY176" fmla="*/ 788670 h 1914525"/>
                <a:gd name="connsiteX177" fmla="*/ 1279207 w 1504950"/>
                <a:gd name="connsiteY177" fmla="*/ 787718 h 1914525"/>
                <a:gd name="connsiteX178" fmla="*/ 1300163 w 1504950"/>
                <a:gd name="connsiteY178" fmla="*/ 789623 h 1914525"/>
                <a:gd name="connsiteX179" fmla="*/ 1303972 w 1504950"/>
                <a:gd name="connsiteY179" fmla="*/ 789623 h 1914525"/>
                <a:gd name="connsiteX180" fmla="*/ 1305877 w 1504950"/>
                <a:gd name="connsiteY180" fmla="*/ 788670 h 1914525"/>
                <a:gd name="connsiteX181" fmla="*/ 1309688 w 1504950"/>
                <a:gd name="connsiteY181" fmla="*/ 783908 h 1914525"/>
                <a:gd name="connsiteX182" fmla="*/ 1316355 w 1504950"/>
                <a:gd name="connsiteY182" fmla="*/ 774383 h 1914525"/>
                <a:gd name="connsiteX183" fmla="*/ 1318260 w 1504950"/>
                <a:gd name="connsiteY183" fmla="*/ 772478 h 1914525"/>
                <a:gd name="connsiteX184" fmla="*/ 1323022 w 1504950"/>
                <a:gd name="connsiteY184" fmla="*/ 770573 h 1914525"/>
                <a:gd name="connsiteX185" fmla="*/ 1324927 w 1504950"/>
                <a:gd name="connsiteY185" fmla="*/ 768668 h 1914525"/>
                <a:gd name="connsiteX186" fmla="*/ 1324927 w 1504950"/>
                <a:gd name="connsiteY186" fmla="*/ 766763 h 1914525"/>
                <a:gd name="connsiteX187" fmla="*/ 1324927 w 1504950"/>
                <a:gd name="connsiteY187" fmla="*/ 761048 h 1914525"/>
                <a:gd name="connsiteX188" fmla="*/ 1324927 w 1504950"/>
                <a:gd name="connsiteY188" fmla="*/ 758190 h 1914525"/>
                <a:gd name="connsiteX189" fmla="*/ 1325880 w 1504950"/>
                <a:gd name="connsiteY189" fmla="*/ 755333 h 1914525"/>
                <a:gd name="connsiteX190" fmla="*/ 1328738 w 1504950"/>
                <a:gd name="connsiteY190" fmla="*/ 751523 h 1914525"/>
                <a:gd name="connsiteX191" fmla="*/ 1329690 w 1504950"/>
                <a:gd name="connsiteY191" fmla="*/ 748665 h 1914525"/>
                <a:gd name="connsiteX192" fmla="*/ 1330643 w 1504950"/>
                <a:gd name="connsiteY192" fmla="*/ 740093 h 1914525"/>
                <a:gd name="connsiteX193" fmla="*/ 1331595 w 1504950"/>
                <a:gd name="connsiteY193" fmla="*/ 737235 h 1914525"/>
                <a:gd name="connsiteX194" fmla="*/ 1336357 w 1504950"/>
                <a:gd name="connsiteY194" fmla="*/ 734378 h 1914525"/>
                <a:gd name="connsiteX195" fmla="*/ 1346835 w 1504950"/>
                <a:gd name="connsiteY195" fmla="*/ 730568 h 1914525"/>
                <a:gd name="connsiteX196" fmla="*/ 1358265 w 1504950"/>
                <a:gd name="connsiteY196" fmla="*/ 729615 h 1914525"/>
                <a:gd name="connsiteX197" fmla="*/ 1363027 w 1504950"/>
                <a:gd name="connsiteY197" fmla="*/ 731520 h 1914525"/>
                <a:gd name="connsiteX198" fmla="*/ 1368743 w 1504950"/>
                <a:gd name="connsiteY198" fmla="*/ 735330 h 1914525"/>
                <a:gd name="connsiteX199" fmla="*/ 1383982 w 1504950"/>
                <a:gd name="connsiteY199" fmla="*/ 750570 h 1914525"/>
                <a:gd name="connsiteX200" fmla="*/ 1390650 w 1504950"/>
                <a:gd name="connsiteY200" fmla="*/ 755333 h 1914525"/>
                <a:gd name="connsiteX201" fmla="*/ 1409700 w 1504950"/>
                <a:gd name="connsiteY201" fmla="*/ 781050 h 1914525"/>
                <a:gd name="connsiteX202" fmla="*/ 1414463 w 1504950"/>
                <a:gd name="connsiteY202" fmla="*/ 786765 h 1914525"/>
                <a:gd name="connsiteX203" fmla="*/ 1419225 w 1504950"/>
                <a:gd name="connsiteY203" fmla="*/ 790575 h 1914525"/>
                <a:gd name="connsiteX204" fmla="*/ 1422082 w 1504950"/>
                <a:gd name="connsiteY204" fmla="*/ 791528 h 1914525"/>
                <a:gd name="connsiteX205" fmla="*/ 1428750 w 1504950"/>
                <a:gd name="connsiteY205" fmla="*/ 792480 h 1914525"/>
                <a:gd name="connsiteX206" fmla="*/ 1450657 w 1504950"/>
                <a:gd name="connsiteY206" fmla="*/ 792480 h 1914525"/>
                <a:gd name="connsiteX207" fmla="*/ 1453515 w 1504950"/>
                <a:gd name="connsiteY207" fmla="*/ 795338 h 1914525"/>
                <a:gd name="connsiteX208" fmla="*/ 1456372 w 1504950"/>
                <a:gd name="connsiteY208" fmla="*/ 800100 h 1914525"/>
                <a:gd name="connsiteX209" fmla="*/ 1457325 w 1504950"/>
                <a:gd name="connsiteY209" fmla="*/ 811530 h 1914525"/>
                <a:gd name="connsiteX210" fmla="*/ 1456372 w 1504950"/>
                <a:gd name="connsiteY210" fmla="*/ 822960 h 1914525"/>
                <a:gd name="connsiteX211" fmla="*/ 1455420 w 1504950"/>
                <a:gd name="connsiteY211" fmla="*/ 828675 h 1914525"/>
                <a:gd name="connsiteX212" fmla="*/ 1453515 w 1504950"/>
                <a:gd name="connsiteY212" fmla="*/ 830580 h 1914525"/>
                <a:gd name="connsiteX213" fmla="*/ 1450657 w 1504950"/>
                <a:gd name="connsiteY213" fmla="*/ 832485 h 1914525"/>
                <a:gd name="connsiteX214" fmla="*/ 1439227 w 1504950"/>
                <a:gd name="connsiteY214" fmla="*/ 830580 h 1914525"/>
                <a:gd name="connsiteX215" fmla="*/ 1436370 w 1504950"/>
                <a:gd name="connsiteY215" fmla="*/ 831533 h 1914525"/>
                <a:gd name="connsiteX216" fmla="*/ 1434465 w 1504950"/>
                <a:gd name="connsiteY216" fmla="*/ 832485 h 1914525"/>
                <a:gd name="connsiteX217" fmla="*/ 1428750 w 1504950"/>
                <a:gd name="connsiteY217" fmla="*/ 841058 h 1914525"/>
                <a:gd name="connsiteX218" fmla="*/ 1425893 w 1504950"/>
                <a:gd name="connsiteY218" fmla="*/ 845820 h 1914525"/>
                <a:gd name="connsiteX219" fmla="*/ 1424940 w 1504950"/>
                <a:gd name="connsiteY219" fmla="*/ 848678 h 1914525"/>
                <a:gd name="connsiteX220" fmla="*/ 1424940 w 1504950"/>
                <a:gd name="connsiteY220" fmla="*/ 852488 h 1914525"/>
                <a:gd name="connsiteX221" fmla="*/ 1426845 w 1504950"/>
                <a:gd name="connsiteY221" fmla="*/ 857250 h 1914525"/>
                <a:gd name="connsiteX222" fmla="*/ 1439227 w 1504950"/>
                <a:gd name="connsiteY222" fmla="*/ 867728 h 1914525"/>
                <a:gd name="connsiteX223" fmla="*/ 1441132 w 1504950"/>
                <a:gd name="connsiteY223" fmla="*/ 869633 h 1914525"/>
                <a:gd name="connsiteX224" fmla="*/ 1443038 w 1504950"/>
                <a:gd name="connsiteY224" fmla="*/ 872490 h 1914525"/>
                <a:gd name="connsiteX225" fmla="*/ 1443990 w 1504950"/>
                <a:gd name="connsiteY225" fmla="*/ 878205 h 1914525"/>
                <a:gd name="connsiteX226" fmla="*/ 1443990 w 1504950"/>
                <a:gd name="connsiteY226" fmla="*/ 885825 h 1914525"/>
                <a:gd name="connsiteX227" fmla="*/ 1444943 w 1504950"/>
                <a:gd name="connsiteY227" fmla="*/ 891540 h 1914525"/>
                <a:gd name="connsiteX228" fmla="*/ 1446847 w 1504950"/>
                <a:gd name="connsiteY228" fmla="*/ 896303 h 1914525"/>
                <a:gd name="connsiteX229" fmla="*/ 1449705 w 1504950"/>
                <a:gd name="connsiteY229" fmla="*/ 899160 h 1914525"/>
                <a:gd name="connsiteX230" fmla="*/ 1453515 w 1504950"/>
                <a:gd name="connsiteY230" fmla="*/ 902018 h 1914525"/>
                <a:gd name="connsiteX231" fmla="*/ 1461135 w 1504950"/>
                <a:gd name="connsiteY231" fmla="*/ 905828 h 1914525"/>
                <a:gd name="connsiteX232" fmla="*/ 1465897 w 1504950"/>
                <a:gd name="connsiteY232" fmla="*/ 906780 h 1914525"/>
                <a:gd name="connsiteX233" fmla="*/ 1469707 w 1504950"/>
                <a:gd name="connsiteY233" fmla="*/ 906780 h 1914525"/>
                <a:gd name="connsiteX234" fmla="*/ 1476375 w 1504950"/>
                <a:gd name="connsiteY234" fmla="*/ 905828 h 1914525"/>
                <a:gd name="connsiteX235" fmla="*/ 1482090 w 1504950"/>
                <a:gd name="connsiteY235" fmla="*/ 906780 h 1914525"/>
                <a:gd name="connsiteX236" fmla="*/ 1484947 w 1504950"/>
                <a:gd name="connsiteY236" fmla="*/ 908685 h 1914525"/>
                <a:gd name="connsiteX237" fmla="*/ 1485900 w 1504950"/>
                <a:gd name="connsiteY237" fmla="*/ 910590 h 1914525"/>
                <a:gd name="connsiteX238" fmla="*/ 1485900 w 1504950"/>
                <a:gd name="connsiteY238" fmla="*/ 914400 h 1914525"/>
                <a:gd name="connsiteX239" fmla="*/ 1484947 w 1504950"/>
                <a:gd name="connsiteY239" fmla="*/ 917258 h 1914525"/>
                <a:gd name="connsiteX240" fmla="*/ 1477327 w 1504950"/>
                <a:gd name="connsiteY240" fmla="*/ 924878 h 1914525"/>
                <a:gd name="connsiteX241" fmla="*/ 1474470 w 1504950"/>
                <a:gd name="connsiteY241" fmla="*/ 928688 h 1914525"/>
                <a:gd name="connsiteX242" fmla="*/ 1477327 w 1504950"/>
                <a:gd name="connsiteY242" fmla="*/ 933450 h 1914525"/>
                <a:gd name="connsiteX243" fmla="*/ 1480185 w 1504950"/>
                <a:gd name="connsiteY243" fmla="*/ 937260 h 1914525"/>
                <a:gd name="connsiteX244" fmla="*/ 1512570 w 1504950"/>
                <a:gd name="connsiteY244" fmla="*/ 956310 h 1914525"/>
                <a:gd name="connsiteX245" fmla="*/ 1499235 w 1504950"/>
                <a:gd name="connsiteY245" fmla="*/ 992505 h 1914525"/>
                <a:gd name="connsiteX246" fmla="*/ 1490663 w 1504950"/>
                <a:gd name="connsiteY246" fmla="*/ 1004888 h 1914525"/>
                <a:gd name="connsiteX247" fmla="*/ 1488757 w 1504950"/>
                <a:gd name="connsiteY247" fmla="*/ 1007745 h 1914525"/>
                <a:gd name="connsiteX248" fmla="*/ 1487805 w 1504950"/>
                <a:gd name="connsiteY248" fmla="*/ 1009650 h 1914525"/>
                <a:gd name="connsiteX249" fmla="*/ 1488757 w 1504950"/>
                <a:gd name="connsiteY249" fmla="*/ 1013460 h 1914525"/>
                <a:gd name="connsiteX250" fmla="*/ 1491615 w 1504950"/>
                <a:gd name="connsiteY250" fmla="*/ 1018223 h 1914525"/>
                <a:gd name="connsiteX251" fmla="*/ 1492568 w 1504950"/>
                <a:gd name="connsiteY251" fmla="*/ 1021080 h 1914525"/>
                <a:gd name="connsiteX252" fmla="*/ 1489710 w 1504950"/>
                <a:gd name="connsiteY252" fmla="*/ 1027748 h 1914525"/>
                <a:gd name="connsiteX253" fmla="*/ 1475422 w 1504950"/>
                <a:gd name="connsiteY253" fmla="*/ 1048703 h 1914525"/>
                <a:gd name="connsiteX254" fmla="*/ 1468755 w 1504950"/>
                <a:gd name="connsiteY254" fmla="*/ 1045845 h 1914525"/>
                <a:gd name="connsiteX255" fmla="*/ 1463993 w 1504950"/>
                <a:gd name="connsiteY255" fmla="*/ 1042988 h 1914525"/>
                <a:gd name="connsiteX256" fmla="*/ 1459230 w 1504950"/>
                <a:gd name="connsiteY256" fmla="*/ 1040130 h 1914525"/>
                <a:gd name="connsiteX257" fmla="*/ 1455420 w 1504950"/>
                <a:gd name="connsiteY257" fmla="*/ 1038225 h 1914525"/>
                <a:gd name="connsiteX258" fmla="*/ 1448752 w 1504950"/>
                <a:gd name="connsiteY258" fmla="*/ 1038225 h 1914525"/>
                <a:gd name="connsiteX259" fmla="*/ 1445895 w 1504950"/>
                <a:gd name="connsiteY259" fmla="*/ 1038225 h 1914525"/>
                <a:gd name="connsiteX260" fmla="*/ 1441132 w 1504950"/>
                <a:gd name="connsiteY260" fmla="*/ 1040130 h 1914525"/>
                <a:gd name="connsiteX261" fmla="*/ 1438275 w 1504950"/>
                <a:gd name="connsiteY261" fmla="*/ 1042035 h 1914525"/>
                <a:gd name="connsiteX262" fmla="*/ 1436370 w 1504950"/>
                <a:gd name="connsiteY262" fmla="*/ 1044893 h 1914525"/>
                <a:gd name="connsiteX263" fmla="*/ 1430655 w 1504950"/>
                <a:gd name="connsiteY263" fmla="*/ 1051560 h 1914525"/>
                <a:gd name="connsiteX264" fmla="*/ 1427797 w 1504950"/>
                <a:gd name="connsiteY264" fmla="*/ 1056323 h 1914525"/>
                <a:gd name="connsiteX265" fmla="*/ 1425893 w 1504950"/>
                <a:gd name="connsiteY265" fmla="*/ 1060133 h 1914525"/>
                <a:gd name="connsiteX266" fmla="*/ 1424940 w 1504950"/>
                <a:gd name="connsiteY266" fmla="*/ 1066800 h 1914525"/>
                <a:gd name="connsiteX267" fmla="*/ 1424940 w 1504950"/>
                <a:gd name="connsiteY267" fmla="*/ 1072515 h 1914525"/>
                <a:gd name="connsiteX268" fmla="*/ 1426845 w 1504950"/>
                <a:gd name="connsiteY268" fmla="*/ 1076325 h 1914525"/>
                <a:gd name="connsiteX269" fmla="*/ 1434465 w 1504950"/>
                <a:gd name="connsiteY269" fmla="*/ 1086803 h 1914525"/>
                <a:gd name="connsiteX270" fmla="*/ 1436370 w 1504950"/>
                <a:gd name="connsiteY270" fmla="*/ 1091565 h 1914525"/>
                <a:gd name="connsiteX271" fmla="*/ 1436370 w 1504950"/>
                <a:gd name="connsiteY271" fmla="*/ 1097280 h 1914525"/>
                <a:gd name="connsiteX272" fmla="*/ 1435418 w 1504950"/>
                <a:gd name="connsiteY272" fmla="*/ 1100138 h 1914525"/>
                <a:gd name="connsiteX273" fmla="*/ 1432560 w 1504950"/>
                <a:gd name="connsiteY273" fmla="*/ 1105853 h 1914525"/>
                <a:gd name="connsiteX274" fmla="*/ 1428750 w 1504950"/>
                <a:gd name="connsiteY274" fmla="*/ 1110615 h 1914525"/>
                <a:gd name="connsiteX275" fmla="*/ 1418272 w 1504950"/>
                <a:gd name="connsiteY275" fmla="*/ 1122045 h 1914525"/>
                <a:gd name="connsiteX276" fmla="*/ 1411605 w 1504950"/>
                <a:gd name="connsiteY276" fmla="*/ 1124903 h 1914525"/>
                <a:gd name="connsiteX277" fmla="*/ 1404938 w 1504950"/>
                <a:gd name="connsiteY277" fmla="*/ 1125855 h 1914525"/>
                <a:gd name="connsiteX278" fmla="*/ 1401127 w 1504950"/>
                <a:gd name="connsiteY278" fmla="*/ 1125855 h 1914525"/>
                <a:gd name="connsiteX279" fmla="*/ 1396365 w 1504950"/>
                <a:gd name="connsiteY279" fmla="*/ 1122998 h 1914525"/>
                <a:gd name="connsiteX280" fmla="*/ 1393507 w 1504950"/>
                <a:gd name="connsiteY280" fmla="*/ 1123950 h 1914525"/>
                <a:gd name="connsiteX281" fmla="*/ 1391602 w 1504950"/>
                <a:gd name="connsiteY281" fmla="*/ 1128713 h 1914525"/>
                <a:gd name="connsiteX282" fmla="*/ 1388745 w 1504950"/>
                <a:gd name="connsiteY282" fmla="*/ 1136333 h 1914525"/>
                <a:gd name="connsiteX283" fmla="*/ 1385888 w 1504950"/>
                <a:gd name="connsiteY283" fmla="*/ 1142048 h 1914525"/>
                <a:gd name="connsiteX284" fmla="*/ 1383030 w 1504950"/>
                <a:gd name="connsiteY284" fmla="*/ 1144905 h 1914525"/>
                <a:gd name="connsiteX285" fmla="*/ 1365885 w 1504950"/>
                <a:gd name="connsiteY285" fmla="*/ 1158240 h 1914525"/>
                <a:gd name="connsiteX286" fmla="*/ 1362075 w 1504950"/>
                <a:gd name="connsiteY286" fmla="*/ 1163003 h 1914525"/>
                <a:gd name="connsiteX287" fmla="*/ 1359218 w 1504950"/>
                <a:gd name="connsiteY287" fmla="*/ 1166813 h 1914525"/>
                <a:gd name="connsiteX288" fmla="*/ 1360170 w 1504950"/>
                <a:gd name="connsiteY288" fmla="*/ 1169670 h 1914525"/>
                <a:gd name="connsiteX289" fmla="*/ 1363980 w 1504950"/>
                <a:gd name="connsiteY289" fmla="*/ 1180148 h 1914525"/>
                <a:gd name="connsiteX290" fmla="*/ 1364932 w 1504950"/>
                <a:gd name="connsiteY290" fmla="*/ 1185863 h 1914525"/>
                <a:gd name="connsiteX291" fmla="*/ 1364932 w 1504950"/>
                <a:gd name="connsiteY291" fmla="*/ 1192530 h 1914525"/>
                <a:gd name="connsiteX292" fmla="*/ 1367790 w 1504950"/>
                <a:gd name="connsiteY292" fmla="*/ 1203960 h 1914525"/>
                <a:gd name="connsiteX293" fmla="*/ 1370647 w 1504950"/>
                <a:gd name="connsiteY293" fmla="*/ 1214438 h 1914525"/>
                <a:gd name="connsiteX294" fmla="*/ 1372552 w 1504950"/>
                <a:gd name="connsiteY294" fmla="*/ 1219200 h 1914525"/>
                <a:gd name="connsiteX295" fmla="*/ 1371600 w 1504950"/>
                <a:gd name="connsiteY295" fmla="*/ 1225868 h 1914525"/>
                <a:gd name="connsiteX296" fmla="*/ 1368743 w 1504950"/>
                <a:gd name="connsiteY296" fmla="*/ 1228725 h 1914525"/>
                <a:gd name="connsiteX297" fmla="*/ 1363980 w 1504950"/>
                <a:gd name="connsiteY297" fmla="*/ 1230630 h 1914525"/>
                <a:gd name="connsiteX298" fmla="*/ 1343977 w 1504950"/>
                <a:gd name="connsiteY298" fmla="*/ 1237298 h 1914525"/>
                <a:gd name="connsiteX299" fmla="*/ 1341120 w 1504950"/>
                <a:gd name="connsiteY299" fmla="*/ 1238250 h 1914525"/>
                <a:gd name="connsiteX300" fmla="*/ 1339215 w 1504950"/>
                <a:gd name="connsiteY300" fmla="*/ 1240155 h 1914525"/>
                <a:gd name="connsiteX301" fmla="*/ 1337310 w 1504950"/>
                <a:gd name="connsiteY301" fmla="*/ 1243965 h 1914525"/>
                <a:gd name="connsiteX302" fmla="*/ 1336357 w 1504950"/>
                <a:gd name="connsiteY302" fmla="*/ 1245870 h 1914525"/>
                <a:gd name="connsiteX303" fmla="*/ 1338263 w 1504950"/>
                <a:gd name="connsiteY303" fmla="*/ 1257300 h 1914525"/>
                <a:gd name="connsiteX304" fmla="*/ 1338263 w 1504950"/>
                <a:gd name="connsiteY304" fmla="*/ 1263968 h 1914525"/>
                <a:gd name="connsiteX305" fmla="*/ 1338263 w 1504950"/>
                <a:gd name="connsiteY305" fmla="*/ 1270635 h 1914525"/>
                <a:gd name="connsiteX306" fmla="*/ 1337310 w 1504950"/>
                <a:gd name="connsiteY306" fmla="*/ 1277303 h 1914525"/>
                <a:gd name="connsiteX307" fmla="*/ 1334452 w 1504950"/>
                <a:gd name="connsiteY307" fmla="*/ 1283018 h 1914525"/>
                <a:gd name="connsiteX308" fmla="*/ 1329690 w 1504950"/>
                <a:gd name="connsiteY308" fmla="*/ 1294448 h 1914525"/>
                <a:gd name="connsiteX309" fmla="*/ 1316355 w 1504950"/>
                <a:gd name="connsiteY309" fmla="*/ 1312545 h 1914525"/>
                <a:gd name="connsiteX310" fmla="*/ 1314450 w 1504950"/>
                <a:gd name="connsiteY310" fmla="*/ 1317308 h 1914525"/>
                <a:gd name="connsiteX311" fmla="*/ 1315402 w 1504950"/>
                <a:gd name="connsiteY311" fmla="*/ 1325880 h 1914525"/>
                <a:gd name="connsiteX312" fmla="*/ 1313497 w 1504950"/>
                <a:gd name="connsiteY312" fmla="*/ 1332548 h 1914525"/>
                <a:gd name="connsiteX313" fmla="*/ 1312545 w 1504950"/>
                <a:gd name="connsiteY313" fmla="*/ 1334453 h 1914525"/>
                <a:gd name="connsiteX314" fmla="*/ 1303020 w 1504950"/>
                <a:gd name="connsiteY314" fmla="*/ 1343978 h 1914525"/>
                <a:gd name="connsiteX315" fmla="*/ 1297305 w 1504950"/>
                <a:gd name="connsiteY315" fmla="*/ 1353503 h 1914525"/>
                <a:gd name="connsiteX316" fmla="*/ 1291590 w 1504950"/>
                <a:gd name="connsiteY316" fmla="*/ 1364933 h 1914525"/>
                <a:gd name="connsiteX317" fmla="*/ 1289685 w 1504950"/>
                <a:gd name="connsiteY317" fmla="*/ 1368743 h 1914525"/>
                <a:gd name="connsiteX318" fmla="*/ 1284922 w 1504950"/>
                <a:gd name="connsiteY318" fmla="*/ 1370648 h 1914525"/>
                <a:gd name="connsiteX319" fmla="*/ 1235393 w 1504950"/>
                <a:gd name="connsiteY319" fmla="*/ 1361123 h 1914525"/>
                <a:gd name="connsiteX320" fmla="*/ 1232535 w 1504950"/>
                <a:gd name="connsiteY320" fmla="*/ 1359218 h 1914525"/>
                <a:gd name="connsiteX321" fmla="*/ 1231582 w 1504950"/>
                <a:gd name="connsiteY321" fmla="*/ 1357313 h 1914525"/>
                <a:gd name="connsiteX322" fmla="*/ 1230630 w 1504950"/>
                <a:gd name="connsiteY322" fmla="*/ 1354455 h 1914525"/>
                <a:gd name="connsiteX323" fmla="*/ 1231582 w 1504950"/>
                <a:gd name="connsiteY323" fmla="*/ 1337310 h 1914525"/>
                <a:gd name="connsiteX324" fmla="*/ 1230630 w 1504950"/>
                <a:gd name="connsiteY324" fmla="*/ 1332548 h 1914525"/>
                <a:gd name="connsiteX325" fmla="*/ 1228725 w 1504950"/>
                <a:gd name="connsiteY325" fmla="*/ 1329690 h 1914525"/>
                <a:gd name="connsiteX326" fmla="*/ 1225868 w 1504950"/>
                <a:gd name="connsiteY326" fmla="*/ 1328738 h 1914525"/>
                <a:gd name="connsiteX327" fmla="*/ 1223010 w 1504950"/>
                <a:gd name="connsiteY327" fmla="*/ 1328738 h 1914525"/>
                <a:gd name="connsiteX328" fmla="*/ 1221105 w 1504950"/>
                <a:gd name="connsiteY328" fmla="*/ 1330643 h 1914525"/>
                <a:gd name="connsiteX329" fmla="*/ 1219200 w 1504950"/>
                <a:gd name="connsiteY329" fmla="*/ 1334453 h 1914525"/>
                <a:gd name="connsiteX330" fmla="*/ 1216343 w 1504950"/>
                <a:gd name="connsiteY330" fmla="*/ 1349693 h 1914525"/>
                <a:gd name="connsiteX331" fmla="*/ 1215390 w 1504950"/>
                <a:gd name="connsiteY331" fmla="*/ 1352550 h 1914525"/>
                <a:gd name="connsiteX332" fmla="*/ 1212532 w 1504950"/>
                <a:gd name="connsiteY332" fmla="*/ 1357313 h 1914525"/>
                <a:gd name="connsiteX333" fmla="*/ 1209675 w 1504950"/>
                <a:gd name="connsiteY333" fmla="*/ 1359218 h 1914525"/>
                <a:gd name="connsiteX334" fmla="*/ 1205865 w 1504950"/>
                <a:gd name="connsiteY334" fmla="*/ 1360170 h 1914525"/>
                <a:gd name="connsiteX335" fmla="*/ 1199197 w 1504950"/>
                <a:gd name="connsiteY335" fmla="*/ 1361123 h 1914525"/>
                <a:gd name="connsiteX336" fmla="*/ 1195388 w 1504950"/>
                <a:gd name="connsiteY336" fmla="*/ 1360170 h 1914525"/>
                <a:gd name="connsiteX337" fmla="*/ 1192530 w 1504950"/>
                <a:gd name="connsiteY337" fmla="*/ 1358265 h 1914525"/>
                <a:gd name="connsiteX338" fmla="*/ 1187768 w 1504950"/>
                <a:gd name="connsiteY338" fmla="*/ 1354455 h 1914525"/>
                <a:gd name="connsiteX339" fmla="*/ 1185863 w 1504950"/>
                <a:gd name="connsiteY339" fmla="*/ 1354455 h 1914525"/>
                <a:gd name="connsiteX340" fmla="*/ 1183005 w 1504950"/>
                <a:gd name="connsiteY340" fmla="*/ 1355408 h 1914525"/>
                <a:gd name="connsiteX341" fmla="*/ 1180147 w 1504950"/>
                <a:gd name="connsiteY341" fmla="*/ 1360170 h 1914525"/>
                <a:gd name="connsiteX342" fmla="*/ 1178243 w 1504950"/>
                <a:gd name="connsiteY342" fmla="*/ 1363980 h 1914525"/>
                <a:gd name="connsiteX343" fmla="*/ 1177290 w 1504950"/>
                <a:gd name="connsiteY343" fmla="*/ 1371600 h 1914525"/>
                <a:gd name="connsiteX344" fmla="*/ 1176338 w 1504950"/>
                <a:gd name="connsiteY344" fmla="*/ 1374458 h 1914525"/>
                <a:gd name="connsiteX345" fmla="*/ 1173480 w 1504950"/>
                <a:gd name="connsiteY345" fmla="*/ 1376363 h 1914525"/>
                <a:gd name="connsiteX346" fmla="*/ 1170622 w 1504950"/>
                <a:gd name="connsiteY346" fmla="*/ 1374458 h 1914525"/>
                <a:gd name="connsiteX347" fmla="*/ 1166813 w 1504950"/>
                <a:gd name="connsiteY347" fmla="*/ 1368743 h 1914525"/>
                <a:gd name="connsiteX348" fmla="*/ 1163002 w 1504950"/>
                <a:gd name="connsiteY348" fmla="*/ 1363980 h 1914525"/>
                <a:gd name="connsiteX349" fmla="*/ 1160145 w 1504950"/>
                <a:gd name="connsiteY349" fmla="*/ 1359218 h 1914525"/>
                <a:gd name="connsiteX350" fmla="*/ 1160145 w 1504950"/>
                <a:gd name="connsiteY350" fmla="*/ 1352550 h 1914525"/>
                <a:gd name="connsiteX351" fmla="*/ 1158240 w 1504950"/>
                <a:gd name="connsiteY351" fmla="*/ 1347788 h 1914525"/>
                <a:gd name="connsiteX352" fmla="*/ 1152525 w 1504950"/>
                <a:gd name="connsiteY352" fmla="*/ 1342073 h 1914525"/>
                <a:gd name="connsiteX353" fmla="*/ 1149668 w 1504950"/>
                <a:gd name="connsiteY353" fmla="*/ 1337310 h 1914525"/>
                <a:gd name="connsiteX354" fmla="*/ 1148715 w 1504950"/>
                <a:gd name="connsiteY354" fmla="*/ 1334453 h 1914525"/>
                <a:gd name="connsiteX355" fmla="*/ 1147763 w 1504950"/>
                <a:gd name="connsiteY355" fmla="*/ 1325880 h 1914525"/>
                <a:gd name="connsiteX356" fmla="*/ 1145857 w 1504950"/>
                <a:gd name="connsiteY356" fmla="*/ 1323975 h 1914525"/>
                <a:gd name="connsiteX357" fmla="*/ 1143952 w 1504950"/>
                <a:gd name="connsiteY357" fmla="*/ 1323023 h 1914525"/>
                <a:gd name="connsiteX358" fmla="*/ 1138238 w 1504950"/>
                <a:gd name="connsiteY358" fmla="*/ 1322070 h 1914525"/>
                <a:gd name="connsiteX359" fmla="*/ 1134427 w 1504950"/>
                <a:gd name="connsiteY359" fmla="*/ 1323023 h 1914525"/>
                <a:gd name="connsiteX360" fmla="*/ 1124902 w 1504950"/>
                <a:gd name="connsiteY360" fmla="*/ 1325880 h 1914525"/>
                <a:gd name="connsiteX361" fmla="*/ 1119188 w 1504950"/>
                <a:gd name="connsiteY361" fmla="*/ 1326833 h 1914525"/>
                <a:gd name="connsiteX362" fmla="*/ 1100138 w 1504950"/>
                <a:gd name="connsiteY362" fmla="*/ 1326833 h 1914525"/>
                <a:gd name="connsiteX363" fmla="*/ 1094423 w 1504950"/>
                <a:gd name="connsiteY363" fmla="*/ 1327785 h 1914525"/>
                <a:gd name="connsiteX364" fmla="*/ 1088707 w 1504950"/>
                <a:gd name="connsiteY364" fmla="*/ 1329690 h 1914525"/>
                <a:gd name="connsiteX365" fmla="*/ 1047750 w 1504950"/>
                <a:gd name="connsiteY365" fmla="*/ 1358265 h 1914525"/>
                <a:gd name="connsiteX366" fmla="*/ 1029652 w 1504950"/>
                <a:gd name="connsiteY366" fmla="*/ 1360170 h 1914525"/>
                <a:gd name="connsiteX367" fmla="*/ 1026795 w 1504950"/>
                <a:gd name="connsiteY367" fmla="*/ 1362075 h 1914525"/>
                <a:gd name="connsiteX368" fmla="*/ 1022985 w 1504950"/>
                <a:gd name="connsiteY368" fmla="*/ 1364933 h 1914525"/>
                <a:gd name="connsiteX369" fmla="*/ 1019175 w 1504950"/>
                <a:gd name="connsiteY369" fmla="*/ 1369695 h 1914525"/>
                <a:gd name="connsiteX370" fmla="*/ 1014413 w 1504950"/>
                <a:gd name="connsiteY370" fmla="*/ 1380173 h 1914525"/>
                <a:gd name="connsiteX371" fmla="*/ 1007745 w 1504950"/>
                <a:gd name="connsiteY371" fmla="*/ 1388745 h 1914525"/>
                <a:gd name="connsiteX372" fmla="*/ 1005840 w 1504950"/>
                <a:gd name="connsiteY372" fmla="*/ 1391603 h 1914525"/>
                <a:gd name="connsiteX373" fmla="*/ 1005840 w 1504950"/>
                <a:gd name="connsiteY373" fmla="*/ 1393508 h 1914525"/>
                <a:gd name="connsiteX374" fmla="*/ 1006792 w 1504950"/>
                <a:gd name="connsiteY374" fmla="*/ 1396365 h 1914525"/>
                <a:gd name="connsiteX375" fmla="*/ 1008697 w 1504950"/>
                <a:gd name="connsiteY375" fmla="*/ 1398270 h 1914525"/>
                <a:gd name="connsiteX376" fmla="*/ 1015365 w 1504950"/>
                <a:gd name="connsiteY376" fmla="*/ 1403033 h 1914525"/>
                <a:gd name="connsiteX377" fmla="*/ 1016317 w 1504950"/>
                <a:gd name="connsiteY377" fmla="*/ 1404938 h 1914525"/>
                <a:gd name="connsiteX378" fmla="*/ 1015365 w 1504950"/>
                <a:gd name="connsiteY378" fmla="*/ 1410653 h 1914525"/>
                <a:gd name="connsiteX379" fmla="*/ 1009650 w 1504950"/>
                <a:gd name="connsiteY379" fmla="*/ 1423035 h 1914525"/>
                <a:gd name="connsiteX380" fmla="*/ 1007745 w 1504950"/>
                <a:gd name="connsiteY380" fmla="*/ 1426845 h 1914525"/>
                <a:gd name="connsiteX381" fmla="*/ 1007745 w 1504950"/>
                <a:gd name="connsiteY381" fmla="*/ 1433513 h 1914525"/>
                <a:gd name="connsiteX382" fmla="*/ 1008697 w 1504950"/>
                <a:gd name="connsiteY382" fmla="*/ 1435418 h 1914525"/>
                <a:gd name="connsiteX383" fmla="*/ 1013460 w 1504950"/>
                <a:gd name="connsiteY383" fmla="*/ 1439228 h 1914525"/>
                <a:gd name="connsiteX384" fmla="*/ 1014413 w 1504950"/>
                <a:gd name="connsiteY384" fmla="*/ 1441133 h 1914525"/>
                <a:gd name="connsiteX385" fmla="*/ 1015365 w 1504950"/>
                <a:gd name="connsiteY385" fmla="*/ 1443990 h 1914525"/>
                <a:gd name="connsiteX386" fmla="*/ 1015365 w 1504950"/>
                <a:gd name="connsiteY386" fmla="*/ 1446848 h 1914525"/>
                <a:gd name="connsiteX387" fmla="*/ 1010602 w 1504950"/>
                <a:gd name="connsiteY387" fmla="*/ 1476375 h 1914525"/>
                <a:gd name="connsiteX388" fmla="*/ 1009650 w 1504950"/>
                <a:gd name="connsiteY388" fmla="*/ 1479233 h 1914525"/>
                <a:gd name="connsiteX389" fmla="*/ 1002030 w 1504950"/>
                <a:gd name="connsiteY389" fmla="*/ 1491615 h 1914525"/>
                <a:gd name="connsiteX390" fmla="*/ 1001077 w 1504950"/>
                <a:gd name="connsiteY390" fmla="*/ 1494473 h 1914525"/>
                <a:gd name="connsiteX391" fmla="*/ 1001077 w 1504950"/>
                <a:gd name="connsiteY391" fmla="*/ 1497330 h 1914525"/>
                <a:gd name="connsiteX392" fmla="*/ 1001077 w 1504950"/>
                <a:gd name="connsiteY392" fmla="*/ 1499235 h 1914525"/>
                <a:gd name="connsiteX393" fmla="*/ 1003935 w 1504950"/>
                <a:gd name="connsiteY393" fmla="*/ 1506855 h 1914525"/>
                <a:gd name="connsiteX394" fmla="*/ 1003935 w 1504950"/>
                <a:gd name="connsiteY394" fmla="*/ 1509713 h 1914525"/>
                <a:gd name="connsiteX395" fmla="*/ 1002982 w 1504950"/>
                <a:gd name="connsiteY395" fmla="*/ 1516380 h 1914525"/>
                <a:gd name="connsiteX396" fmla="*/ 997267 w 1504950"/>
                <a:gd name="connsiteY396" fmla="*/ 1526858 h 1914525"/>
                <a:gd name="connsiteX397" fmla="*/ 990600 w 1504950"/>
                <a:gd name="connsiteY397" fmla="*/ 1544955 h 1914525"/>
                <a:gd name="connsiteX398" fmla="*/ 988695 w 1504950"/>
                <a:gd name="connsiteY398" fmla="*/ 1547813 h 1914525"/>
                <a:gd name="connsiteX399" fmla="*/ 982980 w 1504950"/>
                <a:gd name="connsiteY399" fmla="*/ 1553528 h 1914525"/>
                <a:gd name="connsiteX400" fmla="*/ 980122 w 1504950"/>
                <a:gd name="connsiteY400" fmla="*/ 1557338 h 1914525"/>
                <a:gd name="connsiteX401" fmla="*/ 979170 w 1504950"/>
                <a:gd name="connsiteY401" fmla="*/ 1560195 h 1914525"/>
                <a:gd name="connsiteX402" fmla="*/ 979170 w 1504950"/>
                <a:gd name="connsiteY402" fmla="*/ 1569720 h 1914525"/>
                <a:gd name="connsiteX403" fmla="*/ 980122 w 1504950"/>
                <a:gd name="connsiteY403" fmla="*/ 1575435 h 1914525"/>
                <a:gd name="connsiteX404" fmla="*/ 982027 w 1504950"/>
                <a:gd name="connsiteY404" fmla="*/ 1577340 h 1914525"/>
                <a:gd name="connsiteX405" fmla="*/ 983932 w 1504950"/>
                <a:gd name="connsiteY405" fmla="*/ 1578293 h 1914525"/>
                <a:gd name="connsiteX406" fmla="*/ 990600 w 1504950"/>
                <a:gd name="connsiteY406" fmla="*/ 1580198 h 1914525"/>
                <a:gd name="connsiteX407" fmla="*/ 992505 w 1504950"/>
                <a:gd name="connsiteY407" fmla="*/ 1582103 h 1914525"/>
                <a:gd name="connsiteX408" fmla="*/ 994410 w 1504950"/>
                <a:gd name="connsiteY408" fmla="*/ 1584008 h 1914525"/>
                <a:gd name="connsiteX409" fmla="*/ 995363 w 1504950"/>
                <a:gd name="connsiteY409" fmla="*/ 1586865 h 1914525"/>
                <a:gd name="connsiteX410" fmla="*/ 995363 w 1504950"/>
                <a:gd name="connsiteY410" fmla="*/ 1592580 h 1914525"/>
                <a:gd name="connsiteX411" fmla="*/ 994410 w 1504950"/>
                <a:gd name="connsiteY411" fmla="*/ 1602105 h 1914525"/>
                <a:gd name="connsiteX412" fmla="*/ 993457 w 1504950"/>
                <a:gd name="connsiteY412" fmla="*/ 1607820 h 1914525"/>
                <a:gd name="connsiteX413" fmla="*/ 990600 w 1504950"/>
                <a:gd name="connsiteY413" fmla="*/ 1610678 h 1914525"/>
                <a:gd name="connsiteX414" fmla="*/ 974407 w 1504950"/>
                <a:gd name="connsiteY414" fmla="*/ 1622108 h 1914525"/>
                <a:gd name="connsiteX415" fmla="*/ 969645 w 1504950"/>
                <a:gd name="connsiteY415" fmla="*/ 1626870 h 1914525"/>
                <a:gd name="connsiteX416" fmla="*/ 966788 w 1504950"/>
                <a:gd name="connsiteY416" fmla="*/ 1630680 h 1914525"/>
                <a:gd name="connsiteX417" fmla="*/ 958215 w 1504950"/>
                <a:gd name="connsiteY417" fmla="*/ 1652588 h 1914525"/>
                <a:gd name="connsiteX418" fmla="*/ 955357 w 1504950"/>
                <a:gd name="connsiteY418" fmla="*/ 1656398 h 1914525"/>
                <a:gd name="connsiteX419" fmla="*/ 952500 w 1504950"/>
                <a:gd name="connsiteY419" fmla="*/ 1661160 h 1914525"/>
                <a:gd name="connsiteX420" fmla="*/ 929640 w 1504950"/>
                <a:gd name="connsiteY420" fmla="*/ 1676400 h 1914525"/>
                <a:gd name="connsiteX421" fmla="*/ 926782 w 1504950"/>
                <a:gd name="connsiteY421" fmla="*/ 1679258 h 1914525"/>
                <a:gd name="connsiteX422" fmla="*/ 923925 w 1504950"/>
                <a:gd name="connsiteY422" fmla="*/ 1684020 h 1914525"/>
                <a:gd name="connsiteX423" fmla="*/ 910590 w 1504950"/>
                <a:gd name="connsiteY423" fmla="*/ 1696402 h 1914525"/>
                <a:gd name="connsiteX424" fmla="*/ 904875 w 1504950"/>
                <a:gd name="connsiteY424" fmla="*/ 1702118 h 1914525"/>
                <a:gd name="connsiteX425" fmla="*/ 900113 w 1504950"/>
                <a:gd name="connsiteY425" fmla="*/ 1709738 h 1914525"/>
                <a:gd name="connsiteX426" fmla="*/ 898207 w 1504950"/>
                <a:gd name="connsiteY426" fmla="*/ 1711643 h 1914525"/>
                <a:gd name="connsiteX427" fmla="*/ 888682 w 1504950"/>
                <a:gd name="connsiteY427" fmla="*/ 1719263 h 1914525"/>
                <a:gd name="connsiteX428" fmla="*/ 882967 w 1504950"/>
                <a:gd name="connsiteY428" fmla="*/ 1725930 h 1914525"/>
                <a:gd name="connsiteX429" fmla="*/ 870585 w 1504950"/>
                <a:gd name="connsiteY429" fmla="*/ 1748790 h 1914525"/>
                <a:gd name="connsiteX430" fmla="*/ 868680 w 1504950"/>
                <a:gd name="connsiteY430" fmla="*/ 1755458 h 1914525"/>
                <a:gd name="connsiteX431" fmla="*/ 868680 w 1504950"/>
                <a:gd name="connsiteY431" fmla="*/ 1758315 h 1914525"/>
                <a:gd name="connsiteX432" fmla="*/ 868680 w 1504950"/>
                <a:gd name="connsiteY432" fmla="*/ 1767840 h 1914525"/>
                <a:gd name="connsiteX433" fmla="*/ 868680 w 1504950"/>
                <a:gd name="connsiteY433" fmla="*/ 1770698 h 1914525"/>
                <a:gd name="connsiteX434" fmla="*/ 866775 w 1504950"/>
                <a:gd name="connsiteY434" fmla="*/ 1774508 h 1914525"/>
                <a:gd name="connsiteX435" fmla="*/ 862965 w 1504950"/>
                <a:gd name="connsiteY435" fmla="*/ 1778318 h 1914525"/>
                <a:gd name="connsiteX436" fmla="*/ 856297 w 1504950"/>
                <a:gd name="connsiteY436" fmla="*/ 1776413 h 1914525"/>
                <a:gd name="connsiteX437" fmla="*/ 852488 w 1504950"/>
                <a:gd name="connsiteY437" fmla="*/ 1774508 h 1914525"/>
                <a:gd name="connsiteX438" fmla="*/ 850582 w 1504950"/>
                <a:gd name="connsiteY438" fmla="*/ 1771650 h 1914525"/>
                <a:gd name="connsiteX439" fmla="*/ 847725 w 1504950"/>
                <a:gd name="connsiteY439" fmla="*/ 1766888 h 1914525"/>
                <a:gd name="connsiteX440" fmla="*/ 845820 w 1504950"/>
                <a:gd name="connsiteY440" fmla="*/ 1765935 h 1914525"/>
                <a:gd name="connsiteX441" fmla="*/ 842010 w 1504950"/>
                <a:gd name="connsiteY441" fmla="*/ 1765935 h 1914525"/>
                <a:gd name="connsiteX442" fmla="*/ 837247 w 1504950"/>
                <a:gd name="connsiteY442" fmla="*/ 1769745 h 1914525"/>
                <a:gd name="connsiteX443" fmla="*/ 831532 w 1504950"/>
                <a:gd name="connsiteY443" fmla="*/ 1775460 h 1914525"/>
                <a:gd name="connsiteX444" fmla="*/ 828675 w 1504950"/>
                <a:gd name="connsiteY444" fmla="*/ 1776413 h 1914525"/>
                <a:gd name="connsiteX445" fmla="*/ 822960 w 1504950"/>
                <a:gd name="connsiteY445" fmla="*/ 1777365 h 1914525"/>
                <a:gd name="connsiteX446" fmla="*/ 814388 w 1504950"/>
                <a:gd name="connsiteY446" fmla="*/ 1773555 h 1914525"/>
                <a:gd name="connsiteX447" fmla="*/ 811530 w 1504950"/>
                <a:gd name="connsiteY447" fmla="*/ 1772602 h 1914525"/>
                <a:gd name="connsiteX448" fmla="*/ 806767 w 1504950"/>
                <a:gd name="connsiteY448" fmla="*/ 1775460 h 1914525"/>
                <a:gd name="connsiteX449" fmla="*/ 803910 w 1504950"/>
                <a:gd name="connsiteY449" fmla="*/ 1778318 h 1914525"/>
                <a:gd name="connsiteX450" fmla="*/ 798195 w 1504950"/>
                <a:gd name="connsiteY450" fmla="*/ 1784985 h 1914525"/>
                <a:gd name="connsiteX451" fmla="*/ 796290 w 1504950"/>
                <a:gd name="connsiteY451" fmla="*/ 1786890 h 1914525"/>
                <a:gd name="connsiteX452" fmla="*/ 779145 w 1504950"/>
                <a:gd name="connsiteY452" fmla="*/ 1791652 h 1914525"/>
                <a:gd name="connsiteX453" fmla="*/ 769620 w 1504950"/>
                <a:gd name="connsiteY453" fmla="*/ 1798320 h 1914525"/>
                <a:gd name="connsiteX454" fmla="*/ 766763 w 1504950"/>
                <a:gd name="connsiteY454" fmla="*/ 1798320 h 1914525"/>
                <a:gd name="connsiteX455" fmla="*/ 763905 w 1504950"/>
                <a:gd name="connsiteY455" fmla="*/ 1798320 h 1914525"/>
                <a:gd name="connsiteX456" fmla="*/ 761047 w 1504950"/>
                <a:gd name="connsiteY456" fmla="*/ 1796415 h 1914525"/>
                <a:gd name="connsiteX457" fmla="*/ 759142 w 1504950"/>
                <a:gd name="connsiteY457" fmla="*/ 1793558 h 1914525"/>
                <a:gd name="connsiteX458" fmla="*/ 748665 w 1504950"/>
                <a:gd name="connsiteY458" fmla="*/ 1775460 h 1914525"/>
                <a:gd name="connsiteX459" fmla="*/ 744855 w 1504950"/>
                <a:gd name="connsiteY459" fmla="*/ 1771650 h 1914525"/>
                <a:gd name="connsiteX460" fmla="*/ 741997 w 1504950"/>
                <a:gd name="connsiteY460" fmla="*/ 1771650 h 1914525"/>
                <a:gd name="connsiteX461" fmla="*/ 737235 w 1504950"/>
                <a:gd name="connsiteY461" fmla="*/ 1771650 h 1914525"/>
                <a:gd name="connsiteX462" fmla="*/ 729615 w 1504950"/>
                <a:gd name="connsiteY462" fmla="*/ 1774508 h 1914525"/>
                <a:gd name="connsiteX463" fmla="*/ 722947 w 1504950"/>
                <a:gd name="connsiteY463" fmla="*/ 1773555 h 1914525"/>
                <a:gd name="connsiteX464" fmla="*/ 719138 w 1504950"/>
                <a:gd name="connsiteY464" fmla="*/ 1772602 h 1914525"/>
                <a:gd name="connsiteX465" fmla="*/ 715327 w 1504950"/>
                <a:gd name="connsiteY465" fmla="*/ 1768793 h 1914525"/>
                <a:gd name="connsiteX466" fmla="*/ 713422 w 1504950"/>
                <a:gd name="connsiteY466" fmla="*/ 1767840 h 1914525"/>
                <a:gd name="connsiteX467" fmla="*/ 710565 w 1504950"/>
                <a:gd name="connsiteY467" fmla="*/ 1767840 h 1914525"/>
                <a:gd name="connsiteX468" fmla="*/ 708660 w 1504950"/>
                <a:gd name="connsiteY468" fmla="*/ 1770698 h 1914525"/>
                <a:gd name="connsiteX469" fmla="*/ 701992 w 1504950"/>
                <a:gd name="connsiteY469" fmla="*/ 1784985 h 1914525"/>
                <a:gd name="connsiteX470" fmla="*/ 699135 w 1504950"/>
                <a:gd name="connsiteY470" fmla="*/ 1789748 h 1914525"/>
                <a:gd name="connsiteX471" fmla="*/ 697230 w 1504950"/>
                <a:gd name="connsiteY471" fmla="*/ 1790700 h 1914525"/>
                <a:gd name="connsiteX472" fmla="*/ 694372 w 1504950"/>
                <a:gd name="connsiteY472" fmla="*/ 1791652 h 1914525"/>
                <a:gd name="connsiteX473" fmla="*/ 679132 w 1504950"/>
                <a:gd name="connsiteY473" fmla="*/ 1783080 h 1914525"/>
                <a:gd name="connsiteX474" fmla="*/ 677227 w 1504950"/>
                <a:gd name="connsiteY474" fmla="*/ 1782127 h 1914525"/>
                <a:gd name="connsiteX475" fmla="*/ 674370 w 1504950"/>
                <a:gd name="connsiteY475" fmla="*/ 1782127 h 1914525"/>
                <a:gd name="connsiteX476" fmla="*/ 668655 w 1504950"/>
                <a:gd name="connsiteY476" fmla="*/ 1787843 h 1914525"/>
                <a:gd name="connsiteX477" fmla="*/ 665797 w 1504950"/>
                <a:gd name="connsiteY477" fmla="*/ 1789748 h 1914525"/>
                <a:gd name="connsiteX478" fmla="*/ 648652 w 1504950"/>
                <a:gd name="connsiteY478" fmla="*/ 1795463 h 1914525"/>
                <a:gd name="connsiteX479" fmla="*/ 644842 w 1504950"/>
                <a:gd name="connsiteY479" fmla="*/ 1795463 h 1914525"/>
                <a:gd name="connsiteX480" fmla="*/ 641032 w 1504950"/>
                <a:gd name="connsiteY480" fmla="*/ 1791652 h 1914525"/>
                <a:gd name="connsiteX481" fmla="*/ 636270 w 1504950"/>
                <a:gd name="connsiteY481" fmla="*/ 1784033 h 1914525"/>
                <a:gd name="connsiteX482" fmla="*/ 630555 w 1504950"/>
                <a:gd name="connsiteY482" fmla="*/ 1778318 h 1914525"/>
                <a:gd name="connsiteX483" fmla="*/ 625792 w 1504950"/>
                <a:gd name="connsiteY483" fmla="*/ 1775460 h 1914525"/>
                <a:gd name="connsiteX484" fmla="*/ 622935 w 1504950"/>
                <a:gd name="connsiteY484" fmla="*/ 1774508 h 1914525"/>
                <a:gd name="connsiteX485" fmla="*/ 619125 w 1504950"/>
                <a:gd name="connsiteY485" fmla="*/ 1774508 h 1914525"/>
                <a:gd name="connsiteX486" fmla="*/ 615315 w 1504950"/>
                <a:gd name="connsiteY486" fmla="*/ 1776413 h 1914525"/>
                <a:gd name="connsiteX487" fmla="*/ 609600 w 1504950"/>
                <a:gd name="connsiteY487" fmla="*/ 1779270 h 1914525"/>
                <a:gd name="connsiteX488" fmla="*/ 607695 w 1504950"/>
                <a:gd name="connsiteY488" fmla="*/ 1783080 h 1914525"/>
                <a:gd name="connsiteX489" fmla="*/ 605790 w 1504950"/>
                <a:gd name="connsiteY489" fmla="*/ 1785938 h 1914525"/>
                <a:gd name="connsiteX490" fmla="*/ 603885 w 1504950"/>
                <a:gd name="connsiteY490" fmla="*/ 1792605 h 1914525"/>
                <a:gd name="connsiteX491" fmla="*/ 603885 w 1504950"/>
                <a:gd name="connsiteY491" fmla="*/ 1799273 h 1914525"/>
                <a:gd name="connsiteX492" fmla="*/ 603885 w 1504950"/>
                <a:gd name="connsiteY492" fmla="*/ 1808798 h 1914525"/>
                <a:gd name="connsiteX493" fmla="*/ 602932 w 1504950"/>
                <a:gd name="connsiteY493" fmla="*/ 1811655 h 1914525"/>
                <a:gd name="connsiteX494" fmla="*/ 600075 w 1504950"/>
                <a:gd name="connsiteY494" fmla="*/ 1821180 h 1914525"/>
                <a:gd name="connsiteX495" fmla="*/ 589597 w 1504950"/>
                <a:gd name="connsiteY495" fmla="*/ 1864995 h 1914525"/>
                <a:gd name="connsiteX496" fmla="*/ 588645 w 1504950"/>
                <a:gd name="connsiteY496" fmla="*/ 1867852 h 1914525"/>
                <a:gd name="connsiteX497" fmla="*/ 585788 w 1504950"/>
                <a:gd name="connsiteY497" fmla="*/ 1869758 h 1914525"/>
                <a:gd name="connsiteX498" fmla="*/ 581025 w 1504950"/>
                <a:gd name="connsiteY498" fmla="*/ 1869758 h 1914525"/>
                <a:gd name="connsiteX499" fmla="*/ 576263 w 1504950"/>
                <a:gd name="connsiteY499" fmla="*/ 1866900 h 1914525"/>
                <a:gd name="connsiteX500" fmla="*/ 573405 w 1504950"/>
                <a:gd name="connsiteY500" fmla="*/ 1863090 h 1914525"/>
                <a:gd name="connsiteX501" fmla="*/ 573405 w 1504950"/>
                <a:gd name="connsiteY501" fmla="*/ 1860233 h 1914525"/>
                <a:gd name="connsiteX502" fmla="*/ 573405 w 1504950"/>
                <a:gd name="connsiteY502" fmla="*/ 1853565 h 1914525"/>
                <a:gd name="connsiteX503" fmla="*/ 572452 w 1504950"/>
                <a:gd name="connsiteY503" fmla="*/ 1851660 h 1914525"/>
                <a:gd name="connsiteX504" fmla="*/ 568642 w 1504950"/>
                <a:gd name="connsiteY504" fmla="*/ 1848802 h 1914525"/>
                <a:gd name="connsiteX505" fmla="*/ 476250 w 1504950"/>
                <a:gd name="connsiteY505" fmla="*/ 1829752 h 1914525"/>
                <a:gd name="connsiteX506" fmla="*/ 473392 w 1504950"/>
                <a:gd name="connsiteY506" fmla="*/ 1827848 h 1914525"/>
                <a:gd name="connsiteX507" fmla="*/ 471488 w 1504950"/>
                <a:gd name="connsiteY507" fmla="*/ 1825943 h 1914525"/>
                <a:gd name="connsiteX508" fmla="*/ 470535 w 1504950"/>
                <a:gd name="connsiteY508" fmla="*/ 1824038 h 1914525"/>
                <a:gd name="connsiteX509" fmla="*/ 470535 w 1504950"/>
                <a:gd name="connsiteY509" fmla="*/ 1821180 h 1914525"/>
                <a:gd name="connsiteX510" fmla="*/ 471488 w 1504950"/>
                <a:gd name="connsiteY510" fmla="*/ 1817370 h 1914525"/>
                <a:gd name="connsiteX511" fmla="*/ 474345 w 1504950"/>
                <a:gd name="connsiteY511" fmla="*/ 1812608 h 1914525"/>
                <a:gd name="connsiteX512" fmla="*/ 480060 w 1504950"/>
                <a:gd name="connsiteY512" fmla="*/ 1803083 h 1914525"/>
                <a:gd name="connsiteX513" fmla="*/ 481013 w 1504950"/>
                <a:gd name="connsiteY513" fmla="*/ 1800225 h 1914525"/>
                <a:gd name="connsiteX514" fmla="*/ 481013 w 1504950"/>
                <a:gd name="connsiteY514" fmla="*/ 1798320 h 1914525"/>
                <a:gd name="connsiteX515" fmla="*/ 479107 w 1504950"/>
                <a:gd name="connsiteY515" fmla="*/ 1796415 h 1914525"/>
                <a:gd name="connsiteX516" fmla="*/ 467677 w 1504950"/>
                <a:gd name="connsiteY516" fmla="*/ 1791652 h 1914525"/>
                <a:gd name="connsiteX517" fmla="*/ 464820 w 1504950"/>
                <a:gd name="connsiteY517" fmla="*/ 1791652 h 1914525"/>
                <a:gd name="connsiteX518" fmla="*/ 461963 w 1504950"/>
                <a:gd name="connsiteY518" fmla="*/ 1792605 h 1914525"/>
                <a:gd name="connsiteX519" fmla="*/ 456247 w 1504950"/>
                <a:gd name="connsiteY519" fmla="*/ 1799273 h 1914525"/>
                <a:gd name="connsiteX520" fmla="*/ 452438 w 1504950"/>
                <a:gd name="connsiteY520" fmla="*/ 1804035 h 1914525"/>
                <a:gd name="connsiteX521" fmla="*/ 444817 w 1504950"/>
                <a:gd name="connsiteY521" fmla="*/ 1807845 h 1914525"/>
                <a:gd name="connsiteX522" fmla="*/ 441007 w 1504950"/>
                <a:gd name="connsiteY522" fmla="*/ 1811655 h 1914525"/>
                <a:gd name="connsiteX523" fmla="*/ 439102 w 1504950"/>
                <a:gd name="connsiteY523" fmla="*/ 1814513 h 1914525"/>
                <a:gd name="connsiteX524" fmla="*/ 439102 w 1504950"/>
                <a:gd name="connsiteY524" fmla="*/ 1816418 h 1914525"/>
                <a:gd name="connsiteX525" fmla="*/ 441007 w 1504950"/>
                <a:gd name="connsiteY525" fmla="*/ 1820227 h 1914525"/>
                <a:gd name="connsiteX526" fmla="*/ 443865 w 1504950"/>
                <a:gd name="connsiteY526" fmla="*/ 1826895 h 1914525"/>
                <a:gd name="connsiteX527" fmla="*/ 445770 w 1504950"/>
                <a:gd name="connsiteY527" fmla="*/ 1831658 h 1914525"/>
                <a:gd name="connsiteX528" fmla="*/ 445770 w 1504950"/>
                <a:gd name="connsiteY528" fmla="*/ 1834515 h 1914525"/>
                <a:gd name="connsiteX529" fmla="*/ 442913 w 1504950"/>
                <a:gd name="connsiteY529" fmla="*/ 1835468 h 1914525"/>
                <a:gd name="connsiteX530" fmla="*/ 438150 w 1504950"/>
                <a:gd name="connsiteY530" fmla="*/ 1834515 h 1914525"/>
                <a:gd name="connsiteX531" fmla="*/ 436245 w 1504950"/>
                <a:gd name="connsiteY531" fmla="*/ 1833563 h 1914525"/>
                <a:gd name="connsiteX532" fmla="*/ 430530 w 1504950"/>
                <a:gd name="connsiteY532" fmla="*/ 1830705 h 1914525"/>
                <a:gd name="connsiteX533" fmla="*/ 427672 w 1504950"/>
                <a:gd name="connsiteY533" fmla="*/ 1829752 h 1914525"/>
                <a:gd name="connsiteX534" fmla="*/ 412432 w 1504950"/>
                <a:gd name="connsiteY534" fmla="*/ 1828800 h 1914525"/>
                <a:gd name="connsiteX535" fmla="*/ 408622 w 1504950"/>
                <a:gd name="connsiteY535" fmla="*/ 1827848 h 1914525"/>
                <a:gd name="connsiteX536" fmla="*/ 404813 w 1504950"/>
                <a:gd name="connsiteY536" fmla="*/ 1826895 h 1914525"/>
                <a:gd name="connsiteX537" fmla="*/ 401002 w 1504950"/>
                <a:gd name="connsiteY537" fmla="*/ 1828800 h 1914525"/>
                <a:gd name="connsiteX538" fmla="*/ 397192 w 1504950"/>
                <a:gd name="connsiteY538" fmla="*/ 1833563 h 1914525"/>
                <a:gd name="connsiteX539" fmla="*/ 391477 w 1504950"/>
                <a:gd name="connsiteY539" fmla="*/ 1842135 h 1914525"/>
                <a:gd name="connsiteX540" fmla="*/ 387667 w 1504950"/>
                <a:gd name="connsiteY540" fmla="*/ 1844040 h 1914525"/>
                <a:gd name="connsiteX541" fmla="*/ 382905 w 1504950"/>
                <a:gd name="connsiteY541" fmla="*/ 1844993 h 1914525"/>
                <a:gd name="connsiteX542" fmla="*/ 364807 w 1504950"/>
                <a:gd name="connsiteY542" fmla="*/ 1844993 h 1914525"/>
                <a:gd name="connsiteX543" fmla="*/ 360045 w 1504950"/>
                <a:gd name="connsiteY543" fmla="*/ 1846898 h 1914525"/>
                <a:gd name="connsiteX544" fmla="*/ 348615 w 1504950"/>
                <a:gd name="connsiteY544" fmla="*/ 1855470 h 1914525"/>
                <a:gd name="connsiteX545" fmla="*/ 341947 w 1504950"/>
                <a:gd name="connsiteY545" fmla="*/ 1858327 h 1914525"/>
                <a:gd name="connsiteX546" fmla="*/ 339090 w 1504950"/>
                <a:gd name="connsiteY546" fmla="*/ 1863090 h 1914525"/>
                <a:gd name="connsiteX547" fmla="*/ 336232 w 1504950"/>
                <a:gd name="connsiteY547" fmla="*/ 1871663 h 1914525"/>
                <a:gd name="connsiteX548" fmla="*/ 335280 w 1504950"/>
                <a:gd name="connsiteY548" fmla="*/ 1875473 h 1914525"/>
                <a:gd name="connsiteX549" fmla="*/ 330517 w 1504950"/>
                <a:gd name="connsiteY549" fmla="*/ 1883093 h 1914525"/>
                <a:gd name="connsiteX550" fmla="*/ 326707 w 1504950"/>
                <a:gd name="connsiteY550" fmla="*/ 1886902 h 1914525"/>
                <a:gd name="connsiteX551" fmla="*/ 319088 w 1504950"/>
                <a:gd name="connsiteY551" fmla="*/ 1894523 h 1914525"/>
                <a:gd name="connsiteX552" fmla="*/ 316230 w 1504950"/>
                <a:gd name="connsiteY552" fmla="*/ 1898333 h 1914525"/>
                <a:gd name="connsiteX553" fmla="*/ 316230 w 1504950"/>
                <a:gd name="connsiteY553" fmla="*/ 1901190 h 1914525"/>
                <a:gd name="connsiteX554" fmla="*/ 315277 w 1504950"/>
                <a:gd name="connsiteY554" fmla="*/ 1904048 h 1914525"/>
                <a:gd name="connsiteX555" fmla="*/ 317182 w 1504950"/>
                <a:gd name="connsiteY555" fmla="*/ 1912620 h 1914525"/>
                <a:gd name="connsiteX556" fmla="*/ 315277 w 1504950"/>
                <a:gd name="connsiteY556" fmla="*/ 1915477 h 1914525"/>
                <a:gd name="connsiteX557" fmla="*/ 311467 w 1504950"/>
                <a:gd name="connsiteY557" fmla="*/ 1917383 h 1914525"/>
                <a:gd name="connsiteX558" fmla="*/ 298132 w 1504950"/>
                <a:gd name="connsiteY558" fmla="*/ 1916430 h 1914525"/>
                <a:gd name="connsiteX559" fmla="*/ 266700 w 1504950"/>
                <a:gd name="connsiteY559" fmla="*/ 1920240 h 1914525"/>
                <a:gd name="connsiteX560" fmla="*/ 258127 w 1504950"/>
                <a:gd name="connsiteY560" fmla="*/ 1916430 h 1914525"/>
                <a:gd name="connsiteX561" fmla="*/ 247650 w 1504950"/>
                <a:gd name="connsiteY561" fmla="*/ 1908810 h 1914525"/>
                <a:gd name="connsiteX562" fmla="*/ 243840 w 1504950"/>
                <a:gd name="connsiteY562" fmla="*/ 1904048 h 1914525"/>
                <a:gd name="connsiteX563" fmla="*/ 241935 w 1504950"/>
                <a:gd name="connsiteY563" fmla="*/ 1900238 h 1914525"/>
                <a:gd name="connsiteX564" fmla="*/ 240982 w 1504950"/>
                <a:gd name="connsiteY564" fmla="*/ 1894523 h 1914525"/>
                <a:gd name="connsiteX565" fmla="*/ 241935 w 1504950"/>
                <a:gd name="connsiteY565" fmla="*/ 1891665 h 1914525"/>
                <a:gd name="connsiteX566" fmla="*/ 244792 w 1504950"/>
                <a:gd name="connsiteY566" fmla="*/ 1889760 h 1914525"/>
                <a:gd name="connsiteX567" fmla="*/ 248602 w 1504950"/>
                <a:gd name="connsiteY567" fmla="*/ 1887855 h 1914525"/>
                <a:gd name="connsiteX568" fmla="*/ 249555 w 1504950"/>
                <a:gd name="connsiteY568" fmla="*/ 1884998 h 1914525"/>
                <a:gd name="connsiteX569" fmla="*/ 244792 w 1504950"/>
                <a:gd name="connsiteY569" fmla="*/ 1880235 h 1914525"/>
                <a:gd name="connsiteX570" fmla="*/ 224790 w 1504950"/>
                <a:gd name="connsiteY570" fmla="*/ 1874520 h 1914525"/>
                <a:gd name="connsiteX571" fmla="*/ 220027 w 1504950"/>
                <a:gd name="connsiteY571" fmla="*/ 1863090 h 1914525"/>
                <a:gd name="connsiteX572" fmla="*/ 214313 w 1504950"/>
                <a:gd name="connsiteY572" fmla="*/ 1860233 h 1914525"/>
                <a:gd name="connsiteX573" fmla="*/ 205740 w 1504950"/>
                <a:gd name="connsiteY573" fmla="*/ 1861185 h 1914525"/>
                <a:gd name="connsiteX574" fmla="*/ 199072 w 1504950"/>
                <a:gd name="connsiteY574" fmla="*/ 1861185 h 1914525"/>
                <a:gd name="connsiteX575" fmla="*/ 195263 w 1504950"/>
                <a:gd name="connsiteY575" fmla="*/ 1859280 h 1914525"/>
                <a:gd name="connsiteX576" fmla="*/ 193357 w 1504950"/>
                <a:gd name="connsiteY576" fmla="*/ 1857375 h 1914525"/>
                <a:gd name="connsiteX577" fmla="*/ 192405 w 1504950"/>
                <a:gd name="connsiteY577" fmla="*/ 1853565 h 1914525"/>
                <a:gd name="connsiteX578" fmla="*/ 188595 w 1504950"/>
                <a:gd name="connsiteY578" fmla="*/ 1845945 h 1914525"/>
                <a:gd name="connsiteX579" fmla="*/ 179070 w 1504950"/>
                <a:gd name="connsiteY579" fmla="*/ 1831658 h 1914525"/>
                <a:gd name="connsiteX580" fmla="*/ 172402 w 1504950"/>
                <a:gd name="connsiteY580" fmla="*/ 1815465 h 1914525"/>
                <a:gd name="connsiteX581" fmla="*/ 169545 w 1504950"/>
                <a:gd name="connsiteY581" fmla="*/ 1812608 h 1914525"/>
                <a:gd name="connsiteX582" fmla="*/ 167640 w 1504950"/>
                <a:gd name="connsiteY582" fmla="*/ 1809750 h 1914525"/>
                <a:gd name="connsiteX583" fmla="*/ 165735 w 1504950"/>
                <a:gd name="connsiteY583" fmla="*/ 1808798 h 1914525"/>
                <a:gd name="connsiteX584" fmla="*/ 150495 w 1504950"/>
                <a:gd name="connsiteY584" fmla="*/ 1806893 h 1914525"/>
                <a:gd name="connsiteX585" fmla="*/ 144780 w 1504950"/>
                <a:gd name="connsiteY585" fmla="*/ 1804988 h 1914525"/>
                <a:gd name="connsiteX586" fmla="*/ 137160 w 1504950"/>
                <a:gd name="connsiteY586" fmla="*/ 1801177 h 1914525"/>
                <a:gd name="connsiteX587" fmla="*/ 134302 w 1504950"/>
                <a:gd name="connsiteY587" fmla="*/ 1797368 h 1914525"/>
                <a:gd name="connsiteX588" fmla="*/ 132397 w 1504950"/>
                <a:gd name="connsiteY588" fmla="*/ 1794510 h 1914525"/>
                <a:gd name="connsiteX589" fmla="*/ 132397 w 1504950"/>
                <a:gd name="connsiteY589" fmla="*/ 1787843 h 1914525"/>
                <a:gd name="connsiteX590" fmla="*/ 130492 w 1504950"/>
                <a:gd name="connsiteY590" fmla="*/ 1783080 h 1914525"/>
                <a:gd name="connsiteX591" fmla="*/ 128588 w 1504950"/>
                <a:gd name="connsiteY591" fmla="*/ 1777365 h 1914525"/>
                <a:gd name="connsiteX592" fmla="*/ 120967 w 1504950"/>
                <a:gd name="connsiteY592" fmla="*/ 1762125 h 1914525"/>
                <a:gd name="connsiteX593" fmla="*/ 120015 w 1504950"/>
                <a:gd name="connsiteY593" fmla="*/ 1754505 h 1914525"/>
                <a:gd name="connsiteX594" fmla="*/ 120967 w 1504950"/>
                <a:gd name="connsiteY594" fmla="*/ 1748790 h 1914525"/>
                <a:gd name="connsiteX595" fmla="*/ 122872 w 1504950"/>
                <a:gd name="connsiteY595" fmla="*/ 1744980 h 1914525"/>
                <a:gd name="connsiteX596" fmla="*/ 126682 w 1504950"/>
                <a:gd name="connsiteY596" fmla="*/ 1741170 h 1914525"/>
                <a:gd name="connsiteX597" fmla="*/ 152400 w 1504950"/>
                <a:gd name="connsiteY597" fmla="*/ 1724025 h 1914525"/>
                <a:gd name="connsiteX598" fmla="*/ 154305 w 1504950"/>
                <a:gd name="connsiteY598" fmla="*/ 1722120 h 1914525"/>
                <a:gd name="connsiteX599" fmla="*/ 157163 w 1504950"/>
                <a:gd name="connsiteY599" fmla="*/ 1716405 h 1914525"/>
                <a:gd name="connsiteX600" fmla="*/ 157163 w 1504950"/>
                <a:gd name="connsiteY600" fmla="*/ 1709738 h 1914525"/>
                <a:gd name="connsiteX601" fmla="*/ 157163 w 1504950"/>
                <a:gd name="connsiteY601" fmla="*/ 1699260 h 1914525"/>
                <a:gd name="connsiteX602" fmla="*/ 155257 w 1504950"/>
                <a:gd name="connsiteY602" fmla="*/ 1692593 h 1914525"/>
                <a:gd name="connsiteX603" fmla="*/ 143827 w 1504950"/>
                <a:gd name="connsiteY603" fmla="*/ 1667828 h 1914525"/>
                <a:gd name="connsiteX604" fmla="*/ 141922 w 1504950"/>
                <a:gd name="connsiteY604" fmla="*/ 1663065 h 1914525"/>
                <a:gd name="connsiteX605" fmla="*/ 141922 w 1504950"/>
                <a:gd name="connsiteY605" fmla="*/ 1660208 h 1914525"/>
                <a:gd name="connsiteX606" fmla="*/ 142875 w 1504950"/>
                <a:gd name="connsiteY606" fmla="*/ 1657350 h 1914525"/>
                <a:gd name="connsiteX607" fmla="*/ 145732 w 1504950"/>
                <a:gd name="connsiteY607" fmla="*/ 1654493 h 1914525"/>
                <a:gd name="connsiteX608" fmla="*/ 149542 w 1504950"/>
                <a:gd name="connsiteY608" fmla="*/ 1652588 h 1914525"/>
                <a:gd name="connsiteX609" fmla="*/ 153352 w 1504950"/>
                <a:gd name="connsiteY609" fmla="*/ 1649730 h 1914525"/>
                <a:gd name="connsiteX610" fmla="*/ 155257 w 1504950"/>
                <a:gd name="connsiteY610" fmla="*/ 1645920 h 1914525"/>
                <a:gd name="connsiteX611" fmla="*/ 156210 w 1504950"/>
                <a:gd name="connsiteY611" fmla="*/ 1636395 h 1914525"/>
                <a:gd name="connsiteX612" fmla="*/ 156210 w 1504950"/>
                <a:gd name="connsiteY612" fmla="*/ 1630680 h 1914525"/>
                <a:gd name="connsiteX613" fmla="*/ 155257 w 1504950"/>
                <a:gd name="connsiteY613" fmla="*/ 1626870 h 1914525"/>
                <a:gd name="connsiteX614" fmla="*/ 153352 w 1504950"/>
                <a:gd name="connsiteY614" fmla="*/ 1624013 h 1914525"/>
                <a:gd name="connsiteX615" fmla="*/ 132397 w 1504950"/>
                <a:gd name="connsiteY615" fmla="*/ 1613535 h 1914525"/>
                <a:gd name="connsiteX616" fmla="*/ 129540 w 1504950"/>
                <a:gd name="connsiteY616" fmla="*/ 1611630 h 1914525"/>
                <a:gd name="connsiteX617" fmla="*/ 125730 w 1504950"/>
                <a:gd name="connsiteY617" fmla="*/ 1607820 h 1914525"/>
                <a:gd name="connsiteX618" fmla="*/ 121920 w 1504950"/>
                <a:gd name="connsiteY618" fmla="*/ 1602105 h 1914525"/>
                <a:gd name="connsiteX619" fmla="*/ 120015 w 1504950"/>
                <a:gd name="connsiteY619" fmla="*/ 1597343 h 1914525"/>
                <a:gd name="connsiteX620" fmla="*/ 119063 w 1504950"/>
                <a:gd name="connsiteY620" fmla="*/ 1593533 h 1914525"/>
                <a:gd name="connsiteX621" fmla="*/ 118110 w 1504950"/>
                <a:gd name="connsiteY621" fmla="*/ 1584960 h 1914525"/>
                <a:gd name="connsiteX622" fmla="*/ 118110 w 1504950"/>
                <a:gd name="connsiteY622" fmla="*/ 1578293 h 1914525"/>
                <a:gd name="connsiteX623" fmla="*/ 119063 w 1504950"/>
                <a:gd name="connsiteY623" fmla="*/ 1571625 h 1914525"/>
                <a:gd name="connsiteX624" fmla="*/ 120015 w 1504950"/>
                <a:gd name="connsiteY624" fmla="*/ 1568768 h 1914525"/>
                <a:gd name="connsiteX625" fmla="*/ 125730 w 1504950"/>
                <a:gd name="connsiteY625" fmla="*/ 1558290 h 1914525"/>
                <a:gd name="connsiteX626" fmla="*/ 127635 w 1504950"/>
                <a:gd name="connsiteY626" fmla="*/ 1550670 h 1914525"/>
                <a:gd name="connsiteX627" fmla="*/ 128588 w 1504950"/>
                <a:gd name="connsiteY627" fmla="*/ 1544955 h 1914525"/>
                <a:gd name="connsiteX628" fmla="*/ 127635 w 1504950"/>
                <a:gd name="connsiteY628" fmla="*/ 1542098 h 1914525"/>
                <a:gd name="connsiteX629" fmla="*/ 126682 w 1504950"/>
                <a:gd name="connsiteY629" fmla="*/ 1539240 h 1914525"/>
                <a:gd name="connsiteX630" fmla="*/ 121920 w 1504950"/>
                <a:gd name="connsiteY630" fmla="*/ 1536383 h 1914525"/>
                <a:gd name="connsiteX631" fmla="*/ 119063 w 1504950"/>
                <a:gd name="connsiteY631" fmla="*/ 1534478 h 1914525"/>
                <a:gd name="connsiteX632" fmla="*/ 92392 w 1504950"/>
                <a:gd name="connsiteY632" fmla="*/ 1530668 h 1914525"/>
                <a:gd name="connsiteX633" fmla="*/ 94297 w 1504950"/>
                <a:gd name="connsiteY633" fmla="*/ 1518285 h 1914525"/>
                <a:gd name="connsiteX634" fmla="*/ 99060 w 1504950"/>
                <a:gd name="connsiteY634" fmla="*/ 1514475 h 1914525"/>
                <a:gd name="connsiteX635" fmla="*/ 106680 w 1504950"/>
                <a:gd name="connsiteY635" fmla="*/ 1510665 h 1914525"/>
                <a:gd name="connsiteX636" fmla="*/ 108585 w 1504950"/>
                <a:gd name="connsiteY636" fmla="*/ 1506855 h 1914525"/>
                <a:gd name="connsiteX637" fmla="*/ 110490 w 1504950"/>
                <a:gd name="connsiteY637" fmla="*/ 1503045 h 1914525"/>
                <a:gd name="connsiteX638" fmla="*/ 111442 w 1504950"/>
                <a:gd name="connsiteY638" fmla="*/ 1499235 h 1914525"/>
                <a:gd name="connsiteX639" fmla="*/ 111442 w 1504950"/>
                <a:gd name="connsiteY639" fmla="*/ 1492568 h 1914525"/>
                <a:gd name="connsiteX640" fmla="*/ 111442 w 1504950"/>
                <a:gd name="connsiteY640" fmla="*/ 1487805 h 1914525"/>
                <a:gd name="connsiteX641" fmla="*/ 110490 w 1504950"/>
                <a:gd name="connsiteY641" fmla="*/ 1484948 h 1914525"/>
                <a:gd name="connsiteX642" fmla="*/ 109538 w 1504950"/>
                <a:gd name="connsiteY642" fmla="*/ 1483043 h 1914525"/>
                <a:gd name="connsiteX643" fmla="*/ 103822 w 1504950"/>
                <a:gd name="connsiteY643" fmla="*/ 1483043 h 1914525"/>
                <a:gd name="connsiteX644" fmla="*/ 91440 w 1504950"/>
                <a:gd name="connsiteY644" fmla="*/ 1484948 h 1914525"/>
                <a:gd name="connsiteX645" fmla="*/ 84772 w 1504950"/>
                <a:gd name="connsiteY645" fmla="*/ 1484948 h 1914525"/>
                <a:gd name="connsiteX646" fmla="*/ 78105 w 1504950"/>
                <a:gd name="connsiteY646" fmla="*/ 1483995 h 1914525"/>
                <a:gd name="connsiteX647" fmla="*/ 78105 w 1504950"/>
                <a:gd name="connsiteY647" fmla="*/ 1480185 h 1914525"/>
                <a:gd name="connsiteX648" fmla="*/ 81915 w 1504950"/>
                <a:gd name="connsiteY648" fmla="*/ 1475423 h 1914525"/>
                <a:gd name="connsiteX649" fmla="*/ 84772 w 1504950"/>
                <a:gd name="connsiteY649" fmla="*/ 1470660 h 1914525"/>
                <a:gd name="connsiteX650" fmla="*/ 88582 w 1504950"/>
                <a:gd name="connsiteY650" fmla="*/ 1463040 h 1914525"/>
                <a:gd name="connsiteX651" fmla="*/ 91440 w 1504950"/>
                <a:gd name="connsiteY651" fmla="*/ 1453515 h 1914525"/>
                <a:gd name="connsiteX652" fmla="*/ 93345 w 1504950"/>
                <a:gd name="connsiteY652" fmla="*/ 1443038 h 1914525"/>
                <a:gd name="connsiteX653" fmla="*/ 94297 w 1504950"/>
                <a:gd name="connsiteY653" fmla="*/ 1437323 h 1914525"/>
                <a:gd name="connsiteX654" fmla="*/ 93345 w 1504950"/>
                <a:gd name="connsiteY654" fmla="*/ 1432560 h 1914525"/>
                <a:gd name="connsiteX655" fmla="*/ 90488 w 1504950"/>
                <a:gd name="connsiteY655" fmla="*/ 1426845 h 1914525"/>
                <a:gd name="connsiteX656" fmla="*/ 89535 w 1504950"/>
                <a:gd name="connsiteY656" fmla="*/ 1423035 h 1914525"/>
                <a:gd name="connsiteX657" fmla="*/ 87630 w 1504950"/>
                <a:gd name="connsiteY657" fmla="*/ 1416368 h 1914525"/>
                <a:gd name="connsiteX658" fmla="*/ 88582 w 1504950"/>
                <a:gd name="connsiteY658" fmla="*/ 1412558 h 1914525"/>
                <a:gd name="connsiteX659" fmla="*/ 89535 w 1504950"/>
                <a:gd name="connsiteY659" fmla="*/ 1409700 h 1914525"/>
                <a:gd name="connsiteX660" fmla="*/ 94297 w 1504950"/>
                <a:gd name="connsiteY660" fmla="*/ 1406843 h 1914525"/>
                <a:gd name="connsiteX661" fmla="*/ 96202 w 1504950"/>
                <a:gd name="connsiteY661" fmla="*/ 1405890 h 1914525"/>
                <a:gd name="connsiteX662" fmla="*/ 99060 w 1504950"/>
                <a:gd name="connsiteY662" fmla="*/ 1405890 h 1914525"/>
                <a:gd name="connsiteX663" fmla="*/ 105727 w 1504950"/>
                <a:gd name="connsiteY663" fmla="*/ 1406843 h 1914525"/>
                <a:gd name="connsiteX664" fmla="*/ 109538 w 1504950"/>
                <a:gd name="connsiteY664" fmla="*/ 1404938 h 1914525"/>
                <a:gd name="connsiteX665" fmla="*/ 112395 w 1504950"/>
                <a:gd name="connsiteY665" fmla="*/ 1402080 h 1914525"/>
                <a:gd name="connsiteX666" fmla="*/ 115252 w 1504950"/>
                <a:gd name="connsiteY666" fmla="*/ 1396365 h 1914525"/>
                <a:gd name="connsiteX667" fmla="*/ 118110 w 1504950"/>
                <a:gd name="connsiteY667" fmla="*/ 1394460 h 1914525"/>
                <a:gd name="connsiteX668" fmla="*/ 120967 w 1504950"/>
                <a:gd name="connsiteY668" fmla="*/ 1393508 h 1914525"/>
                <a:gd name="connsiteX669" fmla="*/ 125730 w 1504950"/>
                <a:gd name="connsiteY669" fmla="*/ 1394460 h 1914525"/>
                <a:gd name="connsiteX670" fmla="*/ 130492 w 1504950"/>
                <a:gd name="connsiteY670" fmla="*/ 1393508 h 1914525"/>
                <a:gd name="connsiteX671" fmla="*/ 149542 w 1504950"/>
                <a:gd name="connsiteY671" fmla="*/ 1379220 h 1914525"/>
                <a:gd name="connsiteX672" fmla="*/ 166688 w 1504950"/>
                <a:gd name="connsiteY672" fmla="*/ 1371600 h 1914525"/>
                <a:gd name="connsiteX673" fmla="*/ 170497 w 1504950"/>
                <a:gd name="connsiteY673" fmla="*/ 1368743 h 1914525"/>
                <a:gd name="connsiteX674" fmla="*/ 176213 w 1504950"/>
                <a:gd name="connsiteY674" fmla="*/ 1362075 h 1914525"/>
                <a:gd name="connsiteX675" fmla="*/ 179070 w 1504950"/>
                <a:gd name="connsiteY675" fmla="*/ 1361123 h 1914525"/>
                <a:gd name="connsiteX676" fmla="*/ 186690 w 1504950"/>
                <a:gd name="connsiteY676" fmla="*/ 1358265 h 1914525"/>
                <a:gd name="connsiteX677" fmla="*/ 189547 w 1504950"/>
                <a:gd name="connsiteY677" fmla="*/ 1356360 h 1914525"/>
                <a:gd name="connsiteX678" fmla="*/ 193357 w 1504950"/>
                <a:gd name="connsiteY678" fmla="*/ 1352550 h 1914525"/>
                <a:gd name="connsiteX679" fmla="*/ 201930 w 1504950"/>
                <a:gd name="connsiteY679" fmla="*/ 1341120 h 1914525"/>
                <a:gd name="connsiteX680" fmla="*/ 205740 w 1504950"/>
                <a:gd name="connsiteY680" fmla="*/ 1332548 h 1914525"/>
                <a:gd name="connsiteX681" fmla="*/ 208597 w 1504950"/>
                <a:gd name="connsiteY681" fmla="*/ 1328738 h 1914525"/>
                <a:gd name="connsiteX682" fmla="*/ 210502 w 1504950"/>
                <a:gd name="connsiteY682" fmla="*/ 1326833 h 1914525"/>
                <a:gd name="connsiteX683" fmla="*/ 224790 w 1504950"/>
                <a:gd name="connsiteY683" fmla="*/ 1319213 h 1914525"/>
                <a:gd name="connsiteX684" fmla="*/ 228600 w 1504950"/>
                <a:gd name="connsiteY684" fmla="*/ 1316355 h 1914525"/>
                <a:gd name="connsiteX685" fmla="*/ 240982 w 1504950"/>
                <a:gd name="connsiteY685" fmla="*/ 1303020 h 1914525"/>
                <a:gd name="connsiteX686" fmla="*/ 243840 w 1504950"/>
                <a:gd name="connsiteY686" fmla="*/ 1298258 h 1914525"/>
                <a:gd name="connsiteX687" fmla="*/ 244792 w 1504950"/>
                <a:gd name="connsiteY687" fmla="*/ 1293495 h 1914525"/>
                <a:gd name="connsiteX688" fmla="*/ 243840 w 1504950"/>
                <a:gd name="connsiteY688" fmla="*/ 1287780 h 1914525"/>
                <a:gd name="connsiteX689" fmla="*/ 213360 w 1504950"/>
                <a:gd name="connsiteY689" fmla="*/ 1238250 h 1914525"/>
                <a:gd name="connsiteX690" fmla="*/ 211455 w 1504950"/>
                <a:gd name="connsiteY690" fmla="*/ 1231583 h 1914525"/>
                <a:gd name="connsiteX691" fmla="*/ 211455 w 1504950"/>
                <a:gd name="connsiteY691" fmla="*/ 1225868 h 1914525"/>
                <a:gd name="connsiteX692" fmla="*/ 213360 w 1504950"/>
                <a:gd name="connsiteY692" fmla="*/ 1223010 h 1914525"/>
                <a:gd name="connsiteX693" fmla="*/ 216217 w 1504950"/>
                <a:gd name="connsiteY693" fmla="*/ 1219200 h 1914525"/>
                <a:gd name="connsiteX694" fmla="*/ 218122 w 1504950"/>
                <a:gd name="connsiteY694" fmla="*/ 1214438 h 1914525"/>
                <a:gd name="connsiteX695" fmla="*/ 210502 w 1504950"/>
                <a:gd name="connsiteY695" fmla="*/ 1183958 h 1914525"/>
                <a:gd name="connsiteX696" fmla="*/ 209550 w 1504950"/>
                <a:gd name="connsiteY696" fmla="*/ 1176338 h 1914525"/>
                <a:gd name="connsiteX697" fmla="*/ 209550 w 1504950"/>
                <a:gd name="connsiteY697" fmla="*/ 1171575 h 1914525"/>
                <a:gd name="connsiteX698" fmla="*/ 210502 w 1504950"/>
                <a:gd name="connsiteY698" fmla="*/ 1167765 h 1914525"/>
                <a:gd name="connsiteX699" fmla="*/ 212407 w 1504950"/>
                <a:gd name="connsiteY699" fmla="*/ 1164908 h 1914525"/>
                <a:gd name="connsiteX700" fmla="*/ 215265 w 1504950"/>
                <a:gd name="connsiteY700" fmla="*/ 1163955 h 1914525"/>
                <a:gd name="connsiteX701" fmla="*/ 232410 w 1504950"/>
                <a:gd name="connsiteY701" fmla="*/ 1159193 h 1914525"/>
                <a:gd name="connsiteX702" fmla="*/ 236220 w 1504950"/>
                <a:gd name="connsiteY702" fmla="*/ 1157288 h 1914525"/>
                <a:gd name="connsiteX703" fmla="*/ 240030 w 1504950"/>
                <a:gd name="connsiteY703" fmla="*/ 1153478 h 1914525"/>
                <a:gd name="connsiteX704" fmla="*/ 243840 w 1504950"/>
                <a:gd name="connsiteY704" fmla="*/ 1144905 h 1914525"/>
                <a:gd name="connsiteX705" fmla="*/ 243840 w 1504950"/>
                <a:gd name="connsiteY705" fmla="*/ 1141095 h 1914525"/>
                <a:gd name="connsiteX706" fmla="*/ 242888 w 1504950"/>
                <a:gd name="connsiteY706" fmla="*/ 1137285 h 1914525"/>
                <a:gd name="connsiteX707" fmla="*/ 240030 w 1504950"/>
                <a:gd name="connsiteY707" fmla="*/ 1132523 h 1914525"/>
                <a:gd name="connsiteX708" fmla="*/ 240030 w 1504950"/>
                <a:gd name="connsiteY708" fmla="*/ 1122045 h 1914525"/>
                <a:gd name="connsiteX709" fmla="*/ 240030 w 1504950"/>
                <a:gd name="connsiteY709" fmla="*/ 1116330 h 1914525"/>
                <a:gd name="connsiteX710" fmla="*/ 238125 w 1504950"/>
                <a:gd name="connsiteY710" fmla="*/ 1112520 h 1914525"/>
                <a:gd name="connsiteX711" fmla="*/ 236220 w 1504950"/>
                <a:gd name="connsiteY711" fmla="*/ 1110615 h 1914525"/>
                <a:gd name="connsiteX712" fmla="*/ 228600 w 1504950"/>
                <a:gd name="connsiteY712" fmla="*/ 1105853 h 1914525"/>
                <a:gd name="connsiteX713" fmla="*/ 224790 w 1504950"/>
                <a:gd name="connsiteY713" fmla="*/ 1102995 h 1914525"/>
                <a:gd name="connsiteX714" fmla="*/ 223838 w 1504950"/>
                <a:gd name="connsiteY714" fmla="*/ 1100138 h 1914525"/>
                <a:gd name="connsiteX715" fmla="*/ 221932 w 1504950"/>
                <a:gd name="connsiteY715" fmla="*/ 1095375 h 1914525"/>
                <a:gd name="connsiteX716" fmla="*/ 220980 w 1504950"/>
                <a:gd name="connsiteY716" fmla="*/ 1092518 h 1914525"/>
                <a:gd name="connsiteX717" fmla="*/ 221932 w 1504950"/>
                <a:gd name="connsiteY717" fmla="*/ 1074420 h 1914525"/>
                <a:gd name="connsiteX718" fmla="*/ 220980 w 1504950"/>
                <a:gd name="connsiteY718" fmla="*/ 1064895 h 1914525"/>
                <a:gd name="connsiteX719" fmla="*/ 223838 w 1504950"/>
                <a:gd name="connsiteY719" fmla="*/ 1032510 h 1914525"/>
                <a:gd name="connsiteX720" fmla="*/ 223838 w 1504950"/>
                <a:gd name="connsiteY720" fmla="*/ 1024890 h 1914525"/>
                <a:gd name="connsiteX721" fmla="*/ 221932 w 1504950"/>
                <a:gd name="connsiteY721" fmla="*/ 1021080 h 1914525"/>
                <a:gd name="connsiteX722" fmla="*/ 215265 w 1504950"/>
                <a:gd name="connsiteY722" fmla="*/ 1018223 h 1914525"/>
                <a:gd name="connsiteX723" fmla="*/ 213360 w 1504950"/>
                <a:gd name="connsiteY723" fmla="*/ 1017270 h 1914525"/>
                <a:gd name="connsiteX724" fmla="*/ 209550 w 1504950"/>
                <a:gd name="connsiteY724" fmla="*/ 1013460 h 1914525"/>
                <a:gd name="connsiteX725" fmla="*/ 204788 w 1504950"/>
                <a:gd name="connsiteY725" fmla="*/ 1004888 h 1914525"/>
                <a:gd name="connsiteX726" fmla="*/ 199072 w 1504950"/>
                <a:gd name="connsiteY726" fmla="*/ 989648 h 1914525"/>
                <a:gd name="connsiteX727" fmla="*/ 195263 w 1504950"/>
                <a:gd name="connsiteY727" fmla="*/ 984885 h 1914525"/>
                <a:gd name="connsiteX728" fmla="*/ 193357 w 1504950"/>
                <a:gd name="connsiteY728" fmla="*/ 982980 h 1914525"/>
                <a:gd name="connsiteX729" fmla="*/ 186690 w 1504950"/>
                <a:gd name="connsiteY729" fmla="*/ 982028 h 1914525"/>
                <a:gd name="connsiteX730" fmla="*/ 180022 w 1504950"/>
                <a:gd name="connsiteY730" fmla="*/ 982028 h 1914525"/>
                <a:gd name="connsiteX731" fmla="*/ 178117 w 1504950"/>
                <a:gd name="connsiteY731" fmla="*/ 980123 h 1914525"/>
                <a:gd name="connsiteX732" fmla="*/ 175260 w 1504950"/>
                <a:gd name="connsiteY732" fmla="*/ 975360 h 1914525"/>
                <a:gd name="connsiteX733" fmla="*/ 173355 w 1504950"/>
                <a:gd name="connsiteY733" fmla="*/ 962978 h 1914525"/>
                <a:gd name="connsiteX734" fmla="*/ 166688 w 1504950"/>
                <a:gd name="connsiteY734" fmla="*/ 944880 h 1914525"/>
                <a:gd name="connsiteX735" fmla="*/ 163830 w 1504950"/>
                <a:gd name="connsiteY735" fmla="*/ 922020 h 1914525"/>
                <a:gd name="connsiteX736" fmla="*/ 161925 w 1504950"/>
                <a:gd name="connsiteY736" fmla="*/ 918210 h 1914525"/>
                <a:gd name="connsiteX737" fmla="*/ 156210 w 1504950"/>
                <a:gd name="connsiteY737" fmla="*/ 909638 h 1914525"/>
                <a:gd name="connsiteX738" fmla="*/ 149542 w 1504950"/>
                <a:gd name="connsiteY738" fmla="*/ 901065 h 1914525"/>
                <a:gd name="connsiteX739" fmla="*/ 145732 w 1504950"/>
                <a:gd name="connsiteY739" fmla="*/ 897255 h 1914525"/>
                <a:gd name="connsiteX740" fmla="*/ 142875 w 1504950"/>
                <a:gd name="connsiteY740" fmla="*/ 896303 h 1914525"/>
                <a:gd name="connsiteX741" fmla="*/ 140017 w 1504950"/>
                <a:gd name="connsiteY741" fmla="*/ 895350 h 1914525"/>
                <a:gd name="connsiteX742" fmla="*/ 117157 w 1504950"/>
                <a:gd name="connsiteY742" fmla="*/ 896303 h 1914525"/>
                <a:gd name="connsiteX743" fmla="*/ 114300 w 1504950"/>
                <a:gd name="connsiteY743" fmla="*/ 896303 h 1914525"/>
                <a:gd name="connsiteX744" fmla="*/ 94297 w 1504950"/>
                <a:gd name="connsiteY744" fmla="*/ 904875 h 1914525"/>
                <a:gd name="connsiteX745" fmla="*/ 91440 w 1504950"/>
                <a:gd name="connsiteY745" fmla="*/ 905828 h 1914525"/>
                <a:gd name="connsiteX746" fmla="*/ 88582 w 1504950"/>
                <a:gd name="connsiteY746" fmla="*/ 905828 h 1914525"/>
                <a:gd name="connsiteX747" fmla="*/ 84772 w 1504950"/>
                <a:gd name="connsiteY747" fmla="*/ 902970 h 1914525"/>
                <a:gd name="connsiteX748" fmla="*/ 81915 w 1504950"/>
                <a:gd name="connsiteY748" fmla="*/ 897255 h 1914525"/>
                <a:gd name="connsiteX749" fmla="*/ 80963 w 1504950"/>
                <a:gd name="connsiteY749" fmla="*/ 893445 h 1914525"/>
                <a:gd name="connsiteX750" fmla="*/ 82867 w 1504950"/>
                <a:gd name="connsiteY750" fmla="*/ 890588 h 1914525"/>
                <a:gd name="connsiteX751" fmla="*/ 94297 w 1504950"/>
                <a:gd name="connsiteY751" fmla="*/ 889635 h 1914525"/>
                <a:gd name="connsiteX752" fmla="*/ 97155 w 1504950"/>
                <a:gd name="connsiteY752" fmla="*/ 888683 h 1914525"/>
                <a:gd name="connsiteX753" fmla="*/ 100013 w 1504950"/>
                <a:gd name="connsiteY753" fmla="*/ 886778 h 1914525"/>
                <a:gd name="connsiteX754" fmla="*/ 102870 w 1504950"/>
                <a:gd name="connsiteY754" fmla="*/ 881063 h 1914525"/>
                <a:gd name="connsiteX755" fmla="*/ 102870 w 1504950"/>
                <a:gd name="connsiteY755" fmla="*/ 878205 h 1914525"/>
                <a:gd name="connsiteX756" fmla="*/ 100965 w 1504950"/>
                <a:gd name="connsiteY756" fmla="*/ 876300 h 1914525"/>
                <a:gd name="connsiteX757" fmla="*/ 92392 w 1504950"/>
                <a:gd name="connsiteY757" fmla="*/ 871538 h 1914525"/>
                <a:gd name="connsiteX758" fmla="*/ 90488 w 1504950"/>
                <a:gd name="connsiteY758" fmla="*/ 868680 h 1914525"/>
                <a:gd name="connsiteX759" fmla="*/ 90488 w 1504950"/>
                <a:gd name="connsiteY759" fmla="*/ 865823 h 1914525"/>
                <a:gd name="connsiteX760" fmla="*/ 91440 w 1504950"/>
                <a:gd name="connsiteY760" fmla="*/ 862965 h 1914525"/>
                <a:gd name="connsiteX761" fmla="*/ 93345 w 1504950"/>
                <a:gd name="connsiteY761" fmla="*/ 862013 h 1914525"/>
                <a:gd name="connsiteX762" fmla="*/ 96202 w 1504950"/>
                <a:gd name="connsiteY762" fmla="*/ 862013 h 1914525"/>
                <a:gd name="connsiteX763" fmla="*/ 105727 w 1504950"/>
                <a:gd name="connsiteY763" fmla="*/ 863918 h 1914525"/>
                <a:gd name="connsiteX764" fmla="*/ 108585 w 1504950"/>
                <a:gd name="connsiteY764" fmla="*/ 863918 h 1914525"/>
                <a:gd name="connsiteX765" fmla="*/ 110490 w 1504950"/>
                <a:gd name="connsiteY765" fmla="*/ 862965 h 1914525"/>
                <a:gd name="connsiteX766" fmla="*/ 112395 w 1504950"/>
                <a:gd name="connsiteY766" fmla="*/ 861060 h 1914525"/>
                <a:gd name="connsiteX767" fmla="*/ 115252 w 1504950"/>
                <a:gd name="connsiteY767" fmla="*/ 855345 h 1914525"/>
                <a:gd name="connsiteX768" fmla="*/ 120015 w 1504950"/>
                <a:gd name="connsiteY768" fmla="*/ 839153 h 1914525"/>
                <a:gd name="connsiteX769" fmla="*/ 120967 w 1504950"/>
                <a:gd name="connsiteY769" fmla="*/ 832485 h 1914525"/>
                <a:gd name="connsiteX770" fmla="*/ 120015 w 1504950"/>
                <a:gd name="connsiteY770" fmla="*/ 830580 h 1914525"/>
                <a:gd name="connsiteX771" fmla="*/ 117157 w 1504950"/>
                <a:gd name="connsiteY771" fmla="*/ 825818 h 1914525"/>
                <a:gd name="connsiteX772" fmla="*/ 111442 w 1504950"/>
                <a:gd name="connsiteY772" fmla="*/ 822960 h 1914525"/>
                <a:gd name="connsiteX773" fmla="*/ 108585 w 1504950"/>
                <a:gd name="connsiteY773" fmla="*/ 820103 h 1914525"/>
                <a:gd name="connsiteX774" fmla="*/ 106680 w 1504950"/>
                <a:gd name="connsiteY774" fmla="*/ 813435 h 1914525"/>
                <a:gd name="connsiteX775" fmla="*/ 106680 w 1504950"/>
                <a:gd name="connsiteY775" fmla="*/ 809625 h 1914525"/>
                <a:gd name="connsiteX776" fmla="*/ 108585 w 1504950"/>
                <a:gd name="connsiteY776" fmla="*/ 807720 h 1914525"/>
                <a:gd name="connsiteX777" fmla="*/ 114300 w 1504950"/>
                <a:gd name="connsiteY777" fmla="*/ 806768 h 1914525"/>
                <a:gd name="connsiteX778" fmla="*/ 117157 w 1504950"/>
                <a:gd name="connsiteY778" fmla="*/ 805815 h 1914525"/>
                <a:gd name="connsiteX779" fmla="*/ 120015 w 1504950"/>
                <a:gd name="connsiteY779" fmla="*/ 801053 h 1914525"/>
                <a:gd name="connsiteX780" fmla="*/ 124777 w 1504950"/>
                <a:gd name="connsiteY780" fmla="*/ 785813 h 1914525"/>
                <a:gd name="connsiteX781" fmla="*/ 127635 w 1504950"/>
                <a:gd name="connsiteY781" fmla="*/ 776288 h 1914525"/>
                <a:gd name="connsiteX782" fmla="*/ 126682 w 1504950"/>
                <a:gd name="connsiteY782" fmla="*/ 773430 h 1914525"/>
                <a:gd name="connsiteX783" fmla="*/ 125730 w 1504950"/>
                <a:gd name="connsiteY783" fmla="*/ 770573 h 1914525"/>
                <a:gd name="connsiteX784" fmla="*/ 116205 w 1504950"/>
                <a:gd name="connsiteY784" fmla="*/ 763905 h 1914525"/>
                <a:gd name="connsiteX785" fmla="*/ 112395 w 1504950"/>
                <a:gd name="connsiteY785" fmla="*/ 759143 h 1914525"/>
                <a:gd name="connsiteX786" fmla="*/ 109538 w 1504950"/>
                <a:gd name="connsiteY786" fmla="*/ 754380 h 1914525"/>
                <a:gd name="connsiteX787" fmla="*/ 109538 w 1504950"/>
                <a:gd name="connsiteY787" fmla="*/ 751523 h 1914525"/>
                <a:gd name="connsiteX788" fmla="*/ 110490 w 1504950"/>
                <a:gd name="connsiteY788" fmla="*/ 747713 h 1914525"/>
                <a:gd name="connsiteX789" fmla="*/ 115252 w 1504950"/>
                <a:gd name="connsiteY789" fmla="*/ 736283 h 1914525"/>
                <a:gd name="connsiteX790" fmla="*/ 120967 w 1504950"/>
                <a:gd name="connsiteY790" fmla="*/ 727710 h 1914525"/>
                <a:gd name="connsiteX791" fmla="*/ 135255 w 1504950"/>
                <a:gd name="connsiteY791" fmla="*/ 704850 h 1914525"/>
                <a:gd name="connsiteX792" fmla="*/ 140017 w 1504950"/>
                <a:gd name="connsiteY792" fmla="*/ 693420 h 1914525"/>
                <a:gd name="connsiteX793" fmla="*/ 143827 w 1504950"/>
                <a:gd name="connsiteY793" fmla="*/ 688658 h 1914525"/>
                <a:gd name="connsiteX794" fmla="*/ 160020 w 1504950"/>
                <a:gd name="connsiteY794" fmla="*/ 680085 h 1914525"/>
                <a:gd name="connsiteX795" fmla="*/ 162877 w 1504950"/>
                <a:gd name="connsiteY795" fmla="*/ 677228 h 1914525"/>
                <a:gd name="connsiteX796" fmla="*/ 165735 w 1504950"/>
                <a:gd name="connsiteY796" fmla="*/ 673418 h 1914525"/>
                <a:gd name="connsiteX797" fmla="*/ 168592 w 1504950"/>
                <a:gd name="connsiteY797" fmla="*/ 665798 h 1914525"/>
                <a:gd name="connsiteX798" fmla="*/ 169545 w 1504950"/>
                <a:gd name="connsiteY798" fmla="*/ 661035 h 1914525"/>
                <a:gd name="connsiteX799" fmla="*/ 169545 w 1504950"/>
                <a:gd name="connsiteY799" fmla="*/ 657225 h 1914525"/>
                <a:gd name="connsiteX800" fmla="*/ 161925 w 1504950"/>
                <a:gd name="connsiteY800" fmla="*/ 628650 h 1914525"/>
                <a:gd name="connsiteX801" fmla="*/ 160020 w 1504950"/>
                <a:gd name="connsiteY801" fmla="*/ 616268 h 1914525"/>
                <a:gd name="connsiteX802" fmla="*/ 158115 w 1504950"/>
                <a:gd name="connsiteY802" fmla="*/ 608648 h 1914525"/>
                <a:gd name="connsiteX803" fmla="*/ 156210 w 1504950"/>
                <a:gd name="connsiteY803" fmla="*/ 605790 h 1914525"/>
                <a:gd name="connsiteX804" fmla="*/ 152400 w 1504950"/>
                <a:gd name="connsiteY804" fmla="*/ 601980 h 1914525"/>
                <a:gd name="connsiteX805" fmla="*/ 146685 w 1504950"/>
                <a:gd name="connsiteY805" fmla="*/ 600075 h 1914525"/>
                <a:gd name="connsiteX806" fmla="*/ 140017 w 1504950"/>
                <a:gd name="connsiteY806" fmla="*/ 599123 h 1914525"/>
                <a:gd name="connsiteX807" fmla="*/ 120015 w 1504950"/>
                <a:gd name="connsiteY807" fmla="*/ 601028 h 1914525"/>
                <a:gd name="connsiteX808" fmla="*/ 118110 w 1504950"/>
                <a:gd name="connsiteY808" fmla="*/ 601028 h 1914525"/>
                <a:gd name="connsiteX809" fmla="*/ 115252 w 1504950"/>
                <a:gd name="connsiteY809" fmla="*/ 599123 h 1914525"/>
                <a:gd name="connsiteX810" fmla="*/ 114300 w 1504950"/>
                <a:gd name="connsiteY810" fmla="*/ 595313 h 1914525"/>
                <a:gd name="connsiteX811" fmla="*/ 114300 w 1504950"/>
                <a:gd name="connsiteY811" fmla="*/ 592455 h 1914525"/>
                <a:gd name="connsiteX812" fmla="*/ 124777 w 1504950"/>
                <a:gd name="connsiteY812" fmla="*/ 533400 h 1914525"/>
                <a:gd name="connsiteX813" fmla="*/ 123825 w 1504950"/>
                <a:gd name="connsiteY813" fmla="*/ 527685 h 1914525"/>
                <a:gd name="connsiteX814" fmla="*/ 122872 w 1504950"/>
                <a:gd name="connsiteY814" fmla="*/ 523875 h 1914525"/>
                <a:gd name="connsiteX815" fmla="*/ 121920 w 1504950"/>
                <a:gd name="connsiteY815" fmla="*/ 521970 h 1914525"/>
                <a:gd name="connsiteX816" fmla="*/ 109538 w 1504950"/>
                <a:gd name="connsiteY816" fmla="*/ 507683 h 1914525"/>
                <a:gd name="connsiteX817" fmla="*/ 80010 w 1504950"/>
                <a:gd name="connsiteY817" fmla="*/ 461010 h 1914525"/>
                <a:gd name="connsiteX818" fmla="*/ 78105 w 1504950"/>
                <a:gd name="connsiteY818" fmla="*/ 459105 h 1914525"/>
                <a:gd name="connsiteX819" fmla="*/ 75247 w 1504950"/>
                <a:gd name="connsiteY819" fmla="*/ 458153 h 1914525"/>
                <a:gd name="connsiteX820" fmla="*/ 72390 w 1504950"/>
                <a:gd name="connsiteY820" fmla="*/ 458153 h 1914525"/>
                <a:gd name="connsiteX821" fmla="*/ 69532 w 1504950"/>
                <a:gd name="connsiteY821" fmla="*/ 456248 h 1914525"/>
                <a:gd name="connsiteX822" fmla="*/ 66675 w 1504950"/>
                <a:gd name="connsiteY822" fmla="*/ 451485 h 1914525"/>
                <a:gd name="connsiteX823" fmla="*/ 63817 w 1504950"/>
                <a:gd name="connsiteY823" fmla="*/ 440055 h 1914525"/>
                <a:gd name="connsiteX824" fmla="*/ 64770 w 1504950"/>
                <a:gd name="connsiteY824" fmla="*/ 435293 h 1914525"/>
                <a:gd name="connsiteX825" fmla="*/ 66675 w 1504950"/>
                <a:gd name="connsiteY825" fmla="*/ 432435 h 1914525"/>
                <a:gd name="connsiteX826" fmla="*/ 83820 w 1504950"/>
                <a:gd name="connsiteY826" fmla="*/ 432435 h 1914525"/>
                <a:gd name="connsiteX827" fmla="*/ 86677 w 1504950"/>
                <a:gd name="connsiteY827" fmla="*/ 433388 h 1914525"/>
                <a:gd name="connsiteX828" fmla="*/ 89535 w 1504950"/>
                <a:gd name="connsiteY828" fmla="*/ 434340 h 1914525"/>
                <a:gd name="connsiteX829" fmla="*/ 96202 w 1504950"/>
                <a:gd name="connsiteY829" fmla="*/ 440055 h 1914525"/>
                <a:gd name="connsiteX830" fmla="*/ 98107 w 1504950"/>
                <a:gd name="connsiteY830" fmla="*/ 441008 h 1914525"/>
                <a:gd name="connsiteX831" fmla="*/ 100965 w 1504950"/>
                <a:gd name="connsiteY831" fmla="*/ 441008 h 1914525"/>
                <a:gd name="connsiteX832" fmla="*/ 102870 w 1504950"/>
                <a:gd name="connsiteY832" fmla="*/ 435293 h 1914525"/>
                <a:gd name="connsiteX833" fmla="*/ 102870 w 1504950"/>
                <a:gd name="connsiteY833" fmla="*/ 429578 h 1914525"/>
                <a:gd name="connsiteX834" fmla="*/ 100965 w 1504950"/>
                <a:gd name="connsiteY834" fmla="*/ 410528 h 1914525"/>
                <a:gd name="connsiteX835" fmla="*/ 100965 w 1504950"/>
                <a:gd name="connsiteY835" fmla="*/ 404813 h 1914525"/>
                <a:gd name="connsiteX836" fmla="*/ 101917 w 1504950"/>
                <a:gd name="connsiteY836" fmla="*/ 395288 h 1914525"/>
                <a:gd name="connsiteX837" fmla="*/ 102870 w 1504950"/>
                <a:gd name="connsiteY837" fmla="*/ 391478 h 1914525"/>
                <a:gd name="connsiteX838" fmla="*/ 105727 w 1504950"/>
                <a:gd name="connsiteY838" fmla="*/ 385763 h 1914525"/>
                <a:gd name="connsiteX839" fmla="*/ 112395 w 1504950"/>
                <a:gd name="connsiteY839" fmla="*/ 375285 h 1914525"/>
                <a:gd name="connsiteX840" fmla="*/ 115252 w 1504950"/>
                <a:gd name="connsiteY840" fmla="*/ 369570 h 1914525"/>
                <a:gd name="connsiteX841" fmla="*/ 115252 w 1504950"/>
                <a:gd name="connsiteY841" fmla="*/ 365760 h 1914525"/>
                <a:gd name="connsiteX842" fmla="*/ 115252 w 1504950"/>
                <a:gd name="connsiteY842" fmla="*/ 361950 h 1914525"/>
                <a:gd name="connsiteX843" fmla="*/ 114300 w 1504950"/>
                <a:gd name="connsiteY843" fmla="*/ 360045 h 1914525"/>
                <a:gd name="connsiteX844" fmla="*/ 111442 w 1504950"/>
                <a:gd name="connsiteY844" fmla="*/ 354330 h 1914525"/>
                <a:gd name="connsiteX845" fmla="*/ 107632 w 1504950"/>
                <a:gd name="connsiteY845" fmla="*/ 350520 h 1914525"/>
                <a:gd name="connsiteX846" fmla="*/ 105727 w 1504950"/>
                <a:gd name="connsiteY846" fmla="*/ 348615 h 1914525"/>
                <a:gd name="connsiteX847" fmla="*/ 100965 w 1504950"/>
                <a:gd name="connsiteY847" fmla="*/ 345758 h 1914525"/>
                <a:gd name="connsiteX848" fmla="*/ 87630 w 1504950"/>
                <a:gd name="connsiteY848" fmla="*/ 341948 h 1914525"/>
                <a:gd name="connsiteX849" fmla="*/ 85725 w 1504950"/>
                <a:gd name="connsiteY849" fmla="*/ 340043 h 1914525"/>
                <a:gd name="connsiteX850" fmla="*/ 82867 w 1504950"/>
                <a:gd name="connsiteY850" fmla="*/ 338138 h 1914525"/>
                <a:gd name="connsiteX851" fmla="*/ 81915 w 1504950"/>
                <a:gd name="connsiteY851" fmla="*/ 335280 h 1914525"/>
                <a:gd name="connsiteX852" fmla="*/ 80963 w 1504950"/>
                <a:gd name="connsiteY852" fmla="*/ 329565 h 1914525"/>
                <a:gd name="connsiteX853" fmla="*/ 79057 w 1504950"/>
                <a:gd name="connsiteY853" fmla="*/ 324803 h 1914525"/>
                <a:gd name="connsiteX854" fmla="*/ 77152 w 1504950"/>
                <a:gd name="connsiteY854" fmla="*/ 321945 h 1914525"/>
                <a:gd name="connsiteX855" fmla="*/ 74295 w 1504950"/>
                <a:gd name="connsiteY855" fmla="*/ 318135 h 1914525"/>
                <a:gd name="connsiteX856" fmla="*/ 58102 w 1504950"/>
                <a:gd name="connsiteY856" fmla="*/ 302895 h 1914525"/>
                <a:gd name="connsiteX857" fmla="*/ 48577 w 1504950"/>
                <a:gd name="connsiteY857" fmla="*/ 296228 h 1914525"/>
                <a:gd name="connsiteX858" fmla="*/ 42863 w 1504950"/>
                <a:gd name="connsiteY858" fmla="*/ 294323 h 1914525"/>
                <a:gd name="connsiteX859" fmla="*/ 40005 w 1504950"/>
                <a:gd name="connsiteY859" fmla="*/ 294323 h 1914525"/>
                <a:gd name="connsiteX860" fmla="*/ 37147 w 1504950"/>
                <a:gd name="connsiteY860" fmla="*/ 294323 h 1914525"/>
                <a:gd name="connsiteX861" fmla="*/ 36195 w 1504950"/>
                <a:gd name="connsiteY861" fmla="*/ 296228 h 1914525"/>
                <a:gd name="connsiteX862" fmla="*/ 24765 w 1504950"/>
                <a:gd name="connsiteY862" fmla="*/ 314325 h 1914525"/>
                <a:gd name="connsiteX863" fmla="*/ 23813 w 1504950"/>
                <a:gd name="connsiteY863" fmla="*/ 316230 h 1914525"/>
                <a:gd name="connsiteX864" fmla="*/ 21907 w 1504950"/>
                <a:gd name="connsiteY864" fmla="*/ 317183 h 1914525"/>
                <a:gd name="connsiteX865" fmla="*/ 20002 w 1504950"/>
                <a:gd name="connsiteY865" fmla="*/ 313373 h 1914525"/>
                <a:gd name="connsiteX866" fmla="*/ 18097 w 1504950"/>
                <a:gd name="connsiteY866" fmla="*/ 307658 h 1914525"/>
                <a:gd name="connsiteX867" fmla="*/ 15240 w 1504950"/>
                <a:gd name="connsiteY867" fmla="*/ 296228 h 1914525"/>
                <a:gd name="connsiteX868" fmla="*/ 9525 w 1504950"/>
                <a:gd name="connsiteY868" fmla="*/ 252413 h 1914525"/>
                <a:gd name="connsiteX869" fmla="*/ 0 w 1504950"/>
                <a:gd name="connsiteY869" fmla="*/ 216218 h 1914525"/>
                <a:gd name="connsiteX870" fmla="*/ 0 w 1504950"/>
                <a:gd name="connsiteY870" fmla="*/ 212408 h 1914525"/>
                <a:gd name="connsiteX871" fmla="*/ 2857 w 1504950"/>
                <a:gd name="connsiteY871" fmla="*/ 211455 h 1914525"/>
                <a:gd name="connsiteX872" fmla="*/ 9525 w 1504950"/>
                <a:gd name="connsiteY872" fmla="*/ 210503 h 1914525"/>
                <a:gd name="connsiteX873" fmla="*/ 15240 w 1504950"/>
                <a:gd name="connsiteY873" fmla="*/ 209550 h 1914525"/>
                <a:gd name="connsiteX874" fmla="*/ 24765 w 1504950"/>
                <a:gd name="connsiteY874" fmla="*/ 203835 h 1914525"/>
                <a:gd name="connsiteX875" fmla="*/ 40957 w 1504950"/>
                <a:gd name="connsiteY875" fmla="*/ 191453 h 1914525"/>
                <a:gd name="connsiteX876" fmla="*/ 47625 w 1504950"/>
                <a:gd name="connsiteY876" fmla="*/ 184785 h 1914525"/>
                <a:gd name="connsiteX877" fmla="*/ 54292 w 1504950"/>
                <a:gd name="connsiteY877" fmla="*/ 176213 h 1914525"/>
                <a:gd name="connsiteX878" fmla="*/ 60007 w 1504950"/>
                <a:gd name="connsiteY878" fmla="*/ 164783 h 1914525"/>
                <a:gd name="connsiteX879" fmla="*/ 60960 w 1504950"/>
                <a:gd name="connsiteY879" fmla="*/ 158115 h 1914525"/>
                <a:gd name="connsiteX880" fmla="*/ 61913 w 1504950"/>
                <a:gd name="connsiteY880" fmla="*/ 148590 h 1914525"/>
                <a:gd name="connsiteX881" fmla="*/ 63817 w 1504950"/>
                <a:gd name="connsiteY881" fmla="*/ 117158 h 1914525"/>
                <a:gd name="connsiteX882" fmla="*/ 62865 w 1504950"/>
                <a:gd name="connsiteY882" fmla="*/ 110490 h 1914525"/>
                <a:gd name="connsiteX883" fmla="*/ 62865 w 1504950"/>
                <a:gd name="connsiteY883" fmla="*/ 108585 h 1914525"/>
                <a:gd name="connsiteX884" fmla="*/ 60960 w 1504950"/>
                <a:gd name="connsiteY884" fmla="*/ 105728 h 1914525"/>
                <a:gd name="connsiteX885" fmla="*/ 59055 w 1504950"/>
                <a:gd name="connsiteY885" fmla="*/ 106680 h 1914525"/>
                <a:gd name="connsiteX886" fmla="*/ 54292 w 1504950"/>
                <a:gd name="connsiteY886" fmla="*/ 109538 h 1914525"/>
                <a:gd name="connsiteX887" fmla="*/ 52388 w 1504950"/>
                <a:gd name="connsiteY887" fmla="*/ 110490 h 1914525"/>
                <a:gd name="connsiteX888" fmla="*/ 49530 w 1504950"/>
                <a:gd name="connsiteY888" fmla="*/ 109538 h 1914525"/>
                <a:gd name="connsiteX889" fmla="*/ 46672 w 1504950"/>
                <a:gd name="connsiteY889" fmla="*/ 105728 h 1914525"/>
                <a:gd name="connsiteX890" fmla="*/ 42863 w 1504950"/>
                <a:gd name="connsiteY890" fmla="*/ 98108 h 1914525"/>
                <a:gd name="connsiteX891" fmla="*/ 57150 w 1504950"/>
                <a:gd name="connsiteY891" fmla="*/ 85725 h 1914525"/>
                <a:gd name="connsiteX892" fmla="*/ 69532 w 1504950"/>
                <a:gd name="connsiteY892" fmla="*/ 81915 h 1914525"/>
                <a:gd name="connsiteX893" fmla="*/ 92392 w 1504950"/>
                <a:gd name="connsiteY893" fmla="*/ 91440 h 1914525"/>
                <a:gd name="connsiteX894" fmla="*/ 102870 w 1504950"/>
                <a:gd name="connsiteY894" fmla="*/ 91440 h 1914525"/>
                <a:gd name="connsiteX895" fmla="*/ 110490 w 1504950"/>
                <a:gd name="connsiteY895" fmla="*/ 77153 h 1914525"/>
                <a:gd name="connsiteX896" fmla="*/ 118110 w 1504950"/>
                <a:gd name="connsiteY896" fmla="*/ 57150 h 1914525"/>
                <a:gd name="connsiteX897" fmla="*/ 123825 w 1504950"/>
                <a:gd name="connsiteY897" fmla="*/ 46673 h 1914525"/>
                <a:gd name="connsiteX898" fmla="*/ 130492 w 1504950"/>
                <a:gd name="connsiteY898" fmla="*/ 42863 h 1914525"/>
                <a:gd name="connsiteX899" fmla="*/ 144780 w 1504950"/>
                <a:gd name="connsiteY899" fmla="*/ 41910 h 1914525"/>
                <a:gd name="connsiteX900" fmla="*/ 156210 w 1504950"/>
                <a:gd name="connsiteY900" fmla="*/ 36195 h 1914525"/>
                <a:gd name="connsiteX901" fmla="*/ 164782 w 1504950"/>
                <a:gd name="connsiteY901" fmla="*/ 27623 h 1914525"/>
                <a:gd name="connsiteX902" fmla="*/ 172402 w 1504950"/>
                <a:gd name="connsiteY902" fmla="*/ 16193 h 1914525"/>
                <a:gd name="connsiteX903" fmla="*/ 182880 w 1504950"/>
                <a:gd name="connsiteY903" fmla="*/ 5715 h 1914525"/>
                <a:gd name="connsiteX904" fmla="*/ 193357 w 1504950"/>
                <a:gd name="connsiteY904" fmla="*/ 1905 h 1914525"/>
                <a:gd name="connsiteX905" fmla="*/ 205740 w 1504950"/>
                <a:gd name="connsiteY905" fmla="*/ 0 h 1914525"/>
                <a:gd name="connsiteX906" fmla="*/ 217170 w 1504950"/>
                <a:gd name="connsiteY906" fmla="*/ 953 h 1914525"/>
                <a:gd name="connsiteX907" fmla="*/ 225742 w 1504950"/>
                <a:gd name="connsiteY907" fmla="*/ 7620 h 1914525"/>
                <a:gd name="connsiteX908" fmla="*/ 234315 w 1504950"/>
                <a:gd name="connsiteY908" fmla="*/ 22860 h 1914525"/>
                <a:gd name="connsiteX909" fmla="*/ 239077 w 1504950"/>
                <a:gd name="connsiteY909" fmla="*/ 36195 h 1914525"/>
                <a:gd name="connsiteX910" fmla="*/ 245745 w 1504950"/>
                <a:gd name="connsiteY910" fmla="*/ 44768 h 1914525"/>
                <a:gd name="connsiteX911" fmla="*/ 294322 w 1504950"/>
                <a:gd name="connsiteY911" fmla="*/ 53340 h 1914525"/>
                <a:gd name="connsiteX912" fmla="*/ 303847 w 1504950"/>
                <a:gd name="connsiteY912" fmla="*/ 50483 h 1914525"/>
                <a:gd name="connsiteX913" fmla="*/ 308610 w 1504950"/>
                <a:gd name="connsiteY913" fmla="*/ 44768 h 1914525"/>
                <a:gd name="connsiteX914" fmla="*/ 317182 w 1504950"/>
                <a:gd name="connsiteY914" fmla="*/ 28575 h 1914525"/>
                <a:gd name="connsiteX915" fmla="*/ 323850 w 1504950"/>
                <a:gd name="connsiteY915" fmla="*/ 23813 h 1914525"/>
                <a:gd name="connsiteX916" fmla="*/ 329565 w 1504950"/>
                <a:gd name="connsiteY916" fmla="*/ 24765 h 1914525"/>
                <a:gd name="connsiteX917" fmla="*/ 338138 w 1504950"/>
                <a:gd name="connsiteY917" fmla="*/ 30480 h 1914525"/>
                <a:gd name="connsiteX918" fmla="*/ 344805 w 1504950"/>
                <a:gd name="connsiteY918" fmla="*/ 29528 h 1914525"/>
                <a:gd name="connsiteX919" fmla="*/ 377190 w 1504950"/>
                <a:gd name="connsiteY919" fmla="*/ 12383 h 1914525"/>
                <a:gd name="connsiteX920" fmla="*/ 388620 w 1504950"/>
                <a:gd name="connsiteY920" fmla="*/ 9525 h 1914525"/>
                <a:gd name="connsiteX921" fmla="*/ 462915 w 1504950"/>
                <a:gd name="connsiteY921" fmla="*/ 7620 h 1914525"/>
                <a:gd name="connsiteX922" fmla="*/ 478155 w 1504950"/>
                <a:gd name="connsiteY922" fmla="*/ 11430 h 1914525"/>
                <a:gd name="connsiteX923" fmla="*/ 492442 w 1504950"/>
                <a:gd name="connsiteY923" fmla="*/ 21908 h 1914525"/>
                <a:gd name="connsiteX924" fmla="*/ 512445 w 1504950"/>
                <a:gd name="connsiteY924" fmla="*/ 49530 h 1914525"/>
                <a:gd name="connsiteX925" fmla="*/ 520065 w 1504950"/>
                <a:gd name="connsiteY925" fmla="*/ 57150 h 1914525"/>
                <a:gd name="connsiteX926" fmla="*/ 546735 w 1504950"/>
                <a:gd name="connsiteY926" fmla="*/ 70485 h 1914525"/>
                <a:gd name="connsiteX927" fmla="*/ 553402 w 1504950"/>
                <a:gd name="connsiteY927" fmla="*/ 77153 h 1914525"/>
                <a:gd name="connsiteX928" fmla="*/ 556260 w 1504950"/>
                <a:gd name="connsiteY928" fmla="*/ 82868 h 1914525"/>
                <a:gd name="connsiteX929" fmla="*/ 558165 w 1504950"/>
                <a:gd name="connsiteY929" fmla="*/ 88583 h 1914525"/>
                <a:gd name="connsiteX930" fmla="*/ 558165 w 1504950"/>
                <a:gd name="connsiteY930" fmla="*/ 95250 h 1914525"/>
                <a:gd name="connsiteX931" fmla="*/ 558165 w 1504950"/>
                <a:gd name="connsiteY931" fmla="*/ 103823 h 1914525"/>
                <a:gd name="connsiteX932" fmla="*/ 557213 w 1504950"/>
                <a:gd name="connsiteY932" fmla="*/ 110490 h 1914525"/>
                <a:gd name="connsiteX933" fmla="*/ 553402 w 1504950"/>
                <a:gd name="connsiteY933" fmla="*/ 127635 h 1914525"/>
                <a:gd name="connsiteX934" fmla="*/ 551497 w 1504950"/>
                <a:gd name="connsiteY934" fmla="*/ 128588 h 1914525"/>
                <a:gd name="connsiteX935" fmla="*/ 555307 w 1504950"/>
                <a:gd name="connsiteY935" fmla="*/ 138113 h 1914525"/>
                <a:gd name="connsiteX936" fmla="*/ 571500 w 1504950"/>
                <a:gd name="connsiteY936" fmla="*/ 159068 h 1914525"/>
                <a:gd name="connsiteX937" fmla="*/ 578167 w 1504950"/>
                <a:gd name="connsiteY937" fmla="*/ 164783 h 1914525"/>
                <a:gd name="connsiteX938" fmla="*/ 586740 w 1504950"/>
                <a:gd name="connsiteY938" fmla="*/ 168593 h 1914525"/>
                <a:gd name="connsiteX939" fmla="*/ 601980 w 1504950"/>
                <a:gd name="connsiteY939" fmla="*/ 168593 h 1914525"/>
                <a:gd name="connsiteX940" fmla="*/ 609600 w 1504950"/>
                <a:gd name="connsiteY940" fmla="*/ 170498 h 1914525"/>
                <a:gd name="connsiteX941" fmla="*/ 618172 w 1504950"/>
                <a:gd name="connsiteY941" fmla="*/ 177165 h 1914525"/>
                <a:gd name="connsiteX942" fmla="*/ 629602 w 1504950"/>
                <a:gd name="connsiteY942" fmla="*/ 195263 h 1914525"/>
                <a:gd name="connsiteX943" fmla="*/ 638175 w 1504950"/>
                <a:gd name="connsiteY943" fmla="*/ 198120 h 1914525"/>
                <a:gd name="connsiteX944" fmla="*/ 644842 w 1504950"/>
                <a:gd name="connsiteY944" fmla="*/ 197168 h 1914525"/>
                <a:gd name="connsiteX945" fmla="*/ 652463 w 1504950"/>
                <a:gd name="connsiteY945" fmla="*/ 199073 h 1914525"/>
                <a:gd name="connsiteX946" fmla="*/ 659130 w 1504950"/>
                <a:gd name="connsiteY946" fmla="*/ 202883 h 1914525"/>
                <a:gd name="connsiteX947" fmla="*/ 664845 w 1504950"/>
                <a:gd name="connsiteY947" fmla="*/ 209550 h 1914525"/>
                <a:gd name="connsiteX948" fmla="*/ 668655 w 1504950"/>
                <a:gd name="connsiteY948" fmla="*/ 218123 h 1914525"/>
                <a:gd name="connsiteX949" fmla="*/ 674370 w 1504950"/>
                <a:gd name="connsiteY949" fmla="*/ 216218 h 1914525"/>
                <a:gd name="connsiteX950" fmla="*/ 677227 w 1504950"/>
                <a:gd name="connsiteY950" fmla="*/ 211455 h 1914525"/>
                <a:gd name="connsiteX951" fmla="*/ 828675 w 1504950"/>
                <a:gd name="connsiteY951" fmla="*/ 762953 h 1914525"/>
                <a:gd name="connsiteX952" fmla="*/ 824865 w 1504950"/>
                <a:gd name="connsiteY952" fmla="*/ 717233 h 1914525"/>
                <a:gd name="connsiteX953" fmla="*/ 802005 w 1504950"/>
                <a:gd name="connsiteY953" fmla="*/ 704850 h 1914525"/>
                <a:gd name="connsiteX954" fmla="*/ 773430 w 1504950"/>
                <a:gd name="connsiteY954" fmla="*/ 692468 h 1914525"/>
                <a:gd name="connsiteX955" fmla="*/ 762000 w 1504950"/>
                <a:gd name="connsiteY955" fmla="*/ 705803 h 1914525"/>
                <a:gd name="connsiteX956" fmla="*/ 762952 w 1504950"/>
                <a:gd name="connsiteY956" fmla="*/ 729615 h 1914525"/>
                <a:gd name="connsiteX957" fmla="*/ 751522 w 1504950"/>
                <a:gd name="connsiteY957" fmla="*/ 740093 h 1914525"/>
                <a:gd name="connsiteX958" fmla="*/ 734377 w 1504950"/>
                <a:gd name="connsiteY958" fmla="*/ 746760 h 1914525"/>
                <a:gd name="connsiteX959" fmla="*/ 725805 w 1504950"/>
                <a:gd name="connsiteY959" fmla="*/ 769620 h 1914525"/>
                <a:gd name="connsiteX960" fmla="*/ 675322 w 1504950"/>
                <a:gd name="connsiteY960" fmla="*/ 764858 h 1914525"/>
                <a:gd name="connsiteX961" fmla="*/ 668655 w 1504950"/>
                <a:gd name="connsiteY961" fmla="*/ 772478 h 1914525"/>
                <a:gd name="connsiteX962" fmla="*/ 673417 w 1504950"/>
                <a:gd name="connsiteY962" fmla="*/ 791528 h 1914525"/>
                <a:gd name="connsiteX963" fmla="*/ 660082 w 1504950"/>
                <a:gd name="connsiteY963" fmla="*/ 783908 h 1914525"/>
                <a:gd name="connsiteX964" fmla="*/ 649605 w 1504950"/>
                <a:gd name="connsiteY964" fmla="*/ 766763 h 1914525"/>
                <a:gd name="connsiteX965" fmla="*/ 635317 w 1504950"/>
                <a:gd name="connsiteY965" fmla="*/ 752475 h 1914525"/>
                <a:gd name="connsiteX966" fmla="*/ 627697 w 1504950"/>
                <a:gd name="connsiteY966" fmla="*/ 723900 h 1914525"/>
                <a:gd name="connsiteX967" fmla="*/ 615315 w 1504950"/>
                <a:gd name="connsiteY967" fmla="*/ 721043 h 1914525"/>
                <a:gd name="connsiteX968" fmla="*/ 612457 w 1504950"/>
                <a:gd name="connsiteY968" fmla="*/ 697230 h 1914525"/>
                <a:gd name="connsiteX969" fmla="*/ 560070 w 1504950"/>
                <a:gd name="connsiteY969" fmla="*/ 697230 h 1914525"/>
                <a:gd name="connsiteX970" fmla="*/ 560070 w 1504950"/>
                <a:gd name="connsiteY970" fmla="*/ 718185 h 1914525"/>
                <a:gd name="connsiteX971" fmla="*/ 526732 w 1504950"/>
                <a:gd name="connsiteY971" fmla="*/ 721995 h 1914525"/>
                <a:gd name="connsiteX972" fmla="*/ 538163 w 1504950"/>
                <a:gd name="connsiteY972" fmla="*/ 741998 h 1914525"/>
                <a:gd name="connsiteX973" fmla="*/ 535305 w 1504950"/>
                <a:gd name="connsiteY973" fmla="*/ 758190 h 1914525"/>
                <a:gd name="connsiteX974" fmla="*/ 525780 w 1504950"/>
                <a:gd name="connsiteY974" fmla="*/ 742950 h 1914525"/>
                <a:gd name="connsiteX975" fmla="*/ 516255 w 1504950"/>
                <a:gd name="connsiteY975" fmla="*/ 748665 h 1914525"/>
                <a:gd name="connsiteX976" fmla="*/ 521017 w 1504950"/>
                <a:gd name="connsiteY976" fmla="*/ 762000 h 1914525"/>
                <a:gd name="connsiteX977" fmla="*/ 521017 w 1504950"/>
                <a:gd name="connsiteY977" fmla="*/ 777240 h 1914525"/>
                <a:gd name="connsiteX978" fmla="*/ 510540 w 1504950"/>
                <a:gd name="connsiteY978" fmla="*/ 786765 h 1914525"/>
                <a:gd name="connsiteX979" fmla="*/ 499110 w 1504950"/>
                <a:gd name="connsiteY979" fmla="*/ 797243 h 1914525"/>
                <a:gd name="connsiteX980" fmla="*/ 496252 w 1504950"/>
                <a:gd name="connsiteY980" fmla="*/ 811530 h 1914525"/>
                <a:gd name="connsiteX981" fmla="*/ 499110 w 1504950"/>
                <a:gd name="connsiteY981" fmla="*/ 827723 h 1914525"/>
                <a:gd name="connsiteX982" fmla="*/ 496252 w 1504950"/>
                <a:gd name="connsiteY982" fmla="*/ 842963 h 1914525"/>
                <a:gd name="connsiteX983" fmla="*/ 489585 w 1504950"/>
                <a:gd name="connsiteY983" fmla="*/ 850583 h 1914525"/>
                <a:gd name="connsiteX984" fmla="*/ 490538 w 1504950"/>
                <a:gd name="connsiteY984" fmla="*/ 863918 h 1914525"/>
                <a:gd name="connsiteX985" fmla="*/ 491490 w 1504950"/>
                <a:gd name="connsiteY985" fmla="*/ 878205 h 1914525"/>
                <a:gd name="connsiteX986" fmla="*/ 485775 w 1504950"/>
                <a:gd name="connsiteY986" fmla="*/ 890588 h 1914525"/>
                <a:gd name="connsiteX987" fmla="*/ 484822 w 1504950"/>
                <a:gd name="connsiteY987" fmla="*/ 904875 h 1914525"/>
                <a:gd name="connsiteX988" fmla="*/ 481965 w 1504950"/>
                <a:gd name="connsiteY988" fmla="*/ 925830 h 1914525"/>
                <a:gd name="connsiteX989" fmla="*/ 487680 w 1504950"/>
                <a:gd name="connsiteY989" fmla="*/ 936308 h 1914525"/>
                <a:gd name="connsiteX990" fmla="*/ 493395 w 1504950"/>
                <a:gd name="connsiteY990" fmla="*/ 927735 h 1914525"/>
                <a:gd name="connsiteX991" fmla="*/ 501967 w 1504950"/>
                <a:gd name="connsiteY991" fmla="*/ 929640 h 1914525"/>
                <a:gd name="connsiteX992" fmla="*/ 509588 w 1504950"/>
                <a:gd name="connsiteY992" fmla="*/ 902970 h 1914525"/>
                <a:gd name="connsiteX993" fmla="*/ 532447 w 1504950"/>
                <a:gd name="connsiteY993" fmla="*/ 909638 h 1914525"/>
                <a:gd name="connsiteX994" fmla="*/ 543877 w 1504950"/>
                <a:gd name="connsiteY994" fmla="*/ 902970 h 1914525"/>
                <a:gd name="connsiteX995" fmla="*/ 552450 w 1504950"/>
                <a:gd name="connsiteY995" fmla="*/ 908685 h 1914525"/>
                <a:gd name="connsiteX996" fmla="*/ 559117 w 1504950"/>
                <a:gd name="connsiteY996" fmla="*/ 941070 h 1914525"/>
                <a:gd name="connsiteX997" fmla="*/ 573405 w 1504950"/>
                <a:gd name="connsiteY997" fmla="*/ 958215 h 1914525"/>
                <a:gd name="connsiteX998" fmla="*/ 589597 w 1504950"/>
                <a:gd name="connsiteY998" fmla="*/ 972503 h 1914525"/>
                <a:gd name="connsiteX999" fmla="*/ 601980 w 1504950"/>
                <a:gd name="connsiteY999" fmla="*/ 994410 h 1914525"/>
                <a:gd name="connsiteX1000" fmla="*/ 597217 w 1504950"/>
                <a:gd name="connsiteY1000" fmla="*/ 1010603 h 1914525"/>
                <a:gd name="connsiteX1001" fmla="*/ 601027 w 1504950"/>
                <a:gd name="connsiteY1001" fmla="*/ 1029653 h 1914525"/>
                <a:gd name="connsiteX1002" fmla="*/ 610552 w 1504950"/>
                <a:gd name="connsiteY1002" fmla="*/ 1029653 h 1914525"/>
                <a:gd name="connsiteX1003" fmla="*/ 619125 w 1504950"/>
                <a:gd name="connsiteY1003" fmla="*/ 1027748 h 1914525"/>
                <a:gd name="connsiteX1004" fmla="*/ 622935 w 1504950"/>
                <a:gd name="connsiteY1004" fmla="*/ 1046798 h 1914525"/>
                <a:gd name="connsiteX1005" fmla="*/ 624840 w 1504950"/>
                <a:gd name="connsiteY1005" fmla="*/ 1062038 h 1914525"/>
                <a:gd name="connsiteX1006" fmla="*/ 634365 w 1504950"/>
                <a:gd name="connsiteY1006" fmla="*/ 1066800 h 1914525"/>
                <a:gd name="connsiteX1007" fmla="*/ 635317 w 1504950"/>
                <a:gd name="connsiteY1007" fmla="*/ 1080135 h 1914525"/>
                <a:gd name="connsiteX1008" fmla="*/ 644842 w 1504950"/>
                <a:gd name="connsiteY1008" fmla="*/ 1076325 h 1914525"/>
                <a:gd name="connsiteX1009" fmla="*/ 659130 w 1504950"/>
                <a:gd name="connsiteY1009" fmla="*/ 1088708 h 1914525"/>
                <a:gd name="connsiteX1010" fmla="*/ 653415 w 1504950"/>
                <a:gd name="connsiteY1010" fmla="*/ 1124903 h 1914525"/>
                <a:gd name="connsiteX1011" fmla="*/ 666750 w 1504950"/>
                <a:gd name="connsiteY1011" fmla="*/ 1124903 h 1914525"/>
                <a:gd name="connsiteX1012" fmla="*/ 669607 w 1504950"/>
                <a:gd name="connsiteY1012" fmla="*/ 1164908 h 1914525"/>
                <a:gd name="connsiteX1013" fmla="*/ 683895 w 1504950"/>
                <a:gd name="connsiteY1013" fmla="*/ 1169670 h 1914525"/>
                <a:gd name="connsiteX1014" fmla="*/ 691515 w 1504950"/>
                <a:gd name="connsiteY1014" fmla="*/ 1195388 h 1914525"/>
                <a:gd name="connsiteX1015" fmla="*/ 693420 w 1504950"/>
                <a:gd name="connsiteY1015" fmla="*/ 1233488 h 1914525"/>
                <a:gd name="connsiteX1016" fmla="*/ 725805 w 1504950"/>
                <a:gd name="connsiteY1016" fmla="*/ 1217295 h 1914525"/>
                <a:gd name="connsiteX1017" fmla="*/ 721042 w 1504950"/>
                <a:gd name="connsiteY1017" fmla="*/ 1203960 h 1914525"/>
                <a:gd name="connsiteX1018" fmla="*/ 726757 w 1504950"/>
                <a:gd name="connsiteY1018" fmla="*/ 1195388 h 1914525"/>
                <a:gd name="connsiteX1019" fmla="*/ 715327 w 1504950"/>
                <a:gd name="connsiteY1019" fmla="*/ 1165860 h 1914525"/>
                <a:gd name="connsiteX1020" fmla="*/ 711517 w 1504950"/>
                <a:gd name="connsiteY1020" fmla="*/ 1143953 h 1914525"/>
                <a:gd name="connsiteX1021" fmla="*/ 721995 w 1504950"/>
                <a:gd name="connsiteY1021" fmla="*/ 1143000 h 1914525"/>
                <a:gd name="connsiteX1022" fmla="*/ 729615 w 1504950"/>
                <a:gd name="connsiteY1022" fmla="*/ 1116330 h 1914525"/>
                <a:gd name="connsiteX1023" fmla="*/ 720090 w 1504950"/>
                <a:gd name="connsiteY1023" fmla="*/ 1085850 h 1914525"/>
                <a:gd name="connsiteX1024" fmla="*/ 704850 w 1504950"/>
                <a:gd name="connsiteY1024" fmla="*/ 1044893 h 1914525"/>
                <a:gd name="connsiteX1025" fmla="*/ 710565 w 1504950"/>
                <a:gd name="connsiteY1025" fmla="*/ 1038225 h 1914525"/>
                <a:gd name="connsiteX1026" fmla="*/ 703897 w 1504950"/>
                <a:gd name="connsiteY1026" fmla="*/ 1024890 h 1914525"/>
                <a:gd name="connsiteX1027" fmla="*/ 722947 w 1504950"/>
                <a:gd name="connsiteY1027" fmla="*/ 1018223 h 1914525"/>
                <a:gd name="connsiteX1028" fmla="*/ 725805 w 1504950"/>
                <a:gd name="connsiteY1028" fmla="*/ 1029653 h 1914525"/>
                <a:gd name="connsiteX1029" fmla="*/ 737235 w 1504950"/>
                <a:gd name="connsiteY1029" fmla="*/ 1026795 h 1914525"/>
                <a:gd name="connsiteX1030" fmla="*/ 752475 w 1504950"/>
                <a:gd name="connsiteY1030" fmla="*/ 1032510 h 1914525"/>
                <a:gd name="connsiteX1031" fmla="*/ 762952 w 1504950"/>
                <a:gd name="connsiteY1031" fmla="*/ 1028700 h 1914525"/>
                <a:gd name="connsiteX1032" fmla="*/ 762000 w 1504950"/>
                <a:gd name="connsiteY1032" fmla="*/ 1003935 h 1914525"/>
                <a:gd name="connsiteX1033" fmla="*/ 765810 w 1504950"/>
                <a:gd name="connsiteY1033" fmla="*/ 989648 h 1914525"/>
                <a:gd name="connsiteX1034" fmla="*/ 782002 w 1504950"/>
                <a:gd name="connsiteY1034" fmla="*/ 1006793 h 1914525"/>
                <a:gd name="connsiteX1035" fmla="*/ 802005 w 1504950"/>
                <a:gd name="connsiteY1035" fmla="*/ 1003935 h 1914525"/>
                <a:gd name="connsiteX1036" fmla="*/ 801052 w 1504950"/>
                <a:gd name="connsiteY1036" fmla="*/ 970598 h 1914525"/>
                <a:gd name="connsiteX1037" fmla="*/ 822007 w 1504950"/>
                <a:gd name="connsiteY1037" fmla="*/ 970598 h 1914525"/>
                <a:gd name="connsiteX1038" fmla="*/ 830580 w 1504950"/>
                <a:gd name="connsiteY1038" fmla="*/ 953453 h 1914525"/>
                <a:gd name="connsiteX1039" fmla="*/ 815340 w 1504950"/>
                <a:gd name="connsiteY1039" fmla="*/ 942023 h 1914525"/>
                <a:gd name="connsiteX1040" fmla="*/ 814388 w 1504950"/>
                <a:gd name="connsiteY1040" fmla="*/ 927735 h 1914525"/>
                <a:gd name="connsiteX1041" fmla="*/ 784860 w 1504950"/>
                <a:gd name="connsiteY1041" fmla="*/ 882015 h 1914525"/>
                <a:gd name="connsiteX1042" fmla="*/ 783907 w 1504950"/>
                <a:gd name="connsiteY1042" fmla="*/ 851535 h 1914525"/>
                <a:gd name="connsiteX1043" fmla="*/ 789622 w 1504950"/>
                <a:gd name="connsiteY1043" fmla="*/ 842010 h 1914525"/>
                <a:gd name="connsiteX1044" fmla="*/ 780097 w 1504950"/>
                <a:gd name="connsiteY1044" fmla="*/ 826770 h 1914525"/>
                <a:gd name="connsiteX1045" fmla="*/ 781050 w 1504950"/>
                <a:gd name="connsiteY1045" fmla="*/ 814388 h 1914525"/>
                <a:gd name="connsiteX1046" fmla="*/ 793432 w 1504950"/>
                <a:gd name="connsiteY1046" fmla="*/ 795338 h 1914525"/>
                <a:gd name="connsiteX1047" fmla="*/ 808672 w 1504950"/>
                <a:gd name="connsiteY1047" fmla="*/ 785813 h 1914525"/>
                <a:gd name="connsiteX1048" fmla="*/ 828675 w 1504950"/>
                <a:gd name="connsiteY1048" fmla="*/ 762953 h 19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</a:cxnLst>
              <a:rect l="l" t="t" r="r" b="b"/>
              <a:pathLst>
                <a:path w="1504950" h="1914525">
                  <a:moveTo>
                    <a:pt x="677227" y="211455"/>
                  </a:moveTo>
                  <a:lnTo>
                    <a:pt x="678180" y="218123"/>
                  </a:lnTo>
                  <a:lnTo>
                    <a:pt x="677227" y="220980"/>
                  </a:lnTo>
                  <a:lnTo>
                    <a:pt x="676275" y="222885"/>
                  </a:lnTo>
                  <a:lnTo>
                    <a:pt x="674370" y="224790"/>
                  </a:lnTo>
                  <a:lnTo>
                    <a:pt x="671513" y="224790"/>
                  </a:lnTo>
                  <a:lnTo>
                    <a:pt x="661035" y="223838"/>
                  </a:lnTo>
                  <a:lnTo>
                    <a:pt x="658177" y="224790"/>
                  </a:lnTo>
                  <a:lnTo>
                    <a:pt x="656272" y="226695"/>
                  </a:lnTo>
                  <a:lnTo>
                    <a:pt x="655320" y="230505"/>
                  </a:lnTo>
                  <a:lnTo>
                    <a:pt x="656272" y="235268"/>
                  </a:lnTo>
                  <a:lnTo>
                    <a:pt x="662940" y="251460"/>
                  </a:lnTo>
                  <a:lnTo>
                    <a:pt x="663892" y="257175"/>
                  </a:lnTo>
                  <a:lnTo>
                    <a:pt x="664845" y="263843"/>
                  </a:lnTo>
                  <a:lnTo>
                    <a:pt x="663892" y="270510"/>
                  </a:lnTo>
                  <a:lnTo>
                    <a:pt x="654367" y="317183"/>
                  </a:lnTo>
                  <a:lnTo>
                    <a:pt x="653415" y="324803"/>
                  </a:lnTo>
                  <a:lnTo>
                    <a:pt x="652463" y="376238"/>
                  </a:lnTo>
                  <a:lnTo>
                    <a:pt x="654367" y="401003"/>
                  </a:lnTo>
                  <a:lnTo>
                    <a:pt x="655320" y="404813"/>
                  </a:lnTo>
                  <a:lnTo>
                    <a:pt x="656272" y="406718"/>
                  </a:lnTo>
                  <a:lnTo>
                    <a:pt x="659130" y="408623"/>
                  </a:lnTo>
                  <a:lnTo>
                    <a:pt x="664845" y="408623"/>
                  </a:lnTo>
                  <a:lnTo>
                    <a:pt x="667702" y="406718"/>
                  </a:lnTo>
                  <a:lnTo>
                    <a:pt x="672465" y="402908"/>
                  </a:lnTo>
                  <a:lnTo>
                    <a:pt x="674370" y="401003"/>
                  </a:lnTo>
                  <a:lnTo>
                    <a:pt x="677227" y="401003"/>
                  </a:lnTo>
                  <a:lnTo>
                    <a:pt x="683895" y="404813"/>
                  </a:lnTo>
                  <a:lnTo>
                    <a:pt x="689610" y="409575"/>
                  </a:lnTo>
                  <a:lnTo>
                    <a:pt x="696277" y="411480"/>
                  </a:lnTo>
                  <a:lnTo>
                    <a:pt x="701040" y="411480"/>
                  </a:lnTo>
                  <a:lnTo>
                    <a:pt x="703897" y="411480"/>
                  </a:lnTo>
                  <a:lnTo>
                    <a:pt x="708660" y="412433"/>
                  </a:lnTo>
                  <a:lnTo>
                    <a:pt x="713422" y="415290"/>
                  </a:lnTo>
                  <a:lnTo>
                    <a:pt x="726757" y="427673"/>
                  </a:lnTo>
                  <a:lnTo>
                    <a:pt x="729615" y="431483"/>
                  </a:lnTo>
                  <a:lnTo>
                    <a:pt x="731520" y="436245"/>
                  </a:lnTo>
                  <a:lnTo>
                    <a:pt x="733425" y="444818"/>
                  </a:lnTo>
                  <a:lnTo>
                    <a:pt x="734377" y="451485"/>
                  </a:lnTo>
                  <a:lnTo>
                    <a:pt x="734377" y="458153"/>
                  </a:lnTo>
                  <a:lnTo>
                    <a:pt x="731520" y="472440"/>
                  </a:lnTo>
                  <a:lnTo>
                    <a:pt x="728663" y="486728"/>
                  </a:lnTo>
                  <a:lnTo>
                    <a:pt x="727710" y="490538"/>
                  </a:lnTo>
                  <a:lnTo>
                    <a:pt x="727710" y="497205"/>
                  </a:lnTo>
                  <a:lnTo>
                    <a:pt x="728663" y="502920"/>
                  </a:lnTo>
                  <a:lnTo>
                    <a:pt x="729615" y="505778"/>
                  </a:lnTo>
                  <a:lnTo>
                    <a:pt x="733425" y="508635"/>
                  </a:lnTo>
                  <a:lnTo>
                    <a:pt x="738188" y="511492"/>
                  </a:lnTo>
                  <a:lnTo>
                    <a:pt x="766763" y="521970"/>
                  </a:lnTo>
                  <a:lnTo>
                    <a:pt x="771525" y="524828"/>
                  </a:lnTo>
                  <a:lnTo>
                    <a:pt x="788670" y="538163"/>
                  </a:lnTo>
                  <a:lnTo>
                    <a:pt x="793432" y="542925"/>
                  </a:lnTo>
                  <a:lnTo>
                    <a:pt x="795338" y="546735"/>
                  </a:lnTo>
                  <a:lnTo>
                    <a:pt x="795338" y="548640"/>
                  </a:lnTo>
                  <a:lnTo>
                    <a:pt x="792480" y="566738"/>
                  </a:lnTo>
                  <a:lnTo>
                    <a:pt x="791527" y="573405"/>
                  </a:lnTo>
                  <a:lnTo>
                    <a:pt x="787717" y="582930"/>
                  </a:lnTo>
                  <a:lnTo>
                    <a:pt x="782955" y="594360"/>
                  </a:lnTo>
                  <a:lnTo>
                    <a:pt x="775335" y="607695"/>
                  </a:lnTo>
                  <a:lnTo>
                    <a:pt x="773430" y="612458"/>
                  </a:lnTo>
                  <a:lnTo>
                    <a:pt x="773430" y="616268"/>
                  </a:lnTo>
                  <a:lnTo>
                    <a:pt x="775335" y="618173"/>
                  </a:lnTo>
                  <a:lnTo>
                    <a:pt x="778192" y="620078"/>
                  </a:lnTo>
                  <a:lnTo>
                    <a:pt x="783907" y="620078"/>
                  </a:lnTo>
                  <a:lnTo>
                    <a:pt x="799147" y="615315"/>
                  </a:lnTo>
                  <a:lnTo>
                    <a:pt x="802957" y="616268"/>
                  </a:lnTo>
                  <a:lnTo>
                    <a:pt x="807720" y="618173"/>
                  </a:lnTo>
                  <a:lnTo>
                    <a:pt x="813435" y="623888"/>
                  </a:lnTo>
                  <a:lnTo>
                    <a:pt x="816292" y="627698"/>
                  </a:lnTo>
                  <a:lnTo>
                    <a:pt x="820102" y="632460"/>
                  </a:lnTo>
                  <a:lnTo>
                    <a:pt x="822007" y="634365"/>
                  </a:lnTo>
                  <a:lnTo>
                    <a:pt x="824865" y="635318"/>
                  </a:lnTo>
                  <a:lnTo>
                    <a:pt x="829627" y="634365"/>
                  </a:lnTo>
                  <a:lnTo>
                    <a:pt x="832485" y="632460"/>
                  </a:lnTo>
                  <a:lnTo>
                    <a:pt x="835342" y="630555"/>
                  </a:lnTo>
                  <a:lnTo>
                    <a:pt x="839152" y="621983"/>
                  </a:lnTo>
                  <a:lnTo>
                    <a:pt x="841057" y="621030"/>
                  </a:lnTo>
                  <a:lnTo>
                    <a:pt x="843915" y="620078"/>
                  </a:lnTo>
                  <a:lnTo>
                    <a:pt x="868680" y="626745"/>
                  </a:lnTo>
                  <a:lnTo>
                    <a:pt x="875347" y="627698"/>
                  </a:lnTo>
                  <a:lnTo>
                    <a:pt x="879157" y="626745"/>
                  </a:lnTo>
                  <a:lnTo>
                    <a:pt x="886777" y="619125"/>
                  </a:lnTo>
                  <a:lnTo>
                    <a:pt x="892492" y="617220"/>
                  </a:lnTo>
                  <a:lnTo>
                    <a:pt x="899160" y="617220"/>
                  </a:lnTo>
                  <a:lnTo>
                    <a:pt x="927735" y="619125"/>
                  </a:lnTo>
                  <a:lnTo>
                    <a:pt x="933450" y="619125"/>
                  </a:lnTo>
                  <a:lnTo>
                    <a:pt x="939165" y="617220"/>
                  </a:lnTo>
                  <a:lnTo>
                    <a:pt x="942022" y="616268"/>
                  </a:lnTo>
                  <a:lnTo>
                    <a:pt x="947738" y="611505"/>
                  </a:lnTo>
                  <a:lnTo>
                    <a:pt x="952500" y="608648"/>
                  </a:lnTo>
                  <a:lnTo>
                    <a:pt x="955357" y="608648"/>
                  </a:lnTo>
                  <a:lnTo>
                    <a:pt x="959167" y="609600"/>
                  </a:lnTo>
                  <a:lnTo>
                    <a:pt x="961072" y="612458"/>
                  </a:lnTo>
                  <a:lnTo>
                    <a:pt x="962977" y="617220"/>
                  </a:lnTo>
                  <a:lnTo>
                    <a:pt x="967740" y="623888"/>
                  </a:lnTo>
                  <a:lnTo>
                    <a:pt x="971550" y="628650"/>
                  </a:lnTo>
                  <a:lnTo>
                    <a:pt x="972502" y="631508"/>
                  </a:lnTo>
                  <a:lnTo>
                    <a:pt x="971550" y="634365"/>
                  </a:lnTo>
                  <a:lnTo>
                    <a:pt x="969645" y="641033"/>
                  </a:lnTo>
                  <a:lnTo>
                    <a:pt x="969645" y="643890"/>
                  </a:lnTo>
                  <a:lnTo>
                    <a:pt x="971550" y="646748"/>
                  </a:lnTo>
                  <a:lnTo>
                    <a:pt x="974407" y="648653"/>
                  </a:lnTo>
                  <a:lnTo>
                    <a:pt x="982027" y="649605"/>
                  </a:lnTo>
                  <a:lnTo>
                    <a:pt x="989647" y="650558"/>
                  </a:lnTo>
                  <a:lnTo>
                    <a:pt x="993457" y="651510"/>
                  </a:lnTo>
                  <a:lnTo>
                    <a:pt x="995363" y="653415"/>
                  </a:lnTo>
                  <a:lnTo>
                    <a:pt x="995363" y="657225"/>
                  </a:lnTo>
                  <a:lnTo>
                    <a:pt x="995363" y="664845"/>
                  </a:lnTo>
                  <a:lnTo>
                    <a:pt x="997267" y="667703"/>
                  </a:lnTo>
                  <a:lnTo>
                    <a:pt x="1009650" y="678180"/>
                  </a:lnTo>
                  <a:lnTo>
                    <a:pt x="1016317" y="685800"/>
                  </a:lnTo>
                  <a:lnTo>
                    <a:pt x="1020127" y="690563"/>
                  </a:lnTo>
                  <a:lnTo>
                    <a:pt x="1022032" y="695325"/>
                  </a:lnTo>
                  <a:lnTo>
                    <a:pt x="1023938" y="700088"/>
                  </a:lnTo>
                  <a:lnTo>
                    <a:pt x="1026795" y="711518"/>
                  </a:lnTo>
                  <a:lnTo>
                    <a:pt x="1027747" y="720090"/>
                  </a:lnTo>
                  <a:lnTo>
                    <a:pt x="1027747" y="726758"/>
                  </a:lnTo>
                  <a:lnTo>
                    <a:pt x="1026795" y="730568"/>
                  </a:lnTo>
                  <a:lnTo>
                    <a:pt x="1024890" y="736283"/>
                  </a:lnTo>
                  <a:lnTo>
                    <a:pt x="1021080" y="741045"/>
                  </a:lnTo>
                  <a:lnTo>
                    <a:pt x="1019175" y="742950"/>
                  </a:lnTo>
                  <a:lnTo>
                    <a:pt x="1017270" y="743903"/>
                  </a:lnTo>
                  <a:lnTo>
                    <a:pt x="1011555" y="742950"/>
                  </a:lnTo>
                  <a:lnTo>
                    <a:pt x="1009650" y="743903"/>
                  </a:lnTo>
                  <a:lnTo>
                    <a:pt x="1007745" y="746760"/>
                  </a:lnTo>
                  <a:lnTo>
                    <a:pt x="1006792" y="753428"/>
                  </a:lnTo>
                  <a:lnTo>
                    <a:pt x="1005840" y="756285"/>
                  </a:lnTo>
                  <a:lnTo>
                    <a:pt x="1006792" y="759143"/>
                  </a:lnTo>
                  <a:lnTo>
                    <a:pt x="1009650" y="763905"/>
                  </a:lnTo>
                  <a:lnTo>
                    <a:pt x="1024890" y="779145"/>
                  </a:lnTo>
                  <a:lnTo>
                    <a:pt x="1027747" y="781050"/>
                  </a:lnTo>
                  <a:lnTo>
                    <a:pt x="1030605" y="782955"/>
                  </a:lnTo>
                  <a:lnTo>
                    <a:pt x="1041082" y="782003"/>
                  </a:lnTo>
                  <a:lnTo>
                    <a:pt x="1044892" y="782955"/>
                  </a:lnTo>
                  <a:lnTo>
                    <a:pt x="1047750" y="784860"/>
                  </a:lnTo>
                  <a:lnTo>
                    <a:pt x="1049655" y="788670"/>
                  </a:lnTo>
                  <a:lnTo>
                    <a:pt x="1050607" y="792480"/>
                  </a:lnTo>
                  <a:lnTo>
                    <a:pt x="1049655" y="803910"/>
                  </a:lnTo>
                  <a:lnTo>
                    <a:pt x="1051560" y="808673"/>
                  </a:lnTo>
                  <a:lnTo>
                    <a:pt x="1054417" y="813435"/>
                  </a:lnTo>
                  <a:lnTo>
                    <a:pt x="1056323" y="815340"/>
                  </a:lnTo>
                  <a:lnTo>
                    <a:pt x="1059180" y="816293"/>
                  </a:lnTo>
                  <a:lnTo>
                    <a:pt x="1062990" y="817245"/>
                  </a:lnTo>
                  <a:lnTo>
                    <a:pt x="1068705" y="817245"/>
                  </a:lnTo>
                  <a:lnTo>
                    <a:pt x="1073467" y="819150"/>
                  </a:lnTo>
                  <a:lnTo>
                    <a:pt x="1078230" y="822960"/>
                  </a:lnTo>
                  <a:lnTo>
                    <a:pt x="1081088" y="823913"/>
                  </a:lnTo>
                  <a:lnTo>
                    <a:pt x="1084898" y="825818"/>
                  </a:lnTo>
                  <a:lnTo>
                    <a:pt x="1090613" y="823913"/>
                  </a:lnTo>
                  <a:lnTo>
                    <a:pt x="1093470" y="822960"/>
                  </a:lnTo>
                  <a:lnTo>
                    <a:pt x="1096327" y="821055"/>
                  </a:lnTo>
                  <a:lnTo>
                    <a:pt x="1103947" y="821055"/>
                  </a:lnTo>
                  <a:lnTo>
                    <a:pt x="1114425" y="822008"/>
                  </a:lnTo>
                  <a:lnTo>
                    <a:pt x="1155382" y="832485"/>
                  </a:lnTo>
                  <a:lnTo>
                    <a:pt x="1161097" y="827723"/>
                  </a:lnTo>
                  <a:lnTo>
                    <a:pt x="1166813" y="821055"/>
                  </a:lnTo>
                  <a:lnTo>
                    <a:pt x="1170622" y="818198"/>
                  </a:lnTo>
                  <a:lnTo>
                    <a:pt x="1175385" y="817245"/>
                  </a:lnTo>
                  <a:lnTo>
                    <a:pt x="1207770" y="824865"/>
                  </a:lnTo>
                  <a:lnTo>
                    <a:pt x="1210627" y="824865"/>
                  </a:lnTo>
                  <a:lnTo>
                    <a:pt x="1215390" y="822960"/>
                  </a:lnTo>
                  <a:lnTo>
                    <a:pt x="1220152" y="819150"/>
                  </a:lnTo>
                  <a:lnTo>
                    <a:pt x="1222057" y="818198"/>
                  </a:lnTo>
                  <a:lnTo>
                    <a:pt x="1224915" y="817245"/>
                  </a:lnTo>
                  <a:lnTo>
                    <a:pt x="1232535" y="818198"/>
                  </a:lnTo>
                  <a:lnTo>
                    <a:pt x="1235393" y="818198"/>
                  </a:lnTo>
                  <a:lnTo>
                    <a:pt x="1237297" y="816293"/>
                  </a:lnTo>
                  <a:lnTo>
                    <a:pt x="1239202" y="814388"/>
                  </a:lnTo>
                  <a:lnTo>
                    <a:pt x="1244918" y="807720"/>
                  </a:lnTo>
                  <a:lnTo>
                    <a:pt x="1248727" y="804863"/>
                  </a:lnTo>
                  <a:lnTo>
                    <a:pt x="1251585" y="803910"/>
                  </a:lnTo>
                  <a:lnTo>
                    <a:pt x="1257300" y="802958"/>
                  </a:lnTo>
                  <a:lnTo>
                    <a:pt x="1260157" y="802005"/>
                  </a:lnTo>
                  <a:lnTo>
                    <a:pt x="1262063" y="800100"/>
                  </a:lnTo>
                  <a:lnTo>
                    <a:pt x="1264920" y="795338"/>
                  </a:lnTo>
                  <a:lnTo>
                    <a:pt x="1268730" y="791528"/>
                  </a:lnTo>
                  <a:lnTo>
                    <a:pt x="1273493" y="788670"/>
                  </a:lnTo>
                  <a:lnTo>
                    <a:pt x="1279207" y="787718"/>
                  </a:lnTo>
                  <a:lnTo>
                    <a:pt x="1300163" y="789623"/>
                  </a:lnTo>
                  <a:lnTo>
                    <a:pt x="1303972" y="789623"/>
                  </a:lnTo>
                  <a:lnTo>
                    <a:pt x="1305877" y="788670"/>
                  </a:lnTo>
                  <a:lnTo>
                    <a:pt x="1309688" y="783908"/>
                  </a:lnTo>
                  <a:lnTo>
                    <a:pt x="1316355" y="774383"/>
                  </a:lnTo>
                  <a:lnTo>
                    <a:pt x="1318260" y="772478"/>
                  </a:lnTo>
                  <a:lnTo>
                    <a:pt x="1323022" y="770573"/>
                  </a:lnTo>
                  <a:lnTo>
                    <a:pt x="1324927" y="768668"/>
                  </a:lnTo>
                  <a:lnTo>
                    <a:pt x="1324927" y="766763"/>
                  </a:lnTo>
                  <a:lnTo>
                    <a:pt x="1324927" y="761048"/>
                  </a:lnTo>
                  <a:lnTo>
                    <a:pt x="1324927" y="758190"/>
                  </a:lnTo>
                  <a:lnTo>
                    <a:pt x="1325880" y="755333"/>
                  </a:lnTo>
                  <a:lnTo>
                    <a:pt x="1328738" y="751523"/>
                  </a:lnTo>
                  <a:lnTo>
                    <a:pt x="1329690" y="748665"/>
                  </a:lnTo>
                  <a:lnTo>
                    <a:pt x="1330643" y="740093"/>
                  </a:lnTo>
                  <a:lnTo>
                    <a:pt x="1331595" y="737235"/>
                  </a:lnTo>
                  <a:lnTo>
                    <a:pt x="1336357" y="734378"/>
                  </a:lnTo>
                  <a:lnTo>
                    <a:pt x="1346835" y="730568"/>
                  </a:lnTo>
                  <a:lnTo>
                    <a:pt x="1358265" y="729615"/>
                  </a:lnTo>
                  <a:lnTo>
                    <a:pt x="1363027" y="731520"/>
                  </a:lnTo>
                  <a:lnTo>
                    <a:pt x="1368743" y="735330"/>
                  </a:lnTo>
                  <a:lnTo>
                    <a:pt x="1383982" y="750570"/>
                  </a:lnTo>
                  <a:lnTo>
                    <a:pt x="1390650" y="755333"/>
                  </a:lnTo>
                  <a:lnTo>
                    <a:pt x="1409700" y="781050"/>
                  </a:lnTo>
                  <a:lnTo>
                    <a:pt x="1414463" y="786765"/>
                  </a:lnTo>
                  <a:lnTo>
                    <a:pt x="1419225" y="790575"/>
                  </a:lnTo>
                  <a:lnTo>
                    <a:pt x="1422082" y="791528"/>
                  </a:lnTo>
                  <a:lnTo>
                    <a:pt x="1428750" y="792480"/>
                  </a:lnTo>
                  <a:lnTo>
                    <a:pt x="1450657" y="792480"/>
                  </a:lnTo>
                  <a:lnTo>
                    <a:pt x="1453515" y="795338"/>
                  </a:lnTo>
                  <a:lnTo>
                    <a:pt x="1456372" y="800100"/>
                  </a:lnTo>
                  <a:lnTo>
                    <a:pt x="1457325" y="811530"/>
                  </a:lnTo>
                  <a:lnTo>
                    <a:pt x="1456372" y="822960"/>
                  </a:lnTo>
                  <a:lnTo>
                    <a:pt x="1455420" y="828675"/>
                  </a:lnTo>
                  <a:lnTo>
                    <a:pt x="1453515" y="830580"/>
                  </a:lnTo>
                  <a:lnTo>
                    <a:pt x="1450657" y="832485"/>
                  </a:lnTo>
                  <a:lnTo>
                    <a:pt x="1439227" y="830580"/>
                  </a:lnTo>
                  <a:lnTo>
                    <a:pt x="1436370" y="831533"/>
                  </a:lnTo>
                  <a:lnTo>
                    <a:pt x="1434465" y="832485"/>
                  </a:lnTo>
                  <a:lnTo>
                    <a:pt x="1428750" y="841058"/>
                  </a:lnTo>
                  <a:lnTo>
                    <a:pt x="1425893" y="845820"/>
                  </a:lnTo>
                  <a:lnTo>
                    <a:pt x="1424940" y="848678"/>
                  </a:lnTo>
                  <a:lnTo>
                    <a:pt x="1424940" y="852488"/>
                  </a:lnTo>
                  <a:lnTo>
                    <a:pt x="1426845" y="857250"/>
                  </a:lnTo>
                  <a:lnTo>
                    <a:pt x="1439227" y="867728"/>
                  </a:lnTo>
                  <a:lnTo>
                    <a:pt x="1441132" y="869633"/>
                  </a:lnTo>
                  <a:lnTo>
                    <a:pt x="1443038" y="872490"/>
                  </a:lnTo>
                  <a:lnTo>
                    <a:pt x="1443990" y="878205"/>
                  </a:lnTo>
                  <a:lnTo>
                    <a:pt x="1443990" y="885825"/>
                  </a:lnTo>
                  <a:lnTo>
                    <a:pt x="1444943" y="891540"/>
                  </a:lnTo>
                  <a:lnTo>
                    <a:pt x="1446847" y="896303"/>
                  </a:lnTo>
                  <a:lnTo>
                    <a:pt x="1449705" y="899160"/>
                  </a:lnTo>
                  <a:lnTo>
                    <a:pt x="1453515" y="902018"/>
                  </a:lnTo>
                  <a:lnTo>
                    <a:pt x="1461135" y="905828"/>
                  </a:lnTo>
                  <a:lnTo>
                    <a:pt x="1465897" y="906780"/>
                  </a:lnTo>
                  <a:lnTo>
                    <a:pt x="1469707" y="906780"/>
                  </a:lnTo>
                  <a:lnTo>
                    <a:pt x="1476375" y="905828"/>
                  </a:lnTo>
                  <a:lnTo>
                    <a:pt x="1482090" y="906780"/>
                  </a:lnTo>
                  <a:lnTo>
                    <a:pt x="1484947" y="908685"/>
                  </a:lnTo>
                  <a:lnTo>
                    <a:pt x="1485900" y="910590"/>
                  </a:lnTo>
                  <a:lnTo>
                    <a:pt x="1485900" y="914400"/>
                  </a:lnTo>
                  <a:lnTo>
                    <a:pt x="1484947" y="917258"/>
                  </a:lnTo>
                  <a:lnTo>
                    <a:pt x="1477327" y="924878"/>
                  </a:lnTo>
                  <a:lnTo>
                    <a:pt x="1474470" y="928688"/>
                  </a:lnTo>
                  <a:lnTo>
                    <a:pt x="1477327" y="933450"/>
                  </a:lnTo>
                  <a:lnTo>
                    <a:pt x="1480185" y="937260"/>
                  </a:lnTo>
                  <a:lnTo>
                    <a:pt x="1512570" y="956310"/>
                  </a:lnTo>
                  <a:lnTo>
                    <a:pt x="1499235" y="992505"/>
                  </a:lnTo>
                  <a:lnTo>
                    <a:pt x="1490663" y="1004888"/>
                  </a:lnTo>
                  <a:lnTo>
                    <a:pt x="1488757" y="1007745"/>
                  </a:lnTo>
                  <a:lnTo>
                    <a:pt x="1487805" y="1009650"/>
                  </a:lnTo>
                  <a:lnTo>
                    <a:pt x="1488757" y="1013460"/>
                  </a:lnTo>
                  <a:lnTo>
                    <a:pt x="1491615" y="1018223"/>
                  </a:lnTo>
                  <a:lnTo>
                    <a:pt x="1492568" y="1021080"/>
                  </a:lnTo>
                  <a:lnTo>
                    <a:pt x="1489710" y="1027748"/>
                  </a:lnTo>
                  <a:lnTo>
                    <a:pt x="1475422" y="1048703"/>
                  </a:lnTo>
                  <a:lnTo>
                    <a:pt x="1468755" y="1045845"/>
                  </a:lnTo>
                  <a:lnTo>
                    <a:pt x="1463993" y="1042988"/>
                  </a:lnTo>
                  <a:lnTo>
                    <a:pt x="1459230" y="1040130"/>
                  </a:lnTo>
                  <a:lnTo>
                    <a:pt x="1455420" y="1038225"/>
                  </a:lnTo>
                  <a:lnTo>
                    <a:pt x="1448752" y="1038225"/>
                  </a:lnTo>
                  <a:lnTo>
                    <a:pt x="1445895" y="1038225"/>
                  </a:lnTo>
                  <a:lnTo>
                    <a:pt x="1441132" y="1040130"/>
                  </a:lnTo>
                  <a:lnTo>
                    <a:pt x="1438275" y="1042035"/>
                  </a:lnTo>
                  <a:lnTo>
                    <a:pt x="1436370" y="1044893"/>
                  </a:lnTo>
                  <a:lnTo>
                    <a:pt x="1430655" y="1051560"/>
                  </a:lnTo>
                  <a:lnTo>
                    <a:pt x="1427797" y="1056323"/>
                  </a:lnTo>
                  <a:lnTo>
                    <a:pt x="1425893" y="1060133"/>
                  </a:lnTo>
                  <a:lnTo>
                    <a:pt x="1424940" y="1066800"/>
                  </a:lnTo>
                  <a:lnTo>
                    <a:pt x="1424940" y="1072515"/>
                  </a:lnTo>
                  <a:lnTo>
                    <a:pt x="1426845" y="1076325"/>
                  </a:lnTo>
                  <a:lnTo>
                    <a:pt x="1434465" y="1086803"/>
                  </a:lnTo>
                  <a:lnTo>
                    <a:pt x="1436370" y="1091565"/>
                  </a:lnTo>
                  <a:lnTo>
                    <a:pt x="1436370" y="1097280"/>
                  </a:lnTo>
                  <a:lnTo>
                    <a:pt x="1435418" y="1100138"/>
                  </a:lnTo>
                  <a:lnTo>
                    <a:pt x="1432560" y="1105853"/>
                  </a:lnTo>
                  <a:lnTo>
                    <a:pt x="1428750" y="1110615"/>
                  </a:lnTo>
                  <a:lnTo>
                    <a:pt x="1418272" y="1122045"/>
                  </a:lnTo>
                  <a:lnTo>
                    <a:pt x="1411605" y="1124903"/>
                  </a:lnTo>
                  <a:lnTo>
                    <a:pt x="1404938" y="1125855"/>
                  </a:lnTo>
                  <a:lnTo>
                    <a:pt x="1401127" y="1125855"/>
                  </a:lnTo>
                  <a:lnTo>
                    <a:pt x="1396365" y="1122998"/>
                  </a:lnTo>
                  <a:lnTo>
                    <a:pt x="1393507" y="1123950"/>
                  </a:lnTo>
                  <a:lnTo>
                    <a:pt x="1391602" y="1128713"/>
                  </a:lnTo>
                  <a:lnTo>
                    <a:pt x="1388745" y="1136333"/>
                  </a:lnTo>
                  <a:lnTo>
                    <a:pt x="1385888" y="1142048"/>
                  </a:lnTo>
                  <a:lnTo>
                    <a:pt x="1383030" y="1144905"/>
                  </a:lnTo>
                  <a:lnTo>
                    <a:pt x="1365885" y="1158240"/>
                  </a:lnTo>
                  <a:lnTo>
                    <a:pt x="1362075" y="1163003"/>
                  </a:lnTo>
                  <a:lnTo>
                    <a:pt x="1359218" y="1166813"/>
                  </a:lnTo>
                  <a:lnTo>
                    <a:pt x="1360170" y="1169670"/>
                  </a:lnTo>
                  <a:lnTo>
                    <a:pt x="1363980" y="1180148"/>
                  </a:lnTo>
                  <a:lnTo>
                    <a:pt x="1364932" y="1185863"/>
                  </a:lnTo>
                  <a:lnTo>
                    <a:pt x="1364932" y="1192530"/>
                  </a:lnTo>
                  <a:lnTo>
                    <a:pt x="1367790" y="1203960"/>
                  </a:lnTo>
                  <a:lnTo>
                    <a:pt x="1370647" y="1214438"/>
                  </a:lnTo>
                  <a:lnTo>
                    <a:pt x="1372552" y="1219200"/>
                  </a:lnTo>
                  <a:lnTo>
                    <a:pt x="1371600" y="1225868"/>
                  </a:lnTo>
                  <a:lnTo>
                    <a:pt x="1368743" y="1228725"/>
                  </a:lnTo>
                  <a:lnTo>
                    <a:pt x="1363980" y="1230630"/>
                  </a:lnTo>
                  <a:lnTo>
                    <a:pt x="1343977" y="1237298"/>
                  </a:lnTo>
                  <a:lnTo>
                    <a:pt x="1341120" y="1238250"/>
                  </a:lnTo>
                  <a:lnTo>
                    <a:pt x="1339215" y="1240155"/>
                  </a:lnTo>
                  <a:lnTo>
                    <a:pt x="1337310" y="1243965"/>
                  </a:lnTo>
                  <a:lnTo>
                    <a:pt x="1336357" y="1245870"/>
                  </a:lnTo>
                  <a:lnTo>
                    <a:pt x="1338263" y="1257300"/>
                  </a:lnTo>
                  <a:lnTo>
                    <a:pt x="1338263" y="1263968"/>
                  </a:lnTo>
                  <a:lnTo>
                    <a:pt x="1338263" y="1270635"/>
                  </a:lnTo>
                  <a:lnTo>
                    <a:pt x="1337310" y="1277303"/>
                  </a:lnTo>
                  <a:lnTo>
                    <a:pt x="1334452" y="1283018"/>
                  </a:lnTo>
                  <a:lnTo>
                    <a:pt x="1329690" y="1294448"/>
                  </a:lnTo>
                  <a:lnTo>
                    <a:pt x="1316355" y="1312545"/>
                  </a:lnTo>
                  <a:lnTo>
                    <a:pt x="1314450" y="1317308"/>
                  </a:lnTo>
                  <a:lnTo>
                    <a:pt x="1315402" y="1325880"/>
                  </a:lnTo>
                  <a:lnTo>
                    <a:pt x="1313497" y="1332548"/>
                  </a:lnTo>
                  <a:lnTo>
                    <a:pt x="1312545" y="1334453"/>
                  </a:lnTo>
                  <a:lnTo>
                    <a:pt x="1303020" y="1343978"/>
                  </a:lnTo>
                  <a:lnTo>
                    <a:pt x="1297305" y="1353503"/>
                  </a:lnTo>
                  <a:lnTo>
                    <a:pt x="1291590" y="1364933"/>
                  </a:lnTo>
                  <a:lnTo>
                    <a:pt x="1289685" y="1368743"/>
                  </a:lnTo>
                  <a:lnTo>
                    <a:pt x="1284922" y="1370648"/>
                  </a:lnTo>
                  <a:lnTo>
                    <a:pt x="1235393" y="1361123"/>
                  </a:lnTo>
                  <a:lnTo>
                    <a:pt x="1232535" y="1359218"/>
                  </a:lnTo>
                  <a:lnTo>
                    <a:pt x="1231582" y="1357313"/>
                  </a:lnTo>
                  <a:lnTo>
                    <a:pt x="1230630" y="1354455"/>
                  </a:lnTo>
                  <a:lnTo>
                    <a:pt x="1231582" y="1337310"/>
                  </a:lnTo>
                  <a:lnTo>
                    <a:pt x="1230630" y="1332548"/>
                  </a:lnTo>
                  <a:lnTo>
                    <a:pt x="1228725" y="1329690"/>
                  </a:lnTo>
                  <a:lnTo>
                    <a:pt x="1225868" y="1328738"/>
                  </a:lnTo>
                  <a:lnTo>
                    <a:pt x="1223010" y="1328738"/>
                  </a:lnTo>
                  <a:lnTo>
                    <a:pt x="1221105" y="1330643"/>
                  </a:lnTo>
                  <a:lnTo>
                    <a:pt x="1219200" y="1334453"/>
                  </a:lnTo>
                  <a:lnTo>
                    <a:pt x="1216343" y="1349693"/>
                  </a:lnTo>
                  <a:lnTo>
                    <a:pt x="1215390" y="1352550"/>
                  </a:lnTo>
                  <a:lnTo>
                    <a:pt x="1212532" y="1357313"/>
                  </a:lnTo>
                  <a:lnTo>
                    <a:pt x="1209675" y="1359218"/>
                  </a:lnTo>
                  <a:lnTo>
                    <a:pt x="1205865" y="1360170"/>
                  </a:lnTo>
                  <a:lnTo>
                    <a:pt x="1199197" y="1361123"/>
                  </a:lnTo>
                  <a:lnTo>
                    <a:pt x="1195388" y="1360170"/>
                  </a:lnTo>
                  <a:lnTo>
                    <a:pt x="1192530" y="1358265"/>
                  </a:lnTo>
                  <a:lnTo>
                    <a:pt x="1187768" y="1354455"/>
                  </a:lnTo>
                  <a:lnTo>
                    <a:pt x="1185863" y="1354455"/>
                  </a:lnTo>
                  <a:lnTo>
                    <a:pt x="1183005" y="1355408"/>
                  </a:lnTo>
                  <a:lnTo>
                    <a:pt x="1180147" y="1360170"/>
                  </a:lnTo>
                  <a:lnTo>
                    <a:pt x="1178243" y="1363980"/>
                  </a:lnTo>
                  <a:lnTo>
                    <a:pt x="1177290" y="1371600"/>
                  </a:lnTo>
                  <a:lnTo>
                    <a:pt x="1176338" y="1374458"/>
                  </a:lnTo>
                  <a:lnTo>
                    <a:pt x="1173480" y="1376363"/>
                  </a:lnTo>
                  <a:lnTo>
                    <a:pt x="1170622" y="1374458"/>
                  </a:lnTo>
                  <a:lnTo>
                    <a:pt x="1166813" y="1368743"/>
                  </a:lnTo>
                  <a:lnTo>
                    <a:pt x="1163002" y="1363980"/>
                  </a:lnTo>
                  <a:lnTo>
                    <a:pt x="1160145" y="1359218"/>
                  </a:lnTo>
                  <a:lnTo>
                    <a:pt x="1160145" y="1352550"/>
                  </a:lnTo>
                  <a:lnTo>
                    <a:pt x="1158240" y="1347788"/>
                  </a:lnTo>
                  <a:lnTo>
                    <a:pt x="1152525" y="1342073"/>
                  </a:lnTo>
                  <a:lnTo>
                    <a:pt x="1149668" y="1337310"/>
                  </a:lnTo>
                  <a:lnTo>
                    <a:pt x="1148715" y="1334453"/>
                  </a:lnTo>
                  <a:lnTo>
                    <a:pt x="1147763" y="1325880"/>
                  </a:lnTo>
                  <a:lnTo>
                    <a:pt x="1145857" y="1323975"/>
                  </a:lnTo>
                  <a:lnTo>
                    <a:pt x="1143952" y="1323023"/>
                  </a:lnTo>
                  <a:lnTo>
                    <a:pt x="1138238" y="1322070"/>
                  </a:lnTo>
                  <a:lnTo>
                    <a:pt x="1134427" y="1323023"/>
                  </a:lnTo>
                  <a:lnTo>
                    <a:pt x="1124902" y="1325880"/>
                  </a:lnTo>
                  <a:lnTo>
                    <a:pt x="1119188" y="1326833"/>
                  </a:lnTo>
                  <a:lnTo>
                    <a:pt x="1100138" y="1326833"/>
                  </a:lnTo>
                  <a:lnTo>
                    <a:pt x="1094423" y="1327785"/>
                  </a:lnTo>
                  <a:lnTo>
                    <a:pt x="1088707" y="1329690"/>
                  </a:lnTo>
                  <a:lnTo>
                    <a:pt x="1047750" y="1358265"/>
                  </a:lnTo>
                  <a:lnTo>
                    <a:pt x="1029652" y="1360170"/>
                  </a:lnTo>
                  <a:lnTo>
                    <a:pt x="1026795" y="1362075"/>
                  </a:lnTo>
                  <a:lnTo>
                    <a:pt x="1022985" y="1364933"/>
                  </a:lnTo>
                  <a:lnTo>
                    <a:pt x="1019175" y="1369695"/>
                  </a:lnTo>
                  <a:lnTo>
                    <a:pt x="1014413" y="1380173"/>
                  </a:lnTo>
                  <a:lnTo>
                    <a:pt x="1007745" y="1388745"/>
                  </a:lnTo>
                  <a:lnTo>
                    <a:pt x="1005840" y="1391603"/>
                  </a:lnTo>
                  <a:lnTo>
                    <a:pt x="1005840" y="1393508"/>
                  </a:lnTo>
                  <a:lnTo>
                    <a:pt x="1006792" y="1396365"/>
                  </a:lnTo>
                  <a:lnTo>
                    <a:pt x="1008697" y="1398270"/>
                  </a:lnTo>
                  <a:lnTo>
                    <a:pt x="1015365" y="1403033"/>
                  </a:lnTo>
                  <a:lnTo>
                    <a:pt x="1016317" y="1404938"/>
                  </a:lnTo>
                  <a:lnTo>
                    <a:pt x="1015365" y="1410653"/>
                  </a:lnTo>
                  <a:lnTo>
                    <a:pt x="1009650" y="1423035"/>
                  </a:lnTo>
                  <a:lnTo>
                    <a:pt x="1007745" y="1426845"/>
                  </a:lnTo>
                  <a:lnTo>
                    <a:pt x="1007745" y="1433513"/>
                  </a:lnTo>
                  <a:lnTo>
                    <a:pt x="1008697" y="1435418"/>
                  </a:lnTo>
                  <a:lnTo>
                    <a:pt x="1013460" y="1439228"/>
                  </a:lnTo>
                  <a:lnTo>
                    <a:pt x="1014413" y="1441133"/>
                  </a:lnTo>
                  <a:lnTo>
                    <a:pt x="1015365" y="1443990"/>
                  </a:lnTo>
                  <a:lnTo>
                    <a:pt x="1015365" y="1446848"/>
                  </a:lnTo>
                  <a:lnTo>
                    <a:pt x="1010602" y="1476375"/>
                  </a:lnTo>
                  <a:lnTo>
                    <a:pt x="1009650" y="1479233"/>
                  </a:lnTo>
                  <a:lnTo>
                    <a:pt x="1002030" y="1491615"/>
                  </a:lnTo>
                  <a:lnTo>
                    <a:pt x="1001077" y="1494473"/>
                  </a:lnTo>
                  <a:lnTo>
                    <a:pt x="1001077" y="1497330"/>
                  </a:lnTo>
                  <a:lnTo>
                    <a:pt x="1001077" y="1499235"/>
                  </a:lnTo>
                  <a:lnTo>
                    <a:pt x="1003935" y="1506855"/>
                  </a:lnTo>
                  <a:lnTo>
                    <a:pt x="1003935" y="1509713"/>
                  </a:lnTo>
                  <a:lnTo>
                    <a:pt x="1002982" y="1516380"/>
                  </a:lnTo>
                  <a:lnTo>
                    <a:pt x="997267" y="1526858"/>
                  </a:lnTo>
                  <a:lnTo>
                    <a:pt x="990600" y="1544955"/>
                  </a:lnTo>
                  <a:lnTo>
                    <a:pt x="988695" y="1547813"/>
                  </a:lnTo>
                  <a:lnTo>
                    <a:pt x="982980" y="1553528"/>
                  </a:lnTo>
                  <a:lnTo>
                    <a:pt x="980122" y="1557338"/>
                  </a:lnTo>
                  <a:lnTo>
                    <a:pt x="979170" y="1560195"/>
                  </a:lnTo>
                  <a:lnTo>
                    <a:pt x="979170" y="1569720"/>
                  </a:lnTo>
                  <a:lnTo>
                    <a:pt x="980122" y="1575435"/>
                  </a:lnTo>
                  <a:lnTo>
                    <a:pt x="982027" y="1577340"/>
                  </a:lnTo>
                  <a:lnTo>
                    <a:pt x="983932" y="1578293"/>
                  </a:lnTo>
                  <a:lnTo>
                    <a:pt x="990600" y="1580198"/>
                  </a:lnTo>
                  <a:lnTo>
                    <a:pt x="992505" y="1582103"/>
                  </a:lnTo>
                  <a:lnTo>
                    <a:pt x="994410" y="1584008"/>
                  </a:lnTo>
                  <a:lnTo>
                    <a:pt x="995363" y="1586865"/>
                  </a:lnTo>
                  <a:lnTo>
                    <a:pt x="995363" y="1592580"/>
                  </a:lnTo>
                  <a:lnTo>
                    <a:pt x="994410" y="1602105"/>
                  </a:lnTo>
                  <a:lnTo>
                    <a:pt x="993457" y="1607820"/>
                  </a:lnTo>
                  <a:lnTo>
                    <a:pt x="990600" y="1610678"/>
                  </a:lnTo>
                  <a:lnTo>
                    <a:pt x="974407" y="1622108"/>
                  </a:lnTo>
                  <a:lnTo>
                    <a:pt x="969645" y="1626870"/>
                  </a:lnTo>
                  <a:lnTo>
                    <a:pt x="966788" y="1630680"/>
                  </a:lnTo>
                  <a:lnTo>
                    <a:pt x="958215" y="1652588"/>
                  </a:lnTo>
                  <a:lnTo>
                    <a:pt x="955357" y="1656398"/>
                  </a:lnTo>
                  <a:lnTo>
                    <a:pt x="952500" y="1661160"/>
                  </a:lnTo>
                  <a:lnTo>
                    <a:pt x="929640" y="1676400"/>
                  </a:lnTo>
                  <a:lnTo>
                    <a:pt x="926782" y="1679258"/>
                  </a:lnTo>
                  <a:lnTo>
                    <a:pt x="923925" y="1684020"/>
                  </a:lnTo>
                  <a:lnTo>
                    <a:pt x="910590" y="1696402"/>
                  </a:lnTo>
                  <a:lnTo>
                    <a:pt x="904875" y="1702118"/>
                  </a:lnTo>
                  <a:lnTo>
                    <a:pt x="900113" y="1709738"/>
                  </a:lnTo>
                  <a:lnTo>
                    <a:pt x="898207" y="1711643"/>
                  </a:lnTo>
                  <a:lnTo>
                    <a:pt x="888682" y="1719263"/>
                  </a:lnTo>
                  <a:lnTo>
                    <a:pt x="882967" y="1725930"/>
                  </a:lnTo>
                  <a:lnTo>
                    <a:pt x="870585" y="1748790"/>
                  </a:lnTo>
                  <a:lnTo>
                    <a:pt x="868680" y="1755458"/>
                  </a:lnTo>
                  <a:lnTo>
                    <a:pt x="868680" y="1758315"/>
                  </a:lnTo>
                  <a:lnTo>
                    <a:pt x="868680" y="1767840"/>
                  </a:lnTo>
                  <a:lnTo>
                    <a:pt x="868680" y="1770698"/>
                  </a:lnTo>
                  <a:lnTo>
                    <a:pt x="866775" y="1774508"/>
                  </a:lnTo>
                  <a:lnTo>
                    <a:pt x="862965" y="1778318"/>
                  </a:lnTo>
                  <a:lnTo>
                    <a:pt x="856297" y="1776413"/>
                  </a:lnTo>
                  <a:lnTo>
                    <a:pt x="852488" y="1774508"/>
                  </a:lnTo>
                  <a:lnTo>
                    <a:pt x="850582" y="1771650"/>
                  </a:lnTo>
                  <a:lnTo>
                    <a:pt x="847725" y="1766888"/>
                  </a:lnTo>
                  <a:lnTo>
                    <a:pt x="845820" y="1765935"/>
                  </a:lnTo>
                  <a:lnTo>
                    <a:pt x="842010" y="1765935"/>
                  </a:lnTo>
                  <a:lnTo>
                    <a:pt x="837247" y="1769745"/>
                  </a:lnTo>
                  <a:lnTo>
                    <a:pt x="831532" y="1775460"/>
                  </a:lnTo>
                  <a:lnTo>
                    <a:pt x="828675" y="1776413"/>
                  </a:lnTo>
                  <a:lnTo>
                    <a:pt x="822960" y="1777365"/>
                  </a:lnTo>
                  <a:lnTo>
                    <a:pt x="814388" y="1773555"/>
                  </a:lnTo>
                  <a:lnTo>
                    <a:pt x="811530" y="1772602"/>
                  </a:lnTo>
                  <a:lnTo>
                    <a:pt x="806767" y="1775460"/>
                  </a:lnTo>
                  <a:lnTo>
                    <a:pt x="803910" y="1778318"/>
                  </a:lnTo>
                  <a:lnTo>
                    <a:pt x="798195" y="1784985"/>
                  </a:lnTo>
                  <a:lnTo>
                    <a:pt x="796290" y="1786890"/>
                  </a:lnTo>
                  <a:lnTo>
                    <a:pt x="779145" y="1791652"/>
                  </a:lnTo>
                  <a:lnTo>
                    <a:pt x="769620" y="1798320"/>
                  </a:lnTo>
                  <a:lnTo>
                    <a:pt x="766763" y="1798320"/>
                  </a:lnTo>
                  <a:lnTo>
                    <a:pt x="763905" y="1798320"/>
                  </a:lnTo>
                  <a:lnTo>
                    <a:pt x="761047" y="1796415"/>
                  </a:lnTo>
                  <a:lnTo>
                    <a:pt x="759142" y="1793558"/>
                  </a:lnTo>
                  <a:lnTo>
                    <a:pt x="748665" y="1775460"/>
                  </a:lnTo>
                  <a:lnTo>
                    <a:pt x="744855" y="1771650"/>
                  </a:lnTo>
                  <a:lnTo>
                    <a:pt x="741997" y="1771650"/>
                  </a:lnTo>
                  <a:lnTo>
                    <a:pt x="737235" y="1771650"/>
                  </a:lnTo>
                  <a:lnTo>
                    <a:pt x="729615" y="1774508"/>
                  </a:lnTo>
                  <a:lnTo>
                    <a:pt x="722947" y="1773555"/>
                  </a:lnTo>
                  <a:lnTo>
                    <a:pt x="719138" y="1772602"/>
                  </a:lnTo>
                  <a:lnTo>
                    <a:pt x="715327" y="1768793"/>
                  </a:lnTo>
                  <a:lnTo>
                    <a:pt x="713422" y="1767840"/>
                  </a:lnTo>
                  <a:lnTo>
                    <a:pt x="710565" y="1767840"/>
                  </a:lnTo>
                  <a:lnTo>
                    <a:pt x="708660" y="1770698"/>
                  </a:lnTo>
                  <a:lnTo>
                    <a:pt x="701992" y="1784985"/>
                  </a:lnTo>
                  <a:lnTo>
                    <a:pt x="699135" y="1789748"/>
                  </a:lnTo>
                  <a:lnTo>
                    <a:pt x="697230" y="1790700"/>
                  </a:lnTo>
                  <a:lnTo>
                    <a:pt x="694372" y="1791652"/>
                  </a:lnTo>
                  <a:lnTo>
                    <a:pt x="679132" y="1783080"/>
                  </a:lnTo>
                  <a:lnTo>
                    <a:pt x="677227" y="1782127"/>
                  </a:lnTo>
                  <a:lnTo>
                    <a:pt x="674370" y="1782127"/>
                  </a:lnTo>
                  <a:lnTo>
                    <a:pt x="668655" y="1787843"/>
                  </a:lnTo>
                  <a:lnTo>
                    <a:pt x="665797" y="1789748"/>
                  </a:lnTo>
                  <a:lnTo>
                    <a:pt x="648652" y="1795463"/>
                  </a:lnTo>
                  <a:lnTo>
                    <a:pt x="644842" y="1795463"/>
                  </a:lnTo>
                  <a:lnTo>
                    <a:pt x="641032" y="1791652"/>
                  </a:lnTo>
                  <a:lnTo>
                    <a:pt x="636270" y="1784033"/>
                  </a:lnTo>
                  <a:lnTo>
                    <a:pt x="630555" y="1778318"/>
                  </a:lnTo>
                  <a:lnTo>
                    <a:pt x="625792" y="1775460"/>
                  </a:lnTo>
                  <a:lnTo>
                    <a:pt x="622935" y="1774508"/>
                  </a:lnTo>
                  <a:lnTo>
                    <a:pt x="619125" y="1774508"/>
                  </a:lnTo>
                  <a:lnTo>
                    <a:pt x="615315" y="1776413"/>
                  </a:lnTo>
                  <a:lnTo>
                    <a:pt x="609600" y="1779270"/>
                  </a:lnTo>
                  <a:lnTo>
                    <a:pt x="607695" y="1783080"/>
                  </a:lnTo>
                  <a:lnTo>
                    <a:pt x="605790" y="1785938"/>
                  </a:lnTo>
                  <a:lnTo>
                    <a:pt x="603885" y="1792605"/>
                  </a:lnTo>
                  <a:lnTo>
                    <a:pt x="603885" y="1799273"/>
                  </a:lnTo>
                  <a:lnTo>
                    <a:pt x="603885" y="1808798"/>
                  </a:lnTo>
                  <a:lnTo>
                    <a:pt x="602932" y="1811655"/>
                  </a:lnTo>
                  <a:lnTo>
                    <a:pt x="600075" y="1821180"/>
                  </a:lnTo>
                  <a:lnTo>
                    <a:pt x="589597" y="1864995"/>
                  </a:lnTo>
                  <a:lnTo>
                    <a:pt x="588645" y="1867852"/>
                  </a:lnTo>
                  <a:lnTo>
                    <a:pt x="585788" y="1869758"/>
                  </a:lnTo>
                  <a:lnTo>
                    <a:pt x="581025" y="1869758"/>
                  </a:lnTo>
                  <a:lnTo>
                    <a:pt x="576263" y="1866900"/>
                  </a:lnTo>
                  <a:lnTo>
                    <a:pt x="573405" y="1863090"/>
                  </a:lnTo>
                  <a:lnTo>
                    <a:pt x="573405" y="1860233"/>
                  </a:lnTo>
                  <a:lnTo>
                    <a:pt x="573405" y="1853565"/>
                  </a:lnTo>
                  <a:lnTo>
                    <a:pt x="572452" y="1851660"/>
                  </a:lnTo>
                  <a:lnTo>
                    <a:pt x="568642" y="1848802"/>
                  </a:lnTo>
                  <a:lnTo>
                    <a:pt x="476250" y="1829752"/>
                  </a:lnTo>
                  <a:lnTo>
                    <a:pt x="473392" y="1827848"/>
                  </a:lnTo>
                  <a:lnTo>
                    <a:pt x="471488" y="1825943"/>
                  </a:lnTo>
                  <a:lnTo>
                    <a:pt x="470535" y="1824038"/>
                  </a:lnTo>
                  <a:lnTo>
                    <a:pt x="470535" y="1821180"/>
                  </a:lnTo>
                  <a:lnTo>
                    <a:pt x="471488" y="1817370"/>
                  </a:lnTo>
                  <a:lnTo>
                    <a:pt x="474345" y="1812608"/>
                  </a:lnTo>
                  <a:lnTo>
                    <a:pt x="480060" y="1803083"/>
                  </a:lnTo>
                  <a:lnTo>
                    <a:pt x="481013" y="1800225"/>
                  </a:lnTo>
                  <a:lnTo>
                    <a:pt x="481013" y="1798320"/>
                  </a:lnTo>
                  <a:lnTo>
                    <a:pt x="479107" y="1796415"/>
                  </a:lnTo>
                  <a:lnTo>
                    <a:pt x="467677" y="1791652"/>
                  </a:lnTo>
                  <a:lnTo>
                    <a:pt x="464820" y="1791652"/>
                  </a:lnTo>
                  <a:lnTo>
                    <a:pt x="461963" y="1792605"/>
                  </a:lnTo>
                  <a:lnTo>
                    <a:pt x="456247" y="1799273"/>
                  </a:lnTo>
                  <a:lnTo>
                    <a:pt x="452438" y="1804035"/>
                  </a:lnTo>
                  <a:lnTo>
                    <a:pt x="444817" y="1807845"/>
                  </a:lnTo>
                  <a:lnTo>
                    <a:pt x="441007" y="1811655"/>
                  </a:lnTo>
                  <a:lnTo>
                    <a:pt x="439102" y="1814513"/>
                  </a:lnTo>
                  <a:lnTo>
                    <a:pt x="439102" y="1816418"/>
                  </a:lnTo>
                  <a:lnTo>
                    <a:pt x="441007" y="1820227"/>
                  </a:lnTo>
                  <a:lnTo>
                    <a:pt x="443865" y="1826895"/>
                  </a:lnTo>
                  <a:lnTo>
                    <a:pt x="445770" y="1831658"/>
                  </a:lnTo>
                  <a:lnTo>
                    <a:pt x="445770" y="1834515"/>
                  </a:lnTo>
                  <a:lnTo>
                    <a:pt x="442913" y="1835468"/>
                  </a:lnTo>
                  <a:lnTo>
                    <a:pt x="438150" y="1834515"/>
                  </a:lnTo>
                  <a:lnTo>
                    <a:pt x="436245" y="1833563"/>
                  </a:lnTo>
                  <a:lnTo>
                    <a:pt x="430530" y="1830705"/>
                  </a:lnTo>
                  <a:lnTo>
                    <a:pt x="427672" y="1829752"/>
                  </a:lnTo>
                  <a:lnTo>
                    <a:pt x="412432" y="1828800"/>
                  </a:lnTo>
                  <a:lnTo>
                    <a:pt x="408622" y="1827848"/>
                  </a:lnTo>
                  <a:lnTo>
                    <a:pt x="404813" y="1826895"/>
                  </a:lnTo>
                  <a:lnTo>
                    <a:pt x="401002" y="1828800"/>
                  </a:lnTo>
                  <a:lnTo>
                    <a:pt x="397192" y="1833563"/>
                  </a:lnTo>
                  <a:lnTo>
                    <a:pt x="391477" y="1842135"/>
                  </a:lnTo>
                  <a:lnTo>
                    <a:pt x="387667" y="1844040"/>
                  </a:lnTo>
                  <a:lnTo>
                    <a:pt x="382905" y="1844993"/>
                  </a:lnTo>
                  <a:lnTo>
                    <a:pt x="364807" y="1844993"/>
                  </a:lnTo>
                  <a:lnTo>
                    <a:pt x="360045" y="1846898"/>
                  </a:lnTo>
                  <a:lnTo>
                    <a:pt x="348615" y="1855470"/>
                  </a:lnTo>
                  <a:lnTo>
                    <a:pt x="341947" y="1858327"/>
                  </a:lnTo>
                  <a:lnTo>
                    <a:pt x="339090" y="1863090"/>
                  </a:lnTo>
                  <a:lnTo>
                    <a:pt x="336232" y="1871663"/>
                  </a:lnTo>
                  <a:lnTo>
                    <a:pt x="335280" y="1875473"/>
                  </a:lnTo>
                  <a:lnTo>
                    <a:pt x="330517" y="1883093"/>
                  </a:lnTo>
                  <a:lnTo>
                    <a:pt x="326707" y="1886902"/>
                  </a:lnTo>
                  <a:lnTo>
                    <a:pt x="319088" y="1894523"/>
                  </a:lnTo>
                  <a:lnTo>
                    <a:pt x="316230" y="1898333"/>
                  </a:lnTo>
                  <a:lnTo>
                    <a:pt x="316230" y="1901190"/>
                  </a:lnTo>
                  <a:lnTo>
                    <a:pt x="315277" y="1904048"/>
                  </a:lnTo>
                  <a:lnTo>
                    <a:pt x="317182" y="1912620"/>
                  </a:lnTo>
                  <a:lnTo>
                    <a:pt x="315277" y="1915477"/>
                  </a:lnTo>
                  <a:lnTo>
                    <a:pt x="311467" y="1917383"/>
                  </a:lnTo>
                  <a:lnTo>
                    <a:pt x="298132" y="1916430"/>
                  </a:lnTo>
                  <a:lnTo>
                    <a:pt x="266700" y="1920240"/>
                  </a:lnTo>
                  <a:lnTo>
                    <a:pt x="258127" y="1916430"/>
                  </a:lnTo>
                  <a:lnTo>
                    <a:pt x="247650" y="1908810"/>
                  </a:lnTo>
                  <a:lnTo>
                    <a:pt x="243840" y="1904048"/>
                  </a:lnTo>
                  <a:lnTo>
                    <a:pt x="241935" y="1900238"/>
                  </a:lnTo>
                  <a:lnTo>
                    <a:pt x="240982" y="1894523"/>
                  </a:lnTo>
                  <a:lnTo>
                    <a:pt x="241935" y="1891665"/>
                  </a:lnTo>
                  <a:lnTo>
                    <a:pt x="244792" y="1889760"/>
                  </a:lnTo>
                  <a:lnTo>
                    <a:pt x="248602" y="1887855"/>
                  </a:lnTo>
                  <a:lnTo>
                    <a:pt x="249555" y="1884998"/>
                  </a:lnTo>
                  <a:lnTo>
                    <a:pt x="244792" y="1880235"/>
                  </a:lnTo>
                  <a:lnTo>
                    <a:pt x="224790" y="1874520"/>
                  </a:lnTo>
                  <a:lnTo>
                    <a:pt x="220027" y="1863090"/>
                  </a:lnTo>
                  <a:lnTo>
                    <a:pt x="214313" y="1860233"/>
                  </a:lnTo>
                  <a:lnTo>
                    <a:pt x="205740" y="1861185"/>
                  </a:lnTo>
                  <a:lnTo>
                    <a:pt x="199072" y="1861185"/>
                  </a:lnTo>
                  <a:lnTo>
                    <a:pt x="195263" y="1859280"/>
                  </a:lnTo>
                  <a:lnTo>
                    <a:pt x="193357" y="1857375"/>
                  </a:lnTo>
                  <a:lnTo>
                    <a:pt x="192405" y="1853565"/>
                  </a:lnTo>
                  <a:lnTo>
                    <a:pt x="188595" y="1845945"/>
                  </a:lnTo>
                  <a:lnTo>
                    <a:pt x="179070" y="1831658"/>
                  </a:lnTo>
                  <a:lnTo>
                    <a:pt x="172402" y="1815465"/>
                  </a:lnTo>
                  <a:lnTo>
                    <a:pt x="169545" y="1812608"/>
                  </a:lnTo>
                  <a:lnTo>
                    <a:pt x="167640" y="1809750"/>
                  </a:lnTo>
                  <a:lnTo>
                    <a:pt x="165735" y="1808798"/>
                  </a:lnTo>
                  <a:lnTo>
                    <a:pt x="150495" y="1806893"/>
                  </a:lnTo>
                  <a:lnTo>
                    <a:pt x="144780" y="1804988"/>
                  </a:lnTo>
                  <a:lnTo>
                    <a:pt x="137160" y="1801177"/>
                  </a:lnTo>
                  <a:lnTo>
                    <a:pt x="134302" y="1797368"/>
                  </a:lnTo>
                  <a:lnTo>
                    <a:pt x="132397" y="1794510"/>
                  </a:lnTo>
                  <a:lnTo>
                    <a:pt x="132397" y="1787843"/>
                  </a:lnTo>
                  <a:lnTo>
                    <a:pt x="130492" y="1783080"/>
                  </a:lnTo>
                  <a:lnTo>
                    <a:pt x="128588" y="1777365"/>
                  </a:lnTo>
                  <a:lnTo>
                    <a:pt x="120967" y="1762125"/>
                  </a:lnTo>
                  <a:lnTo>
                    <a:pt x="120015" y="1754505"/>
                  </a:lnTo>
                  <a:lnTo>
                    <a:pt x="120967" y="1748790"/>
                  </a:lnTo>
                  <a:lnTo>
                    <a:pt x="122872" y="1744980"/>
                  </a:lnTo>
                  <a:lnTo>
                    <a:pt x="126682" y="1741170"/>
                  </a:lnTo>
                  <a:lnTo>
                    <a:pt x="152400" y="1724025"/>
                  </a:lnTo>
                  <a:lnTo>
                    <a:pt x="154305" y="1722120"/>
                  </a:lnTo>
                  <a:lnTo>
                    <a:pt x="157163" y="1716405"/>
                  </a:lnTo>
                  <a:lnTo>
                    <a:pt x="157163" y="1709738"/>
                  </a:lnTo>
                  <a:lnTo>
                    <a:pt x="157163" y="1699260"/>
                  </a:lnTo>
                  <a:lnTo>
                    <a:pt x="155257" y="1692593"/>
                  </a:lnTo>
                  <a:lnTo>
                    <a:pt x="143827" y="1667828"/>
                  </a:lnTo>
                  <a:lnTo>
                    <a:pt x="141922" y="1663065"/>
                  </a:lnTo>
                  <a:lnTo>
                    <a:pt x="141922" y="1660208"/>
                  </a:lnTo>
                  <a:lnTo>
                    <a:pt x="142875" y="1657350"/>
                  </a:lnTo>
                  <a:lnTo>
                    <a:pt x="145732" y="1654493"/>
                  </a:lnTo>
                  <a:lnTo>
                    <a:pt x="149542" y="1652588"/>
                  </a:lnTo>
                  <a:lnTo>
                    <a:pt x="153352" y="1649730"/>
                  </a:lnTo>
                  <a:lnTo>
                    <a:pt x="155257" y="1645920"/>
                  </a:lnTo>
                  <a:lnTo>
                    <a:pt x="156210" y="1636395"/>
                  </a:lnTo>
                  <a:lnTo>
                    <a:pt x="156210" y="1630680"/>
                  </a:lnTo>
                  <a:lnTo>
                    <a:pt x="155257" y="1626870"/>
                  </a:lnTo>
                  <a:lnTo>
                    <a:pt x="153352" y="1624013"/>
                  </a:lnTo>
                  <a:lnTo>
                    <a:pt x="132397" y="1613535"/>
                  </a:lnTo>
                  <a:lnTo>
                    <a:pt x="129540" y="1611630"/>
                  </a:lnTo>
                  <a:lnTo>
                    <a:pt x="125730" y="1607820"/>
                  </a:lnTo>
                  <a:lnTo>
                    <a:pt x="121920" y="1602105"/>
                  </a:lnTo>
                  <a:lnTo>
                    <a:pt x="120015" y="1597343"/>
                  </a:lnTo>
                  <a:lnTo>
                    <a:pt x="119063" y="1593533"/>
                  </a:lnTo>
                  <a:lnTo>
                    <a:pt x="118110" y="1584960"/>
                  </a:lnTo>
                  <a:lnTo>
                    <a:pt x="118110" y="1578293"/>
                  </a:lnTo>
                  <a:lnTo>
                    <a:pt x="119063" y="1571625"/>
                  </a:lnTo>
                  <a:lnTo>
                    <a:pt x="120015" y="1568768"/>
                  </a:lnTo>
                  <a:lnTo>
                    <a:pt x="125730" y="1558290"/>
                  </a:lnTo>
                  <a:lnTo>
                    <a:pt x="127635" y="1550670"/>
                  </a:lnTo>
                  <a:lnTo>
                    <a:pt x="128588" y="1544955"/>
                  </a:lnTo>
                  <a:lnTo>
                    <a:pt x="127635" y="1542098"/>
                  </a:lnTo>
                  <a:lnTo>
                    <a:pt x="126682" y="1539240"/>
                  </a:lnTo>
                  <a:lnTo>
                    <a:pt x="121920" y="1536383"/>
                  </a:lnTo>
                  <a:lnTo>
                    <a:pt x="119063" y="1534478"/>
                  </a:lnTo>
                  <a:lnTo>
                    <a:pt x="92392" y="1530668"/>
                  </a:lnTo>
                  <a:lnTo>
                    <a:pt x="94297" y="1518285"/>
                  </a:lnTo>
                  <a:lnTo>
                    <a:pt x="99060" y="1514475"/>
                  </a:lnTo>
                  <a:lnTo>
                    <a:pt x="106680" y="1510665"/>
                  </a:lnTo>
                  <a:lnTo>
                    <a:pt x="108585" y="1506855"/>
                  </a:lnTo>
                  <a:lnTo>
                    <a:pt x="110490" y="1503045"/>
                  </a:lnTo>
                  <a:lnTo>
                    <a:pt x="111442" y="1499235"/>
                  </a:lnTo>
                  <a:lnTo>
                    <a:pt x="111442" y="1492568"/>
                  </a:lnTo>
                  <a:lnTo>
                    <a:pt x="111442" y="1487805"/>
                  </a:lnTo>
                  <a:lnTo>
                    <a:pt x="110490" y="1484948"/>
                  </a:lnTo>
                  <a:lnTo>
                    <a:pt x="109538" y="1483043"/>
                  </a:lnTo>
                  <a:lnTo>
                    <a:pt x="103822" y="1483043"/>
                  </a:lnTo>
                  <a:lnTo>
                    <a:pt x="91440" y="1484948"/>
                  </a:lnTo>
                  <a:lnTo>
                    <a:pt x="84772" y="1484948"/>
                  </a:lnTo>
                  <a:lnTo>
                    <a:pt x="78105" y="1483995"/>
                  </a:lnTo>
                  <a:lnTo>
                    <a:pt x="78105" y="1480185"/>
                  </a:lnTo>
                  <a:lnTo>
                    <a:pt x="81915" y="1475423"/>
                  </a:lnTo>
                  <a:lnTo>
                    <a:pt x="84772" y="1470660"/>
                  </a:lnTo>
                  <a:lnTo>
                    <a:pt x="88582" y="1463040"/>
                  </a:lnTo>
                  <a:lnTo>
                    <a:pt x="91440" y="1453515"/>
                  </a:lnTo>
                  <a:lnTo>
                    <a:pt x="93345" y="1443038"/>
                  </a:lnTo>
                  <a:lnTo>
                    <a:pt x="94297" y="1437323"/>
                  </a:lnTo>
                  <a:lnTo>
                    <a:pt x="93345" y="1432560"/>
                  </a:lnTo>
                  <a:lnTo>
                    <a:pt x="90488" y="1426845"/>
                  </a:lnTo>
                  <a:lnTo>
                    <a:pt x="89535" y="1423035"/>
                  </a:lnTo>
                  <a:lnTo>
                    <a:pt x="87630" y="1416368"/>
                  </a:lnTo>
                  <a:lnTo>
                    <a:pt x="88582" y="1412558"/>
                  </a:lnTo>
                  <a:lnTo>
                    <a:pt x="89535" y="1409700"/>
                  </a:lnTo>
                  <a:lnTo>
                    <a:pt x="94297" y="1406843"/>
                  </a:lnTo>
                  <a:lnTo>
                    <a:pt x="96202" y="1405890"/>
                  </a:lnTo>
                  <a:lnTo>
                    <a:pt x="99060" y="1405890"/>
                  </a:lnTo>
                  <a:lnTo>
                    <a:pt x="105727" y="1406843"/>
                  </a:lnTo>
                  <a:lnTo>
                    <a:pt x="109538" y="1404938"/>
                  </a:lnTo>
                  <a:lnTo>
                    <a:pt x="112395" y="1402080"/>
                  </a:lnTo>
                  <a:lnTo>
                    <a:pt x="115252" y="1396365"/>
                  </a:lnTo>
                  <a:lnTo>
                    <a:pt x="118110" y="1394460"/>
                  </a:lnTo>
                  <a:lnTo>
                    <a:pt x="120967" y="1393508"/>
                  </a:lnTo>
                  <a:lnTo>
                    <a:pt x="125730" y="1394460"/>
                  </a:lnTo>
                  <a:lnTo>
                    <a:pt x="130492" y="1393508"/>
                  </a:lnTo>
                  <a:lnTo>
                    <a:pt x="149542" y="1379220"/>
                  </a:lnTo>
                  <a:lnTo>
                    <a:pt x="166688" y="1371600"/>
                  </a:lnTo>
                  <a:lnTo>
                    <a:pt x="170497" y="1368743"/>
                  </a:lnTo>
                  <a:lnTo>
                    <a:pt x="176213" y="1362075"/>
                  </a:lnTo>
                  <a:lnTo>
                    <a:pt x="179070" y="1361123"/>
                  </a:lnTo>
                  <a:lnTo>
                    <a:pt x="186690" y="1358265"/>
                  </a:lnTo>
                  <a:lnTo>
                    <a:pt x="189547" y="1356360"/>
                  </a:lnTo>
                  <a:lnTo>
                    <a:pt x="193357" y="1352550"/>
                  </a:lnTo>
                  <a:lnTo>
                    <a:pt x="201930" y="1341120"/>
                  </a:lnTo>
                  <a:lnTo>
                    <a:pt x="205740" y="1332548"/>
                  </a:lnTo>
                  <a:lnTo>
                    <a:pt x="208597" y="1328738"/>
                  </a:lnTo>
                  <a:lnTo>
                    <a:pt x="210502" y="1326833"/>
                  </a:lnTo>
                  <a:lnTo>
                    <a:pt x="224790" y="1319213"/>
                  </a:lnTo>
                  <a:lnTo>
                    <a:pt x="228600" y="1316355"/>
                  </a:lnTo>
                  <a:lnTo>
                    <a:pt x="240982" y="1303020"/>
                  </a:lnTo>
                  <a:lnTo>
                    <a:pt x="243840" y="1298258"/>
                  </a:lnTo>
                  <a:lnTo>
                    <a:pt x="244792" y="1293495"/>
                  </a:lnTo>
                  <a:lnTo>
                    <a:pt x="243840" y="1287780"/>
                  </a:lnTo>
                  <a:lnTo>
                    <a:pt x="213360" y="1238250"/>
                  </a:lnTo>
                  <a:lnTo>
                    <a:pt x="211455" y="1231583"/>
                  </a:lnTo>
                  <a:lnTo>
                    <a:pt x="211455" y="1225868"/>
                  </a:lnTo>
                  <a:lnTo>
                    <a:pt x="213360" y="1223010"/>
                  </a:lnTo>
                  <a:lnTo>
                    <a:pt x="216217" y="1219200"/>
                  </a:lnTo>
                  <a:lnTo>
                    <a:pt x="218122" y="1214438"/>
                  </a:lnTo>
                  <a:lnTo>
                    <a:pt x="210502" y="1183958"/>
                  </a:lnTo>
                  <a:lnTo>
                    <a:pt x="209550" y="1176338"/>
                  </a:lnTo>
                  <a:lnTo>
                    <a:pt x="209550" y="1171575"/>
                  </a:lnTo>
                  <a:lnTo>
                    <a:pt x="210502" y="1167765"/>
                  </a:lnTo>
                  <a:lnTo>
                    <a:pt x="212407" y="1164908"/>
                  </a:lnTo>
                  <a:lnTo>
                    <a:pt x="215265" y="1163955"/>
                  </a:lnTo>
                  <a:lnTo>
                    <a:pt x="232410" y="1159193"/>
                  </a:lnTo>
                  <a:lnTo>
                    <a:pt x="236220" y="1157288"/>
                  </a:lnTo>
                  <a:lnTo>
                    <a:pt x="240030" y="1153478"/>
                  </a:lnTo>
                  <a:lnTo>
                    <a:pt x="243840" y="1144905"/>
                  </a:lnTo>
                  <a:lnTo>
                    <a:pt x="243840" y="1141095"/>
                  </a:lnTo>
                  <a:lnTo>
                    <a:pt x="242888" y="1137285"/>
                  </a:lnTo>
                  <a:lnTo>
                    <a:pt x="240030" y="1132523"/>
                  </a:lnTo>
                  <a:lnTo>
                    <a:pt x="240030" y="1122045"/>
                  </a:lnTo>
                  <a:lnTo>
                    <a:pt x="240030" y="1116330"/>
                  </a:lnTo>
                  <a:lnTo>
                    <a:pt x="238125" y="1112520"/>
                  </a:lnTo>
                  <a:lnTo>
                    <a:pt x="236220" y="1110615"/>
                  </a:lnTo>
                  <a:lnTo>
                    <a:pt x="228600" y="1105853"/>
                  </a:lnTo>
                  <a:lnTo>
                    <a:pt x="224790" y="1102995"/>
                  </a:lnTo>
                  <a:lnTo>
                    <a:pt x="223838" y="1100138"/>
                  </a:lnTo>
                  <a:lnTo>
                    <a:pt x="221932" y="1095375"/>
                  </a:lnTo>
                  <a:lnTo>
                    <a:pt x="220980" y="1092518"/>
                  </a:lnTo>
                  <a:lnTo>
                    <a:pt x="221932" y="1074420"/>
                  </a:lnTo>
                  <a:lnTo>
                    <a:pt x="220980" y="1064895"/>
                  </a:lnTo>
                  <a:lnTo>
                    <a:pt x="223838" y="1032510"/>
                  </a:lnTo>
                  <a:lnTo>
                    <a:pt x="223838" y="1024890"/>
                  </a:lnTo>
                  <a:lnTo>
                    <a:pt x="221932" y="1021080"/>
                  </a:lnTo>
                  <a:lnTo>
                    <a:pt x="215265" y="1018223"/>
                  </a:lnTo>
                  <a:lnTo>
                    <a:pt x="213360" y="1017270"/>
                  </a:lnTo>
                  <a:lnTo>
                    <a:pt x="209550" y="1013460"/>
                  </a:lnTo>
                  <a:lnTo>
                    <a:pt x="204788" y="1004888"/>
                  </a:lnTo>
                  <a:lnTo>
                    <a:pt x="199072" y="989648"/>
                  </a:lnTo>
                  <a:lnTo>
                    <a:pt x="195263" y="984885"/>
                  </a:lnTo>
                  <a:lnTo>
                    <a:pt x="193357" y="982980"/>
                  </a:lnTo>
                  <a:lnTo>
                    <a:pt x="186690" y="982028"/>
                  </a:lnTo>
                  <a:lnTo>
                    <a:pt x="180022" y="982028"/>
                  </a:lnTo>
                  <a:lnTo>
                    <a:pt x="178117" y="980123"/>
                  </a:lnTo>
                  <a:lnTo>
                    <a:pt x="175260" y="975360"/>
                  </a:lnTo>
                  <a:lnTo>
                    <a:pt x="173355" y="962978"/>
                  </a:lnTo>
                  <a:lnTo>
                    <a:pt x="166688" y="944880"/>
                  </a:lnTo>
                  <a:lnTo>
                    <a:pt x="163830" y="922020"/>
                  </a:lnTo>
                  <a:lnTo>
                    <a:pt x="161925" y="918210"/>
                  </a:lnTo>
                  <a:lnTo>
                    <a:pt x="156210" y="909638"/>
                  </a:lnTo>
                  <a:lnTo>
                    <a:pt x="149542" y="901065"/>
                  </a:lnTo>
                  <a:lnTo>
                    <a:pt x="145732" y="897255"/>
                  </a:lnTo>
                  <a:lnTo>
                    <a:pt x="142875" y="896303"/>
                  </a:lnTo>
                  <a:lnTo>
                    <a:pt x="140017" y="895350"/>
                  </a:lnTo>
                  <a:lnTo>
                    <a:pt x="117157" y="896303"/>
                  </a:lnTo>
                  <a:lnTo>
                    <a:pt x="114300" y="896303"/>
                  </a:lnTo>
                  <a:lnTo>
                    <a:pt x="94297" y="904875"/>
                  </a:lnTo>
                  <a:lnTo>
                    <a:pt x="91440" y="905828"/>
                  </a:lnTo>
                  <a:lnTo>
                    <a:pt x="88582" y="905828"/>
                  </a:lnTo>
                  <a:lnTo>
                    <a:pt x="84772" y="902970"/>
                  </a:lnTo>
                  <a:lnTo>
                    <a:pt x="81915" y="897255"/>
                  </a:lnTo>
                  <a:lnTo>
                    <a:pt x="80963" y="893445"/>
                  </a:lnTo>
                  <a:lnTo>
                    <a:pt x="82867" y="890588"/>
                  </a:lnTo>
                  <a:lnTo>
                    <a:pt x="94297" y="889635"/>
                  </a:lnTo>
                  <a:lnTo>
                    <a:pt x="97155" y="888683"/>
                  </a:lnTo>
                  <a:lnTo>
                    <a:pt x="100013" y="886778"/>
                  </a:lnTo>
                  <a:lnTo>
                    <a:pt x="102870" y="881063"/>
                  </a:lnTo>
                  <a:lnTo>
                    <a:pt x="102870" y="878205"/>
                  </a:lnTo>
                  <a:lnTo>
                    <a:pt x="100965" y="876300"/>
                  </a:lnTo>
                  <a:lnTo>
                    <a:pt x="92392" y="871538"/>
                  </a:lnTo>
                  <a:lnTo>
                    <a:pt x="90488" y="868680"/>
                  </a:lnTo>
                  <a:lnTo>
                    <a:pt x="90488" y="865823"/>
                  </a:lnTo>
                  <a:lnTo>
                    <a:pt x="91440" y="862965"/>
                  </a:lnTo>
                  <a:lnTo>
                    <a:pt x="93345" y="862013"/>
                  </a:lnTo>
                  <a:lnTo>
                    <a:pt x="96202" y="862013"/>
                  </a:lnTo>
                  <a:lnTo>
                    <a:pt x="105727" y="863918"/>
                  </a:lnTo>
                  <a:lnTo>
                    <a:pt x="108585" y="863918"/>
                  </a:lnTo>
                  <a:lnTo>
                    <a:pt x="110490" y="862965"/>
                  </a:lnTo>
                  <a:lnTo>
                    <a:pt x="112395" y="861060"/>
                  </a:lnTo>
                  <a:lnTo>
                    <a:pt x="115252" y="855345"/>
                  </a:lnTo>
                  <a:lnTo>
                    <a:pt x="120015" y="839153"/>
                  </a:lnTo>
                  <a:lnTo>
                    <a:pt x="120967" y="832485"/>
                  </a:lnTo>
                  <a:lnTo>
                    <a:pt x="120015" y="830580"/>
                  </a:lnTo>
                  <a:lnTo>
                    <a:pt x="117157" y="825818"/>
                  </a:lnTo>
                  <a:lnTo>
                    <a:pt x="111442" y="822960"/>
                  </a:lnTo>
                  <a:lnTo>
                    <a:pt x="108585" y="820103"/>
                  </a:lnTo>
                  <a:lnTo>
                    <a:pt x="106680" y="813435"/>
                  </a:lnTo>
                  <a:lnTo>
                    <a:pt x="106680" y="809625"/>
                  </a:lnTo>
                  <a:lnTo>
                    <a:pt x="108585" y="807720"/>
                  </a:lnTo>
                  <a:lnTo>
                    <a:pt x="114300" y="806768"/>
                  </a:lnTo>
                  <a:lnTo>
                    <a:pt x="117157" y="805815"/>
                  </a:lnTo>
                  <a:lnTo>
                    <a:pt x="120015" y="801053"/>
                  </a:lnTo>
                  <a:lnTo>
                    <a:pt x="124777" y="785813"/>
                  </a:lnTo>
                  <a:lnTo>
                    <a:pt x="127635" y="776288"/>
                  </a:lnTo>
                  <a:lnTo>
                    <a:pt x="126682" y="773430"/>
                  </a:lnTo>
                  <a:lnTo>
                    <a:pt x="125730" y="770573"/>
                  </a:lnTo>
                  <a:lnTo>
                    <a:pt x="116205" y="763905"/>
                  </a:lnTo>
                  <a:lnTo>
                    <a:pt x="112395" y="759143"/>
                  </a:lnTo>
                  <a:lnTo>
                    <a:pt x="109538" y="754380"/>
                  </a:lnTo>
                  <a:lnTo>
                    <a:pt x="109538" y="751523"/>
                  </a:lnTo>
                  <a:lnTo>
                    <a:pt x="110490" y="747713"/>
                  </a:lnTo>
                  <a:lnTo>
                    <a:pt x="115252" y="736283"/>
                  </a:lnTo>
                  <a:lnTo>
                    <a:pt x="120967" y="727710"/>
                  </a:lnTo>
                  <a:lnTo>
                    <a:pt x="135255" y="704850"/>
                  </a:lnTo>
                  <a:lnTo>
                    <a:pt x="140017" y="693420"/>
                  </a:lnTo>
                  <a:lnTo>
                    <a:pt x="143827" y="688658"/>
                  </a:lnTo>
                  <a:lnTo>
                    <a:pt x="160020" y="680085"/>
                  </a:lnTo>
                  <a:lnTo>
                    <a:pt x="162877" y="677228"/>
                  </a:lnTo>
                  <a:lnTo>
                    <a:pt x="165735" y="673418"/>
                  </a:lnTo>
                  <a:lnTo>
                    <a:pt x="168592" y="665798"/>
                  </a:lnTo>
                  <a:lnTo>
                    <a:pt x="169545" y="661035"/>
                  </a:lnTo>
                  <a:lnTo>
                    <a:pt x="169545" y="657225"/>
                  </a:lnTo>
                  <a:lnTo>
                    <a:pt x="161925" y="628650"/>
                  </a:lnTo>
                  <a:lnTo>
                    <a:pt x="160020" y="616268"/>
                  </a:lnTo>
                  <a:lnTo>
                    <a:pt x="158115" y="608648"/>
                  </a:lnTo>
                  <a:lnTo>
                    <a:pt x="156210" y="605790"/>
                  </a:lnTo>
                  <a:lnTo>
                    <a:pt x="152400" y="601980"/>
                  </a:lnTo>
                  <a:lnTo>
                    <a:pt x="146685" y="600075"/>
                  </a:lnTo>
                  <a:lnTo>
                    <a:pt x="140017" y="599123"/>
                  </a:lnTo>
                  <a:lnTo>
                    <a:pt x="120015" y="601028"/>
                  </a:lnTo>
                  <a:lnTo>
                    <a:pt x="118110" y="601028"/>
                  </a:lnTo>
                  <a:lnTo>
                    <a:pt x="115252" y="599123"/>
                  </a:lnTo>
                  <a:lnTo>
                    <a:pt x="114300" y="595313"/>
                  </a:lnTo>
                  <a:lnTo>
                    <a:pt x="114300" y="592455"/>
                  </a:lnTo>
                  <a:lnTo>
                    <a:pt x="124777" y="533400"/>
                  </a:lnTo>
                  <a:lnTo>
                    <a:pt x="123825" y="527685"/>
                  </a:lnTo>
                  <a:lnTo>
                    <a:pt x="122872" y="523875"/>
                  </a:lnTo>
                  <a:lnTo>
                    <a:pt x="121920" y="521970"/>
                  </a:lnTo>
                  <a:lnTo>
                    <a:pt x="109538" y="507683"/>
                  </a:lnTo>
                  <a:lnTo>
                    <a:pt x="80010" y="461010"/>
                  </a:lnTo>
                  <a:lnTo>
                    <a:pt x="78105" y="459105"/>
                  </a:lnTo>
                  <a:lnTo>
                    <a:pt x="75247" y="458153"/>
                  </a:lnTo>
                  <a:lnTo>
                    <a:pt x="72390" y="458153"/>
                  </a:lnTo>
                  <a:lnTo>
                    <a:pt x="69532" y="456248"/>
                  </a:lnTo>
                  <a:lnTo>
                    <a:pt x="66675" y="451485"/>
                  </a:lnTo>
                  <a:lnTo>
                    <a:pt x="63817" y="440055"/>
                  </a:lnTo>
                  <a:lnTo>
                    <a:pt x="64770" y="435293"/>
                  </a:lnTo>
                  <a:lnTo>
                    <a:pt x="66675" y="432435"/>
                  </a:lnTo>
                  <a:lnTo>
                    <a:pt x="83820" y="432435"/>
                  </a:lnTo>
                  <a:lnTo>
                    <a:pt x="86677" y="433388"/>
                  </a:lnTo>
                  <a:lnTo>
                    <a:pt x="89535" y="434340"/>
                  </a:lnTo>
                  <a:lnTo>
                    <a:pt x="96202" y="440055"/>
                  </a:lnTo>
                  <a:lnTo>
                    <a:pt x="98107" y="441008"/>
                  </a:lnTo>
                  <a:lnTo>
                    <a:pt x="100965" y="441008"/>
                  </a:lnTo>
                  <a:lnTo>
                    <a:pt x="102870" y="435293"/>
                  </a:lnTo>
                  <a:lnTo>
                    <a:pt x="102870" y="429578"/>
                  </a:lnTo>
                  <a:lnTo>
                    <a:pt x="100965" y="410528"/>
                  </a:lnTo>
                  <a:lnTo>
                    <a:pt x="100965" y="404813"/>
                  </a:lnTo>
                  <a:lnTo>
                    <a:pt x="101917" y="395288"/>
                  </a:lnTo>
                  <a:lnTo>
                    <a:pt x="102870" y="391478"/>
                  </a:lnTo>
                  <a:lnTo>
                    <a:pt x="105727" y="385763"/>
                  </a:lnTo>
                  <a:lnTo>
                    <a:pt x="112395" y="375285"/>
                  </a:lnTo>
                  <a:lnTo>
                    <a:pt x="115252" y="369570"/>
                  </a:lnTo>
                  <a:lnTo>
                    <a:pt x="115252" y="365760"/>
                  </a:lnTo>
                  <a:lnTo>
                    <a:pt x="115252" y="361950"/>
                  </a:lnTo>
                  <a:lnTo>
                    <a:pt x="114300" y="360045"/>
                  </a:lnTo>
                  <a:lnTo>
                    <a:pt x="111442" y="354330"/>
                  </a:lnTo>
                  <a:lnTo>
                    <a:pt x="107632" y="350520"/>
                  </a:lnTo>
                  <a:lnTo>
                    <a:pt x="105727" y="348615"/>
                  </a:lnTo>
                  <a:lnTo>
                    <a:pt x="100965" y="345758"/>
                  </a:lnTo>
                  <a:lnTo>
                    <a:pt x="87630" y="341948"/>
                  </a:lnTo>
                  <a:lnTo>
                    <a:pt x="85725" y="340043"/>
                  </a:lnTo>
                  <a:lnTo>
                    <a:pt x="82867" y="338138"/>
                  </a:lnTo>
                  <a:lnTo>
                    <a:pt x="81915" y="335280"/>
                  </a:lnTo>
                  <a:lnTo>
                    <a:pt x="80963" y="329565"/>
                  </a:lnTo>
                  <a:lnTo>
                    <a:pt x="79057" y="324803"/>
                  </a:lnTo>
                  <a:lnTo>
                    <a:pt x="77152" y="321945"/>
                  </a:lnTo>
                  <a:lnTo>
                    <a:pt x="74295" y="318135"/>
                  </a:lnTo>
                  <a:lnTo>
                    <a:pt x="58102" y="302895"/>
                  </a:lnTo>
                  <a:lnTo>
                    <a:pt x="48577" y="296228"/>
                  </a:lnTo>
                  <a:lnTo>
                    <a:pt x="42863" y="294323"/>
                  </a:lnTo>
                  <a:lnTo>
                    <a:pt x="40005" y="294323"/>
                  </a:lnTo>
                  <a:lnTo>
                    <a:pt x="37147" y="294323"/>
                  </a:lnTo>
                  <a:lnTo>
                    <a:pt x="36195" y="296228"/>
                  </a:lnTo>
                  <a:lnTo>
                    <a:pt x="24765" y="314325"/>
                  </a:lnTo>
                  <a:lnTo>
                    <a:pt x="23813" y="316230"/>
                  </a:lnTo>
                  <a:lnTo>
                    <a:pt x="21907" y="317183"/>
                  </a:lnTo>
                  <a:lnTo>
                    <a:pt x="20002" y="313373"/>
                  </a:lnTo>
                  <a:lnTo>
                    <a:pt x="18097" y="307658"/>
                  </a:lnTo>
                  <a:lnTo>
                    <a:pt x="15240" y="296228"/>
                  </a:lnTo>
                  <a:lnTo>
                    <a:pt x="9525" y="252413"/>
                  </a:lnTo>
                  <a:lnTo>
                    <a:pt x="0" y="216218"/>
                  </a:lnTo>
                  <a:lnTo>
                    <a:pt x="0" y="212408"/>
                  </a:lnTo>
                  <a:lnTo>
                    <a:pt x="2857" y="211455"/>
                  </a:lnTo>
                  <a:lnTo>
                    <a:pt x="9525" y="210503"/>
                  </a:lnTo>
                  <a:lnTo>
                    <a:pt x="15240" y="209550"/>
                  </a:lnTo>
                  <a:lnTo>
                    <a:pt x="24765" y="203835"/>
                  </a:lnTo>
                  <a:lnTo>
                    <a:pt x="40957" y="191453"/>
                  </a:lnTo>
                  <a:lnTo>
                    <a:pt x="47625" y="184785"/>
                  </a:lnTo>
                  <a:lnTo>
                    <a:pt x="54292" y="176213"/>
                  </a:lnTo>
                  <a:lnTo>
                    <a:pt x="60007" y="164783"/>
                  </a:lnTo>
                  <a:lnTo>
                    <a:pt x="60960" y="158115"/>
                  </a:lnTo>
                  <a:lnTo>
                    <a:pt x="61913" y="148590"/>
                  </a:lnTo>
                  <a:lnTo>
                    <a:pt x="63817" y="117158"/>
                  </a:lnTo>
                  <a:lnTo>
                    <a:pt x="62865" y="110490"/>
                  </a:lnTo>
                  <a:lnTo>
                    <a:pt x="62865" y="108585"/>
                  </a:lnTo>
                  <a:lnTo>
                    <a:pt x="60960" y="105728"/>
                  </a:lnTo>
                  <a:lnTo>
                    <a:pt x="59055" y="106680"/>
                  </a:lnTo>
                  <a:lnTo>
                    <a:pt x="54292" y="109538"/>
                  </a:lnTo>
                  <a:lnTo>
                    <a:pt x="52388" y="110490"/>
                  </a:lnTo>
                  <a:lnTo>
                    <a:pt x="49530" y="109538"/>
                  </a:lnTo>
                  <a:lnTo>
                    <a:pt x="46672" y="105728"/>
                  </a:lnTo>
                  <a:lnTo>
                    <a:pt x="42863" y="98108"/>
                  </a:lnTo>
                  <a:lnTo>
                    <a:pt x="57150" y="85725"/>
                  </a:lnTo>
                  <a:lnTo>
                    <a:pt x="69532" y="81915"/>
                  </a:lnTo>
                  <a:lnTo>
                    <a:pt x="92392" y="91440"/>
                  </a:lnTo>
                  <a:lnTo>
                    <a:pt x="102870" y="91440"/>
                  </a:lnTo>
                  <a:lnTo>
                    <a:pt x="110490" y="77153"/>
                  </a:lnTo>
                  <a:lnTo>
                    <a:pt x="118110" y="57150"/>
                  </a:lnTo>
                  <a:lnTo>
                    <a:pt x="123825" y="46673"/>
                  </a:lnTo>
                  <a:lnTo>
                    <a:pt x="130492" y="42863"/>
                  </a:lnTo>
                  <a:lnTo>
                    <a:pt x="144780" y="41910"/>
                  </a:lnTo>
                  <a:lnTo>
                    <a:pt x="156210" y="36195"/>
                  </a:lnTo>
                  <a:lnTo>
                    <a:pt x="164782" y="27623"/>
                  </a:lnTo>
                  <a:lnTo>
                    <a:pt x="172402" y="16193"/>
                  </a:lnTo>
                  <a:lnTo>
                    <a:pt x="182880" y="5715"/>
                  </a:lnTo>
                  <a:lnTo>
                    <a:pt x="193357" y="1905"/>
                  </a:lnTo>
                  <a:lnTo>
                    <a:pt x="205740" y="0"/>
                  </a:lnTo>
                  <a:lnTo>
                    <a:pt x="217170" y="953"/>
                  </a:lnTo>
                  <a:lnTo>
                    <a:pt x="225742" y="7620"/>
                  </a:lnTo>
                  <a:lnTo>
                    <a:pt x="234315" y="22860"/>
                  </a:lnTo>
                  <a:lnTo>
                    <a:pt x="239077" y="36195"/>
                  </a:lnTo>
                  <a:lnTo>
                    <a:pt x="245745" y="44768"/>
                  </a:lnTo>
                  <a:lnTo>
                    <a:pt x="294322" y="53340"/>
                  </a:lnTo>
                  <a:lnTo>
                    <a:pt x="303847" y="50483"/>
                  </a:lnTo>
                  <a:lnTo>
                    <a:pt x="308610" y="44768"/>
                  </a:lnTo>
                  <a:lnTo>
                    <a:pt x="317182" y="28575"/>
                  </a:lnTo>
                  <a:lnTo>
                    <a:pt x="323850" y="23813"/>
                  </a:lnTo>
                  <a:lnTo>
                    <a:pt x="329565" y="24765"/>
                  </a:lnTo>
                  <a:lnTo>
                    <a:pt x="338138" y="30480"/>
                  </a:lnTo>
                  <a:lnTo>
                    <a:pt x="344805" y="29528"/>
                  </a:lnTo>
                  <a:lnTo>
                    <a:pt x="377190" y="12383"/>
                  </a:lnTo>
                  <a:lnTo>
                    <a:pt x="388620" y="9525"/>
                  </a:lnTo>
                  <a:lnTo>
                    <a:pt x="462915" y="7620"/>
                  </a:lnTo>
                  <a:lnTo>
                    <a:pt x="478155" y="11430"/>
                  </a:lnTo>
                  <a:lnTo>
                    <a:pt x="492442" y="21908"/>
                  </a:lnTo>
                  <a:lnTo>
                    <a:pt x="512445" y="49530"/>
                  </a:lnTo>
                  <a:lnTo>
                    <a:pt x="520065" y="57150"/>
                  </a:lnTo>
                  <a:lnTo>
                    <a:pt x="546735" y="70485"/>
                  </a:lnTo>
                  <a:lnTo>
                    <a:pt x="553402" y="77153"/>
                  </a:lnTo>
                  <a:lnTo>
                    <a:pt x="556260" y="82868"/>
                  </a:lnTo>
                  <a:lnTo>
                    <a:pt x="558165" y="88583"/>
                  </a:lnTo>
                  <a:lnTo>
                    <a:pt x="558165" y="95250"/>
                  </a:lnTo>
                  <a:lnTo>
                    <a:pt x="558165" y="103823"/>
                  </a:lnTo>
                  <a:lnTo>
                    <a:pt x="557213" y="110490"/>
                  </a:lnTo>
                  <a:lnTo>
                    <a:pt x="553402" y="127635"/>
                  </a:lnTo>
                  <a:lnTo>
                    <a:pt x="551497" y="128588"/>
                  </a:lnTo>
                  <a:lnTo>
                    <a:pt x="555307" y="138113"/>
                  </a:lnTo>
                  <a:lnTo>
                    <a:pt x="571500" y="159068"/>
                  </a:lnTo>
                  <a:lnTo>
                    <a:pt x="578167" y="164783"/>
                  </a:lnTo>
                  <a:lnTo>
                    <a:pt x="586740" y="168593"/>
                  </a:lnTo>
                  <a:lnTo>
                    <a:pt x="601980" y="168593"/>
                  </a:lnTo>
                  <a:lnTo>
                    <a:pt x="609600" y="170498"/>
                  </a:lnTo>
                  <a:lnTo>
                    <a:pt x="618172" y="177165"/>
                  </a:lnTo>
                  <a:lnTo>
                    <a:pt x="629602" y="195263"/>
                  </a:lnTo>
                  <a:lnTo>
                    <a:pt x="638175" y="198120"/>
                  </a:lnTo>
                  <a:lnTo>
                    <a:pt x="644842" y="197168"/>
                  </a:lnTo>
                  <a:lnTo>
                    <a:pt x="652463" y="199073"/>
                  </a:lnTo>
                  <a:lnTo>
                    <a:pt x="659130" y="202883"/>
                  </a:lnTo>
                  <a:lnTo>
                    <a:pt x="664845" y="209550"/>
                  </a:lnTo>
                  <a:lnTo>
                    <a:pt x="668655" y="218123"/>
                  </a:lnTo>
                  <a:lnTo>
                    <a:pt x="674370" y="216218"/>
                  </a:lnTo>
                  <a:lnTo>
                    <a:pt x="677227" y="211455"/>
                  </a:lnTo>
                  <a:close/>
                  <a:moveTo>
                    <a:pt x="828675" y="762953"/>
                  </a:moveTo>
                  <a:lnTo>
                    <a:pt x="824865" y="717233"/>
                  </a:lnTo>
                  <a:lnTo>
                    <a:pt x="802005" y="704850"/>
                  </a:lnTo>
                  <a:lnTo>
                    <a:pt x="773430" y="692468"/>
                  </a:lnTo>
                  <a:lnTo>
                    <a:pt x="762000" y="705803"/>
                  </a:lnTo>
                  <a:lnTo>
                    <a:pt x="762952" y="729615"/>
                  </a:lnTo>
                  <a:lnTo>
                    <a:pt x="751522" y="740093"/>
                  </a:lnTo>
                  <a:lnTo>
                    <a:pt x="734377" y="746760"/>
                  </a:lnTo>
                  <a:lnTo>
                    <a:pt x="725805" y="769620"/>
                  </a:lnTo>
                  <a:lnTo>
                    <a:pt x="675322" y="764858"/>
                  </a:lnTo>
                  <a:lnTo>
                    <a:pt x="668655" y="772478"/>
                  </a:lnTo>
                  <a:lnTo>
                    <a:pt x="673417" y="791528"/>
                  </a:lnTo>
                  <a:lnTo>
                    <a:pt x="660082" y="783908"/>
                  </a:lnTo>
                  <a:lnTo>
                    <a:pt x="649605" y="766763"/>
                  </a:lnTo>
                  <a:lnTo>
                    <a:pt x="635317" y="752475"/>
                  </a:lnTo>
                  <a:lnTo>
                    <a:pt x="627697" y="723900"/>
                  </a:lnTo>
                  <a:lnTo>
                    <a:pt x="615315" y="721043"/>
                  </a:lnTo>
                  <a:lnTo>
                    <a:pt x="612457" y="697230"/>
                  </a:lnTo>
                  <a:lnTo>
                    <a:pt x="560070" y="697230"/>
                  </a:lnTo>
                  <a:lnTo>
                    <a:pt x="560070" y="718185"/>
                  </a:lnTo>
                  <a:lnTo>
                    <a:pt x="526732" y="721995"/>
                  </a:lnTo>
                  <a:lnTo>
                    <a:pt x="538163" y="741998"/>
                  </a:lnTo>
                  <a:lnTo>
                    <a:pt x="535305" y="758190"/>
                  </a:lnTo>
                  <a:lnTo>
                    <a:pt x="525780" y="742950"/>
                  </a:lnTo>
                  <a:lnTo>
                    <a:pt x="516255" y="748665"/>
                  </a:lnTo>
                  <a:lnTo>
                    <a:pt x="521017" y="762000"/>
                  </a:lnTo>
                  <a:lnTo>
                    <a:pt x="521017" y="777240"/>
                  </a:lnTo>
                  <a:lnTo>
                    <a:pt x="510540" y="786765"/>
                  </a:lnTo>
                  <a:lnTo>
                    <a:pt x="499110" y="797243"/>
                  </a:lnTo>
                  <a:lnTo>
                    <a:pt x="496252" y="811530"/>
                  </a:lnTo>
                  <a:lnTo>
                    <a:pt x="499110" y="827723"/>
                  </a:lnTo>
                  <a:lnTo>
                    <a:pt x="496252" y="842963"/>
                  </a:lnTo>
                  <a:lnTo>
                    <a:pt x="489585" y="850583"/>
                  </a:lnTo>
                  <a:lnTo>
                    <a:pt x="490538" y="863918"/>
                  </a:lnTo>
                  <a:lnTo>
                    <a:pt x="491490" y="878205"/>
                  </a:lnTo>
                  <a:lnTo>
                    <a:pt x="485775" y="890588"/>
                  </a:lnTo>
                  <a:lnTo>
                    <a:pt x="484822" y="904875"/>
                  </a:lnTo>
                  <a:lnTo>
                    <a:pt x="481965" y="925830"/>
                  </a:lnTo>
                  <a:lnTo>
                    <a:pt x="487680" y="936308"/>
                  </a:lnTo>
                  <a:lnTo>
                    <a:pt x="493395" y="927735"/>
                  </a:lnTo>
                  <a:lnTo>
                    <a:pt x="501967" y="929640"/>
                  </a:lnTo>
                  <a:lnTo>
                    <a:pt x="509588" y="902970"/>
                  </a:lnTo>
                  <a:lnTo>
                    <a:pt x="532447" y="909638"/>
                  </a:lnTo>
                  <a:lnTo>
                    <a:pt x="543877" y="902970"/>
                  </a:lnTo>
                  <a:lnTo>
                    <a:pt x="552450" y="908685"/>
                  </a:lnTo>
                  <a:lnTo>
                    <a:pt x="559117" y="941070"/>
                  </a:lnTo>
                  <a:lnTo>
                    <a:pt x="573405" y="958215"/>
                  </a:lnTo>
                  <a:lnTo>
                    <a:pt x="589597" y="972503"/>
                  </a:lnTo>
                  <a:lnTo>
                    <a:pt x="601980" y="994410"/>
                  </a:lnTo>
                  <a:lnTo>
                    <a:pt x="597217" y="1010603"/>
                  </a:lnTo>
                  <a:lnTo>
                    <a:pt x="601027" y="1029653"/>
                  </a:lnTo>
                  <a:lnTo>
                    <a:pt x="610552" y="1029653"/>
                  </a:lnTo>
                  <a:lnTo>
                    <a:pt x="619125" y="1027748"/>
                  </a:lnTo>
                  <a:lnTo>
                    <a:pt x="622935" y="1046798"/>
                  </a:lnTo>
                  <a:lnTo>
                    <a:pt x="624840" y="1062038"/>
                  </a:lnTo>
                  <a:lnTo>
                    <a:pt x="634365" y="1066800"/>
                  </a:lnTo>
                  <a:lnTo>
                    <a:pt x="635317" y="1080135"/>
                  </a:lnTo>
                  <a:lnTo>
                    <a:pt x="644842" y="1076325"/>
                  </a:lnTo>
                  <a:lnTo>
                    <a:pt x="659130" y="1088708"/>
                  </a:lnTo>
                  <a:lnTo>
                    <a:pt x="653415" y="1124903"/>
                  </a:lnTo>
                  <a:lnTo>
                    <a:pt x="666750" y="1124903"/>
                  </a:lnTo>
                  <a:lnTo>
                    <a:pt x="669607" y="1164908"/>
                  </a:lnTo>
                  <a:lnTo>
                    <a:pt x="683895" y="1169670"/>
                  </a:lnTo>
                  <a:lnTo>
                    <a:pt x="691515" y="1195388"/>
                  </a:lnTo>
                  <a:lnTo>
                    <a:pt x="693420" y="1233488"/>
                  </a:lnTo>
                  <a:lnTo>
                    <a:pt x="725805" y="1217295"/>
                  </a:lnTo>
                  <a:lnTo>
                    <a:pt x="721042" y="1203960"/>
                  </a:lnTo>
                  <a:lnTo>
                    <a:pt x="726757" y="1195388"/>
                  </a:lnTo>
                  <a:lnTo>
                    <a:pt x="715327" y="1165860"/>
                  </a:lnTo>
                  <a:lnTo>
                    <a:pt x="711517" y="1143953"/>
                  </a:lnTo>
                  <a:lnTo>
                    <a:pt x="721995" y="1143000"/>
                  </a:lnTo>
                  <a:lnTo>
                    <a:pt x="729615" y="1116330"/>
                  </a:lnTo>
                  <a:lnTo>
                    <a:pt x="720090" y="1085850"/>
                  </a:lnTo>
                  <a:lnTo>
                    <a:pt x="704850" y="1044893"/>
                  </a:lnTo>
                  <a:lnTo>
                    <a:pt x="710565" y="1038225"/>
                  </a:lnTo>
                  <a:lnTo>
                    <a:pt x="703897" y="1024890"/>
                  </a:lnTo>
                  <a:lnTo>
                    <a:pt x="722947" y="1018223"/>
                  </a:lnTo>
                  <a:lnTo>
                    <a:pt x="725805" y="1029653"/>
                  </a:lnTo>
                  <a:lnTo>
                    <a:pt x="737235" y="1026795"/>
                  </a:lnTo>
                  <a:lnTo>
                    <a:pt x="752475" y="1032510"/>
                  </a:lnTo>
                  <a:lnTo>
                    <a:pt x="762952" y="1028700"/>
                  </a:lnTo>
                  <a:lnTo>
                    <a:pt x="762000" y="1003935"/>
                  </a:lnTo>
                  <a:lnTo>
                    <a:pt x="765810" y="989648"/>
                  </a:lnTo>
                  <a:lnTo>
                    <a:pt x="782002" y="1006793"/>
                  </a:lnTo>
                  <a:lnTo>
                    <a:pt x="802005" y="1003935"/>
                  </a:lnTo>
                  <a:lnTo>
                    <a:pt x="801052" y="970598"/>
                  </a:lnTo>
                  <a:lnTo>
                    <a:pt x="822007" y="970598"/>
                  </a:lnTo>
                  <a:lnTo>
                    <a:pt x="830580" y="953453"/>
                  </a:lnTo>
                  <a:lnTo>
                    <a:pt x="815340" y="942023"/>
                  </a:lnTo>
                  <a:lnTo>
                    <a:pt x="814388" y="927735"/>
                  </a:lnTo>
                  <a:lnTo>
                    <a:pt x="784860" y="882015"/>
                  </a:lnTo>
                  <a:lnTo>
                    <a:pt x="783907" y="851535"/>
                  </a:lnTo>
                  <a:lnTo>
                    <a:pt x="789622" y="842010"/>
                  </a:lnTo>
                  <a:lnTo>
                    <a:pt x="780097" y="826770"/>
                  </a:lnTo>
                  <a:lnTo>
                    <a:pt x="781050" y="814388"/>
                  </a:lnTo>
                  <a:lnTo>
                    <a:pt x="793432" y="795338"/>
                  </a:lnTo>
                  <a:lnTo>
                    <a:pt x="808672" y="785813"/>
                  </a:lnTo>
                  <a:lnTo>
                    <a:pt x="828675" y="76295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0" name="Полилиния: фигура 17">
              <a:extLst>
                <a:ext uri="{FF2B5EF4-FFF2-40B4-BE49-F238E27FC236}">
                  <a16:creationId xmlns:a16="http://schemas.microsoft.com/office/drawing/2014/main" id="{D3CC7F26-3002-84D2-0327-B2E70E3E25FE}"/>
                </a:ext>
              </a:extLst>
            </p:cNvPr>
            <p:cNvSpPr/>
            <p:nvPr/>
          </p:nvSpPr>
          <p:spPr>
            <a:xfrm>
              <a:off x="4542472" y="3674745"/>
              <a:ext cx="1638300" cy="2314575"/>
            </a:xfrm>
            <a:custGeom>
              <a:avLst/>
              <a:gdLst>
                <a:gd name="connsiteX0" fmla="*/ 847725 w 1638300"/>
                <a:gd name="connsiteY0" fmla="*/ 2015490 h 2314575"/>
                <a:gd name="connsiteX1" fmla="*/ 806768 w 1638300"/>
                <a:gd name="connsiteY1" fmla="*/ 2032635 h 2314575"/>
                <a:gd name="connsiteX2" fmla="*/ 833438 w 1638300"/>
                <a:gd name="connsiteY2" fmla="*/ 2018348 h 2314575"/>
                <a:gd name="connsiteX3" fmla="*/ 844868 w 1638300"/>
                <a:gd name="connsiteY3" fmla="*/ 2009775 h 2314575"/>
                <a:gd name="connsiteX4" fmla="*/ 848678 w 1638300"/>
                <a:gd name="connsiteY4" fmla="*/ 2002155 h 2314575"/>
                <a:gd name="connsiteX5" fmla="*/ 851535 w 1638300"/>
                <a:gd name="connsiteY5" fmla="*/ 1995488 h 2314575"/>
                <a:gd name="connsiteX6" fmla="*/ 858203 w 1638300"/>
                <a:gd name="connsiteY6" fmla="*/ 1992630 h 2314575"/>
                <a:gd name="connsiteX7" fmla="*/ 866775 w 1638300"/>
                <a:gd name="connsiteY7" fmla="*/ 1991678 h 2314575"/>
                <a:gd name="connsiteX8" fmla="*/ 873443 w 1638300"/>
                <a:gd name="connsiteY8" fmla="*/ 1988820 h 2314575"/>
                <a:gd name="connsiteX9" fmla="*/ 882015 w 1638300"/>
                <a:gd name="connsiteY9" fmla="*/ 1982153 h 2314575"/>
                <a:gd name="connsiteX10" fmla="*/ 897255 w 1638300"/>
                <a:gd name="connsiteY10" fmla="*/ 1965007 h 2314575"/>
                <a:gd name="connsiteX11" fmla="*/ 905828 w 1638300"/>
                <a:gd name="connsiteY11" fmla="*/ 1957388 h 2314575"/>
                <a:gd name="connsiteX12" fmla="*/ 988695 w 1638300"/>
                <a:gd name="connsiteY12" fmla="*/ 1881188 h 2314575"/>
                <a:gd name="connsiteX13" fmla="*/ 1015365 w 1638300"/>
                <a:gd name="connsiteY13" fmla="*/ 1866900 h 2314575"/>
                <a:gd name="connsiteX14" fmla="*/ 901065 w 1638300"/>
                <a:gd name="connsiteY14" fmla="*/ 1976438 h 2314575"/>
                <a:gd name="connsiteX15" fmla="*/ 847725 w 1638300"/>
                <a:gd name="connsiteY15" fmla="*/ 2015490 h 2314575"/>
                <a:gd name="connsiteX16" fmla="*/ 1103948 w 1638300"/>
                <a:gd name="connsiteY16" fmla="*/ 68580 h 2314575"/>
                <a:gd name="connsiteX17" fmla="*/ 1103948 w 1638300"/>
                <a:gd name="connsiteY17" fmla="*/ 82868 h 2314575"/>
                <a:gd name="connsiteX18" fmla="*/ 1104900 w 1638300"/>
                <a:gd name="connsiteY18" fmla="*/ 86678 h 2314575"/>
                <a:gd name="connsiteX19" fmla="*/ 1106805 w 1638300"/>
                <a:gd name="connsiteY19" fmla="*/ 88583 h 2314575"/>
                <a:gd name="connsiteX20" fmla="*/ 1113473 w 1638300"/>
                <a:gd name="connsiteY20" fmla="*/ 92393 h 2314575"/>
                <a:gd name="connsiteX21" fmla="*/ 1116330 w 1638300"/>
                <a:gd name="connsiteY21" fmla="*/ 95250 h 2314575"/>
                <a:gd name="connsiteX22" fmla="*/ 1116330 w 1638300"/>
                <a:gd name="connsiteY22" fmla="*/ 99060 h 2314575"/>
                <a:gd name="connsiteX23" fmla="*/ 1115378 w 1638300"/>
                <a:gd name="connsiteY23" fmla="*/ 102870 h 2314575"/>
                <a:gd name="connsiteX24" fmla="*/ 1113473 w 1638300"/>
                <a:gd name="connsiteY24" fmla="*/ 104775 h 2314575"/>
                <a:gd name="connsiteX25" fmla="*/ 1110615 w 1638300"/>
                <a:gd name="connsiteY25" fmla="*/ 105728 h 2314575"/>
                <a:gd name="connsiteX26" fmla="*/ 1104900 w 1638300"/>
                <a:gd name="connsiteY26" fmla="*/ 103823 h 2314575"/>
                <a:gd name="connsiteX27" fmla="*/ 1102043 w 1638300"/>
                <a:gd name="connsiteY27" fmla="*/ 103823 h 2314575"/>
                <a:gd name="connsiteX28" fmla="*/ 1099185 w 1638300"/>
                <a:gd name="connsiteY28" fmla="*/ 103823 h 2314575"/>
                <a:gd name="connsiteX29" fmla="*/ 1097280 w 1638300"/>
                <a:gd name="connsiteY29" fmla="*/ 105728 h 2314575"/>
                <a:gd name="connsiteX30" fmla="*/ 1094423 w 1638300"/>
                <a:gd name="connsiteY30" fmla="*/ 109538 h 2314575"/>
                <a:gd name="connsiteX31" fmla="*/ 1092518 w 1638300"/>
                <a:gd name="connsiteY31" fmla="*/ 110490 h 2314575"/>
                <a:gd name="connsiteX32" fmla="*/ 1083945 w 1638300"/>
                <a:gd name="connsiteY32" fmla="*/ 109538 h 2314575"/>
                <a:gd name="connsiteX33" fmla="*/ 1065848 w 1638300"/>
                <a:gd name="connsiteY33" fmla="*/ 117158 h 2314575"/>
                <a:gd name="connsiteX34" fmla="*/ 1060133 w 1638300"/>
                <a:gd name="connsiteY34" fmla="*/ 122873 h 2314575"/>
                <a:gd name="connsiteX35" fmla="*/ 1059180 w 1638300"/>
                <a:gd name="connsiteY35" fmla="*/ 124778 h 2314575"/>
                <a:gd name="connsiteX36" fmla="*/ 1060133 w 1638300"/>
                <a:gd name="connsiteY36" fmla="*/ 126683 h 2314575"/>
                <a:gd name="connsiteX37" fmla="*/ 1066800 w 1638300"/>
                <a:gd name="connsiteY37" fmla="*/ 131445 h 2314575"/>
                <a:gd name="connsiteX38" fmla="*/ 1067753 w 1638300"/>
                <a:gd name="connsiteY38" fmla="*/ 134303 h 2314575"/>
                <a:gd name="connsiteX39" fmla="*/ 1068705 w 1638300"/>
                <a:gd name="connsiteY39" fmla="*/ 138113 h 2314575"/>
                <a:gd name="connsiteX40" fmla="*/ 1067753 w 1638300"/>
                <a:gd name="connsiteY40" fmla="*/ 148590 h 2314575"/>
                <a:gd name="connsiteX41" fmla="*/ 1068705 w 1638300"/>
                <a:gd name="connsiteY41" fmla="*/ 151448 h 2314575"/>
                <a:gd name="connsiteX42" fmla="*/ 1067753 w 1638300"/>
                <a:gd name="connsiteY42" fmla="*/ 157163 h 2314575"/>
                <a:gd name="connsiteX43" fmla="*/ 1063943 w 1638300"/>
                <a:gd name="connsiteY43" fmla="*/ 163830 h 2314575"/>
                <a:gd name="connsiteX44" fmla="*/ 1062990 w 1638300"/>
                <a:gd name="connsiteY44" fmla="*/ 169545 h 2314575"/>
                <a:gd name="connsiteX45" fmla="*/ 1062990 w 1638300"/>
                <a:gd name="connsiteY45" fmla="*/ 177165 h 2314575"/>
                <a:gd name="connsiteX46" fmla="*/ 1064895 w 1638300"/>
                <a:gd name="connsiteY46" fmla="*/ 181928 h 2314575"/>
                <a:gd name="connsiteX47" fmla="*/ 1068705 w 1638300"/>
                <a:gd name="connsiteY47" fmla="*/ 183833 h 2314575"/>
                <a:gd name="connsiteX48" fmla="*/ 1082040 w 1638300"/>
                <a:gd name="connsiteY48" fmla="*/ 187643 h 2314575"/>
                <a:gd name="connsiteX49" fmla="*/ 1083945 w 1638300"/>
                <a:gd name="connsiteY49" fmla="*/ 188595 h 2314575"/>
                <a:gd name="connsiteX50" fmla="*/ 1087755 w 1638300"/>
                <a:gd name="connsiteY50" fmla="*/ 193358 h 2314575"/>
                <a:gd name="connsiteX51" fmla="*/ 1093470 w 1638300"/>
                <a:gd name="connsiteY51" fmla="*/ 200978 h 2314575"/>
                <a:gd name="connsiteX52" fmla="*/ 1102995 w 1638300"/>
                <a:gd name="connsiteY52" fmla="*/ 213360 h 2314575"/>
                <a:gd name="connsiteX53" fmla="*/ 1104900 w 1638300"/>
                <a:gd name="connsiteY53" fmla="*/ 216218 h 2314575"/>
                <a:gd name="connsiteX54" fmla="*/ 1105853 w 1638300"/>
                <a:gd name="connsiteY54" fmla="*/ 219075 h 2314575"/>
                <a:gd name="connsiteX55" fmla="*/ 1119188 w 1638300"/>
                <a:gd name="connsiteY55" fmla="*/ 303848 h 2314575"/>
                <a:gd name="connsiteX56" fmla="*/ 1120140 w 1638300"/>
                <a:gd name="connsiteY56" fmla="*/ 310515 h 2314575"/>
                <a:gd name="connsiteX57" fmla="*/ 1123950 w 1638300"/>
                <a:gd name="connsiteY57" fmla="*/ 317183 h 2314575"/>
                <a:gd name="connsiteX58" fmla="*/ 1132523 w 1638300"/>
                <a:gd name="connsiteY58" fmla="*/ 324803 h 2314575"/>
                <a:gd name="connsiteX59" fmla="*/ 1138238 w 1638300"/>
                <a:gd name="connsiteY59" fmla="*/ 328613 h 2314575"/>
                <a:gd name="connsiteX60" fmla="*/ 1151573 w 1638300"/>
                <a:gd name="connsiteY60" fmla="*/ 334328 h 2314575"/>
                <a:gd name="connsiteX61" fmla="*/ 1154430 w 1638300"/>
                <a:gd name="connsiteY61" fmla="*/ 336233 h 2314575"/>
                <a:gd name="connsiteX62" fmla="*/ 1157288 w 1638300"/>
                <a:gd name="connsiteY62" fmla="*/ 340043 h 2314575"/>
                <a:gd name="connsiteX63" fmla="*/ 1160145 w 1638300"/>
                <a:gd name="connsiteY63" fmla="*/ 351473 h 2314575"/>
                <a:gd name="connsiteX64" fmla="*/ 1160145 w 1638300"/>
                <a:gd name="connsiteY64" fmla="*/ 355283 h 2314575"/>
                <a:gd name="connsiteX65" fmla="*/ 1158240 w 1638300"/>
                <a:gd name="connsiteY65" fmla="*/ 359093 h 2314575"/>
                <a:gd name="connsiteX66" fmla="*/ 1156335 w 1638300"/>
                <a:gd name="connsiteY66" fmla="*/ 360998 h 2314575"/>
                <a:gd name="connsiteX67" fmla="*/ 1151573 w 1638300"/>
                <a:gd name="connsiteY67" fmla="*/ 366713 h 2314575"/>
                <a:gd name="connsiteX68" fmla="*/ 1149668 w 1638300"/>
                <a:gd name="connsiteY68" fmla="*/ 368618 h 2314575"/>
                <a:gd name="connsiteX69" fmla="*/ 1148715 w 1638300"/>
                <a:gd name="connsiteY69" fmla="*/ 371475 h 2314575"/>
                <a:gd name="connsiteX70" fmla="*/ 1148715 w 1638300"/>
                <a:gd name="connsiteY70" fmla="*/ 375285 h 2314575"/>
                <a:gd name="connsiteX71" fmla="*/ 1150620 w 1638300"/>
                <a:gd name="connsiteY71" fmla="*/ 378143 h 2314575"/>
                <a:gd name="connsiteX72" fmla="*/ 1157288 w 1638300"/>
                <a:gd name="connsiteY72" fmla="*/ 385763 h 2314575"/>
                <a:gd name="connsiteX73" fmla="*/ 1163955 w 1638300"/>
                <a:gd name="connsiteY73" fmla="*/ 390525 h 2314575"/>
                <a:gd name="connsiteX74" fmla="*/ 1167765 w 1638300"/>
                <a:gd name="connsiteY74" fmla="*/ 396240 h 2314575"/>
                <a:gd name="connsiteX75" fmla="*/ 1167765 w 1638300"/>
                <a:gd name="connsiteY75" fmla="*/ 401955 h 2314575"/>
                <a:gd name="connsiteX76" fmla="*/ 1166813 w 1638300"/>
                <a:gd name="connsiteY76" fmla="*/ 405765 h 2314575"/>
                <a:gd name="connsiteX77" fmla="*/ 1165860 w 1638300"/>
                <a:gd name="connsiteY77" fmla="*/ 408623 h 2314575"/>
                <a:gd name="connsiteX78" fmla="*/ 1162050 w 1638300"/>
                <a:gd name="connsiteY78" fmla="*/ 416243 h 2314575"/>
                <a:gd name="connsiteX79" fmla="*/ 1161098 w 1638300"/>
                <a:gd name="connsiteY79" fmla="*/ 421958 h 2314575"/>
                <a:gd name="connsiteX80" fmla="*/ 1162050 w 1638300"/>
                <a:gd name="connsiteY80" fmla="*/ 428625 h 2314575"/>
                <a:gd name="connsiteX81" fmla="*/ 1165860 w 1638300"/>
                <a:gd name="connsiteY81" fmla="*/ 438150 h 2314575"/>
                <a:gd name="connsiteX82" fmla="*/ 1167765 w 1638300"/>
                <a:gd name="connsiteY82" fmla="*/ 445770 h 2314575"/>
                <a:gd name="connsiteX83" fmla="*/ 1170623 w 1638300"/>
                <a:gd name="connsiteY83" fmla="*/ 452438 h 2314575"/>
                <a:gd name="connsiteX84" fmla="*/ 1176338 w 1638300"/>
                <a:gd name="connsiteY84" fmla="*/ 456248 h 2314575"/>
                <a:gd name="connsiteX85" fmla="*/ 1188720 w 1638300"/>
                <a:gd name="connsiteY85" fmla="*/ 462915 h 2314575"/>
                <a:gd name="connsiteX86" fmla="*/ 1190625 w 1638300"/>
                <a:gd name="connsiteY86" fmla="*/ 464820 h 2314575"/>
                <a:gd name="connsiteX87" fmla="*/ 1197293 w 1638300"/>
                <a:gd name="connsiteY87" fmla="*/ 472440 h 2314575"/>
                <a:gd name="connsiteX88" fmla="*/ 1200150 w 1638300"/>
                <a:gd name="connsiteY88" fmla="*/ 473393 h 2314575"/>
                <a:gd name="connsiteX89" fmla="*/ 1223963 w 1638300"/>
                <a:gd name="connsiteY89" fmla="*/ 468630 h 2314575"/>
                <a:gd name="connsiteX90" fmla="*/ 1226820 w 1638300"/>
                <a:gd name="connsiteY90" fmla="*/ 468630 h 2314575"/>
                <a:gd name="connsiteX91" fmla="*/ 1229678 w 1638300"/>
                <a:gd name="connsiteY91" fmla="*/ 469583 h 2314575"/>
                <a:gd name="connsiteX92" fmla="*/ 1233488 w 1638300"/>
                <a:gd name="connsiteY92" fmla="*/ 474345 h 2314575"/>
                <a:gd name="connsiteX93" fmla="*/ 1236345 w 1638300"/>
                <a:gd name="connsiteY93" fmla="*/ 476250 h 2314575"/>
                <a:gd name="connsiteX94" fmla="*/ 1239203 w 1638300"/>
                <a:gd name="connsiteY94" fmla="*/ 476250 h 2314575"/>
                <a:gd name="connsiteX95" fmla="*/ 1241108 w 1638300"/>
                <a:gd name="connsiteY95" fmla="*/ 476250 h 2314575"/>
                <a:gd name="connsiteX96" fmla="*/ 1245870 w 1638300"/>
                <a:gd name="connsiteY96" fmla="*/ 473393 h 2314575"/>
                <a:gd name="connsiteX97" fmla="*/ 1254443 w 1638300"/>
                <a:gd name="connsiteY97" fmla="*/ 467678 h 2314575"/>
                <a:gd name="connsiteX98" fmla="*/ 1259205 w 1638300"/>
                <a:gd name="connsiteY98" fmla="*/ 461963 h 2314575"/>
                <a:gd name="connsiteX99" fmla="*/ 1262063 w 1638300"/>
                <a:gd name="connsiteY99" fmla="*/ 461010 h 2314575"/>
                <a:gd name="connsiteX100" fmla="*/ 1264920 w 1638300"/>
                <a:gd name="connsiteY100" fmla="*/ 461010 h 2314575"/>
                <a:gd name="connsiteX101" fmla="*/ 1267778 w 1638300"/>
                <a:gd name="connsiteY101" fmla="*/ 461963 h 2314575"/>
                <a:gd name="connsiteX102" fmla="*/ 1274445 w 1638300"/>
                <a:gd name="connsiteY102" fmla="*/ 467678 h 2314575"/>
                <a:gd name="connsiteX103" fmla="*/ 1278255 w 1638300"/>
                <a:gd name="connsiteY103" fmla="*/ 469583 h 2314575"/>
                <a:gd name="connsiteX104" fmla="*/ 1281113 w 1638300"/>
                <a:gd name="connsiteY104" fmla="*/ 469583 h 2314575"/>
                <a:gd name="connsiteX105" fmla="*/ 1300163 w 1638300"/>
                <a:gd name="connsiteY105" fmla="*/ 470535 h 2314575"/>
                <a:gd name="connsiteX106" fmla="*/ 1303020 w 1638300"/>
                <a:gd name="connsiteY106" fmla="*/ 472440 h 2314575"/>
                <a:gd name="connsiteX107" fmla="*/ 1304925 w 1638300"/>
                <a:gd name="connsiteY107" fmla="*/ 475298 h 2314575"/>
                <a:gd name="connsiteX108" fmla="*/ 1307783 w 1638300"/>
                <a:gd name="connsiteY108" fmla="*/ 489585 h 2314575"/>
                <a:gd name="connsiteX109" fmla="*/ 1310640 w 1638300"/>
                <a:gd name="connsiteY109" fmla="*/ 495300 h 2314575"/>
                <a:gd name="connsiteX110" fmla="*/ 1312545 w 1638300"/>
                <a:gd name="connsiteY110" fmla="*/ 498158 h 2314575"/>
                <a:gd name="connsiteX111" fmla="*/ 1315403 w 1638300"/>
                <a:gd name="connsiteY111" fmla="*/ 500063 h 2314575"/>
                <a:gd name="connsiteX112" fmla="*/ 1318260 w 1638300"/>
                <a:gd name="connsiteY112" fmla="*/ 500063 h 2314575"/>
                <a:gd name="connsiteX113" fmla="*/ 1321118 w 1638300"/>
                <a:gd name="connsiteY113" fmla="*/ 496253 h 2314575"/>
                <a:gd name="connsiteX114" fmla="*/ 1323975 w 1638300"/>
                <a:gd name="connsiteY114" fmla="*/ 490538 h 2314575"/>
                <a:gd name="connsiteX115" fmla="*/ 1326833 w 1638300"/>
                <a:gd name="connsiteY115" fmla="*/ 478155 h 2314575"/>
                <a:gd name="connsiteX116" fmla="*/ 1326833 w 1638300"/>
                <a:gd name="connsiteY116" fmla="*/ 474345 h 2314575"/>
                <a:gd name="connsiteX117" fmla="*/ 1328738 w 1638300"/>
                <a:gd name="connsiteY117" fmla="*/ 472440 h 2314575"/>
                <a:gd name="connsiteX118" fmla="*/ 1330643 w 1638300"/>
                <a:gd name="connsiteY118" fmla="*/ 470535 h 2314575"/>
                <a:gd name="connsiteX119" fmla="*/ 1360170 w 1638300"/>
                <a:gd name="connsiteY119" fmla="*/ 463868 h 2314575"/>
                <a:gd name="connsiteX120" fmla="*/ 1363028 w 1638300"/>
                <a:gd name="connsiteY120" fmla="*/ 466725 h 2314575"/>
                <a:gd name="connsiteX121" fmla="*/ 1364933 w 1638300"/>
                <a:gd name="connsiteY121" fmla="*/ 471488 h 2314575"/>
                <a:gd name="connsiteX122" fmla="*/ 1365885 w 1638300"/>
                <a:gd name="connsiteY122" fmla="*/ 485775 h 2314575"/>
                <a:gd name="connsiteX123" fmla="*/ 1365885 w 1638300"/>
                <a:gd name="connsiteY123" fmla="*/ 491490 h 2314575"/>
                <a:gd name="connsiteX124" fmla="*/ 1363980 w 1638300"/>
                <a:gd name="connsiteY124" fmla="*/ 496253 h 2314575"/>
                <a:gd name="connsiteX125" fmla="*/ 1363028 w 1638300"/>
                <a:gd name="connsiteY125" fmla="*/ 498158 h 2314575"/>
                <a:gd name="connsiteX126" fmla="*/ 1363028 w 1638300"/>
                <a:gd name="connsiteY126" fmla="*/ 501015 h 2314575"/>
                <a:gd name="connsiteX127" fmla="*/ 1365885 w 1638300"/>
                <a:gd name="connsiteY127" fmla="*/ 501968 h 2314575"/>
                <a:gd name="connsiteX128" fmla="*/ 1383983 w 1638300"/>
                <a:gd name="connsiteY128" fmla="*/ 502920 h 2314575"/>
                <a:gd name="connsiteX129" fmla="*/ 1387793 w 1638300"/>
                <a:gd name="connsiteY129" fmla="*/ 505778 h 2314575"/>
                <a:gd name="connsiteX130" fmla="*/ 1390650 w 1638300"/>
                <a:gd name="connsiteY130" fmla="*/ 510540 h 2314575"/>
                <a:gd name="connsiteX131" fmla="*/ 1396365 w 1638300"/>
                <a:gd name="connsiteY131" fmla="*/ 521018 h 2314575"/>
                <a:gd name="connsiteX132" fmla="*/ 1403985 w 1638300"/>
                <a:gd name="connsiteY132" fmla="*/ 529590 h 2314575"/>
                <a:gd name="connsiteX133" fmla="*/ 1406843 w 1638300"/>
                <a:gd name="connsiteY133" fmla="*/ 534353 h 2314575"/>
                <a:gd name="connsiteX134" fmla="*/ 1408748 w 1638300"/>
                <a:gd name="connsiteY134" fmla="*/ 550545 h 2314575"/>
                <a:gd name="connsiteX135" fmla="*/ 1408748 w 1638300"/>
                <a:gd name="connsiteY135" fmla="*/ 558165 h 2314575"/>
                <a:gd name="connsiteX136" fmla="*/ 1406843 w 1638300"/>
                <a:gd name="connsiteY136" fmla="*/ 563880 h 2314575"/>
                <a:gd name="connsiteX137" fmla="*/ 1404938 w 1638300"/>
                <a:gd name="connsiteY137" fmla="*/ 565785 h 2314575"/>
                <a:gd name="connsiteX138" fmla="*/ 1401128 w 1638300"/>
                <a:gd name="connsiteY138" fmla="*/ 568643 h 2314575"/>
                <a:gd name="connsiteX139" fmla="*/ 1400175 w 1638300"/>
                <a:gd name="connsiteY139" fmla="*/ 573405 h 2314575"/>
                <a:gd name="connsiteX140" fmla="*/ 1401128 w 1638300"/>
                <a:gd name="connsiteY140" fmla="*/ 579120 h 2314575"/>
                <a:gd name="connsiteX141" fmla="*/ 1400175 w 1638300"/>
                <a:gd name="connsiteY141" fmla="*/ 586740 h 2314575"/>
                <a:gd name="connsiteX142" fmla="*/ 1398270 w 1638300"/>
                <a:gd name="connsiteY142" fmla="*/ 594360 h 2314575"/>
                <a:gd name="connsiteX143" fmla="*/ 1395413 w 1638300"/>
                <a:gd name="connsiteY143" fmla="*/ 606743 h 2314575"/>
                <a:gd name="connsiteX144" fmla="*/ 1388745 w 1638300"/>
                <a:gd name="connsiteY144" fmla="*/ 623888 h 2314575"/>
                <a:gd name="connsiteX145" fmla="*/ 1391603 w 1638300"/>
                <a:gd name="connsiteY145" fmla="*/ 636270 h 2314575"/>
                <a:gd name="connsiteX146" fmla="*/ 1416368 w 1638300"/>
                <a:gd name="connsiteY146" fmla="*/ 711518 h 2314575"/>
                <a:gd name="connsiteX147" fmla="*/ 1424940 w 1638300"/>
                <a:gd name="connsiteY147" fmla="*/ 731520 h 2314575"/>
                <a:gd name="connsiteX148" fmla="*/ 1431608 w 1638300"/>
                <a:gd name="connsiteY148" fmla="*/ 741998 h 2314575"/>
                <a:gd name="connsiteX149" fmla="*/ 1461135 w 1638300"/>
                <a:gd name="connsiteY149" fmla="*/ 747713 h 2314575"/>
                <a:gd name="connsiteX150" fmla="*/ 1482090 w 1638300"/>
                <a:gd name="connsiteY150" fmla="*/ 748665 h 2314575"/>
                <a:gd name="connsiteX151" fmla="*/ 1483995 w 1638300"/>
                <a:gd name="connsiteY151" fmla="*/ 748665 h 2314575"/>
                <a:gd name="connsiteX152" fmla="*/ 1485900 w 1638300"/>
                <a:gd name="connsiteY152" fmla="*/ 750570 h 2314575"/>
                <a:gd name="connsiteX153" fmla="*/ 1491615 w 1638300"/>
                <a:gd name="connsiteY153" fmla="*/ 761048 h 2314575"/>
                <a:gd name="connsiteX154" fmla="*/ 1494473 w 1638300"/>
                <a:gd name="connsiteY154" fmla="*/ 762000 h 2314575"/>
                <a:gd name="connsiteX155" fmla="*/ 1497330 w 1638300"/>
                <a:gd name="connsiteY155" fmla="*/ 762000 h 2314575"/>
                <a:gd name="connsiteX156" fmla="*/ 1513523 w 1638300"/>
                <a:gd name="connsiteY156" fmla="*/ 755333 h 2314575"/>
                <a:gd name="connsiteX157" fmla="*/ 1555433 w 1638300"/>
                <a:gd name="connsiteY157" fmla="*/ 745808 h 2314575"/>
                <a:gd name="connsiteX158" fmla="*/ 1557338 w 1638300"/>
                <a:gd name="connsiteY158" fmla="*/ 746760 h 2314575"/>
                <a:gd name="connsiteX159" fmla="*/ 1561148 w 1638300"/>
                <a:gd name="connsiteY159" fmla="*/ 750570 h 2314575"/>
                <a:gd name="connsiteX160" fmla="*/ 1564958 w 1638300"/>
                <a:gd name="connsiteY160" fmla="*/ 759143 h 2314575"/>
                <a:gd name="connsiteX161" fmla="*/ 1565910 w 1638300"/>
                <a:gd name="connsiteY161" fmla="*/ 763905 h 2314575"/>
                <a:gd name="connsiteX162" fmla="*/ 1566863 w 1638300"/>
                <a:gd name="connsiteY162" fmla="*/ 770573 h 2314575"/>
                <a:gd name="connsiteX163" fmla="*/ 1564958 w 1638300"/>
                <a:gd name="connsiteY163" fmla="*/ 776288 h 2314575"/>
                <a:gd name="connsiteX164" fmla="*/ 1564005 w 1638300"/>
                <a:gd name="connsiteY164" fmla="*/ 779145 h 2314575"/>
                <a:gd name="connsiteX165" fmla="*/ 1556385 w 1638300"/>
                <a:gd name="connsiteY165" fmla="*/ 786765 h 2314575"/>
                <a:gd name="connsiteX166" fmla="*/ 1554480 w 1638300"/>
                <a:gd name="connsiteY166" fmla="*/ 788670 h 2314575"/>
                <a:gd name="connsiteX167" fmla="*/ 1549718 w 1638300"/>
                <a:gd name="connsiteY167" fmla="*/ 790575 h 2314575"/>
                <a:gd name="connsiteX168" fmla="*/ 1544955 w 1638300"/>
                <a:gd name="connsiteY168" fmla="*/ 792480 h 2314575"/>
                <a:gd name="connsiteX169" fmla="*/ 1540193 w 1638300"/>
                <a:gd name="connsiteY169" fmla="*/ 794385 h 2314575"/>
                <a:gd name="connsiteX170" fmla="*/ 1538288 w 1638300"/>
                <a:gd name="connsiteY170" fmla="*/ 796290 h 2314575"/>
                <a:gd name="connsiteX171" fmla="*/ 1537335 w 1638300"/>
                <a:gd name="connsiteY171" fmla="*/ 802958 h 2314575"/>
                <a:gd name="connsiteX172" fmla="*/ 1537335 w 1638300"/>
                <a:gd name="connsiteY172" fmla="*/ 809625 h 2314575"/>
                <a:gd name="connsiteX173" fmla="*/ 1538288 w 1638300"/>
                <a:gd name="connsiteY173" fmla="*/ 815340 h 2314575"/>
                <a:gd name="connsiteX174" fmla="*/ 1540193 w 1638300"/>
                <a:gd name="connsiteY174" fmla="*/ 818198 h 2314575"/>
                <a:gd name="connsiteX175" fmla="*/ 1542098 w 1638300"/>
                <a:gd name="connsiteY175" fmla="*/ 821055 h 2314575"/>
                <a:gd name="connsiteX176" fmla="*/ 1544955 w 1638300"/>
                <a:gd name="connsiteY176" fmla="*/ 822008 h 2314575"/>
                <a:gd name="connsiteX177" fmla="*/ 1557338 w 1638300"/>
                <a:gd name="connsiteY177" fmla="*/ 824865 h 2314575"/>
                <a:gd name="connsiteX178" fmla="*/ 1562100 w 1638300"/>
                <a:gd name="connsiteY178" fmla="*/ 827723 h 2314575"/>
                <a:gd name="connsiteX179" fmla="*/ 1567815 w 1638300"/>
                <a:gd name="connsiteY179" fmla="*/ 832485 h 2314575"/>
                <a:gd name="connsiteX180" fmla="*/ 1572578 w 1638300"/>
                <a:gd name="connsiteY180" fmla="*/ 834390 h 2314575"/>
                <a:gd name="connsiteX181" fmla="*/ 1577340 w 1638300"/>
                <a:gd name="connsiteY181" fmla="*/ 833438 h 2314575"/>
                <a:gd name="connsiteX182" fmla="*/ 1584008 w 1638300"/>
                <a:gd name="connsiteY182" fmla="*/ 830580 h 2314575"/>
                <a:gd name="connsiteX183" fmla="*/ 1588770 w 1638300"/>
                <a:gd name="connsiteY183" fmla="*/ 828675 h 2314575"/>
                <a:gd name="connsiteX184" fmla="*/ 1594485 w 1638300"/>
                <a:gd name="connsiteY184" fmla="*/ 828675 h 2314575"/>
                <a:gd name="connsiteX185" fmla="*/ 1596390 w 1638300"/>
                <a:gd name="connsiteY185" fmla="*/ 830580 h 2314575"/>
                <a:gd name="connsiteX186" fmla="*/ 1598295 w 1638300"/>
                <a:gd name="connsiteY186" fmla="*/ 834390 h 2314575"/>
                <a:gd name="connsiteX187" fmla="*/ 1601153 w 1638300"/>
                <a:gd name="connsiteY187" fmla="*/ 842010 h 2314575"/>
                <a:gd name="connsiteX188" fmla="*/ 1604963 w 1638300"/>
                <a:gd name="connsiteY188" fmla="*/ 847725 h 2314575"/>
                <a:gd name="connsiteX189" fmla="*/ 1610678 w 1638300"/>
                <a:gd name="connsiteY189" fmla="*/ 853440 h 2314575"/>
                <a:gd name="connsiteX190" fmla="*/ 1611630 w 1638300"/>
                <a:gd name="connsiteY190" fmla="*/ 855345 h 2314575"/>
                <a:gd name="connsiteX191" fmla="*/ 1615440 w 1638300"/>
                <a:gd name="connsiteY191" fmla="*/ 862013 h 2314575"/>
                <a:gd name="connsiteX192" fmla="*/ 1616393 w 1638300"/>
                <a:gd name="connsiteY192" fmla="*/ 867728 h 2314575"/>
                <a:gd name="connsiteX193" fmla="*/ 1618298 w 1638300"/>
                <a:gd name="connsiteY193" fmla="*/ 871538 h 2314575"/>
                <a:gd name="connsiteX194" fmla="*/ 1620203 w 1638300"/>
                <a:gd name="connsiteY194" fmla="*/ 873443 h 2314575"/>
                <a:gd name="connsiteX195" fmla="*/ 1623060 w 1638300"/>
                <a:gd name="connsiteY195" fmla="*/ 874395 h 2314575"/>
                <a:gd name="connsiteX196" fmla="*/ 1632585 w 1638300"/>
                <a:gd name="connsiteY196" fmla="*/ 875348 h 2314575"/>
                <a:gd name="connsiteX197" fmla="*/ 1634490 w 1638300"/>
                <a:gd name="connsiteY197" fmla="*/ 876300 h 2314575"/>
                <a:gd name="connsiteX198" fmla="*/ 1636395 w 1638300"/>
                <a:gd name="connsiteY198" fmla="*/ 878205 h 2314575"/>
                <a:gd name="connsiteX199" fmla="*/ 1637348 w 1638300"/>
                <a:gd name="connsiteY199" fmla="*/ 881063 h 2314575"/>
                <a:gd name="connsiteX200" fmla="*/ 1638300 w 1638300"/>
                <a:gd name="connsiteY200" fmla="*/ 886778 h 2314575"/>
                <a:gd name="connsiteX201" fmla="*/ 1632585 w 1638300"/>
                <a:gd name="connsiteY201" fmla="*/ 900113 h 2314575"/>
                <a:gd name="connsiteX202" fmla="*/ 1632585 w 1638300"/>
                <a:gd name="connsiteY202" fmla="*/ 907733 h 2314575"/>
                <a:gd name="connsiteX203" fmla="*/ 1632585 w 1638300"/>
                <a:gd name="connsiteY203" fmla="*/ 913448 h 2314575"/>
                <a:gd name="connsiteX204" fmla="*/ 1631633 w 1638300"/>
                <a:gd name="connsiteY204" fmla="*/ 918210 h 2314575"/>
                <a:gd name="connsiteX205" fmla="*/ 1628775 w 1638300"/>
                <a:gd name="connsiteY205" fmla="*/ 922973 h 2314575"/>
                <a:gd name="connsiteX206" fmla="*/ 1625918 w 1638300"/>
                <a:gd name="connsiteY206" fmla="*/ 925830 h 2314575"/>
                <a:gd name="connsiteX207" fmla="*/ 1623060 w 1638300"/>
                <a:gd name="connsiteY207" fmla="*/ 929640 h 2314575"/>
                <a:gd name="connsiteX208" fmla="*/ 1620203 w 1638300"/>
                <a:gd name="connsiteY208" fmla="*/ 934403 h 2314575"/>
                <a:gd name="connsiteX209" fmla="*/ 1617345 w 1638300"/>
                <a:gd name="connsiteY209" fmla="*/ 945833 h 2314575"/>
                <a:gd name="connsiteX210" fmla="*/ 1614488 w 1638300"/>
                <a:gd name="connsiteY210" fmla="*/ 955358 h 2314575"/>
                <a:gd name="connsiteX211" fmla="*/ 1611630 w 1638300"/>
                <a:gd name="connsiteY211" fmla="*/ 958215 h 2314575"/>
                <a:gd name="connsiteX212" fmla="*/ 1601153 w 1638300"/>
                <a:gd name="connsiteY212" fmla="*/ 963930 h 2314575"/>
                <a:gd name="connsiteX213" fmla="*/ 1599248 w 1638300"/>
                <a:gd name="connsiteY213" fmla="*/ 964883 h 2314575"/>
                <a:gd name="connsiteX214" fmla="*/ 1597343 w 1638300"/>
                <a:gd name="connsiteY214" fmla="*/ 967740 h 2314575"/>
                <a:gd name="connsiteX215" fmla="*/ 1594485 w 1638300"/>
                <a:gd name="connsiteY215" fmla="*/ 974408 h 2314575"/>
                <a:gd name="connsiteX216" fmla="*/ 1592580 w 1638300"/>
                <a:gd name="connsiteY216" fmla="*/ 976313 h 2314575"/>
                <a:gd name="connsiteX217" fmla="*/ 1589723 w 1638300"/>
                <a:gd name="connsiteY217" fmla="*/ 976313 h 2314575"/>
                <a:gd name="connsiteX218" fmla="*/ 1557338 w 1638300"/>
                <a:gd name="connsiteY218" fmla="*/ 979170 h 2314575"/>
                <a:gd name="connsiteX219" fmla="*/ 1549718 w 1638300"/>
                <a:gd name="connsiteY219" fmla="*/ 981075 h 2314575"/>
                <a:gd name="connsiteX220" fmla="*/ 1547813 w 1638300"/>
                <a:gd name="connsiteY220" fmla="*/ 980123 h 2314575"/>
                <a:gd name="connsiteX221" fmla="*/ 1544003 w 1638300"/>
                <a:gd name="connsiteY221" fmla="*/ 977265 h 2314575"/>
                <a:gd name="connsiteX222" fmla="*/ 1542098 w 1638300"/>
                <a:gd name="connsiteY222" fmla="*/ 976313 h 2314575"/>
                <a:gd name="connsiteX223" fmla="*/ 1536383 w 1638300"/>
                <a:gd name="connsiteY223" fmla="*/ 976313 h 2314575"/>
                <a:gd name="connsiteX224" fmla="*/ 1534478 w 1638300"/>
                <a:gd name="connsiteY224" fmla="*/ 977265 h 2314575"/>
                <a:gd name="connsiteX225" fmla="*/ 1532573 w 1638300"/>
                <a:gd name="connsiteY225" fmla="*/ 979170 h 2314575"/>
                <a:gd name="connsiteX226" fmla="*/ 1526858 w 1638300"/>
                <a:gd name="connsiteY226" fmla="*/ 988695 h 2314575"/>
                <a:gd name="connsiteX227" fmla="*/ 1523048 w 1638300"/>
                <a:gd name="connsiteY227" fmla="*/ 991553 h 2314575"/>
                <a:gd name="connsiteX228" fmla="*/ 1496378 w 1638300"/>
                <a:gd name="connsiteY228" fmla="*/ 993458 h 2314575"/>
                <a:gd name="connsiteX229" fmla="*/ 1494473 w 1638300"/>
                <a:gd name="connsiteY229" fmla="*/ 993458 h 2314575"/>
                <a:gd name="connsiteX230" fmla="*/ 1493520 w 1638300"/>
                <a:gd name="connsiteY230" fmla="*/ 997268 h 2314575"/>
                <a:gd name="connsiteX231" fmla="*/ 1493520 w 1638300"/>
                <a:gd name="connsiteY231" fmla="*/ 1004888 h 2314575"/>
                <a:gd name="connsiteX232" fmla="*/ 1498283 w 1638300"/>
                <a:gd name="connsiteY232" fmla="*/ 1021080 h 2314575"/>
                <a:gd name="connsiteX233" fmla="*/ 1503045 w 1638300"/>
                <a:gd name="connsiteY233" fmla="*/ 1030605 h 2314575"/>
                <a:gd name="connsiteX234" fmla="*/ 1505903 w 1638300"/>
                <a:gd name="connsiteY234" fmla="*/ 1036320 h 2314575"/>
                <a:gd name="connsiteX235" fmla="*/ 1528763 w 1638300"/>
                <a:gd name="connsiteY235" fmla="*/ 1051560 h 2314575"/>
                <a:gd name="connsiteX236" fmla="*/ 1531620 w 1638300"/>
                <a:gd name="connsiteY236" fmla="*/ 1055370 h 2314575"/>
                <a:gd name="connsiteX237" fmla="*/ 1535430 w 1638300"/>
                <a:gd name="connsiteY237" fmla="*/ 1062038 h 2314575"/>
                <a:gd name="connsiteX238" fmla="*/ 1541145 w 1638300"/>
                <a:gd name="connsiteY238" fmla="*/ 1075373 h 2314575"/>
                <a:gd name="connsiteX239" fmla="*/ 1544955 w 1638300"/>
                <a:gd name="connsiteY239" fmla="*/ 1080135 h 2314575"/>
                <a:gd name="connsiteX240" fmla="*/ 1552575 w 1638300"/>
                <a:gd name="connsiteY240" fmla="*/ 1083945 h 2314575"/>
                <a:gd name="connsiteX241" fmla="*/ 1562100 w 1638300"/>
                <a:gd name="connsiteY241" fmla="*/ 1091565 h 2314575"/>
                <a:gd name="connsiteX242" fmla="*/ 1563053 w 1638300"/>
                <a:gd name="connsiteY242" fmla="*/ 1099185 h 2314575"/>
                <a:gd name="connsiteX243" fmla="*/ 1566863 w 1638300"/>
                <a:gd name="connsiteY243" fmla="*/ 1160145 h 2314575"/>
                <a:gd name="connsiteX244" fmla="*/ 1569720 w 1638300"/>
                <a:gd name="connsiteY244" fmla="*/ 1167765 h 2314575"/>
                <a:gd name="connsiteX245" fmla="*/ 1569720 w 1638300"/>
                <a:gd name="connsiteY245" fmla="*/ 1172528 h 2314575"/>
                <a:gd name="connsiteX246" fmla="*/ 1570673 w 1638300"/>
                <a:gd name="connsiteY246" fmla="*/ 1177290 h 2314575"/>
                <a:gd name="connsiteX247" fmla="*/ 1568768 w 1638300"/>
                <a:gd name="connsiteY247" fmla="*/ 1182053 h 2314575"/>
                <a:gd name="connsiteX248" fmla="*/ 1567815 w 1638300"/>
                <a:gd name="connsiteY248" fmla="*/ 1185863 h 2314575"/>
                <a:gd name="connsiteX249" fmla="*/ 1567815 w 1638300"/>
                <a:gd name="connsiteY249" fmla="*/ 1200150 h 2314575"/>
                <a:gd name="connsiteX250" fmla="*/ 1575435 w 1638300"/>
                <a:gd name="connsiteY250" fmla="*/ 1243013 h 2314575"/>
                <a:gd name="connsiteX251" fmla="*/ 1560195 w 1638300"/>
                <a:gd name="connsiteY251" fmla="*/ 1243013 h 2314575"/>
                <a:gd name="connsiteX252" fmla="*/ 1533525 w 1638300"/>
                <a:gd name="connsiteY252" fmla="*/ 1251585 h 2314575"/>
                <a:gd name="connsiteX253" fmla="*/ 1504950 w 1638300"/>
                <a:gd name="connsiteY253" fmla="*/ 1255395 h 2314575"/>
                <a:gd name="connsiteX254" fmla="*/ 1483043 w 1638300"/>
                <a:gd name="connsiteY254" fmla="*/ 1263015 h 2314575"/>
                <a:gd name="connsiteX255" fmla="*/ 1471613 w 1638300"/>
                <a:gd name="connsiteY255" fmla="*/ 1263968 h 2314575"/>
                <a:gd name="connsiteX256" fmla="*/ 1466850 w 1638300"/>
                <a:gd name="connsiteY256" fmla="*/ 1267778 h 2314575"/>
                <a:gd name="connsiteX257" fmla="*/ 1454468 w 1638300"/>
                <a:gd name="connsiteY257" fmla="*/ 1278255 h 2314575"/>
                <a:gd name="connsiteX258" fmla="*/ 1450658 w 1638300"/>
                <a:gd name="connsiteY258" fmla="*/ 1277303 h 2314575"/>
                <a:gd name="connsiteX259" fmla="*/ 1443990 w 1638300"/>
                <a:gd name="connsiteY259" fmla="*/ 1274445 h 2314575"/>
                <a:gd name="connsiteX260" fmla="*/ 1437323 w 1638300"/>
                <a:gd name="connsiteY260" fmla="*/ 1277303 h 2314575"/>
                <a:gd name="connsiteX261" fmla="*/ 1405890 w 1638300"/>
                <a:gd name="connsiteY261" fmla="*/ 1299210 h 2314575"/>
                <a:gd name="connsiteX262" fmla="*/ 1400175 w 1638300"/>
                <a:gd name="connsiteY262" fmla="*/ 1301115 h 2314575"/>
                <a:gd name="connsiteX263" fmla="*/ 1377315 w 1638300"/>
                <a:gd name="connsiteY263" fmla="*/ 1296353 h 2314575"/>
                <a:gd name="connsiteX264" fmla="*/ 1372553 w 1638300"/>
                <a:gd name="connsiteY264" fmla="*/ 1295400 h 2314575"/>
                <a:gd name="connsiteX265" fmla="*/ 1365885 w 1638300"/>
                <a:gd name="connsiteY265" fmla="*/ 1301115 h 2314575"/>
                <a:gd name="connsiteX266" fmla="*/ 1350645 w 1638300"/>
                <a:gd name="connsiteY266" fmla="*/ 1323023 h 2314575"/>
                <a:gd name="connsiteX267" fmla="*/ 1346835 w 1638300"/>
                <a:gd name="connsiteY267" fmla="*/ 1329690 h 2314575"/>
                <a:gd name="connsiteX268" fmla="*/ 1348740 w 1638300"/>
                <a:gd name="connsiteY268" fmla="*/ 1340168 h 2314575"/>
                <a:gd name="connsiteX269" fmla="*/ 1358265 w 1638300"/>
                <a:gd name="connsiteY269" fmla="*/ 1359218 h 2314575"/>
                <a:gd name="connsiteX270" fmla="*/ 1361123 w 1638300"/>
                <a:gd name="connsiteY270" fmla="*/ 1374458 h 2314575"/>
                <a:gd name="connsiteX271" fmla="*/ 1363980 w 1638300"/>
                <a:gd name="connsiteY271" fmla="*/ 1374458 h 2314575"/>
                <a:gd name="connsiteX272" fmla="*/ 1367790 w 1638300"/>
                <a:gd name="connsiteY272" fmla="*/ 1378268 h 2314575"/>
                <a:gd name="connsiteX273" fmla="*/ 1369695 w 1638300"/>
                <a:gd name="connsiteY273" fmla="*/ 1383030 h 2314575"/>
                <a:gd name="connsiteX274" fmla="*/ 1365885 w 1638300"/>
                <a:gd name="connsiteY274" fmla="*/ 1386840 h 2314575"/>
                <a:gd name="connsiteX275" fmla="*/ 1362075 w 1638300"/>
                <a:gd name="connsiteY275" fmla="*/ 1395413 h 2314575"/>
                <a:gd name="connsiteX276" fmla="*/ 1357313 w 1638300"/>
                <a:gd name="connsiteY276" fmla="*/ 1418273 h 2314575"/>
                <a:gd name="connsiteX277" fmla="*/ 1356360 w 1638300"/>
                <a:gd name="connsiteY277" fmla="*/ 1421130 h 2314575"/>
                <a:gd name="connsiteX278" fmla="*/ 1334453 w 1638300"/>
                <a:gd name="connsiteY278" fmla="*/ 1450657 h 2314575"/>
                <a:gd name="connsiteX279" fmla="*/ 1325880 w 1638300"/>
                <a:gd name="connsiteY279" fmla="*/ 1458278 h 2314575"/>
                <a:gd name="connsiteX280" fmla="*/ 1297305 w 1638300"/>
                <a:gd name="connsiteY280" fmla="*/ 1456373 h 2314575"/>
                <a:gd name="connsiteX281" fmla="*/ 1292543 w 1638300"/>
                <a:gd name="connsiteY281" fmla="*/ 1461135 h 2314575"/>
                <a:gd name="connsiteX282" fmla="*/ 1295400 w 1638300"/>
                <a:gd name="connsiteY282" fmla="*/ 1464945 h 2314575"/>
                <a:gd name="connsiteX283" fmla="*/ 1307783 w 1638300"/>
                <a:gd name="connsiteY283" fmla="*/ 1473518 h 2314575"/>
                <a:gd name="connsiteX284" fmla="*/ 1311593 w 1638300"/>
                <a:gd name="connsiteY284" fmla="*/ 1480185 h 2314575"/>
                <a:gd name="connsiteX285" fmla="*/ 1311593 w 1638300"/>
                <a:gd name="connsiteY285" fmla="*/ 1487805 h 2314575"/>
                <a:gd name="connsiteX286" fmla="*/ 1308735 w 1638300"/>
                <a:gd name="connsiteY286" fmla="*/ 1495425 h 2314575"/>
                <a:gd name="connsiteX287" fmla="*/ 1293495 w 1638300"/>
                <a:gd name="connsiteY287" fmla="*/ 1525905 h 2314575"/>
                <a:gd name="connsiteX288" fmla="*/ 1256348 w 1638300"/>
                <a:gd name="connsiteY288" fmla="*/ 1578293 h 2314575"/>
                <a:gd name="connsiteX289" fmla="*/ 1245870 w 1638300"/>
                <a:gd name="connsiteY289" fmla="*/ 1600200 h 2314575"/>
                <a:gd name="connsiteX290" fmla="*/ 1238250 w 1638300"/>
                <a:gd name="connsiteY290" fmla="*/ 1610678 h 2314575"/>
                <a:gd name="connsiteX291" fmla="*/ 1229678 w 1638300"/>
                <a:gd name="connsiteY291" fmla="*/ 1615440 h 2314575"/>
                <a:gd name="connsiteX292" fmla="*/ 1224915 w 1638300"/>
                <a:gd name="connsiteY292" fmla="*/ 1622107 h 2314575"/>
                <a:gd name="connsiteX293" fmla="*/ 1214438 w 1638300"/>
                <a:gd name="connsiteY293" fmla="*/ 1651635 h 2314575"/>
                <a:gd name="connsiteX294" fmla="*/ 1209675 w 1638300"/>
                <a:gd name="connsiteY294" fmla="*/ 1662113 h 2314575"/>
                <a:gd name="connsiteX295" fmla="*/ 1144905 w 1638300"/>
                <a:gd name="connsiteY295" fmla="*/ 1724978 h 2314575"/>
                <a:gd name="connsiteX296" fmla="*/ 1086803 w 1638300"/>
                <a:gd name="connsiteY296" fmla="*/ 1803082 h 2314575"/>
                <a:gd name="connsiteX297" fmla="*/ 1057275 w 1638300"/>
                <a:gd name="connsiteY297" fmla="*/ 1832610 h 2314575"/>
                <a:gd name="connsiteX298" fmla="*/ 1022033 w 1638300"/>
                <a:gd name="connsiteY298" fmla="*/ 1860232 h 2314575"/>
                <a:gd name="connsiteX299" fmla="*/ 1022985 w 1638300"/>
                <a:gd name="connsiteY299" fmla="*/ 1849755 h 2314575"/>
                <a:gd name="connsiteX300" fmla="*/ 1020128 w 1638300"/>
                <a:gd name="connsiteY300" fmla="*/ 1807845 h 2314575"/>
                <a:gd name="connsiteX301" fmla="*/ 1016318 w 1638300"/>
                <a:gd name="connsiteY301" fmla="*/ 1805940 h 2314575"/>
                <a:gd name="connsiteX302" fmla="*/ 1011555 w 1638300"/>
                <a:gd name="connsiteY302" fmla="*/ 1810703 h 2314575"/>
                <a:gd name="connsiteX303" fmla="*/ 1007745 w 1638300"/>
                <a:gd name="connsiteY303" fmla="*/ 1818323 h 2314575"/>
                <a:gd name="connsiteX304" fmla="*/ 1004888 w 1638300"/>
                <a:gd name="connsiteY304" fmla="*/ 1826895 h 2314575"/>
                <a:gd name="connsiteX305" fmla="*/ 1002983 w 1638300"/>
                <a:gd name="connsiteY305" fmla="*/ 1846898 h 2314575"/>
                <a:gd name="connsiteX306" fmla="*/ 1002030 w 1638300"/>
                <a:gd name="connsiteY306" fmla="*/ 1852613 h 2314575"/>
                <a:gd name="connsiteX307" fmla="*/ 1000125 w 1638300"/>
                <a:gd name="connsiteY307" fmla="*/ 1857375 h 2314575"/>
                <a:gd name="connsiteX308" fmla="*/ 1000125 w 1638300"/>
                <a:gd name="connsiteY308" fmla="*/ 1861185 h 2314575"/>
                <a:gd name="connsiteX309" fmla="*/ 999172 w 1638300"/>
                <a:gd name="connsiteY309" fmla="*/ 1864043 h 2314575"/>
                <a:gd name="connsiteX310" fmla="*/ 994410 w 1638300"/>
                <a:gd name="connsiteY310" fmla="*/ 1864995 h 2314575"/>
                <a:gd name="connsiteX311" fmla="*/ 990600 w 1638300"/>
                <a:gd name="connsiteY311" fmla="*/ 1860232 h 2314575"/>
                <a:gd name="connsiteX312" fmla="*/ 987743 w 1638300"/>
                <a:gd name="connsiteY312" fmla="*/ 1859280 h 2314575"/>
                <a:gd name="connsiteX313" fmla="*/ 985838 w 1638300"/>
                <a:gd name="connsiteY313" fmla="*/ 1862138 h 2314575"/>
                <a:gd name="connsiteX314" fmla="*/ 981075 w 1638300"/>
                <a:gd name="connsiteY314" fmla="*/ 1864995 h 2314575"/>
                <a:gd name="connsiteX315" fmla="*/ 957263 w 1638300"/>
                <a:gd name="connsiteY315" fmla="*/ 1844993 h 2314575"/>
                <a:gd name="connsiteX316" fmla="*/ 943928 w 1638300"/>
                <a:gd name="connsiteY316" fmla="*/ 1839278 h 2314575"/>
                <a:gd name="connsiteX317" fmla="*/ 932497 w 1638300"/>
                <a:gd name="connsiteY317" fmla="*/ 1845945 h 2314575"/>
                <a:gd name="connsiteX318" fmla="*/ 928688 w 1638300"/>
                <a:gd name="connsiteY318" fmla="*/ 1860232 h 2314575"/>
                <a:gd name="connsiteX319" fmla="*/ 926783 w 1638300"/>
                <a:gd name="connsiteY319" fmla="*/ 1879282 h 2314575"/>
                <a:gd name="connsiteX320" fmla="*/ 923925 w 1638300"/>
                <a:gd name="connsiteY320" fmla="*/ 1896428 h 2314575"/>
                <a:gd name="connsiteX321" fmla="*/ 919163 w 1638300"/>
                <a:gd name="connsiteY321" fmla="*/ 1887855 h 2314575"/>
                <a:gd name="connsiteX322" fmla="*/ 913447 w 1638300"/>
                <a:gd name="connsiteY322" fmla="*/ 1881188 h 2314575"/>
                <a:gd name="connsiteX323" fmla="*/ 913447 w 1638300"/>
                <a:gd name="connsiteY323" fmla="*/ 1875473 h 2314575"/>
                <a:gd name="connsiteX324" fmla="*/ 917258 w 1638300"/>
                <a:gd name="connsiteY324" fmla="*/ 1866900 h 2314575"/>
                <a:gd name="connsiteX325" fmla="*/ 914400 w 1638300"/>
                <a:gd name="connsiteY325" fmla="*/ 1863090 h 2314575"/>
                <a:gd name="connsiteX326" fmla="*/ 910590 w 1638300"/>
                <a:gd name="connsiteY326" fmla="*/ 1864995 h 2314575"/>
                <a:gd name="connsiteX327" fmla="*/ 905828 w 1638300"/>
                <a:gd name="connsiteY327" fmla="*/ 1875473 h 2314575"/>
                <a:gd name="connsiteX328" fmla="*/ 905828 w 1638300"/>
                <a:gd name="connsiteY328" fmla="*/ 1887855 h 2314575"/>
                <a:gd name="connsiteX329" fmla="*/ 907733 w 1638300"/>
                <a:gd name="connsiteY329" fmla="*/ 1898332 h 2314575"/>
                <a:gd name="connsiteX330" fmla="*/ 912495 w 1638300"/>
                <a:gd name="connsiteY330" fmla="*/ 1905953 h 2314575"/>
                <a:gd name="connsiteX331" fmla="*/ 917258 w 1638300"/>
                <a:gd name="connsiteY331" fmla="*/ 1911668 h 2314575"/>
                <a:gd name="connsiteX332" fmla="*/ 913447 w 1638300"/>
                <a:gd name="connsiteY332" fmla="*/ 1932623 h 2314575"/>
                <a:gd name="connsiteX333" fmla="*/ 910590 w 1638300"/>
                <a:gd name="connsiteY333" fmla="*/ 1925003 h 2314575"/>
                <a:gd name="connsiteX334" fmla="*/ 906780 w 1638300"/>
                <a:gd name="connsiteY334" fmla="*/ 1920240 h 2314575"/>
                <a:gd name="connsiteX335" fmla="*/ 895350 w 1638300"/>
                <a:gd name="connsiteY335" fmla="*/ 1911668 h 2314575"/>
                <a:gd name="connsiteX336" fmla="*/ 894397 w 1638300"/>
                <a:gd name="connsiteY336" fmla="*/ 1908810 h 2314575"/>
                <a:gd name="connsiteX337" fmla="*/ 894397 w 1638300"/>
                <a:gd name="connsiteY337" fmla="*/ 1905000 h 2314575"/>
                <a:gd name="connsiteX338" fmla="*/ 894397 w 1638300"/>
                <a:gd name="connsiteY338" fmla="*/ 1903095 h 2314575"/>
                <a:gd name="connsiteX339" fmla="*/ 889635 w 1638300"/>
                <a:gd name="connsiteY339" fmla="*/ 1901190 h 2314575"/>
                <a:gd name="connsiteX340" fmla="*/ 886778 w 1638300"/>
                <a:gd name="connsiteY340" fmla="*/ 1903095 h 2314575"/>
                <a:gd name="connsiteX341" fmla="*/ 883920 w 1638300"/>
                <a:gd name="connsiteY341" fmla="*/ 1909763 h 2314575"/>
                <a:gd name="connsiteX342" fmla="*/ 882968 w 1638300"/>
                <a:gd name="connsiteY342" fmla="*/ 1911668 h 2314575"/>
                <a:gd name="connsiteX343" fmla="*/ 870585 w 1638300"/>
                <a:gd name="connsiteY343" fmla="*/ 1911668 h 2314575"/>
                <a:gd name="connsiteX344" fmla="*/ 856297 w 1638300"/>
                <a:gd name="connsiteY344" fmla="*/ 1914525 h 2314575"/>
                <a:gd name="connsiteX345" fmla="*/ 844868 w 1638300"/>
                <a:gd name="connsiteY345" fmla="*/ 1922145 h 2314575"/>
                <a:gd name="connsiteX346" fmla="*/ 841058 w 1638300"/>
                <a:gd name="connsiteY346" fmla="*/ 1937385 h 2314575"/>
                <a:gd name="connsiteX347" fmla="*/ 845820 w 1638300"/>
                <a:gd name="connsiteY347" fmla="*/ 1947863 h 2314575"/>
                <a:gd name="connsiteX348" fmla="*/ 852488 w 1638300"/>
                <a:gd name="connsiteY348" fmla="*/ 1952625 h 2314575"/>
                <a:gd name="connsiteX349" fmla="*/ 866775 w 1638300"/>
                <a:gd name="connsiteY349" fmla="*/ 1957388 h 2314575"/>
                <a:gd name="connsiteX350" fmla="*/ 874395 w 1638300"/>
                <a:gd name="connsiteY350" fmla="*/ 1965960 h 2314575"/>
                <a:gd name="connsiteX351" fmla="*/ 878205 w 1638300"/>
                <a:gd name="connsiteY351" fmla="*/ 1971675 h 2314575"/>
                <a:gd name="connsiteX352" fmla="*/ 875347 w 1638300"/>
                <a:gd name="connsiteY352" fmla="*/ 1974532 h 2314575"/>
                <a:gd name="connsiteX353" fmla="*/ 865822 w 1638300"/>
                <a:gd name="connsiteY353" fmla="*/ 1978343 h 2314575"/>
                <a:gd name="connsiteX354" fmla="*/ 857250 w 1638300"/>
                <a:gd name="connsiteY354" fmla="*/ 1985010 h 2314575"/>
                <a:gd name="connsiteX355" fmla="*/ 848678 w 1638300"/>
                <a:gd name="connsiteY355" fmla="*/ 1989773 h 2314575"/>
                <a:gd name="connsiteX356" fmla="*/ 838200 w 1638300"/>
                <a:gd name="connsiteY356" fmla="*/ 1984057 h 2314575"/>
                <a:gd name="connsiteX357" fmla="*/ 836295 w 1638300"/>
                <a:gd name="connsiteY357" fmla="*/ 1989773 h 2314575"/>
                <a:gd name="connsiteX358" fmla="*/ 835343 w 1638300"/>
                <a:gd name="connsiteY358" fmla="*/ 1990725 h 2314575"/>
                <a:gd name="connsiteX359" fmla="*/ 835343 w 1638300"/>
                <a:gd name="connsiteY359" fmla="*/ 1993582 h 2314575"/>
                <a:gd name="connsiteX360" fmla="*/ 838200 w 1638300"/>
                <a:gd name="connsiteY360" fmla="*/ 1999298 h 2314575"/>
                <a:gd name="connsiteX361" fmla="*/ 829628 w 1638300"/>
                <a:gd name="connsiteY361" fmla="*/ 2004060 h 2314575"/>
                <a:gd name="connsiteX362" fmla="*/ 815340 w 1638300"/>
                <a:gd name="connsiteY362" fmla="*/ 2008823 h 2314575"/>
                <a:gd name="connsiteX363" fmla="*/ 808672 w 1638300"/>
                <a:gd name="connsiteY363" fmla="*/ 2015490 h 2314575"/>
                <a:gd name="connsiteX364" fmla="*/ 809625 w 1638300"/>
                <a:gd name="connsiteY364" fmla="*/ 1995488 h 2314575"/>
                <a:gd name="connsiteX365" fmla="*/ 803910 w 1638300"/>
                <a:gd name="connsiteY365" fmla="*/ 1975485 h 2314575"/>
                <a:gd name="connsiteX366" fmla="*/ 793433 w 1638300"/>
                <a:gd name="connsiteY366" fmla="*/ 1959293 h 2314575"/>
                <a:gd name="connsiteX367" fmla="*/ 782003 w 1638300"/>
                <a:gd name="connsiteY367" fmla="*/ 1953578 h 2314575"/>
                <a:gd name="connsiteX368" fmla="*/ 782955 w 1638300"/>
                <a:gd name="connsiteY368" fmla="*/ 1947863 h 2314575"/>
                <a:gd name="connsiteX369" fmla="*/ 780097 w 1638300"/>
                <a:gd name="connsiteY369" fmla="*/ 1911668 h 2314575"/>
                <a:gd name="connsiteX370" fmla="*/ 782955 w 1638300"/>
                <a:gd name="connsiteY370" fmla="*/ 1899285 h 2314575"/>
                <a:gd name="connsiteX371" fmla="*/ 786765 w 1638300"/>
                <a:gd name="connsiteY371" fmla="*/ 1893570 h 2314575"/>
                <a:gd name="connsiteX372" fmla="*/ 787718 w 1638300"/>
                <a:gd name="connsiteY372" fmla="*/ 1888807 h 2314575"/>
                <a:gd name="connsiteX373" fmla="*/ 783908 w 1638300"/>
                <a:gd name="connsiteY373" fmla="*/ 1881188 h 2314575"/>
                <a:gd name="connsiteX374" fmla="*/ 781050 w 1638300"/>
                <a:gd name="connsiteY374" fmla="*/ 1876425 h 2314575"/>
                <a:gd name="connsiteX375" fmla="*/ 777240 w 1638300"/>
                <a:gd name="connsiteY375" fmla="*/ 1873568 h 2314575"/>
                <a:gd name="connsiteX376" fmla="*/ 766763 w 1638300"/>
                <a:gd name="connsiteY376" fmla="*/ 1864995 h 2314575"/>
                <a:gd name="connsiteX377" fmla="*/ 762953 w 1638300"/>
                <a:gd name="connsiteY377" fmla="*/ 1861185 h 2314575"/>
                <a:gd name="connsiteX378" fmla="*/ 761047 w 1638300"/>
                <a:gd name="connsiteY378" fmla="*/ 1854518 h 2314575"/>
                <a:gd name="connsiteX379" fmla="*/ 758190 w 1638300"/>
                <a:gd name="connsiteY379" fmla="*/ 1855470 h 2314575"/>
                <a:gd name="connsiteX380" fmla="*/ 756285 w 1638300"/>
                <a:gd name="connsiteY380" fmla="*/ 1859280 h 2314575"/>
                <a:gd name="connsiteX381" fmla="*/ 754380 w 1638300"/>
                <a:gd name="connsiteY381" fmla="*/ 1864995 h 2314575"/>
                <a:gd name="connsiteX382" fmla="*/ 756285 w 1638300"/>
                <a:gd name="connsiteY382" fmla="*/ 1869757 h 2314575"/>
                <a:gd name="connsiteX383" fmla="*/ 763905 w 1638300"/>
                <a:gd name="connsiteY383" fmla="*/ 1880235 h 2314575"/>
                <a:gd name="connsiteX384" fmla="*/ 765810 w 1638300"/>
                <a:gd name="connsiteY384" fmla="*/ 1883093 h 2314575"/>
                <a:gd name="connsiteX385" fmla="*/ 763905 w 1638300"/>
                <a:gd name="connsiteY385" fmla="*/ 1889760 h 2314575"/>
                <a:gd name="connsiteX386" fmla="*/ 753428 w 1638300"/>
                <a:gd name="connsiteY386" fmla="*/ 1903095 h 2314575"/>
                <a:gd name="connsiteX387" fmla="*/ 750570 w 1638300"/>
                <a:gd name="connsiteY387" fmla="*/ 1911668 h 2314575"/>
                <a:gd name="connsiteX388" fmla="*/ 750570 w 1638300"/>
                <a:gd name="connsiteY388" fmla="*/ 1923098 h 2314575"/>
                <a:gd name="connsiteX389" fmla="*/ 751522 w 1638300"/>
                <a:gd name="connsiteY389" fmla="*/ 1929765 h 2314575"/>
                <a:gd name="connsiteX390" fmla="*/ 754380 w 1638300"/>
                <a:gd name="connsiteY390" fmla="*/ 1934528 h 2314575"/>
                <a:gd name="connsiteX391" fmla="*/ 758190 w 1638300"/>
                <a:gd name="connsiteY391" fmla="*/ 1943100 h 2314575"/>
                <a:gd name="connsiteX392" fmla="*/ 740093 w 1638300"/>
                <a:gd name="connsiteY392" fmla="*/ 1957388 h 2314575"/>
                <a:gd name="connsiteX393" fmla="*/ 736283 w 1638300"/>
                <a:gd name="connsiteY393" fmla="*/ 1986915 h 2314575"/>
                <a:gd name="connsiteX394" fmla="*/ 738188 w 1638300"/>
                <a:gd name="connsiteY394" fmla="*/ 2023110 h 2314575"/>
                <a:gd name="connsiteX395" fmla="*/ 732472 w 1638300"/>
                <a:gd name="connsiteY395" fmla="*/ 2057400 h 2314575"/>
                <a:gd name="connsiteX396" fmla="*/ 745808 w 1638300"/>
                <a:gd name="connsiteY396" fmla="*/ 2064068 h 2314575"/>
                <a:gd name="connsiteX397" fmla="*/ 753428 w 1638300"/>
                <a:gd name="connsiteY397" fmla="*/ 2065973 h 2314575"/>
                <a:gd name="connsiteX398" fmla="*/ 763905 w 1638300"/>
                <a:gd name="connsiteY398" fmla="*/ 2066925 h 2314575"/>
                <a:gd name="connsiteX399" fmla="*/ 773430 w 1638300"/>
                <a:gd name="connsiteY399" fmla="*/ 2065020 h 2314575"/>
                <a:gd name="connsiteX400" fmla="*/ 781050 w 1638300"/>
                <a:gd name="connsiteY400" fmla="*/ 2060257 h 2314575"/>
                <a:gd name="connsiteX401" fmla="*/ 794385 w 1638300"/>
                <a:gd name="connsiteY401" fmla="*/ 2045970 h 2314575"/>
                <a:gd name="connsiteX402" fmla="*/ 787718 w 1638300"/>
                <a:gd name="connsiteY402" fmla="*/ 2054543 h 2314575"/>
                <a:gd name="connsiteX403" fmla="*/ 770572 w 1638300"/>
                <a:gd name="connsiteY403" fmla="*/ 2082165 h 2314575"/>
                <a:gd name="connsiteX404" fmla="*/ 763905 w 1638300"/>
                <a:gd name="connsiteY404" fmla="*/ 2087880 h 2314575"/>
                <a:gd name="connsiteX405" fmla="*/ 758190 w 1638300"/>
                <a:gd name="connsiteY405" fmla="*/ 2090738 h 2314575"/>
                <a:gd name="connsiteX406" fmla="*/ 755333 w 1638300"/>
                <a:gd name="connsiteY406" fmla="*/ 2098358 h 2314575"/>
                <a:gd name="connsiteX407" fmla="*/ 752475 w 1638300"/>
                <a:gd name="connsiteY407" fmla="*/ 2105025 h 2314575"/>
                <a:gd name="connsiteX408" fmla="*/ 749618 w 1638300"/>
                <a:gd name="connsiteY408" fmla="*/ 2108835 h 2314575"/>
                <a:gd name="connsiteX409" fmla="*/ 741045 w 1638300"/>
                <a:gd name="connsiteY409" fmla="*/ 2111693 h 2314575"/>
                <a:gd name="connsiteX410" fmla="*/ 741045 w 1638300"/>
                <a:gd name="connsiteY410" fmla="*/ 2118360 h 2314575"/>
                <a:gd name="connsiteX411" fmla="*/ 749618 w 1638300"/>
                <a:gd name="connsiteY411" fmla="*/ 2135505 h 2314575"/>
                <a:gd name="connsiteX412" fmla="*/ 753428 w 1638300"/>
                <a:gd name="connsiteY412" fmla="*/ 2141220 h 2314575"/>
                <a:gd name="connsiteX413" fmla="*/ 760095 w 1638300"/>
                <a:gd name="connsiteY413" fmla="*/ 2145030 h 2314575"/>
                <a:gd name="connsiteX414" fmla="*/ 765810 w 1638300"/>
                <a:gd name="connsiteY414" fmla="*/ 2144078 h 2314575"/>
                <a:gd name="connsiteX415" fmla="*/ 767715 w 1638300"/>
                <a:gd name="connsiteY415" fmla="*/ 2137410 h 2314575"/>
                <a:gd name="connsiteX416" fmla="*/ 766763 w 1638300"/>
                <a:gd name="connsiteY416" fmla="*/ 2128838 h 2314575"/>
                <a:gd name="connsiteX417" fmla="*/ 767715 w 1638300"/>
                <a:gd name="connsiteY417" fmla="*/ 2121218 h 2314575"/>
                <a:gd name="connsiteX418" fmla="*/ 776288 w 1638300"/>
                <a:gd name="connsiteY418" fmla="*/ 2118360 h 2314575"/>
                <a:gd name="connsiteX419" fmla="*/ 776288 w 1638300"/>
                <a:gd name="connsiteY419" fmla="*/ 2136458 h 2314575"/>
                <a:gd name="connsiteX420" fmla="*/ 778193 w 1638300"/>
                <a:gd name="connsiteY420" fmla="*/ 2139315 h 2314575"/>
                <a:gd name="connsiteX421" fmla="*/ 781050 w 1638300"/>
                <a:gd name="connsiteY421" fmla="*/ 2139315 h 2314575"/>
                <a:gd name="connsiteX422" fmla="*/ 783908 w 1638300"/>
                <a:gd name="connsiteY422" fmla="*/ 2136458 h 2314575"/>
                <a:gd name="connsiteX423" fmla="*/ 783908 w 1638300"/>
                <a:gd name="connsiteY423" fmla="*/ 2133600 h 2314575"/>
                <a:gd name="connsiteX424" fmla="*/ 787718 w 1638300"/>
                <a:gd name="connsiteY424" fmla="*/ 2134553 h 2314575"/>
                <a:gd name="connsiteX425" fmla="*/ 792480 w 1638300"/>
                <a:gd name="connsiteY425" fmla="*/ 2134553 h 2314575"/>
                <a:gd name="connsiteX426" fmla="*/ 795338 w 1638300"/>
                <a:gd name="connsiteY426" fmla="*/ 2137410 h 2314575"/>
                <a:gd name="connsiteX427" fmla="*/ 798195 w 1638300"/>
                <a:gd name="connsiteY427" fmla="*/ 2149793 h 2314575"/>
                <a:gd name="connsiteX428" fmla="*/ 801053 w 1638300"/>
                <a:gd name="connsiteY428" fmla="*/ 2138363 h 2314575"/>
                <a:gd name="connsiteX429" fmla="*/ 803910 w 1638300"/>
                <a:gd name="connsiteY429" fmla="*/ 2125980 h 2314575"/>
                <a:gd name="connsiteX430" fmla="*/ 807720 w 1638300"/>
                <a:gd name="connsiteY430" fmla="*/ 2120265 h 2314575"/>
                <a:gd name="connsiteX431" fmla="*/ 816293 w 1638300"/>
                <a:gd name="connsiteY431" fmla="*/ 2128838 h 2314575"/>
                <a:gd name="connsiteX432" fmla="*/ 820103 w 1638300"/>
                <a:gd name="connsiteY432" fmla="*/ 2141220 h 2314575"/>
                <a:gd name="connsiteX433" fmla="*/ 820103 w 1638300"/>
                <a:gd name="connsiteY433" fmla="*/ 2155508 h 2314575"/>
                <a:gd name="connsiteX434" fmla="*/ 816293 w 1638300"/>
                <a:gd name="connsiteY434" fmla="*/ 2165985 h 2314575"/>
                <a:gd name="connsiteX435" fmla="*/ 805815 w 1638300"/>
                <a:gd name="connsiteY435" fmla="*/ 2165033 h 2314575"/>
                <a:gd name="connsiteX436" fmla="*/ 813435 w 1638300"/>
                <a:gd name="connsiteY436" fmla="*/ 2173605 h 2314575"/>
                <a:gd name="connsiteX437" fmla="*/ 817245 w 1638300"/>
                <a:gd name="connsiteY437" fmla="*/ 2187893 h 2314575"/>
                <a:gd name="connsiteX438" fmla="*/ 819150 w 1638300"/>
                <a:gd name="connsiteY438" fmla="*/ 2204085 h 2314575"/>
                <a:gd name="connsiteX439" fmla="*/ 820103 w 1638300"/>
                <a:gd name="connsiteY439" fmla="*/ 2235518 h 2314575"/>
                <a:gd name="connsiteX440" fmla="*/ 820103 w 1638300"/>
                <a:gd name="connsiteY440" fmla="*/ 2242185 h 2314575"/>
                <a:gd name="connsiteX441" fmla="*/ 818197 w 1638300"/>
                <a:gd name="connsiteY441" fmla="*/ 2248853 h 2314575"/>
                <a:gd name="connsiteX442" fmla="*/ 813435 w 1638300"/>
                <a:gd name="connsiteY442" fmla="*/ 2259330 h 2314575"/>
                <a:gd name="connsiteX443" fmla="*/ 812483 w 1638300"/>
                <a:gd name="connsiteY443" fmla="*/ 2265045 h 2314575"/>
                <a:gd name="connsiteX444" fmla="*/ 806768 w 1638300"/>
                <a:gd name="connsiteY444" fmla="*/ 2283143 h 2314575"/>
                <a:gd name="connsiteX445" fmla="*/ 805815 w 1638300"/>
                <a:gd name="connsiteY445" fmla="*/ 2290763 h 2314575"/>
                <a:gd name="connsiteX446" fmla="*/ 805815 w 1638300"/>
                <a:gd name="connsiteY446" fmla="*/ 2297430 h 2314575"/>
                <a:gd name="connsiteX447" fmla="*/ 805815 w 1638300"/>
                <a:gd name="connsiteY447" fmla="*/ 2299335 h 2314575"/>
                <a:gd name="connsiteX448" fmla="*/ 795338 w 1638300"/>
                <a:gd name="connsiteY448" fmla="*/ 2308860 h 2314575"/>
                <a:gd name="connsiteX449" fmla="*/ 786765 w 1638300"/>
                <a:gd name="connsiteY449" fmla="*/ 2314575 h 2314575"/>
                <a:gd name="connsiteX450" fmla="*/ 777240 w 1638300"/>
                <a:gd name="connsiteY450" fmla="*/ 2316480 h 2314575"/>
                <a:gd name="connsiteX451" fmla="*/ 769620 w 1638300"/>
                <a:gd name="connsiteY451" fmla="*/ 2314575 h 2314575"/>
                <a:gd name="connsiteX452" fmla="*/ 772478 w 1638300"/>
                <a:gd name="connsiteY452" fmla="*/ 2309813 h 2314575"/>
                <a:gd name="connsiteX453" fmla="*/ 773430 w 1638300"/>
                <a:gd name="connsiteY453" fmla="*/ 2304098 h 2314575"/>
                <a:gd name="connsiteX454" fmla="*/ 772478 w 1638300"/>
                <a:gd name="connsiteY454" fmla="*/ 2298383 h 2314575"/>
                <a:gd name="connsiteX455" fmla="*/ 769620 w 1638300"/>
                <a:gd name="connsiteY455" fmla="*/ 2293620 h 2314575"/>
                <a:gd name="connsiteX456" fmla="*/ 776288 w 1638300"/>
                <a:gd name="connsiteY456" fmla="*/ 2271713 h 2314575"/>
                <a:gd name="connsiteX457" fmla="*/ 773430 w 1638300"/>
                <a:gd name="connsiteY457" fmla="*/ 2243138 h 2314575"/>
                <a:gd name="connsiteX458" fmla="*/ 764858 w 1638300"/>
                <a:gd name="connsiteY458" fmla="*/ 2217420 h 2314575"/>
                <a:gd name="connsiteX459" fmla="*/ 753428 w 1638300"/>
                <a:gd name="connsiteY459" fmla="*/ 2205990 h 2314575"/>
                <a:gd name="connsiteX460" fmla="*/ 746760 w 1638300"/>
                <a:gd name="connsiteY460" fmla="*/ 2203133 h 2314575"/>
                <a:gd name="connsiteX461" fmla="*/ 721995 w 1638300"/>
                <a:gd name="connsiteY461" fmla="*/ 2180273 h 2314575"/>
                <a:gd name="connsiteX462" fmla="*/ 648653 w 1638300"/>
                <a:gd name="connsiteY462" fmla="*/ 2153603 h 2314575"/>
                <a:gd name="connsiteX463" fmla="*/ 608647 w 1638300"/>
                <a:gd name="connsiteY463" fmla="*/ 2149793 h 2314575"/>
                <a:gd name="connsiteX464" fmla="*/ 602933 w 1638300"/>
                <a:gd name="connsiteY464" fmla="*/ 2147888 h 2314575"/>
                <a:gd name="connsiteX465" fmla="*/ 597218 w 1638300"/>
                <a:gd name="connsiteY465" fmla="*/ 2145030 h 2314575"/>
                <a:gd name="connsiteX466" fmla="*/ 591503 w 1638300"/>
                <a:gd name="connsiteY466" fmla="*/ 2144078 h 2314575"/>
                <a:gd name="connsiteX467" fmla="*/ 586740 w 1638300"/>
                <a:gd name="connsiteY467" fmla="*/ 2146935 h 2314575"/>
                <a:gd name="connsiteX468" fmla="*/ 583883 w 1638300"/>
                <a:gd name="connsiteY468" fmla="*/ 2150745 h 2314575"/>
                <a:gd name="connsiteX469" fmla="*/ 580072 w 1638300"/>
                <a:gd name="connsiteY469" fmla="*/ 2155508 h 2314575"/>
                <a:gd name="connsiteX470" fmla="*/ 575310 w 1638300"/>
                <a:gd name="connsiteY470" fmla="*/ 2158365 h 2314575"/>
                <a:gd name="connsiteX471" fmla="*/ 570547 w 1638300"/>
                <a:gd name="connsiteY471" fmla="*/ 2160270 h 2314575"/>
                <a:gd name="connsiteX472" fmla="*/ 559118 w 1638300"/>
                <a:gd name="connsiteY472" fmla="*/ 2160270 h 2314575"/>
                <a:gd name="connsiteX473" fmla="*/ 550545 w 1638300"/>
                <a:gd name="connsiteY473" fmla="*/ 2158365 h 2314575"/>
                <a:gd name="connsiteX474" fmla="*/ 541972 w 1638300"/>
                <a:gd name="connsiteY474" fmla="*/ 2159318 h 2314575"/>
                <a:gd name="connsiteX475" fmla="*/ 530543 w 1638300"/>
                <a:gd name="connsiteY475" fmla="*/ 2165033 h 2314575"/>
                <a:gd name="connsiteX476" fmla="*/ 522922 w 1638300"/>
                <a:gd name="connsiteY476" fmla="*/ 2171700 h 2314575"/>
                <a:gd name="connsiteX477" fmla="*/ 518160 w 1638300"/>
                <a:gd name="connsiteY477" fmla="*/ 2177415 h 2314575"/>
                <a:gd name="connsiteX478" fmla="*/ 516255 w 1638300"/>
                <a:gd name="connsiteY478" fmla="*/ 2183130 h 2314575"/>
                <a:gd name="connsiteX479" fmla="*/ 513397 w 1638300"/>
                <a:gd name="connsiteY479" fmla="*/ 2185035 h 2314575"/>
                <a:gd name="connsiteX480" fmla="*/ 501015 w 1638300"/>
                <a:gd name="connsiteY480" fmla="*/ 2185988 h 2314575"/>
                <a:gd name="connsiteX481" fmla="*/ 496253 w 1638300"/>
                <a:gd name="connsiteY481" fmla="*/ 2187893 h 2314575"/>
                <a:gd name="connsiteX482" fmla="*/ 488633 w 1638300"/>
                <a:gd name="connsiteY482" fmla="*/ 2195513 h 2314575"/>
                <a:gd name="connsiteX483" fmla="*/ 480060 w 1638300"/>
                <a:gd name="connsiteY483" fmla="*/ 2200275 h 2314575"/>
                <a:gd name="connsiteX484" fmla="*/ 458153 w 1638300"/>
                <a:gd name="connsiteY484" fmla="*/ 2205990 h 2314575"/>
                <a:gd name="connsiteX485" fmla="*/ 431483 w 1638300"/>
                <a:gd name="connsiteY485" fmla="*/ 2228850 h 2314575"/>
                <a:gd name="connsiteX486" fmla="*/ 423863 w 1638300"/>
                <a:gd name="connsiteY486" fmla="*/ 2232660 h 2314575"/>
                <a:gd name="connsiteX487" fmla="*/ 412433 w 1638300"/>
                <a:gd name="connsiteY487" fmla="*/ 2232660 h 2314575"/>
                <a:gd name="connsiteX488" fmla="*/ 407670 w 1638300"/>
                <a:gd name="connsiteY488" fmla="*/ 2233613 h 2314575"/>
                <a:gd name="connsiteX489" fmla="*/ 403860 w 1638300"/>
                <a:gd name="connsiteY489" fmla="*/ 2236470 h 2314575"/>
                <a:gd name="connsiteX490" fmla="*/ 401003 w 1638300"/>
                <a:gd name="connsiteY490" fmla="*/ 2243138 h 2314575"/>
                <a:gd name="connsiteX491" fmla="*/ 399097 w 1638300"/>
                <a:gd name="connsiteY491" fmla="*/ 2257425 h 2314575"/>
                <a:gd name="connsiteX492" fmla="*/ 397193 w 1638300"/>
                <a:gd name="connsiteY492" fmla="*/ 2263140 h 2314575"/>
                <a:gd name="connsiteX493" fmla="*/ 384810 w 1638300"/>
                <a:gd name="connsiteY493" fmla="*/ 2267903 h 2314575"/>
                <a:gd name="connsiteX494" fmla="*/ 374333 w 1638300"/>
                <a:gd name="connsiteY494" fmla="*/ 2261235 h 2314575"/>
                <a:gd name="connsiteX495" fmla="*/ 365760 w 1638300"/>
                <a:gd name="connsiteY495" fmla="*/ 2251710 h 2314575"/>
                <a:gd name="connsiteX496" fmla="*/ 359093 w 1638300"/>
                <a:gd name="connsiteY496" fmla="*/ 2246948 h 2314575"/>
                <a:gd name="connsiteX497" fmla="*/ 346710 w 1638300"/>
                <a:gd name="connsiteY497" fmla="*/ 2245043 h 2314575"/>
                <a:gd name="connsiteX498" fmla="*/ 333375 w 1638300"/>
                <a:gd name="connsiteY498" fmla="*/ 2235518 h 2314575"/>
                <a:gd name="connsiteX499" fmla="*/ 324803 w 1638300"/>
                <a:gd name="connsiteY499" fmla="*/ 2232660 h 2314575"/>
                <a:gd name="connsiteX500" fmla="*/ 310515 w 1638300"/>
                <a:gd name="connsiteY500" fmla="*/ 2235518 h 2314575"/>
                <a:gd name="connsiteX501" fmla="*/ 310515 w 1638300"/>
                <a:gd name="connsiteY501" fmla="*/ 2246948 h 2314575"/>
                <a:gd name="connsiteX502" fmla="*/ 311468 w 1638300"/>
                <a:gd name="connsiteY502" fmla="*/ 2257425 h 2314575"/>
                <a:gd name="connsiteX503" fmla="*/ 296228 w 1638300"/>
                <a:gd name="connsiteY503" fmla="*/ 2265045 h 2314575"/>
                <a:gd name="connsiteX504" fmla="*/ 295275 w 1638300"/>
                <a:gd name="connsiteY504" fmla="*/ 2270760 h 2314575"/>
                <a:gd name="connsiteX505" fmla="*/ 296228 w 1638300"/>
                <a:gd name="connsiteY505" fmla="*/ 2278380 h 2314575"/>
                <a:gd name="connsiteX506" fmla="*/ 299085 w 1638300"/>
                <a:gd name="connsiteY506" fmla="*/ 2283143 h 2314575"/>
                <a:gd name="connsiteX507" fmla="*/ 302895 w 1638300"/>
                <a:gd name="connsiteY507" fmla="*/ 2286953 h 2314575"/>
                <a:gd name="connsiteX508" fmla="*/ 318135 w 1638300"/>
                <a:gd name="connsiteY508" fmla="*/ 2293620 h 2314575"/>
                <a:gd name="connsiteX509" fmla="*/ 311468 w 1638300"/>
                <a:gd name="connsiteY509" fmla="*/ 2300288 h 2314575"/>
                <a:gd name="connsiteX510" fmla="*/ 304800 w 1638300"/>
                <a:gd name="connsiteY510" fmla="*/ 2303145 h 2314575"/>
                <a:gd name="connsiteX511" fmla="*/ 288608 w 1638300"/>
                <a:gd name="connsiteY511" fmla="*/ 2304098 h 2314575"/>
                <a:gd name="connsiteX512" fmla="*/ 268605 w 1638300"/>
                <a:gd name="connsiteY512" fmla="*/ 2306955 h 2314575"/>
                <a:gd name="connsiteX513" fmla="*/ 199072 w 1638300"/>
                <a:gd name="connsiteY513" fmla="*/ 2290763 h 2314575"/>
                <a:gd name="connsiteX514" fmla="*/ 155258 w 1638300"/>
                <a:gd name="connsiteY514" fmla="*/ 2267903 h 2314575"/>
                <a:gd name="connsiteX515" fmla="*/ 108585 w 1638300"/>
                <a:gd name="connsiteY515" fmla="*/ 2255520 h 2314575"/>
                <a:gd name="connsiteX516" fmla="*/ 89535 w 1638300"/>
                <a:gd name="connsiteY516" fmla="*/ 2245043 h 2314575"/>
                <a:gd name="connsiteX517" fmla="*/ 80963 w 1638300"/>
                <a:gd name="connsiteY517" fmla="*/ 2242185 h 2314575"/>
                <a:gd name="connsiteX518" fmla="*/ 68580 w 1638300"/>
                <a:gd name="connsiteY518" fmla="*/ 2234565 h 2314575"/>
                <a:gd name="connsiteX519" fmla="*/ 58103 w 1638300"/>
                <a:gd name="connsiteY519" fmla="*/ 2215515 h 2314575"/>
                <a:gd name="connsiteX520" fmla="*/ 42863 w 1638300"/>
                <a:gd name="connsiteY520" fmla="*/ 2175510 h 2314575"/>
                <a:gd name="connsiteX521" fmla="*/ 45720 w 1638300"/>
                <a:gd name="connsiteY521" fmla="*/ 2160270 h 2314575"/>
                <a:gd name="connsiteX522" fmla="*/ 35243 w 1638300"/>
                <a:gd name="connsiteY522" fmla="*/ 2145983 h 2314575"/>
                <a:gd name="connsiteX523" fmla="*/ 20003 w 1638300"/>
                <a:gd name="connsiteY523" fmla="*/ 2137410 h 2314575"/>
                <a:gd name="connsiteX524" fmla="*/ 6668 w 1638300"/>
                <a:gd name="connsiteY524" fmla="*/ 2139315 h 2314575"/>
                <a:gd name="connsiteX525" fmla="*/ 0 w 1638300"/>
                <a:gd name="connsiteY525" fmla="*/ 2130743 h 2314575"/>
                <a:gd name="connsiteX526" fmla="*/ 953 w 1638300"/>
                <a:gd name="connsiteY526" fmla="*/ 2125028 h 2314575"/>
                <a:gd name="connsiteX527" fmla="*/ 4763 w 1638300"/>
                <a:gd name="connsiteY527" fmla="*/ 2115503 h 2314575"/>
                <a:gd name="connsiteX528" fmla="*/ 8572 w 1638300"/>
                <a:gd name="connsiteY528" fmla="*/ 2106930 h 2314575"/>
                <a:gd name="connsiteX529" fmla="*/ 37147 w 1638300"/>
                <a:gd name="connsiteY529" fmla="*/ 2085023 h 2314575"/>
                <a:gd name="connsiteX530" fmla="*/ 74295 w 1638300"/>
                <a:gd name="connsiteY530" fmla="*/ 2087880 h 2314575"/>
                <a:gd name="connsiteX531" fmla="*/ 114300 w 1638300"/>
                <a:gd name="connsiteY531" fmla="*/ 2098358 h 2314575"/>
                <a:gd name="connsiteX532" fmla="*/ 147638 w 1638300"/>
                <a:gd name="connsiteY532" fmla="*/ 2100263 h 2314575"/>
                <a:gd name="connsiteX533" fmla="*/ 159068 w 1638300"/>
                <a:gd name="connsiteY533" fmla="*/ 2094548 h 2314575"/>
                <a:gd name="connsiteX534" fmla="*/ 161925 w 1638300"/>
                <a:gd name="connsiteY534" fmla="*/ 2085975 h 2314575"/>
                <a:gd name="connsiteX535" fmla="*/ 158115 w 1638300"/>
                <a:gd name="connsiteY535" fmla="*/ 2060257 h 2314575"/>
                <a:gd name="connsiteX536" fmla="*/ 157163 w 1638300"/>
                <a:gd name="connsiteY536" fmla="*/ 2057400 h 2314575"/>
                <a:gd name="connsiteX537" fmla="*/ 160972 w 1638300"/>
                <a:gd name="connsiteY537" fmla="*/ 2050732 h 2314575"/>
                <a:gd name="connsiteX538" fmla="*/ 163830 w 1638300"/>
                <a:gd name="connsiteY538" fmla="*/ 2047875 h 2314575"/>
                <a:gd name="connsiteX539" fmla="*/ 177165 w 1638300"/>
                <a:gd name="connsiteY539" fmla="*/ 2041207 h 2314575"/>
                <a:gd name="connsiteX540" fmla="*/ 170497 w 1638300"/>
                <a:gd name="connsiteY540" fmla="*/ 2031682 h 2314575"/>
                <a:gd name="connsiteX541" fmla="*/ 167640 w 1638300"/>
                <a:gd name="connsiteY541" fmla="*/ 2021205 h 2314575"/>
                <a:gd name="connsiteX542" fmla="*/ 166688 w 1638300"/>
                <a:gd name="connsiteY542" fmla="*/ 2010728 h 2314575"/>
                <a:gd name="connsiteX543" fmla="*/ 163830 w 1638300"/>
                <a:gd name="connsiteY543" fmla="*/ 2000250 h 2314575"/>
                <a:gd name="connsiteX544" fmla="*/ 157163 w 1638300"/>
                <a:gd name="connsiteY544" fmla="*/ 1992630 h 2314575"/>
                <a:gd name="connsiteX545" fmla="*/ 149543 w 1638300"/>
                <a:gd name="connsiteY545" fmla="*/ 1987868 h 2314575"/>
                <a:gd name="connsiteX546" fmla="*/ 144780 w 1638300"/>
                <a:gd name="connsiteY546" fmla="*/ 1982153 h 2314575"/>
                <a:gd name="connsiteX547" fmla="*/ 147638 w 1638300"/>
                <a:gd name="connsiteY547" fmla="*/ 1973580 h 2314575"/>
                <a:gd name="connsiteX548" fmla="*/ 160020 w 1638300"/>
                <a:gd name="connsiteY548" fmla="*/ 1955482 h 2314575"/>
                <a:gd name="connsiteX549" fmla="*/ 165735 w 1638300"/>
                <a:gd name="connsiteY549" fmla="*/ 1948815 h 2314575"/>
                <a:gd name="connsiteX550" fmla="*/ 175260 w 1638300"/>
                <a:gd name="connsiteY550" fmla="*/ 1943100 h 2314575"/>
                <a:gd name="connsiteX551" fmla="*/ 190500 w 1638300"/>
                <a:gd name="connsiteY551" fmla="*/ 1938338 h 2314575"/>
                <a:gd name="connsiteX552" fmla="*/ 193358 w 1638300"/>
                <a:gd name="connsiteY552" fmla="*/ 1932623 h 2314575"/>
                <a:gd name="connsiteX553" fmla="*/ 190500 w 1638300"/>
                <a:gd name="connsiteY553" fmla="*/ 1918335 h 2314575"/>
                <a:gd name="connsiteX554" fmla="*/ 198120 w 1638300"/>
                <a:gd name="connsiteY554" fmla="*/ 1904048 h 2314575"/>
                <a:gd name="connsiteX555" fmla="*/ 234315 w 1638300"/>
                <a:gd name="connsiteY555" fmla="*/ 1900238 h 2314575"/>
                <a:gd name="connsiteX556" fmla="*/ 247650 w 1638300"/>
                <a:gd name="connsiteY556" fmla="*/ 1892618 h 2314575"/>
                <a:gd name="connsiteX557" fmla="*/ 249555 w 1638300"/>
                <a:gd name="connsiteY557" fmla="*/ 1884998 h 2314575"/>
                <a:gd name="connsiteX558" fmla="*/ 248603 w 1638300"/>
                <a:gd name="connsiteY558" fmla="*/ 1877378 h 2314575"/>
                <a:gd name="connsiteX559" fmla="*/ 247650 w 1638300"/>
                <a:gd name="connsiteY559" fmla="*/ 1870710 h 2314575"/>
                <a:gd name="connsiteX560" fmla="*/ 247650 w 1638300"/>
                <a:gd name="connsiteY560" fmla="*/ 1865948 h 2314575"/>
                <a:gd name="connsiteX561" fmla="*/ 251460 w 1638300"/>
                <a:gd name="connsiteY561" fmla="*/ 1862138 h 2314575"/>
                <a:gd name="connsiteX562" fmla="*/ 266700 w 1638300"/>
                <a:gd name="connsiteY562" fmla="*/ 1859280 h 2314575"/>
                <a:gd name="connsiteX563" fmla="*/ 277178 w 1638300"/>
                <a:gd name="connsiteY563" fmla="*/ 1853565 h 2314575"/>
                <a:gd name="connsiteX564" fmla="*/ 283845 w 1638300"/>
                <a:gd name="connsiteY564" fmla="*/ 1846898 h 2314575"/>
                <a:gd name="connsiteX565" fmla="*/ 287655 w 1638300"/>
                <a:gd name="connsiteY565" fmla="*/ 1837373 h 2314575"/>
                <a:gd name="connsiteX566" fmla="*/ 287655 w 1638300"/>
                <a:gd name="connsiteY566" fmla="*/ 1822132 h 2314575"/>
                <a:gd name="connsiteX567" fmla="*/ 285750 w 1638300"/>
                <a:gd name="connsiteY567" fmla="*/ 1808798 h 2314575"/>
                <a:gd name="connsiteX568" fmla="*/ 278130 w 1638300"/>
                <a:gd name="connsiteY568" fmla="*/ 1783080 h 2314575"/>
                <a:gd name="connsiteX569" fmla="*/ 279083 w 1638300"/>
                <a:gd name="connsiteY569" fmla="*/ 1769745 h 2314575"/>
                <a:gd name="connsiteX570" fmla="*/ 284797 w 1638300"/>
                <a:gd name="connsiteY570" fmla="*/ 1759268 h 2314575"/>
                <a:gd name="connsiteX571" fmla="*/ 294322 w 1638300"/>
                <a:gd name="connsiteY571" fmla="*/ 1752600 h 2314575"/>
                <a:gd name="connsiteX572" fmla="*/ 385763 w 1638300"/>
                <a:gd name="connsiteY572" fmla="*/ 1728788 h 2314575"/>
                <a:gd name="connsiteX573" fmla="*/ 399097 w 1638300"/>
                <a:gd name="connsiteY573" fmla="*/ 1722120 h 2314575"/>
                <a:gd name="connsiteX574" fmla="*/ 400050 w 1638300"/>
                <a:gd name="connsiteY574" fmla="*/ 1707832 h 2314575"/>
                <a:gd name="connsiteX575" fmla="*/ 390525 w 1638300"/>
                <a:gd name="connsiteY575" fmla="*/ 1674495 h 2314575"/>
                <a:gd name="connsiteX576" fmla="*/ 389572 w 1638300"/>
                <a:gd name="connsiteY576" fmla="*/ 1655445 h 2314575"/>
                <a:gd name="connsiteX577" fmla="*/ 393383 w 1638300"/>
                <a:gd name="connsiteY577" fmla="*/ 1644015 h 2314575"/>
                <a:gd name="connsiteX578" fmla="*/ 411480 w 1638300"/>
                <a:gd name="connsiteY578" fmla="*/ 1623060 h 2314575"/>
                <a:gd name="connsiteX579" fmla="*/ 423863 w 1638300"/>
                <a:gd name="connsiteY579" fmla="*/ 1603057 h 2314575"/>
                <a:gd name="connsiteX580" fmla="*/ 429578 w 1638300"/>
                <a:gd name="connsiteY580" fmla="*/ 1584960 h 2314575"/>
                <a:gd name="connsiteX581" fmla="*/ 426720 w 1638300"/>
                <a:gd name="connsiteY581" fmla="*/ 1567815 h 2314575"/>
                <a:gd name="connsiteX582" fmla="*/ 396240 w 1638300"/>
                <a:gd name="connsiteY582" fmla="*/ 1538288 h 2314575"/>
                <a:gd name="connsiteX583" fmla="*/ 386715 w 1638300"/>
                <a:gd name="connsiteY583" fmla="*/ 1525905 h 2314575"/>
                <a:gd name="connsiteX584" fmla="*/ 386715 w 1638300"/>
                <a:gd name="connsiteY584" fmla="*/ 1516380 h 2314575"/>
                <a:gd name="connsiteX585" fmla="*/ 390525 w 1638300"/>
                <a:gd name="connsiteY585" fmla="*/ 1504950 h 2314575"/>
                <a:gd name="connsiteX586" fmla="*/ 393383 w 1638300"/>
                <a:gd name="connsiteY586" fmla="*/ 1491615 h 2314575"/>
                <a:gd name="connsiteX587" fmla="*/ 392430 w 1638300"/>
                <a:gd name="connsiteY587" fmla="*/ 1479232 h 2314575"/>
                <a:gd name="connsiteX588" fmla="*/ 383858 w 1638300"/>
                <a:gd name="connsiteY588" fmla="*/ 1443038 h 2314575"/>
                <a:gd name="connsiteX589" fmla="*/ 379095 w 1638300"/>
                <a:gd name="connsiteY589" fmla="*/ 1415415 h 2314575"/>
                <a:gd name="connsiteX590" fmla="*/ 382905 w 1638300"/>
                <a:gd name="connsiteY590" fmla="*/ 1393508 h 2314575"/>
                <a:gd name="connsiteX591" fmla="*/ 393383 w 1638300"/>
                <a:gd name="connsiteY591" fmla="*/ 1376363 h 2314575"/>
                <a:gd name="connsiteX592" fmla="*/ 432435 w 1638300"/>
                <a:gd name="connsiteY592" fmla="*/ 1349693 h 2314575"/>
                <a:gd name="connsiteX593" fmla="*/ 461010 w 1638300"/>
                <a:gd name="connsiteY593" fmla="*/ 1339215 h 2314575"/>
                <a:gd name="connsiteX594" fmla="*/ 507683 w 1638300"/>
                <a:gd name="connsiteY594" fmla="*/ 1312545 h 2314575"/>
                <a:gd name="connsiteX595" fmla="*/ 519113 w 1638300"/>
                <a:gd name="connsiteY595" fmla="*/ 1312545 h 2314575"/>
                <a:gd name="connsiteX596" fmla="*/ 527685 w 1638300"/>
                <a:gd name="connsiteY596" fmla="*/ 1323975 h 2314575"/>
                <a:gd name="connsiteX597" fmla="*/ 530543 w 1638300"/>
                <a:gd name="connsiteY597" fmla="*/ 1340168 h 2314575"/>
                <a:gd name="connsiteX598" fmla="*/ 531495 w 1638300"/>
                <a:gd name="connsiteY598" fmla="*/ 1404938 h 2314575"/>
                <a:gd name="connsiteX599" fmla="*/ 530543 w 1638300"/>
                <a:gd name="connsiteY599" fmla="*/ 1413510 h 2314575"/>
                <a:gd name="connsiteX600" fmla="*/ 526733 w 1638300"/>
                <a:gd name="connsiteY600" fmla="*/ 1421130 h 2314575"/>
                <a:gd name="connsiteX601" fmla="*/ 521970 w 1638300"/>
                <a:gd name="connsiteY601" fmla="*/ 1428750 h 2314575"/>
                <a:gd name="connsiteX602" fmla="*/ 518160 w 1638300"/>
                <a:gd name="connsiteY602" fmla="*/ 1435418 h 2314575"/>
                <a:gd name="connsiteX603" fmla="*/ 519113 w 1638300"/>
                <a:gd name="connsiteY603" fmla="*/ 1443990 h 2314575"/>
                <a:gd name="connsiteX604" fmla="*/ 527685 w 1638300"/>
                <a:gd name="connsiteY604" fmla="*/ 1451610 h 2314575"/>
                <a:gd name="connsiteX605" fmla="*/ 539115 w 1638300"/>
                <a:gd name="connsiteY605" fmla="*/ 1443990 h 2314575"/>
                <a:gd name="connsiteX606" fmla="*/ 558165 w 1638300"/>
                <a:gd name="connsiteY606" fmla="*/ 1423035 h 2314575"/>
                <a:gd name="connsiteX607" fmla="*/ 564833 w 1638300"/>
                <a:gd name="connsiteY607" fmla="*/ 1420178 h 2314575"/>
                <a:gd name="connsiteX608" fmla="*/ 568643 w 1638300"/>
                <a:gd name="connsiteY608" fmla="*/ 1422083 h 2314575"/>
                <a:gd name="connsiteX609" fmla="*/ 571500 w 1638300"/>
                <a:gd name="connsiteY609" fmla="*/ 1420178 h 2314575"/>
                <a:gd name="connsiteX610" fmla="*/ 574358 w 1638300"/>
                <a:gd name="connsiteY610" fmla="*/ 1410653 h 2314575"/>
                <a:gd name="connsiteX611" fmla="*/ 575310 w 1638300"/>
                <a:gd name="connsiteY611" fmla="*/ 1403985 h 2314575"/>
                <a:gd name="connsiteX612" fmla="*/ 572453 w 1638300"/>
                <a:gd name="connsiteY612" fmla="*/ 1388745 h 2314575"/>
                <a:gd name="connsiteX613" fmla="*/ 574358 w 1638300"/>
                <a:gd name="connsiteY613" fmla="*/ 1379220 h 2314575"/>
                <a:gd name="connsiteX614" fmla="*/ 583883 w 1638300"/>
                <a:gd name="connsiteY614" fmla="*/ 1363028 h 2314575"/>
                <a:gd name="connsiteX615" fmla="*/ 590550 w 1638300"/>
                <a:gd name="connsiteY615" fmla="*/ 1365885 h 2314575"/>
                <a:gd name="connsiteX616" fmla="*/ 602933 w 1638300"/>
                <a:gd name="connsiteY616" fmla="*/ 1392555 h 2314575"/>
                <a:gd name="connsiteX617" fmla="*/ 612458 w 1638300"/>
                <a:gd name="connsiteY617" fmla="*/ 1406843 h 2314575"/>
                <a:gd name="connsiteX618" fmla="*/ 619125 w 1638300"/>
                <a:gd name="connsiteY618" fmla="*/ 1405890 h 2314575"/>
                <a:gd name="connsiteX619" fmla="*/ 641985 w 1638300"/>
                <a:gd name="connsiteY619" fmla="*/ 1370648 h 2314575"/>
                <a:gd name="connsiteX620" fmla="*/ 652463 w 1638300"/>
                <a:gd name="connsiteY620" fmla="*/ 1360170 h 2314575"/>
                <a:gd name="connsiteX621" fmla="*/ 662940 w 1638300"/>
                <a:gd name="connsiteY621" fmla="*/ 1353503 h 2314575"/>
                <a:gd name="connsiteX622" fmla="*/ 675322 w 1638300"/>
                <a:gd name="connsiteY622" fmla="*/ 1355408 h 2314575"/>
                <a:gd name="connsiteX623" fmla="*/ 678180 w 1638300"/>
                <a:gd name="connsiteY623" fmla="*/ 1360170 h 2314575"/>
                <a:gd name="connsiteX624" fmla="*/ 679133 w 1638300"/>
                <a:gd name="connsiteY624" fmla="*/ 1365885 h 2314575"/>
                <a:gd name="connsiteX625" fmla="*/ 678180 w 1638300"/>
                <a:gd name="connsiteY625" fmla="*/ 1370648 h 2314575"/>
                <a:gd name="connsiteX626" fmla="*/ 672465 w 1638300"/>
                <a:gd name="connsiteY626" fmla="*/ 1382078 h 2314575"/>
                <a:gd name="connsiteX627" fmla="*/ 671513 w 1638300"/>
                <a:gd name="connsiteY627" fmla="*/ 1387793 h 2314575"/>
                <a:gd name="connsiteX628" fmla="*/ 672465 w 1638300"/>
                <a:gd name="connsiteY628" fmla="*/ 1393508 h 2314575"/>
                <a:gd name="connsiteX629" fmla="*/ 675322 w 1638300"/>
                <a:gd name="connsiteY629" fmla="*/ 1399223 h 2314575"/>
                <a:gd name="connsiteX630" fmla="*/ 682943 w 1638300"/>
                <a:gd name="connsiteY630" fmla="*/ 1403033 h 2314575"/>
                <a:gd name="connsiteX631" fmla="*/ 700088 w 1638300"/>
                <a:gd name="connsiteY631" fmla="*/ 1405890 h 2314575"/>
                <a:gd name="connsiteX632" fmla="*/ 707708 w 1638300"/>
                <a:gd name="connsiteY632" fmla="*/ 1408748 h 2314575"/>
                <a:gd name="connsiteX633" fmla="*/ 714375 w 1638300"/>
                <a:gd name="connsiteY633" fmla="*/ 1415415 h 2314575"/>
                <a:gd name="connsiteX634" fmla="*/ 721995 w 1638300"/>
                <a:gd name="connsiteY634" fmla="*/ 1432560 h 2314575"/>
                <a:gd name="connsiteX635" fmla="*/ 729615 w 1638300"/>
                <a:gd name="connsiteY635" fmla="*/ 1442085 h 2314575"/>
                <a:gd name="connsiteX636" fmla="*/ 737235 w 1638300"/>
                <a:gd name="connsiteY636" fmla="*/ 1446848 h 2314575"/>
                <a:gd name="connsiteX637" fmla="*/ 746760 w 1638300"/>
                <a:gd name="connsiteY637" fmla="*/ 1447800 h 2314575"/>
                <a:gd name="connsiteX638" fmla="*/ 755333 w 1638300"/>
                <a:gd name="connsiteY638" fmla="*/ 1444943 h 2314575"/>
                <a:gd name="connsiteX639" fmla="*/ 762000 w 1638300"/>
                <a:gd name="connsiteY639" fmla="*/ 1437323 h 2314575"/>
                <a:gd name="connsiteX640" fmla="*/ 765810 w 1638300"/>
                <a:gd name="connsiteY640" fmla="*/ 1424940 h 2314575"/>
                <a:gd name="connsiteX641" fmla="*/ 763905 w 1638300"/>
                <a:gd name="connsiteY641" fmla="*/ 1405890 h 2314575"/>
                <a:gd name="connsiteX642" fmla="*/ 766763 w 1638300"/>
                <a:gd name="connsiteY642" fmla="*/ 1401128 h 2314575"/>
                <a:gd name="connsiteX643" fmla="*/ 782003 w 1638300"/>
                <a:gd name="connsiteY643" fmla="*/ 1401128 h 2314575"/>
                <a:gd name="connsiteX644" fmla="*/ 792480 w 1638300"/>
                <a:gd name="connsiteY644" fmla="*/ 1397318 h 2314575"/>
                <a:gd name="connsiteX645" fmla="*/ 798195 w 1638300"/>
                <a:gd name="connsiteY645" fmla="*/ 1385888 h 2314575"/>
                <a:gd name="connsiteX646" fmla="*/ 798195 w 1638300"/>
                <a:gd name="connsiteY646" fmla="*/ 1363980 h 2314575"/>
                <a:gd name="connsiteX647" fmla="*/ 804863 w 1638300"/>
                <a:gd name="connsiteY647" fmla="*/ 1376363 h 2314575"/>
                <a:gd name="connsiteX648" fmla="*/ 832485 w 1638300"/>
                <a:gd name="connsiteY648" fmla="*/ 1402080 h 2314575"/>
                <a:gd name="connsiteX649" fmla="*/ 843915 w 1638300"/>
                <a:gd name="connsiteY649" fmla="*/ 1420178 h 2314575"/>
                <a:gd name="connsiteX650" fmla="*/ 846772 w 1638300"/>
                <a:gd name="connsiteY650" fmla="*/ 1425893 h 2314575"/>
                <a:gd name="connsiteX651" fmla="*/ 846772 w 1638300"/>
                <a:gd name="connsiteY651" fmla="*/ 1433513 h 2314575"/>
                <a:gd name="connsiteX652" fmla="*/ 846772 w 1638300"/>
                <a:gd name="connsiteY652" fmla="*/ 1447800 h 2314575"/>
                <a:gd name="connsiteX653" fmla="*/ 847725 w 1638300"/>
                <a:gd name="connsiteY653" fmla="*/ 1453515 h 2314575"/>
                <a:gd name="connsiteX654" fmla="*/ 858203 w 1638300"/>
                <a:gd name="connsiteY654" fmla="*/ 1464945 h 2314575"/>
                <a:gd name="connsiteX655" fmla="*/ 868680 w 1638300"/>
                <a:gd name="connsiteY655" fmla="*/ 1463040 h 2314575"/>
                <a:gd name="connsiteX656" fmla="*/ 888683 w 1638300"/>
                <a:gd name="connsiteY656" fmla="*/ 1445895 h 2314575"/>
                <a:gd name="connsiteX657" fmla="*/ 897255 w 1638300"/>
                <a:gd name="connsiteY657" fmla="*/ 1440180 h 2314575"/>
                <a:gd name="connsiteX658" fmla="*/ 905828 w 1638300"/>
                <a:gd name="connsiteY658" fmla="*/ 1439228 h 2314575"/>
                <a:gd name="connsiteX659" fmla="*/ 968693 w 1638300"/>
                <a:gd name="connsiteY659" fmla="*/ 1442085 h 2314575"/>
                <a:gd name="connsiteX660" fmla="*/ 991553 w 1638300"/>
                <a:gd name="connsiteY660" fmla="*/ 1438275 h 2314575"/>
                <a:gd name="connsiteX661" fmla="*/ 1005840 w 1638300"/>
                <a:gd name="connsiteY661" fmla="*/ 1424940 h 2314575"/>
                <a:gd name="connsiteX662" fmla="*/ 1018222 w 1638300"/>
                <a:gd name="connsiteY662" fmla="*/ 1401128 h 2314575"/>
                <a:gd name="connsiteX663" fmla="*/ 1011555 w 1638300"/>
                <a:gd name="connsiteY663" fmla="*/ 1396365 h 2314575"/>
                <a:gd name="connsiteX664" fmla="*/ 1002983 w 1638300"/>
                <a:gd name="connsiteY664" fmla="*/ 1395413 h 2314575"/>
                <a:gd name="connsiteX665" fmla="*/ 995363 w 1638300"/>
                <a:gd name="connsiteY665" fmla="*/ 1396365 h 2314575"/>
                <a:gd name="connsiteX666" fmla="*/ 989647 w 1638300"/>
                <a:gd name="connsiteY666" fmla="*/ 1401128 h 2314575"/>
                <a:gd name="connsiteX667" fmla="*/ 981075 w 1638300"/>
                <a:gd name="connsiteY667" fmla="*/ 1390650 h 2314575"/>
                <a:gd name="connsiteX668" fmla="*/ 956310 w 1638300"/>
                <a:gd name="connsiteY668" fmla="*/ 1371600 h 2314575"/>
                <a:gd name="connsiteX669" fmla="*/ 960120 w 1638300"/>
                <a:gd name="connsiteY669" fmla="*/ 1364933 h 2314575"/>
                <a:gd name="connsiteX670" fmla="*/ 954405 w 1638300"/>
                <a:gd name="connsiteY670" fmla="*/ 1351598 h 2314575"/>
                <a:gd name="connsiteX671" fmla="*/ 950595 w 1638300"/>
                <a:gd name="connsiteY671" fmla="*/ 1346835 h 2314575"/>
                <a:gd name="connsiteX672" fmla="*/ 946785 w 1638300"/>
                <a:gd name="connsiteY672" fmla="*/ 1343025 h 2314575"/>
                <a:gd name="connsiteX673" fmla="*/ 942975 w 1638300"/>
                <a:gd name="connsiteY673" fmla="*/ 1343025 h 2314575"/>
                <a:gd name="connsiteX674" fmla="*/ 937260 w 1638300"/>
                <a:gd name="connsiteY674" fmla="*/ 1346835 h 2314575"/>
                <a:gd name="connsiteX675" fmla="*/ 933450 w 1638300"/>
                <a:gd name="connsiteY675" fmla="*/ 1348740 h 2314575"/>
                <a:gd name="connsiteX676" fmla="*/ 931545 w 1638300"/>
                <a:gd name="connsiteY676" fmla="*/ 1346835 h 2314575"/>
                <a:gd name="connsiteX677" fmla="*/ 928688 w 1638300"/>
                <a:gd name="connsiteY677" fmla="*/ 1339215 h 2314575"/>
                <a:gd name="connsiteX678" fmla="*/ 927735 w 1638300"/>
                <a:gd name="connsiteY678" fmla="*/ 1337310 h 2314575"/>
                <a:gd name="connsiteX679" fmla="*/ 904875 w 1638300"/>
                <a:gd name="connsiteY679" fmla="*/ 1327785 h 2314575"/>
                <a:gd name="connsiteX680" fmla="*/ 897255 w 1638300"/>
                <a:gd name="connsiteY680" fmla="*/ 1318260 h 2314575"/>
                <a:gd name="connsiteX681" fmla="*/ 895350 w 1638300"/>
                <a:gd name="connsiteY681" fmla="*/ 1301115 h 2314575"/>
                <a:gd name="connsiteX682" fmla="*/ 904875 w 1638300"/>
                <a:gd name="connsiteY682" fmla="*/ 1300163 h 2314575"/>
                <a:gd name="connsiteX683" fmla="*/ 916305 w 1638300"/>
                <a:gd name="connsiteY683" fmla="*/ 1298258 h 2314575"/>
                <a:gd name="connsiteX684" fmla="*/ 922972 w 1638300"/>
                <a:gd name="connsiteY684" fmla="*/ 1281113 h 2314575"/>
                <a:gd name="connsiteX685" fmla="*/ 921068 w 1638300"/>
                <a:gd name="connsiteY685" fmla="*/ 1274445 h 2314575"/>
                <a:gd name="connsiteX686" fmla="*/ 914400 w 1638300"/>
                <a:gd name="connsiteY686" fmla="*/ 1258253 h 2314575"/>
                <a:gd name="connsiteX687" fmla="*/ 912495 w 1638300"/>
                <a:gd name="connsiteY687" fmla="*/ 1250633 h 2314575"/>
                <a:gd name="connsiteX688" fmla="*/ 913447 w 1638300"/>
                <a:gd name="connsiteY688" fmla="*/ 1240155 h 2314575"/>
                <a:gd name="connsiteX689" fmla="*/ 915353 w 1638300"/>
                <a:gd name="connsiteY689" fmla="*/ 1233488 h 2314575"/>
                <a:gd name="connsiteX690" fmla="*/ 917258 w 1638300"/>
                <a:gd name="connsiteY690" fmla="*/ 1225868 h 2314575"/>
                <a:gd name="connsiteX691" fmla="*/ 920115 w 1638300"/>
                <a:gd name="connsiteY691" fmla="*/ 1217295 h 2314575"/>
                <a:gd name="connsiteX692" fmla="*/ 923925 w 1638300"/>
                <a:gd name="connsiteY692" fmla="*/ 1169670 h 2314575"/>
                <a:gd name="connsiteX693" fmla="*/ 922972 w 1638300"/>
                <a:gd name="connsiteY693" fmla="*/ 1155383 h 2314575"/>
                <a:gd name="connsiteX694" fmla="*/ 921068 w 1638300"/>
                <a:gd name="connsiteY694" fmla="*/ 1149668 h 2314575"/>
                <a:gd name="connsiteX695" fmla="*/ 915353 w 1638300"/>
                <a:gd name="connsiteY695" fmla="*/ 1138238 h 2314575"/>
                <a:gd name="connsiteX696" fmla="*/ 913447 w 1638300"/>
                <a:gd name="connsiteY696" fmla="*/ 1132523 h 2314575"/>
                <a:gd name="connsiteX697" fmla="*/ 912495 w 1638300"/>
                <a:gd name="connsiteY697" fmla="*/ 1125855 h 2314575"/>
                <a:gd name="connsiteX698" fmla="*/ 912495 w 1638300"/>
                <a:gd name="connsiteY698" fmla="*/ 1108710 h 2314575"/>
                <a:gd name="connsiteX699" fmla="*/ 911543 w 1638300"/>
                <a:gd name="connsiteY699" fmla="*/ 1103948 h 2314575"/>
                <a:gd name="connsiteX700" fmla="*/ 905828 w 1638300"/>
                <a:gd name="connsiteY700" fmla="*/ 1101090 h 2314575"/>
                <a:gd name="connsiteX701" fmla="*/ 900113 w 1638300"/>
                <a:gd name="connsiteY701" fmla="*/ 1102995 h 2314575"/>
                <a:gd name="connsiteX702" fmla="*/ 895350 w 1638300"/>
                <a:gd name="connsiteY702" fmla="*/ 1106805 h 2314575"/>
                <a:gd name="connsiteX703" fmla="*/ 890588 w 1638300"/>
                <a:gd name="connsiteY703" fmla="*/ 1105853 h 2314575"/>
                <a:gd name="connsiteX704" fmla="*/ 888683 w 1638300"/>
                <a:gd name="connsiteY704" fmla="*/ 1102043 h 2314575"/>
                <a:gd name="connsiteX705" fmla="*/ 883920 w 1638300"/>
                <a:gd name="connsiteY705" fmla="*/ 1087755 h 2314575"/>
                <a:gd name="connsiteX706" fmla="*/ 882015 w 1638300"/>
                <a:gd name="connsiteY706" fmla="*/ 1082040 h 2314575"/>
                <a:gd name="connsiteX707" fmla="*/ 866775 w 1638300"/>
                <a:gd name="connsiteY707" fmla="*/ 1069658 h 2314575"/>
                <a:gd name="connsiteX708" fmla="*/ 851535 w 1638300"/>
                <a:gd name="connsiteY708" fmla="*/ 1067753 h 2314575"/>
                <a:gd name="connsiteX709" fmla="*/ 836295 w 1638300"/>
                <a:gd name="connsiteY709" fmla="*/ 1069658 h 2314575"/>
                <a:gd name="connsiteX710" fmla="*/ 819150 w 1638300"/>
                <a:gd name="connsiteY710" fmla="*/ 1066800 h 2314575"/>
                <a:gd name="connsiteX711" fmla="*/ 809625 w 1638300"/>
                <a:gd name="connsiteY711" fmla="*/ 1059180 h 2314575"/>
                <a:gd name="connsiteX712" fmla="*/ 797243 w 1638300"/>
                <a:gd name="connsiteY712" fmla="*/ 1039178 h 2314575"/>
                <a:gd name="connsiteX713" fmla="*/ 788670 w 1638300"/>
                <a:gd name="connsiteY713" fmla="*/ 1030605 h 2314575"/>
                <a:gd name="connsiteX714" fmla="*/ 781050 w 1638300"/>
                <a:gd name="connsiteY714" fmla="*/ 1027748 h 2314575"/>
                <a:gd name="connsiteX715" fmla="*/ 763905 w 1638300"/>
                <a:gd name="connsiteY715" fmla="*/ 1025843 h 2314575"/>
                <a:gd name="connsiteX716" fmla="*/ 755333 w 1638300"/>
                <a:gd name="connsiteY716" fmla="*/ 1022985 h 2314575"/>
                <a:gd name="connsiteX717" fmla="*/ 750570 w 1638300"/>
                <a:gd name="connsiteY717" fmla="*/ 1019175 h 2314575"/>
                <a:gd name="connsiteX718" fmla="*/ 741997 w 1638300"/>
                <a:gd name="connsiteY718" fmla="*/ 1009650 h 2314575"/>
                <a:gd name="connsiteX719" fmla="*/ 737235 w 1638300"/>
                <a:gd name="connsiteY719" fmla="*/ 1006793 h 2314575"/>
                <a:gd name="connsiteX720" fmla="*/ 723900 w 1638300"/>
                <a:gd name="connsiteY720" fmla="*/ 1008698 h 2314575"/>
                <a:gd name="connsiteX721" fmla="*/ 721043 w 1638300"/>
                <a:gd name="connsiteY721" fmla="*/ 1007745 h 2314575"/>
                <a:gd name="connsiteX722" fmla="*/ 716280 w 1638300"/>
                <a:gd name="connsiteY722" fmla="*/ 999173 h 2314575"/>
                <a:gd name="connsiteX723" fmla="*/ 717233 w 1638300"/>
                <a:gd name="connsiteY723" fmla="*/ 988695 h 2314575"/>
                <a:gd name="connsiteX724" fmla="*/ 720090 w 1638300"/>
                <a:gd name="connsiteY724" fmla="*/ 976313 h 2314575"/>
                <a:gd name="connsiteX725" fmla="*/ 723900 w 1638300"/>
                <a:gd name="connsiteY725" fmla="*/ 947738 h 2314575"/>
                <a:gd name="connsiteX726" fmla="*/ 729615 w 1638300"/>
                <a:gd name="connsiteY726" fmla="*/ 939165 h 2314575"/>
                <a:gd name="connsiteX727" fmla="*/ 735330 w 1638300"/>
                <a:gd name="connsiteY727" fmla="*/ 932498 h 2314575"/>
                <a:gd name="connsiteX728" fmla="*/ 740093 w 1638300"/>
                <a:gd name="connsiteY728" fmla="*/ 922020 h 2314575"/>
                <a:gd name="connsiteX729" fmla="*/ 739140 w 1638300"/>
                <a:gd name="connsiteY729" fmla="*/ 909638 h 2314575"/>
                <a:gd name="connsiteX730" fmla="*/ 735330 w 1638300"/>
                <a:gd name="connsiteY730" fmla="*/ 899160 h 2314575"/>
                <a:gd name="connsiteX731" fmla="*/ 729615 w 1638300"/>
                <a:gd name="connsiteY731" fmla="*/ 890588 h 2314575"/>
                <a:gd name="connsiteX732" fmla="*/ 721995 w 1638300"/>
                <a:gd name="connsiteY732" fmla="*/ 885825 h 2314575"/>
                <a:gd name="connsiteX733" fmla="*/ 712470 w 1638300"/>
                <a:gd name="connsiteY733" fmla="*/ 886778 h 2314575"/>
                <a:gd name="connsiteX734" fmla="*/ 706755 w 1638300"/>
                <a:gd name="connsiteY734" fmla="*/ 896303 h 2314575"/>
                <a:gd name="connsiteX735" fmla="*/ 701993 w 1638300"/>
                <a:gd name="connsiteY735" fmla="*/ 905828 h 2314575"/>
                <a:gd name="connsiteX736" fmla="*/ 696278 w 1638300"/>
                <a:gd name="connsiteY736" fmla="*/ 910590 h 2314575"/>
                <a:gd name="connsiteX737" fmla="*/ 691515 w 1638300"/>
                <a:gd name="connsiteY737" fmla="*/ 905828 h 2314575"/>
                <a:gd name="connsiteX738" fmla="*/ 675322 w 1638300"/>
                <a:gd name="connsiteY738" fmla="*/ 875348 h 2314575"/>
                <a:gd name="connsiteX739" fmla="*/ 673418 w 1638300"/>
                <a:gd name="connsiteY739" fmla="*/ 870585 h 2314575"/>
                <a:gd name="connsiteX740" fmla="*/ 674370 w 1638300"/>
                <a:gd name="connsiteY740" fmla="*/ 868680 h 2314575"/>
                <a:gd name="connsiteX741" fmla="*/ 675322 w 1638300"/>
                <a:gd name="connsiteY741" fmla="*/ 865823 h 2314575"/>
                <a:gd name="connsiteX742" fmla="*/ 689610 w 1638300"/>
                <a:gd name="connsiteY742" fmla="*/ 864870 h 2314575"/>
                <a:gd name="connsiteX743" fmla="*/ 701040 w 1638300"/>
                <a:gd name="connsiteY743" fmla="*/ 861060 h 2314575"/>
                <a:gd name="connsiteX744" fmla="*/ 708660 w 1638300"/>
                <a:gd name="connsiteY744" fmla="*/ 852488 h 2314575"/>
                <a:gd name="connsiteX745" fmla="*/ 712470 w 1638300"/>
                <a:gd name="connsiteY745" fmla="*/ 832485 h 2314575"/>
                <a:gd name="connsiteX746" fmla="*/ 706755 w 1638300"/>
                <a:gd name="connsiteY746" fmla="*/ 792480 h 2314575"/>
                <a:gd name="connsiteX747" fmla="*/ 708660 w 1638300"/>
                <a:gd name="connsiteY747" fmla="*/ 775335 h 2314575"/>
                <a:gd name="connsiteX748" fmla="*/ 721995 w 1638300"/>
                <a:gd name="connsiteY748" fmla="*/ 768668 h 2314575"/>
                <a:gd name="connsiteX749" fmla="*/ 727710 w 1638300"/>
                <a:gd name="connsiteY749" fmla="*/ 755333 h 2314575"/>
                <a:gd name="connsiteX750" fmla="*/ 727710 w 1638300"/>
                <a:gd name="connsiteY750" fmla="*/ 737235 h 2314575"/>
                <a:gd name="connsiteX751" fmla="*/ 721995 w 1638300"/>
                <a:gd name="connsiteY751" fmla="*/ 719138 h 2314575"/>
                <a:gd name="connsiteX752" fmla="*/ 715328 w 1638300"/>
                <a:gd name="connsiteY752" fmla="*/ 705803 h 2314575"/>
                <a:gd name="connsiteX753" fmla="*/ 706755 w 1638300"/>
                <a:gd name="connsiteY753" fmla="*/ 697230 h 2314575"/>
                <a:gd name="connsiteX754" fmla="*/ 696278 w 1638300"/>
                <a:gd name="connsiteY754" fmla="*/ 694373 h 2314575"/>
                <a:gd name="connsiteX755" fmla="*/ 685800 w 1638300"/>
                <a:gd name="connsiteY755" fmla="*/ 693420 h 2314575"/>
                <a:gd name="connsiteX756" fmla="*/ 675322 w 1638300"/>
                <a:gd name="connsiteY756" fmla="*/ 694373 h 2314575"/>
                <a:gd name="connsiteX757" fmla="*/ 669608 w 1638300"/>
                <a:gd name="connsiteY757" fmla="*/ 706755 h 2314575"/>
                <a:gd name="connsiteX758" fmla="*/ 667703 w 1638300"/>
                <a:gd name="connsiteY758" fmla="*/ 718185 h 2314575"/>
                <a:gd name="connsiteX759" fmla="*/ 663893 w 1638300"/>
                <a:gd name="connsiteY759" fmla="*/ 729615 h 2314575"/>
                <a:gd name="connsiteX760" fmla="*/ 654368 w 1638300"/>
                <a:gd name="connsiteY760" fmla="*/ 738188 h 2314575"/>
                <a:gd name="connsiteX761" fmla="*/ 645795 w 1638300"/>
                <a:gd name="connsiteY761" fmla="*/ 741045 h 2314575"/>
                <a:gd name="connsiteX762" fmla="*/ 638175 w 1638300"/>
                <a:gd name="connsiteY762" fmla="*/ 740093 h 2314575"/>
                <a:gd name="connsiteX763" fmla="*/ 629603 w 1638300"/>
                <a:gd name="connsiteY763" fmla="*/ 736283 h 2314575"/>
                <a:gd name="connsiteX764" fmla="*/ 622935 w 1638300"/>
                <a:gd name="connsiteY764" fmla="*/ 729615 h 2314575"/>
                <a:gd name="connsiteX765" fmla="*/ 615315 w 1638300"/>
                <a:gd name="connsiteY765" fmla="*/ 718185 h 2314575"/>
                <a:gd name="connsiteX766" fmla="*/ 614363 w 1638300"/>
                <a:gd name="connsiteY766" fmla="*/ 706755 h 2314575"/>
                <a:gd name="connsiteX767" fmla="*/ 613410 w 1638300"/>
                <a:gd name="connsiteY767" fmla="*/ 695325 h 2314575"/>
                <a:gd name="connsiteX768" fmla="*/ 611505 w 1638300"/>
                <a:gd name="connsiteY768" fmla="*/ 682943 h 2314575"/>
                <a:gd name="connsiteX769" fmla="*/ 603885 w 1638300"/>
                <a:gd name="connsiteY769" fmla="*/ 673418 h 2314575"/>
                <a:gd name="connsiteX770" fmla="*/ 596265 w 1638300"/>
                <a:gd name="connsiteY770" fmla="*/ 669608 h 2314575"/>
                <a:gd name="connsiteX771" fmla="*/ 587693 w 1638300"/>
                <a:gd name="connsiteY771" fmla="*/ 667703 h 2314575"/>
                <a:gd name="connsiteX772" fmla="*/ 580072 w 1638300"/>
                <a:gd name="connsiteY772" fmla="*/ 663893 h 2314575"/>
                <a:gd name="connsiteX773" fmla="*/ 576263 w 1638300"/>
                <a:gd name="connsiteY773" fmla="*/ 655320 h 2314575"/>
                <a:gd name="connsiteX774" fmla="*/ 573405 w 1638300"/>
                <a:gd name="connsiteY774" fmla="*/ 645795 h 2314575"/>
                <a:gd name="connsiteX775" fmla="*/ 570547 w 1638300"/>
                <a:gd name="connsiteY775" fmla="*/ 637223 h 2314575"/>
                <a:gd name="connsiteX776" fmla="*/ 554355 w 1638300"/>
                <a:gd name="connsiteY776" fmla="*/ 626745 h 2314575"/>
                <a:gd name="connsiteX777" fmla="*/ 544830 w 1638300"/>
                <a:gd name="connsiteY777" fmla="*/ 610553 h 2314575"/>
                <a:gd name="connsiteX778" fmla="*/ 537210 w 1638300"/>
                <a:gd name="connsiteY778" fmla="*/ 605790 h 2314575"/>
                <a:gd name="connsiteX779" fmla="*/ 528638 w 1638300"/>
                <a:gd name="connsiteY779" fmla="*/ 610553 h 2314575"/>
                <a:gd name="connsiteX780" fmla="*/ 522922 w 1638300"/>
                <a:gd name="connsiteY780" fmla="*/ 618173 h 2314575"/>
                <a:gd name="connsiteX781" fmla="*/ 518160 w 1638300"/>
                <a:gd name="connsiteY781" fmla="*/ 622935 h 2314575"/>
                <a:gd name="connsiteX782" fmla="*/ 508635 w 1638300"/>
                <a:gd name="connsiteY782" fmla="*/ 615315 h 2314575"/>
                <a:gd name="connsiteX783" fmla="*/ 503872 w 1638300"/>
                <a:gd name="connsiteY783" fmla="*/ 607695 h 2314575"/>
                <a:gd name="connsiteX784" fmla="*/ 495300 w 1638300"/>
                <a:gd name="connsiteY784" fmla="*/ 583883 h 2314575"/>
                <a:gd name="connsiteX785" fmla="*/ 490538 w 1638300"/>
                <a:gd name="connsiteY785" fmla="*/ 573405 h 2314575"/>
                <a:gd name="connsiteX786" fmla="*/ 483870 w 1638300"/>
                <a:gd name="connsiteY786" fmla="*/ 541973 h 2314575"/>
                <a:gd name="connsiteX787" fmla="*/ 490538 w 1638300"/>
                <a:gd name="connsiteY787" fmla="*/ 521970 h 2314575"/>
                <a:gd name="connsiteX788" fmla="*/ 503872 w 1638300"/>
                <a:gd name="connsiteY788" fmla="*/ 503873 h 2314575"/>
                <a:gd name="connsiteX789" fmla="*/ 518160 w 1638300"/>
                <a:gd name="connsiteY789" fmla="*/ 480060 h 2314575"/>
                <a:gd name="connsiteX790" fmla="*/ 522922 w 1638300"/>
                <a:gd name="connsiteY790" fmla="*/ 450533 h 2314575"/>
                <a:gd name="connsiteX791" fmla="*/ 522922 w 1638300"/>
                <a:gd name="connsiteY791" fmla="*/ 422910 h 2314575"/>
                <a:gd name="connsiteX792" fmla="*/ 525780 w 1638300"/>
                <a:gd name="connsiteY792" fmla="*/ 398145 h 2314575"/>
                <a:gd name="connsiteX793" fmla="*/ 541020 w 1638300"/>
                <a:gd name="connsiteY793" fmla="*/ 378143 h 2314575"/>
                <a:gd name="connsiteX794" fmla="*/ 547688 w 1638300"/>
                <a:gd name="connsiteY794" fmla="*/ 367665 h 2314575"/>
                <a:gd name="connsiteX795" fmla="*/ 545783 w 1638300"/>
                <a:gd name="connsiteY795" fmla="*/ 359093 h 2314575"/>
                <a:gd name="connsiteX796" fmla="*/ 539115 w 1638300"/>
                <a:gd name="connsiteY796" fmla="*/ 353378 h 2314575"/>
                <a:gd name="connsiteX797" fmla="*/ 521018 w 1638300"/>
                <a:gd name="connsiteY797" fmla="*/ 346710 h 2314575"/>
                <a:gd name="connsiteX798" fmla="*/ 515303 w 1638300"/>
                <a:gd name="connsiteY798" fmla="*/ 341948 h 2314575"/>
                <a:gd name="connsiteX799" fmla="*/ 515303 w 1638300"/>
                <a:gd name="connsiteY799" fmla="*/ 333375 h 2314575"/>
                <a:gd name="connsiteX800" fmla="*/ 520065 w 1638300"/>
                <a:gd name="connsiteY800" fmla="*/ 319088 h 2314575"/>
                <a:gd name="connsiteX801" fmla="*/ 526733 w 1638300"/>
                <a:gd name="connsiteY801" fmla="*/ 310515 h 2314575"/>
                <a:gd name="connsiteX802" fmla="*/ 536258 w 1638300"/>
                <a:gd name="connsiteY802" fmla="*/ 300038 h 2314575"/>
                <a:gd name="connsiteX803" fmla="*/ 544830 w 1638300"/>
                <a:gd name="connsiteY803" fmla="*/ 288608 h 2314575"/>
                <a:gd name="connsiteX804" fmla="*/ 545783 w 1638300"/>
                <a:gd name="connsiteY804" fmla="*/ 278130 h 2314575"/>
                <a:gd name="connsiteX805" fmla="*/ 541020 w 1638300"/>
                <a:gd name="connsiteY805" fmla="*/ 274320 h 2314575"/>
                <a:gd name="connsiteX806" fmla="*/ 520065 w 1638300"/>
                <a:gd name="connsiteY806" fmla="*/ 267653 h 2314575"/>
                <a:gd name="connsiteX807" fmla="*/ 512445 w 1638300"/>
                <a:gd name="connsiteY807" fmla="*/ 261938 h 2314575"/>
                <a:gd name="connsiteX808" fmla="*/ 508635 w 1638300"/>
                <a:gd name="connsiteY808" fmla="*/ 250508 h 2314575"/>
                <a:gd name="connsiteX809" fmla="*/ 503872 w 1638300"/>
                <a:gd name="connsiteY809" fmla="*/ 223838 h 2314575"/>
                <a:gd name="connsiteX810" fmla="*/ 500063 w 1638300"/>
                <a:gd name="connsiteY810" fmla="*/ 211455 h 2314575"/>
                <a:gd name="connsiteX811" fmla="*/ 493395 w 1638300"/>
                <a:gd name="connsiteY811" fmla="*/ 200978 h 2314575"/>
                <a:gd name="connsiteX812" fmla="*/ 486728 w 1638300"/>
                <a:gd name="connsiteY812" fmla="*/ 195263 h 2314575"/>
                <a:gd name="connsiteX813" fmla="*/ 480060 w 1638300"/>
                <a:gd name="connsiteY813" fmla="*/ 192405 h 2314575"/>
                <a:gd name="connsiteX814" fmla="*/ 470535 w 1638300"/>
                <a:gd name="connsiteY814" fmla="*/ 191453 h 2314575"/>
                <a:gd name="connsiteX815" fmla="*/ 454343 w 1638300"/>
                <a:gd name="connsiteY815" fmla="*/ 200025 h 2314575"/>
                <a:gd name="connsiteX816" fmla="*/ 430530 w 1638300"/>
                <a:gd name="connsiteY816" fmla="*/ 230505 h 2314575"/>
                <a:gd name="connsiteX817" fmla="*/ 411480 w 1638300"/>
                <a:gd name="connsiteY817" fmla="*/ 234315 h 2314575"/>
                <a:gd name="connsiteX818" fmla="*/ 395288 w 1638300"/>
                <a:gd name="connsiteY818" fmla="*/ 227648 h 2314575"/>
                <a:gd name="connsiteX819" fmla="*/ 377190 w 1638300"/>
                <a:gd name="connsiteY819" fmla="*/ 213360 h 2314575"/>
                <a:gd name="connsiteX820" fmla="*/ 360045 w 1638300"/>
                <a:gd name="connsiteY820" fmla="*/ 194310 h 2314575"/>
                <a:gd name="connsiteX821" fmla="*/ 348615 w 1638300"/>
                <a:gd name="connsiteY821" fmla="*/ 175260 h 2314575"/>
                <a:gd name="connsiteX822" fmla="*/ 358140 w 1638300"/>
                <a:gd name="connsiteY822" fmla="*/ 167640 h 2314575"/>
                <a:gd name="connsiteX823" fmla="*/ 402908 w 1638300"/>
                <a:gd name="connsiteY823" fmla="*/ 147638 h 2314575"/>
                <a:gd name="connsiteX824" fmla="*/ 414338 w 1638300"/>
                <a:gd name="connsiteY824" fmla="*/ 140018 h 2314575"/>
                <a:gd name="connsiteX825" fmla="*/ 420053 w 1638300"/>
                <a:gd name="connsiteY825" fmla="*/ 131445 h 2314575"/>
                <a:gd name="connsiteX826" fmla="*/ 426720 w 1638300"/>
                <a:gd name="connsiteY826" fmla="*/ 123825 h 2314575"/>
                <a:gd name="connsiteX827" fmla="*/ 431483 w 1638300"/>
                <a:gd name="connsiteY827" fmla="*/ 120015 h 2314575"/>
                <a:gd name="connsiteX828" fmla="*/ 440055 w 1638300"/>
                <a:gd name="connsiteY828" fmla="*/ 115253 h 2314575"/>
                <a:gd name="connsiteX829" fmla="*/ 445770 w 1638300"/>
                <a:gd name="connsiteY829" fmla="*/ 110490 h 2314575"/>
                <a:gd name="connsiteX830" fmla="*/ 447675 w 1638300"/>
                <a:gd name="connsiteY830" fmla="*/ 108585 h 2314575"/>
                <a:gd name="connsiteX831" fmla="*/ 448628 w 1638300"/>
                <a:gd name="connsiteY831" fmla="*/ 105728 h 2314575"/>
                <a:gd name="connsiteX832" fmla="*/ 447675 w 1638300"/>
                <a:gd name="connsiteY832" fmla="*/ 100013 h 2314575"/>
                <a:gd name="connsiteX833" fmla="*/ 443865 w 1638300"/>
                <a:gd name="connsiteY833" fmla="*/ 80010 h 2314575"/>
                <a:gd name="connsiteX834" fmla="*/ 443865 w 1638300"/>
                <a:gd name="connsiteY834" fmla="*/ 75248 h 2314575"/>
                <a:gd name="connsiteX835" fmla="*/ 443865 w 1638300"/>
                <a:gd name="connsiteY835" fmla="*/ 72390 h 2314575"/>
                <a:gd name="connsiteX836" fmla="*/ 445770 w 1638300"/>
                <a:gd name="connsiteY836" fmla="*/ 69533 h 2314575"/>
                <a:gd name="connsiteX837" fmla="*/ 447675 w 1638300"/>
                <a:gd name="connsiteY837" fmla="*/ 68580 h 2314575"/>
                <a:gd name="connsiteX838" fmla="*/ 462915 w 1638300"/>
                <a:gd name="connsiteY838" fmla="*/ 61913 h 2314575"/>
                <a:gd name="connsiteX839" fmla="*/ 467678 w 1638300"/>
                <a:gd name="connsiteY839" fmla="*/ 60960 h 2314575"/>
                <a:gd name="connsiteX840" fmla="*/ 470535 w 1638300"/>
                <a:gd name="connsiteY840" fmla="*/ 60960 h 2314575"/>
                <a:gd name="connsiteX841" fmla="*/ 476250 w 1638300"/>
                <a:gd name="connsiteY841" fmla="*/ 62865 h 2314575"/>
                <a:gd name="connsiteX842" fmla="*/ 479108 w 1638300"/>
                <a:gd name="connsiteY842" fmla="*/ 64770 h 2314575"/>
                <a:gd name="connsiteX843" fmla="*/ 483870 w 1638300"/>
                <a:gd name="connsiteY843" fmla="*/ 68580 h 2314575"/>
                <a:gd name="connsiteX844" fmla="*/ 493395 w 1638300"/>
                <a:gd name="connsiteY844" fmla="*/ 77153 h 2314575"/>
                <a:gd name="connsiteX845" fmla="*/ 500063 w 1638300"/>
                <a:gd name="connsiteY845" fmla="*/ 81915 h 2314575"/>
                <a:gd name="connsiteX846" fmla="*/ 501968 w 1638300"/>
                <a:gd name="connsiteY846" fmla="*/ 83820 h 2314575"/>
                <a:gd name="connsiteX847" fmla="*/ 506730 w 1638300"/>
                <a:gd name="connsiteY847" fmla="*/ 89535 h 2314575"/>
                <a:gd name="connsiteX848" fmla="*/ 511493 w 1638300"/>
                <a:gd name="connsiteY848" fmla="*/ 92393 h 2314575"/>
                <a:gd name="connsiteX849" fmla="*/ 539115 w 1638300"/>
                <a:gd name="connsiteY849" fmla="*/ 103823 h 2314575"/>
                <a:gd name="connsiteX850" fmla="*/ 548640 w 1638300"/>
                <a:gd name="connsiteY850" fmla="*/ 108585 h 2314575"/>
                <a:gd name="connsiteX851" fmla="*/ 551497 w 1638300"/>
                <a:gd name="connsiteY851" fmla="*/ 109538 h 2314575"/>
                <a:gd name="connsiteX852" fmla="*/ 600075 w 1638300"/>
                <a:gd name="connsiteY852" fmla="*/ 107633 h 2314575"/>
                <a:gd name="connsiteX853" fmla="*/ 650558 w 1638300"/>
                <a:gd name="connsiteY853" fmla="*/ 86678 h 2314575"/>
                <a:gd name="connsiteX854" fmla="*/ 659130 w 1638300"/>
                <a:gd name="connsiteY854" fmla="*/ 86678 h 2314575"/>
                <a:gd name="connsiteX855" fmla="*/ 663893 w 1638300"/>
                <a:gd name="connsiteY855" fmla="*/ 90488 h 2314575"/>
                <a:gd name="connsiteX856" fmla="*/ 683895 w 1638300"/>
                <a:gd name="connsiteY856" fmla="*/ 102870 h 2314575"/>
                <a:gd name="connsiteX857" fmla="*/ 690563 w 1638300"/>
                <a:gd name="connsiteY857" fmla="*/ 104775 h 2314575"/>
                <a:gd name="connsiteX858" fmla="*/ 730568 w 1638300"/>
                <a:gd name="connsiteY858" fmla="*/ 107633 h 2314575"/>
                <a:gd name="connsiteX859" fmla="*/ 760095 w 1638300"/>
                <a:gd name="connsiteY859" fmla="*/ 104775 h 2314575"/>
                <a:gd name="connsiteX860" fmla="*/ 764858 w 1638300"/>
                <a:gd name="connsiteY860" fmla="*/ 102870 h 2314575"/>
                <a:gd name="connsiteX861" fmla="*/ 767715 w 1638300"/>
                <a:gd name="connsiteY861" fmla="*/ 101918 h 2314575"/>
                <a:gd name="connsiteX862" fmla="*/ 770572 w 1638300"/>
                <a:gd name="connsiteY862" fmla="*/ 102870 h 2314575"/>
                <a:gd name="connsiteX863" fmla="*/ 775335 w 1638300"/>
                <a:gd name="connsiteY863" fmla="*/ 104775 h 2314575"/>
                <a:gd name="connsiteX864" fmla="*/ 778193 w 1638300"/>
                <a:gd name="connsiteY864" fmla="*/ 104775 h 2314575"/>
                <a:gd name="connsiteX865" fmla="*/ 780097 w 1638300"/>
                <a:gd name="connsiteY865" fmla="*/ 102870 h 2314575"/>
                <a:gd name="connsiteX866" fmla="*/ 788670 w 1638300"/>
                <a:gd name="connsiteY866" fmla="*/ 77153 h 2314575"/>
                <a:gd name="connsiteX867" fmla="*/ 789622 w 1638300"/>
                <a:gd name="connsiteY867" fmla="*/ 72390 h 2314575"/>
                <a:gd name="connsiteX868" fmla="*/ 789622 w 1638300"/>
                <a:gd name="connsiteY868" fmla="*/ 68580 h 2314575"/>
                <a:gd name="connsiteX869" fmla="*/ 786765 w 1638300"/>
                <a:gd name="connsiteY869" fmla="*/ 63818 h 2314575"/>
                <a:gd name="connsiteX870" fmla="*/ 776288 w 1638300"/>
                <a:gd name="connsiteY870" fmla="*/ 49530 h 2314575"/>
                <a:gd name="connsiteX871" fmla="*/ 773430 w 1638300"/>
                <a:gd name="connsiteY871" fmla="*/ 44768 h 2314575"/>
                <a:gd name="connsiteX872" fmla="*/ 772478 w 1638300"/>
                <a:gd name="connsiteY872" fmla="*/ 42863 h 2314575"/>
                <a:gd name="connsiteX873" fmla="*/ 773430 w 1638300"/>
                <a:gd name="connsiteY873" fmla="*/ 39053 h 2314575"/>
                <a:gd name="connsiteX874" fmla="*/ 775335 w 1638300"/>
                <a:gd name="connsiteY874" fmla="*/ 36195 h 2314575"/>
                <a:gd name="connsiteX875" fmla="*/ 782003 w 1638300"/>
                <a:gd name="connsiteY875" fmla="*/ 32385 h 2314575"/>
                <a:gd name="connsiteX876" fmla="*/ 786765 w 1638300"/>
                <a:gd name="connsiteY876" fmla="*/ 33338 h 2314575"/>
                <a:gd name="connsiteX877" fmla="*/ 790575 w 1638300"/>
                <a:gd name="connsiteY877" fmla="*/ 34290 h 2314575"/>
                <a:gd name="connsiteX878" fmla="*/ 795338 w 1638300"/>
                <a:gd name="connsiteY878" fmla="*/ 33338 h 2314575"/>
                <a:gd name="connsiteX879" fmla="*/ 800100 w 1638300"/>
                <a:gd name="connsiteY879" fmla="*/ 32385 h 2314575"/>
                <a:gd name="connsiteX880" fmla="*/ 830580 w 1638300"/>
                <a:gd name="connsiteY880" fmla="*/ 15240 h 2314575"/>
                <a:gd name="connsiteX881" fmla="*/ 843915 w 1638300"/>
                <a:gd name="connsiteY881" fmla="*/ 13335 h 2314575"/>
                <a:gd name="connsiteX882" fmla="*/ 852488 w 1638300"/>
                <a:gd name="connsiteY882" fmla="*/ 9525 h 2314575"/>
                <a:gd name="connsiteX883" fmla="*/ 854393 w 1638300"/>
                <a:gd name="connsiteY883" fmla="*/ 9525 h 2314575"/>
                <a:gd name="connsiteX884" fmla="*/ 857250 w 1638300"/>
                <a:gd name="connsiteY884" fmla="*/ 10478 h 2314575"/>
                <a:gd name="connsiteX885" fmla="*/ 860108 w 1638300"/>
                <a:gd name="connsiteY885" fmla="*/ 11430 h 2314575"/>
                <a:gd name="connsiteX886" fmla="*/ 869633 w 1638300"/>
                <a:gd name="connsiteY886" fmla="*/ 19050 h 2314575"/>
                <a:gd name="connsiteX887" fmla="*/ 879158 w 1638300"/>
                <a:gd name="connsiteY887" fmla="*/ 31433 h 2314575"/>
                <a:gd name="connsiteX888" fmla="*/ 882015 w 1638300"/>
                <a:gd name="connsiteY888" fmla="*/ 33338 h 2314575"/>
                <a:gd name="connsiteX889" fmla="*/ 883920 w 1638300"/>
                <a:gd name="connsiteY889" fmla="*/ 34290 h 2314575"/>
                <a:gd name="connsiteX890" fmla="*/ 886778 w 1638300"/>
                <a:gd name="connsiteY890" fmla="*/ 34290 h 2314575"/>
                <a:gd name="connsiteX891" fmla="*/ 889635 w 1638300"/>
                <a:gd name="connsiteY891" fmla="*/ 32385 h 2314575"/>
                <a:gd name="connsiteX892" fmla="*/ 892493 w 1638300"/>
                <a:gd name="connsiteY892" fmla="*/ 29528 h 2314575"/>
                <a:gd name="connsiteX893" fmla="*/ 903922 w 1638300"/>
                <a:gd name="connsiteY893" fmla="*/ 7620 h 2314575"/>
                <a:gd name="connsiteX894" fmla="*/ 907733 w 1638300"/>
                <a:gd name="connsiteY894" fmla="*/ 2858 h 2314575"/>
                <a:gd name="connsiteX895" fmla="*/ 908685 w 1638300"/>
                <a:gd name="connsiteY895" fmla="*/ 953 h 2314575"/>
                <a:gd name="connsiteX896" fmla="*/ 911543 w 1638300"/>
                <a:gd name="connsiteY896" fmla="*/ 0 h 2314575"/>
                <a:gd name="connsiteX897" fmla="*/ 915353 w 1638300"/>
                <a:gd name="connsiteY897" fmla="*/ 953 h 2314575"/>
                <a:gd name="connsiteX898" fmla="*/ 922020 w 1638300"/>
                <a:gd name="connsiteY898" fmla="*/ 7620 h 2314575"/>
                <a:gd name="connsiteX899" fmla="*/ 924878 w 1638300"/>
                <a:gd name="connsiteY899" fmla="*/ 10478 h 2314575"/>
                <a:gd name="connsiteX900" fmla="*/ 927735 w 1638300"/>
                <a:gd name="connsiteY900" fmla="*/ 10478 h 2314575"/>
                <a:gd name="connsiteX901" fmla="*/ 932497 w 1638300"/>
                <a:gd name="connsiteY901" fmla="*/ 9525 h 2314575"/>
                <a:gd name="connsiteX902" fmla="*/ 939165 w 1638300"/>
                <a:gd name="connsiteY902" fmla="*/ 4763 h 2314575"/>
                <a:gd name="connsiteX903" fmla="*/ 947738 w 1638300"/>
                <a:gd name="connsiteY903" fmla="*/ 1905 h 2314575"/>
                <a:gd name="connsiteX904" fmla="*/ 956310 w 1638300"/>
                <a:gd name="connsiteY904" fmla="*/ 19050 h 2314575"/>
                <a:gd name="connsiteX905" fmla="*/ 963930 w 1638300"/>
                <a:gd name="connsiteY905" fmla="*/ 38100 h 2314575"/>
                <a:gd name="connsiteX906" fmla="*/ 974408 w 1638300"/>
                <a:gd name="connsiteY906" fmla="*/ 53340 h 2314575"/>
                <a:gd name="connsiteX907" fmla="*/ 993458 w 1638300"/>
                <a:gd name="connsiteY907" fmla="*/ 62865 h 2314575"/>
                <a:gd name="connsiteX908" fmla="*/ 1103948 w 1638300"/>
                <a:gd name="connsiteY908" fmla="*/ 68580 h 2314575"/>
                <a:gd name="connsiteX909" fmla="*/ 1017270 w 1638300"/>
                <a:gd name="connsiteY909" fmla="*/ 1438275 h 2314575"/>
                <a:gd name="connsiteX910" fmla="*/ 1010603 w 1638300"/>
                <a:gd name="connsiteY910" fmla="*/ 1450657 h 2314575"/>
                <a:gd name="connsiteX911" fmla="*/ 1009650 w 1638300"/>
                <a:gd name="connsiteY911" fmla="*/ 1456373 h 2314575"/>
                <a:gd name="connsiteX912" fmla="*/ 1007745 w 1638300"/>
                <a:gd name="connsiteY912" fmla="*/ 1461135 h 2314575"/>
                <a:gd name="connsiteX913" fmla="*/ 1006793 w 1638300"/>
                <a:gd name="connsiteY913" fmla="*/ 1465898 h 2314575"/>
                <a:gd name="connsiteX914" fmla="*/ 1007745 w 1638300"/>
                <a:gd name="connsiteY914" fmla="*/ 1474470 h 2314575"/>
                <a:gd name="connsiteX915" fmla="*/ 1009650 w 1638300"/>
                <a:gd name="connsiteY915" fmla="*/ 1479232 h 2314575"/>
                <a:gd name="connsiteX916" fmla="*/ 1015365 w 1638300"/>
                <a:gd name="connsiteY916" fmla="*/ 1491615 h 2314575"/>
                <a:gd name="connsiteX917" fmla="*/ 1050608 w 1638300"/>
                <a:gd name="connsiteY917" fmla="*/ 1531620 h 2314575"/>
                <a:gd name="connsiteX918" fmla="*/ 1060133 w 1638300"/>
                <a:gd name="connsiteY918" fmla="*/ 1536382 h 2314575"/>
                <a:gd name="connsiteX919" fmla="*/ 1071563 w 1638300"/>
                <a:gd name="connsiteY919" fmla="*/ 1538288 h 2314575"/>
                <a:gd name="connsiteX920" fmla="*/ 1108710 w 1638300"/>
                <a:gd name="connsiteY920" fmla="*/ 1553528 h 2314575"/>
                <a:gd name="connsiteX921" fmla="*/ 1128713 w 1638300"/>
                <a:gd name="connsiteY921" fmla="*/ 1569720 h 2314575"/>
                <a:gd name="connsiteX922" fmla="*/ 1142048 w 1638300"/>
                <a:gd name="connsiteY922" fmla="*/ 1589723 h 2314575"/>
                <a:gd name="connsiteX923" fmla="*/ 1172528 w 1638300"/>
                <a:gd name="connsiteY923" fmla="*/ 1654493 h 2314575"/>
                <a:gd name="connsiteX924" fmla="*/ 1176338 w 1638300"/>
                <a:gd name="connsiteY924" fmla="*/ 1660207 h 2314575"/>
                <a:gd name="connsiteX925" fmla="*/ 1183005 w 1638300"/>
                <a:gd name="connsiteY925" fmla="*/ 1662113 h 2314575"/>
                <a:gd name="connsiteX926" fmla="*/ 1186815 w 1638300"/>
                <a:gd name="connsiteY926" fmla="*/ 1660207 h 2314575"/>
                <a:gd name="connsiteX927" fmla="*/ 1200150 w 1638300"/>
                <a:gd name="connsiteY927" fmla="*/ 1647825 h 2314575"/>
                <a:gd name="connsiteX928" fmla="*/ 1202055 w 1638300"/>
                <a:gd name="connsiteY928" fmla="*/ 1644015 h 2314575"/>
                <a:gd name="connsiteX929" fmla="*/ 1203960 w 1638300"/>
                <a:gd name="connsiteY929" fmla="*/ 1640205 h 2314575"/>
                <a:gd name="connsiteX930" fmla="*/ 1207770 w 1638300"/>
                <a:gd name="connsiteY930" fmla="*/ 1634490 h 2314575"/>
                <a:gd name="connsiteX931" fmla="*/ 1211580 w 1638300"/>
                <a:gd name="connsiteY931" fmla="*/ 1628775 h 2314575"/>
                <a:gd name="connsiteX932" fmla="*/ 1213485 w 1638300"/>
                <a:gd name="connsiteY932" fmla="*/ 1620203 h 2314575"/>
                <a:gd name="connsiteX933" fmla="*/ 1213485 w 1638300"/>
                <a:gd name="connsiteY933" fmla="*/ 1614488 h 2314575"/>
                <a:gd name="connsiteX934" fmla="*/ 1211580 w 1638300"/>
                <a:gd name="connsiteY934" fmla="*/ 1612582 h 2314575"/>
                <a:gd name="connsiteX935" fmla="*/ 1207770 w 1638300"/>
                <a:gd name="connsiteY935" fmla="*/ 1609725 h 2314575"/>
                <a:gd name="connsiteX936" fmla="*/ 1202055 w 1638300"/>
                <a:gd name="connsiteY936" fmla="*/ 1604963 h 2314575"/>
                <a:gd name="connsiteX937" fmla="*/ 1171575 w 1638300"/>
                <a:gd name="connsiteY937" fmla="*/ 1575435 h 2314575"/>
                <a:gd name="connsiteX938" fmla="*/ 1166813 w 1638300"/>
                <a:gd name="connsiteY938" fmla="*/ 1565910 h 2314575"/>
                <a:gd name="connsiteX939" fmla="*/ 1167765 w 1638300"/>
                <a:gd name="connsiteY939" fmla="*/ 1559243 h 2314575"/>
                <a:gd name="connsiteX940" fmla="*/ 1169670 w 1638300"/>
                <a:gd name="connsiteY940" fmla="*/ 1548765 h 2314575"/>
                <a:gd name="connsiteX941" fmla="*/ 1169670 w 1638300"/>
                <a:gd name="connsiteY941" fmla="*/ 1542098 h 2314575"/>
                <a:gd name="connsiteX942" fmla="*/ 1167765 w 1638300"/>
                <a:gd name="connsiteY942" fmla="*/ 1534478 h 2314575"/>
                <a:gd name="connsiteX943" fmla="*/ 1166813 w 1638300"/>
                <a:gd name="connsiteY943" fmla="*/ 1529715 h 2314575"/>
                <a:gd name="connsiteX944" fmla="*/ 1163955 w 1638300"/>
                <a:gd name="connsiteY944" fmla="*/ 1525905 h 2314575"/>
                <a:gd name="connsiteX945" fmla="*/ 1159193 w 1638300"/>
                <a:gd name="connsiteY945" fmla="*/ 1521143 h 2314575"/>
                <a:gd name="connsiteX946" fmla="*/ 1127760 w 1638300"/>
                <a:gd name="connsiteY946" fmla="*/ 1503045 h 2314575"/>
                <a:gd name="connsiteX947" fmla="*/ 1122998 w 1638300"/>
                <a:gd name="connsiteY947" fmla="*/ 1492568 h 2314575"/>
                <a:gd name="connsiteX948" fmla="*/ 1122998 w 1638300"/>
                <a:gd name="connsiteY948" fmla="*/ 1477328 h 2314575"/>
                <a:gd name="connsiteX949" fmla="*/ 1121093 w 1638300"/>
                <a:gd name="connsiteY949" fmla="*/ 1462088 h 2314575"/>
                <a:gd name="connsiteX950" fmla="*/ 1118235 w 1638300"/>
                <a:gd name="connsiteY950" fmla="*/ 1447800 h 2314575"/>
                <a:gd name="connsiteX951" fmla="*/ 1112520 w 1638300"/>
                <a:gd name="connsiteY951" fmla="*/ 1438275 h 2314575"/>
                <a:gd name="connsiteX952" fmla="*/ 1109663 w 1638300"/>
                <a:gd name="connsiteY952" fmla="*/ 1456373 h 2314575"/>
                <a:gd name="connsiteX953" fmla="*/ 1107758 w 1638300"/>
                <a:gd name="connsiteY953" fmla="*/ 1475423 h 2314575"/>
                <a:gd name="connsiteX954" fmla="*/ 1104900 w 1638300"/>
                <a:gd name="connsiteY954" fmla="*/ 1486853 h 2314575"/>
                <a:gd name="connsiteX955" fmla="*/ 1094423 w 1638300"/>
                <a:gd name="connsiteY955" fmla="*/ 1484948 h 2314575"/>
                <a:gd name="connsiteX956" fmla="*/ 1085850 w 1638300"/>
                <a:gd name="connsiteY956" fmla="*/ 1476375 h 2314575"/>
                <a:gd name="connsiteX957" fmla="*/ 1077278 w 1638300"/>
                <a:gd name="connsiteY957" fmla="*/ 1463040 h 2314575"/>
                <a:gd name="connsiteX958" fmla="*/ 1072515 w 1638300"/>
                <a:gd name="connsiteY958" fmla="*/ 1446848 h 2314575"/>
                <a:gd name="connsiteX959" fmla="*/ 1076325 w 1638300"/>
                <a:gd name="connsiteY959" fmla="*/ 1432560 h 2314575"/>
                <a:gd name="connsiteX960" fmla="*/ 1073468 w 1638300"/>
                <a:gd name="connsiteY960" fmla="*/ 1427798 h 2314575"/>
                <a:gd name="connsiteX961" fmla="*/ 1069658 w 1638300"/>
                <a:gd name="connsiteY961" fmla="*/ 1423988 h 2314575"/>
                <a:gd name="connsiteX962" fmla="*/ 1063943 w 1638300"/>
                <a:gd name="connsiteY962" fmla="*/ 1421130 h 2314575"/>
                <a:gd name="connsiteX963" fmla="*/ 1058228 w 1638300"/>
                <a:gd name="connsiteY963" fmla="*/ 1421130 h 2314575"/>
                <a:gd name="connsiteX964" fmla="*/ 1017270 w 1638300"/>
                <a:gd name="connsiteY964" fmla="*/ 1438275 h 231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</a:cxnLst>
              <a:rect l="l" t="t" r="r" b="b"/>
              <a:pathLst>
                <a:path w="1638300" h="2314575">
                  <a:moveTo>
                    <a:pt x="847725" y="2015490"/>
                  </a:moveTo>
                  <a:lnTo>
                    <a:pt x="806768" y="2032635"/>
                  </a:lnTo>
                  <a:lnTo>
                    <a:pt x="833438" y="2018348"/>
                  </a:lnTo>
                  <a:lnTo>
                    <a:pt x="844868" y="2009775"/>
                  </a:lnTo>
                  <a:lnTo>
                    <a:pt x="848678" y="2002155"/>
                  </a:lnTo>
                  <a:lnTo>
                    <a:pt x="851535" y="1995488"/>
                  </a:lnTo>
                  <a:lnTo>
                    <a:pt x="858203" y="1992630"/>
                  </a:lnTo>
                  <a:lnTo>
                    <a:pt x="866775" y="1991678"/>
                  </a:lnTo>
                  <a:lnTo>
                    <a:pt x="873443" y="1988820"/>
                  </a:lnTo>
                  <a:lnTo>
                    <a:pt x="882015" y="1982153"/>
                  </a:lnTo>
                  <a:lnTo>
                    <a:pt x="897255" y="1965007"/>
                  </a:lnTo>
                  <a:lnTo>
                    <a:pt x="905828" y="1957388"/>
                  </a:lnTo>
                  <a:lnTo>
                    <a:pt x="988695" y="1881188"/>
                  </a:lnTo>
                  <a:lnTo>
                    <a:pt x="1015365" y="1866900"/>
                  </a:lnTo>
                  <a:lnTo>
                    <a:pt x="901065" y="1976438"/>
                  </a:lnTo>
                  <a:lnTo>
                    <a:pt x="847725" y="2015490"/>
                  </a:lnTo>
                  <a:close/>
                  <a:moveTo>
                    <a:pt x="1103948" y="68580"/>
                  </a:moveTo>
                  <a:lnTo>
                    <a:pt x="1103948" y="82868"/>
                  </a:lnTo>
                  <a:lnTo>
                    <a:pt x="1104900" y="86678"/>
                  </a:lnTo>
                  <a:lnTo>
                    <a:pt x="1106805" y="88583"/>
                  </a:lnTo>
                  <a:lnTo>
                    <a:pt x="1113473" y="92393"/>
                  </a:lnTo>
                  <a:lnTo>
                    <a:pt x="1116330" y="95250"/>
                  </a:lnTo>
                  <a:lnTo>
                    <a:pt x="1116330" y="99060"/>
                  </a:lnTo>
                  <a:lnTo>
                    <a:pt x="1115378" y="102870"/>
                  </a:lnTo>
                  <a:lnTo>
                    <a:pt x="1113473" y="104775"/>
                  </a:lnTo>
                  <a:lnTo>
                    <a:pt x="1110615" y="105728"/>
                  </a:lnTo>
                  <a:lnTo>
                    <a:pt x="1104900" y="103823"/>
                  </a:lnTo>
                  <a:lnTo>
                    <a:pt x="1102043" y="103823"/>
                  </a:lnTo>
                  <a:lnTo>
                    <a:pt x="1099185" y="103823"/>
                  </a:lnTo>
                  <a:lnTo>
                    <a:pt x="1097280" y="105728"/>
                  </a:lnTo>
                  <a:lnTo>
                    <a:pt x="1094423" y="109538"/>
                  </a:lnTo>
                  <a:lnTo>
                    <a:pt x="1092518" y="110490"/>
                  </a:lnTo>
                  <a:lnTo>
                    <a:pt x="1083945" y="109538"/>
                  </a:lnTo>
                  <a:lnTo>
                    <a:pt x="1065848" y="117158"/>
                  </a:lnTo>
                  <a:lnTo>
                    <a:pt x="1060133" y="122873"/>
                  </a:lnTo>
                  <a:lnTo>
                    <a:pt x="1059180" y="124778"/>
                  </a:lnTo>
                  <a:lnTo>
                    <a:pt x="1060133" y="126683"/>
                  </a:lnTo>
                  <a:lnTo>
                    <a:pt x="1066800" y="131445"/>
                  </a:lnTo>
                  <a:lnTo>
                    <a:pt x="1067753" y="134303"/>
                  </a:lnTo>
                  <a:lnTo>
                    <a:pt x="1068705" y="138113"/>
                  </a:lnTo>
                  <a:lnTo>
                    <a:pt x="1067753" y="148590"/>
                  </a:lnTo>
                  <a:lnTo>
                    <a:pt x="1068705" y="151448"/>
                  </a:lnTo>
                  <a:lnTo>
                    <a:pt x="1067753" y="157163"/>
                  </a:lnTo>
                  <a:lnTo>
                    <a:pt x="1063943" y="163830"/>
                  </a:lnTo>
                  <a:lnTo>
                    <a:pt x="1062990" y="169545"/>
                  </a:lnTo>
                  <a:lnTo>
                    <a:pt x="1062990" y="177165"/>
                  </a:lnTo>
                  <a:lnTo>
                    <a:pt x="1064895" y="181928"/>
                  </a:lnTo>
                  <a:lnTo>
                    <a:pt x="1068705" y="183833"/>
                  </a:lnTo>
                  <a:lnTo>
                    <a:pt x="1082040" y="187643"/>
                  </a:lnTo>
                  <a:lnTo>
                    <a:pt x="1083945" y="188595"/>
                  </a:lnTo>
                  <a:lnTo>
                    <a:pt x="1087755" y="193358"/>
                  </a:lnTo>
                  <a:lnTo>
                    <a:pt x="1093470" y="200978"/>
                  </a:lnTo>
                  <a:lnTo>
                    <a:pt x="1102995" y="213360"/>
                  </a:lnTo>
                  <a:lnTo>
                    <a:pt x="1104900" y="216218"/>
                  </a:lnTo>
                  <a:lnTo>
                    <a:pt x="1105853" y="219075"/>
                  </a:lnTo>
                  <a:lnTo>
                    <a:pt x="1119188" y="303848"/>
                  </a:lnTo>
                  <a:lnTo>
                    <a:pt x="1120140" y="310515"/>
                  </a:lnTo>
                  <a:lnTo>
                    <a:pt x="1123950" y="317183"/>
                  </a:lnTo>
                  <a:lnTo>
                    <a:pt x="1132523" y="324803"/>
                  </a:lnTo>
                  <a:lnTo>
                    <a:pt x="1138238" y="328613"/>
                  </a:lnTo>
                  <a:lnTo>
                    <a:pt x="1151573" y="334328"/>
                  </a:lnTo>
                  <a:lnTo>
                    <a:pt x="1154430" y="336233"/>
                  </a:lnTo>
                  <a:lnTo>
                    <a:pt x="1157288" y="340043"/>
                  </a:lnTo>
                  <a:lnTo>
                    <a:pt x="1160145" y="351473"/>
                  </a:lnTo>
                  <a:lnTo>
                    <a:pt x="1160145" y="355283"/>
                  </a:lnTo>
                  <a:lnTo>
                    <a:pt x="1158240" y="359093"/>
                  </a:lnTo>
                  <a:lnTo>
                    <a:pt x="1156335" y="360998"/>
                  </a:lnTo>
                  <a:lnTo>
                    <a:pt x="1151573" y="366713"/>
                  </a:lnTo>
                  <a:lnTo>
                    <a:pt x="1149668" y="368618"/>
                  </a:lnTo>
                  <a:lnTo>
                    <a:pt x="1148715" y="371475"/>
                  </a:lnTo>
                  <a:lnTo>
                    <a:pt x="1148715" y="375285"/>
                  </a:lnTo>
                  <a:lnTo>
                    <a:pt x="1150620" y="378143"/>
                  </a:lnTo>
                  <a:lnTo>
                    <a:pt x="1157288" y="385763"/>
                  </a:lnTo>
                  <a:lnTo>
                    <a:pt x="1163955" y="390525"/>
                  </a:lnTo>
                  <a:lnTo>
                    <a:pt x="1167765" y="396240"/>
                  </a:lnTo>
                  <a:lnTo>
                    <a:pt x="1167765" y="401955"/>
                  </a:lnTo>
                  <a:lnTo>
                    <a:pt x="1166813" y="405765"/>
                  </a:lnTo>
                  <a:lnTo>
                    <a:pt x="1165860" y="408623"/>
                  </a:lnTo>
                  <a:lnTo>
                    <a:pt x="1162050" y="416243"/>
                  </a:lnTo>
                  <a:lnTo>
                    <a:pt x="1161098" y="421958"/>
                  </a:lnTo>
                  <a:lnTo>
                    <a:pt x="1162050" y="428625"/>
                  </a:lnTo>
                  <a:lnTo>
                    <a:pt x="1165860" y="438150"/>
                  </a:lnTo>
                  <a:lnTo>
                    <a:pt x="1167765" y="445770"/>
                  </a:lnTo>
                  <a:lnTo>
                    <a:pt x="1170623" y="452438"/>
                  </a:lnTo>
                  <a:lnTo>
                    <a:pt x="1176338" y="456248"/>
                  </a:lnTo>
                  <a:lnTo>
                    <a:pt x="1188720" y="462915"/>
                  </a:lnTo>
                  <a:lnTo>
                    <a:pt x="1190625" y="464820"/>
                  </a:lnTo>
                  <a:lnTo>
                    <a:pt x="1197293" y="472440"/>
                  </a:lnTo>
                  <a:lnTo>
                    <a:pt x="1200150" y="473393"/>
                  </a:lnTo>
                  <a:lnTo>
                    <a:pt x="1223963" y="468630"/>
                  </a:lnTo>
                  <a:lnTo>
                    <a:pt x="1226820" y="468630"/>
                  </a:lnTo>
                  <a:lnTo>
                    <a:pt x="1229678" y="469583"/>
                  </a:lnTo>
                  <a:lnTo>
                    <a:pt x="1233488" y="474345"/>
                  </a:lnTo>
                  <a:lnTo>
                    <a:pt x="1236345" y="476250"/>
                  </a:lnTo>
                  <a:lnTo>
                    <a:pt x="1239203" y="476250"/>
                  </a:lnTo>
                  <a:lnTo>
                    <a:pt x="1241108" y="476250"/>
                  </a:lnTo>
                  <a:lnTo>
                    <a:pt x="1245870" y="473393"/>
                  </a:lnTo>
                  <a:lnTo>
                    <a:pt x="1254443" y="467678"/>
                  </a:lnTo>
                  <a:lnTo>
                    <a:pt x="1259205" y="461963"/>
                  </a:lnTo>
                  <a:lnTo>
                    <a:pt x="1262063" y="461010"/>
                  </a:lnTo>
                  <a:lnTo>
                    <a:pt x="1264920" y="461010"/>
                  </a:lnTo>
                  <a:lnTo>
                    <a:pt x="1267778" y="461963"/>
                  </a:lnTo>
                  <a:lnTo>
                    <a:pt x="1274445" y="467678"/>
                  </a:lnTo>
                  <a:lnTo>
                    <a:pt x="1278255" y="469583"/>
                  </a:lnTo>
                  <a:lnTo>
                    <a:pt x="1281113" y="469583"/>
                  </a:lnTo>
                  <a:lnTo>
                    <a:pt x="1300163" y="470535"/>
                  </a:lnTo>
                  <a:lnTo>
                    <a:pt x="1303020" y="472440"/>
                  </a:lnTo>
                  <a:lnTo>
                    <a:pt x="1304925" y="475298"/>
                  </a:lnTo>
                  <a:lnTo>
                    <a:pt x="1307783" y="489585"/>
                  </a:lnTo>
                  <a:lnTo>
                    <a:pt x="1310640" y="495300"/>
                  </a:lnTo>
                  <a:lnTo>
                    <a:pt x="1312545" y="498158"/>
                  </a:lnTo>
                  <a:lnTo>
                    <a:pt x="1315403" y="500063"/>
                  </a:lnTo>
                  <a:lnTo>
                    <a:pt x="1318260" y="500063"/>
                  </a:lnTo>
                  <a:lnTo>
                    <a:pt x="1321118" y="496253"/>
                  </a:lnTo>
                  <a:lnTo>
                    <a:pt x="1323975" y="490538"/>
                  </a:lnTo>
                  <a:lnTo>
                    <a:pt x="1326833" y="478155"/>
                  </a:lnTo>
                  <a:lnTo>
                    <a:pt x="1326833" y="474345"/>
                  </a:lnTo>
                  <a:lnTo>
                    <a:pt x="1328738" y="472440"/>
                  </a:lnTo>
                  <a:lnTo>
                    <a:pt x="1330643" y="470535"/>
                  </a:lnTo>
                  <a:lnTo>
                    <a:pt x="1360170" y="463868"/>
                  </a:lnTo>
                  <a:lnTo>
                    <a:pt x="1363028" y="466725"/>
                  </a:lnTo>
                  <a:lnTo>
                    <a:pt x="1364933" y="471488"/>
                  </a:lnTo>
                  <a:lnTo>
                    <a:pt x="1365885" y="485775"/>
                  </a:lnTo>
                  <a:lnTo>
                    <a:pt x="1365885" y="491490"/>
                  </a:lnTo>
                  <a:lnTo>
                    <a:pt x="1363980" y="496253"/>
                  </a:lnTo>
                  <a:lnTo>
                    <a:pt x="1363028" y="498158"/>
                  </a:lnTo>
                  <a:lnTo>
                    <a:pt x="1363028" y="501015"/>
                  </a:lnTo>
                  <a:lnTo>
                    <a:pt x="1365885" y="501968"/>
                  </a:lnTo>
                  <a:lnTo>
                    <a:pt x="1383983" y="502920"/>
                  </a:lnTo>
                  <a:lnTo>
                    <a:pt x="1387793" y="505778"/>
                  </a:lnTo>
                  <a:lnTo>
                    <a:pt x="1390650" y="510540"/>
                  </a:lnTo>
                  <a:lnTo>
                    <a:pt x="1396365" y="521018"/>
                  </a:lnTo>
                  <a:lnTo>
                    <a:pt x="1403985" y="529590"/>
                  </a:lnTo>
                  <a:lnTo>
                    <a:pt x="1406843" y="534353"/>
                  </a:lnTo>
                  <a:lnTo>
                    <a:pt x="1408748" y="550545"/>
                  </a:lnTo>
                  <a:lnTo>
                    <a:pt x="1408748" y="558165"/>
                  </a:lnTo>
                  <a:lnTo>
                    <a:pt x="1406843" y="563880"/>
                  </a:lnTo>
                  <a:lnTo>
                    <a:pt x="1404938" y="565785"/>
                  </a:lnTo>
                  <a:lnTo>
                    <a:pt x="1401128" y="568643"/>
                  </a:lnTo>
                  <a:lnTo>
                    <a:pt x="1400175" y="573405"/>
                  </a:lnTo>
                  <a:lnTo>
                    <a:pt x="1401128" y="579120"/>
                  </a:lnTo>
                  <a:lnTo>
                    <a:pt x="1400175" y="586740"/>
                  </a:lnTo>
                  <a:lnTo>
                    <a:pt x="1398270" y="594360"/>
                  </a:lnTo>
                  <a:lnTo>
                    <a:pt x="1395413" y="606743"/>
                  </a:lnTo>
                  <a:lnTo>
                    <a:pt x="1388745" y="623888"/>
                  </a:lnTo>
                  <a:lnTo>
                    <a:pt x="1391603" y="636270"/>
                  </a:lnTo>
                  <a:lnTo>
                    <a:pt x="1416368" y="711518"/>
                  </a:lnTo>
                  <a:lnTo>
                    <a:pt x="1424940" y="731520"/>
                  </a:lnTo>
                  <a:lnTo>
                    <a:pt x="1431608" y="741998"/>
                  </a:lnTo>
                  <a:lnTo>
                    <a:pt x="1461135" y="747713"/>
                  </a:lnTo>
                  <a:lnTo>
                    <a:pt x="1482090" y="748665"/>
                  </a:lnTo>
                  <a:lnTo>
                    <a:pt x="1483995" y="748665"/>
                  </a:lnTo>
                  <a:lnTo>
                    <a:pt x="1485900" y="750570"/>
                  </a:lnTo>
                  <a:lnTo>
                    <a:pt x="1491615" y="761048"/>
                  </a:lnTo>
                  <a:lnTo>
                    <a:pt x="1494473" y="762000"/>
                  </a:lnTo>
                  <a:lnTo>
                    <a:pt x="1497330" y="762000"/>
                  </a:lnTo>
                  <a:lnTo>
                    <a:pt x="1513523" y="755333"/>
                  </a:lnTo>
                  <a:lnTo>
                    <a:pt x="1555433" y="745808"/>
                  </a:lnTo>
                  <a:lnTo>
                    <a:pt x="1557338" y="746760"/>
                  </a:lnTo>
                  <a:lnTo>
                    <a:pt x="1561148" y="750570"/>
                  </a:lnTo>
                  <a:lnTo>
                    <a:pt x="1564958" y="759143"/>
                  </a:lnTo>
                  <a:lnTo>
                    <a:pt x="1565910" y="763905"/>
                  </a:lnTo>
                  <a:lnTo>
                    <a:pt x="1566863" y="770573"/>
                  </a:lnTo>
                  <a:lnTo>
                    <a:pt x="1564958" y="776288"/>
                  </a:lnTo>
                  <a:lnTo>
                    <a:pt x="1564005" y="779145"/>
                  </a:lnTo>
                  <a:lnTo>
                    <a:pt x="1556385" y="786765"/>
                  </a:lnTo>
                  <a:lnTo>
                    <a:pt x="1554480" y="788670"/>
                  </a:lnTo>
                  <a:lnTo>
                    <a:pt x="1549718" y="790575"/>
                  </a:lnTo>
                  <a:lnTo>
                    <a:pt x="1544955" y="792480"/>
                  </a:lnTo>
                  <a:lnTo>
                    <a:pt x="1540193" y="794385"/>
                  </a:lnTo>
                  <a:lnTo>
                    <a:pt x="1538288" y="796290"/>
                  </a:lnTo>
                  <a:lnTo>
                    <a:pt x="1537335" y="802958"/>
                  </a:lnTo>
                  <a:lnTo>
                    <a:pt x="1537335" y="809625"/>
                  </a:lnTo>
                  <a:lnTo>
                    <a:pt x="1538288" y="815340"/>
                  </a:lnTo>
                  <a:lnTo>
                    <a:pt x="1540193" y="818198"/>
                  </a:lnTo>
                  <a:lnTo>
                    <a:pt x="1542098" y="821055"/>
                  </a:lnTo>
                  <a:lnTo>
                    <a:pt x="1544955" y="822008"/>
                  </a:lnTo>
                  <a:lnTo>
                    <a:pt x="1557338" y="824865"/>
                  </a:lnTo>
                  <a:lnTo>
                    <a:pt x="1562100" y="827723"/>
                  </a:lnTo>
                  <a:lnTo>
                    <a:pt x="1567815" y="832485"/>
                  </a:lnTo>
                  <a:lnTo>
                    <a:pt x="1572578" y="834390"/>
                  </a:lnTo>
                  <a:lnTo>
                    <a:pt x="1577340" y="833438"/>
                  </a:lnTo>
                  <a:lnTo>
                    <a:pt x="1584008" y="830580"/>
                  </a:lnTo>
                  <a:lnTo>
                    <a:pt x="1588770" y="828675"/>
                  </a:lnTo>
                  <a:lnTo>
                    <a:pt x="1594485" y="828675"/>
                  </a:lnTo>
                  <a:lnTo>
                    <a:pt x="1596390" y="830580"/>
                  </a:lnTo>
                  <a:lnTo>
                    <a:pt x="1598295" y="834390"/>
                  </a:lnTo>
                  <a:lnTo>
                    <a:pt x="1601153" y="842010"/>
                  </a:lnTo>
                  <a:lnTo>
                    <a:pt x="1604963" y="847725"/>
                  </a:lnTo>
                  <a:lnTo>
                    <a:pt x="1610678" y="853440"/>
                  </a:lnTo>
                  <a:lnTo>
                    <a:pt x="1611630" y="855345"/>
                  </a:lnTo>
                  <a:lnTo>
                    <a:pt x="1615440" y="862013"/>
                  </a:lnTo>
                  <a:lnTo>
                    <a:pt x="1616393" y="867728"/>
                  </a:lnTo>
                  <a:lnTo>
                    <a:pt x="1618298" y="871538"/>
                  </a:lnTo>
                  <a:lnTo>
                    <a:pt x="1620203" y="873443"/>
                  </a:lnTo>
                  <a:lnTo>
                    <a:pt x="1623060" y="874395"/>
                  </a:lnTo>
                  <a:lnTo>
                    <a:pt x="1632585" y="875348"/>
                  </a:lnTo>
                  <a:lnTo>
                    <a:pt x="1634490" y="876300"/>
                  </a:lnTo>
                  <a:lnTo>
                    <a:pt x="1636395" y="878205"/>
                  </a:lnTo>
                  <a:lnTo>
                    <a:pt x="1637348" y="881063"/>
                  </a:lnTo>
                  <a:lnTo>
                    <a:pt x="1638300" y="886778"/>
                  </a:lnTo>
                  <a:lnTo>
                    <a:pt x="1632585" y="900113"/>
                  </a:lnTo>
                  <a:lnTo>
                    <a:pt x="1632585" y="907733"/>
                  </a:lnTo>
                  <a:lnTo>
                    <a:pt x="1632585" y="913448"/>
                  </a:lnTo>
                  <a:lnTo>
                    <a:pt x="1631633" y="918210"/>
                  </a:lnTo>
                  <a:lnTo>
                    <a:pt x="1628775" y="922973"/>
                  </a:lnTo>
                  <a:lnTo>
                    <a:pt x="1625918" y="925830"/>
                  </a:lnTo>
                  <a:lnTo>
                    <a:pt x="1623060" y="929640"/>
                  </a:lnTo>
                  <a:lnTo>
                    <a:pt x="1620203" y="934403"/>
                  </a:lnTo>
                  <a:lnTo>
                    <a:pt x="1617345" y="945833"/>
                  </a:lnTo>
                  <a:lnTo>
                    <a:pt x="1614488" y="955358"/>
                  </a:lnTo>
                  <a:lnTo>
                    <a:pt x="1611630" y="958215"/>
                  </a:lnTo>
                  <a:lnTo>
                    <a:pt x="1601153" y="963930"/>
                  </a:lnTo>
                  <a:lnTo>
                    <a:pt x="1599248" y="964883"/>
                  </a:lnTo>
                  <a:lnTo>
                    <a:pt x="1597343" y="967740"/>
                  </a:lnTo>
                  <a:lnTo>
                    <a:pt x="1594485" y="974408"/>
                  </a:lnTo>
                  <a:lnTo>
                    <a:pt x="1592580" y="976313"/>
                  </a:lnTo>
                  <a:lnTo>
                    <a:pt x="1589723" y="976313"/>
                  </a:lnTo>
                  <a:lnTo>
                    <a:pt x="1557338" y="979170"/>
                  </a:lnTo>
                  <a:lnTo>
                    <a:pt x="1549718" y="981075"/>
                  </a:lnTo>
                  <a:lnTo>
                    <a:pt x="1547813" y="980123"/>
                  </a:lnTo>
                  <a:lnTo>
                    <a:pt x="1544003" y="977265"/>
                  </a:lnTo>
                  <a:lnTo>
                    <a:pt x="1542098" y="976313"/>
                  </a:lnTo>
                  <a:lnTo>
                    <a:pt x="1536383" y="976313"/>
                  </a:lnTo>
                  <a:lnTo>
                    <a:pt x="1534478" y="977265"/>
                  </a:lnTo>
                  <a:lnTo>
                    <a:pt x="1532573" y="979170"/>
                  </a:lnTo>
                  <a:lnTo>
                    <a:pt x="1526858" y="988695"/>
                  </a:lnTo>
                  <a:lnTo>
                    <a:pt x="1523048" y="991553"/>
                  </a:lnTo>
                  <a:lnTo>
                    <a:pt x="1496378" y="993458"/>
                  </a:lnTo>
                  <a:lnTo>
                    <a:pt x="1494473" y="993458"/>
                  </a:lnTo>
                  <a:lnTo>
                    <a:pt x="1493520" y="997268"/>
                  </a:lnTo>
                  <a:lnTo>
                    <a:pt x="1493520" y="1004888"/>
                  </a:lnTo>
                  <a:lnTo>
                    <a:pt x="1498283" y="1021080"/>
                  </a:lnTo>
                  <a:lnTo>
                    <a:pt x="1503045" y="1030605"/>
                  </a:lnTo>
                  <a:lnTo>
                    <a:pt x="1505903" y="1036320"/>
                  </a:lnTo>
                  <a:lnTo>
                    <a:pt x="1528763" y="1051560"/>
                  </a:lnTo>
                  <a:lnTo>
                    <a:pt x="1531620" y="1055370"/>
                  </a:lnTo>
                  <a:lnTo>
                    <a:pt x="1535430" y="1062038"/>
                  </a:lnTo>
                  <a:lnTo>
                    <a:pt x="1541145" y="1075373"/>
                  </a:lnTo>
                  <a:lnTo>
                    <a:pt x="1544955" y="1080135"/>
                  </a:lnTo>
                  <a:lnTo>
                    <a:pt x="1552575" y="1083945"/>
                  </a:lnTo>
                  <a:lnTo>
                    <a:pt x="1562100" y="1091565"/>
                  </a:lnTo>
                  <a:lnTo>
                    <a:pt x="1563053" y="1099185"/>
                  </a:lnTo>
                  <a:lnTo>
                    <a:pt x="1566863" y="1160145"/>
                  </a:lnTo>
                  <a:lnTo>
                    <a:pt x="1569720" y="1167765"/>
                  </a:lnTo>
                  <a:lnTo>
                    <a:pt x="1569720" y="1172528"/>
                  </a:lnTo>
                  <a:lnTo>
                    <a:pt x="1570673" y="1177290"/>
                  </a:lnTo>
                  <a:lnTo>
                    <a:pt x="1568768" y="1182053"/>
                  </a:lnTo>
                  <a:lnTo>
                    <a:pt x="1567815" y="1185863"/>
                  </a:lnTo>
                  <a:lnTo>
                    <a:pt x="1567815" y="1200150"/>
                  </a:lnTo>
                  <a:lnTo>
                    <a:pt x="1575435" y="1243013"/>
                  </a:lnTo>
                  <a:lnTo>
                    <a:pt x="1560195" y="1243013"/>
                  </a:lnTo>
                  <a:lnTo>
                    <a:pt x="1533525" y="1251585"/>
                  </a:lnTo>
                  <a:lnTo>
                    <a:pt x="1504950" y="1255395"/>
                  </a:lnTo>
                  <a:lnTo>
                    <a:pt x="1483043" y="1263015"/>
                  </a:lnTo>
                  <a:lnTo>
                    <a:pt x="1471613" y="1263968"/>
                  </a:lnTo>
                  <a:lnTo>
                    <a:pt x="1466850" y="1267778"/>
                  </a:lnTo>
                  <a:lnTo>
                    <a:pt x="1454468" y="1278255"/>
                  </a:lnTo>
                  <a:lnTo>
                    <a:pt x="1450658" y="1277303"/>
                  </a:lnTo>
                  <a:lnTo>
                    <a:pt x="1443990" y="1274445"/>
                  </a:lnTo>
                  <a:lnTo>
                    <a:pt x="1437323" y="1277303"/>
                  </a:lnTo>
                  <a:lnTo>
                    <a:pt x="1405890" y="1299210"/>
                  </a:lnTo>
                  <a:lnTo>
                    <a:pt x="1400175" y="1301115"/>
                  </a:lnTo>
                  <a:lnTo>
                    <a:pt x="1377315" y="1296353"/>
                  </a:lnTo>
                  <a:lnTo>
                    <a:pt x="1372553" y="1295400"/>
                  </a:lnTo>
                  <a:lnTo>
                    <a:pt x="1365885" y="1301115"/>
                  </a:lnTo>
                  <a:lnTo>
                    <a:pt x="1350645" y="1323023"/>
                  </a:lnTo>
                  <a:lnTo>
                    <a:pt x="1346835" y="1329690"/>
                  </a:lnTo>
                  <a:lnTo>
                    <a:pt x="1348740" y="1340168"/>
                  </a:lnTo>
                  <a:lnTo>
                    <a:pt x="1358265" y="1359218"/>
                  </a:lnTo>
                  <a:lnTo>
                    <a:pt x="1361123" y="1374458"/>
                  </a:lnTo>
                  <a:lnTo>
                    <a:pt x="1363980" y="1374458"/>
                  </a:lnTo>
                  <a:lnTo>
                    <a:pt x="1367790" y="1378268"/>
                  </a:lnTo>
                  <a:lnTo>
                    <a:pt x="1369695" y="1383030"/>
                  </a:lnTo>
                  <a:lnTo>
                    <a:pt x="1365885" y="1386840"/>
                  </a:lnTo>
                  <a:lnTo>
                    <a:pt x="1362075" y="1395413"/>
                  </a:lnTo>
                  <a:lnTo>
                    <a:pt x="1357313" y="1418273"/>
                  </a:lnTo>
                  <a:lnTo>
                    <a:pt x="1356360" y="1421130"/>
                  </a:lnTo>
                  <a:lnTo>
                    <a:pt x="1334453" y="1450657"/>
                  </a:lnTo>
                  <a:lnTo>
                    <a:pt x="1325880" y="1458278"/>
                  </a:lnTo>
                  <a:lnTo>
                    <a:pt x="1297305" y="1456373"/>
                  </a:lnTo>
                  <a:lnTo>
                    <a:pt x="1292543" y="1461135"/>
                  </a:lnTo>
                  <a:lnTo>
                    <a:pt x="1295400" y="1464945"/>
                  </a:lnTo>
                  <a:lnTo>
                    <a:pt x="1307783" y="1473518"/>
                  </a:lnTo>
                  <a:lnTo>
                    <a:pt x="1311593" y="1480185"/>
                  </a:lnTo>
                  <a:lnTo>
                    <a:pt x="1311593" y="1487805"/>
                  </a:lnTo>
                  <a:lnTo>
                    <a:pt x="1308735" y="1495425"/>
                  </a:lnTo>
                  <a:lnTo>
                    <a:pt x="1293495" y="1525905"/>
                  </a:lnTo>
                  <a:lnTo>
                    <a:pt x="1256348" y="1578293"/>
                  </a:lnTo>
                  <a:lnTo>
                    <a:pt x="1245870" y="1600200"/>
                  </a:lnTo>
                  <a:lnTo>
                    <a:pt x="1238250" y="1610678"/>
                  </a:lnTo>
                  <a:lnTo>
                    <a:pt x="1229678" y="1615440"/>
                  </a:lnTo>
                  <a:lnTo>
                    <a:pt x="1224915" y="1622107"/>
                  </a:lnTo>
                  <a:lnTo>
                    <a:pt x="1214438" y="1651635"/>
                  </a:lnTo>
                  <a:lnTo>
                    <a:pt x="1209675" y="1662113"/>
                  </a:lnTo>
                  <a:lnTo>
                    <a:pt x="1144905" y="1724978"/>
                  </a:lnTo>
                  <a:lnTo>
                    <a:pt x="1086803" y="1803082"/>
                  </a:lnTo>
                  <a:lnTo>
                    <a:pt x="1057275" y="1832610"/>
                  </a:lnTo>
                  <a:lnTo>
                    <a:pt x="1022033" y="1860232"/>
                  </a:lnTo>
                  <a:lnTo>
                    <a:pt x="1022985" y="1849755"/>
                  </a:lnTo>
                  <a:lnTo>
                    <a:pt x="1020128" y="1807845"/>
                  </a:lnTo>
                  <a:lnTo>
                    <a:pt x="1016318" y="1805940"/>
                  </a:lnTo>
                  <a:lnTo>
                    <a:pt x="1011555" y="1810703"/>
                  </a:lnTo>
                  <a:lnTo>
                    <a:pt x="1007745" y="1818323"/>
                  </a:lnTo>
                  <a:lnTo>
                    <a:pt x="1004888" y="1826895"/>
                  </a:lnTo>
                  <a:lnTo>
                    <a:pt x="1002983" y="1846898"/>
                  </a:lnTo>
                  <a:lnTo>
                    <a:pt x="1002030" y="1852613"/>
                  </a:lnTo>
                  <a:lnTo>
                    <a:pt x="1000125" y="1857375"/>
                  </a:lnTo>
                  <a:lnTo>
                    <a:pt x="1000125" y="1861185"/>
                  </a:lnTo>
                  <a:lnTo>
                    <a:pt x="999172" y="1864043"/>
                  </a:lnTo>
                  <a:lnTo>
                    <a:pt x="994410" y="1864995"/>
                  </a:lnTo>
                  <a:lnTo>
                    <a:pt x="990600" y="1860232"/>
                  </a:lnTo>
                  <a:lnTo>
                    <a:pt x="987743" y="1859280"/>
                  </a:lnTo>
                  <a:lnTo>
                    <a:pt x="985838" y="1862138"/>
                  </a:lnTo>
                  <a:lnTo>
                    <a:pt x="981075" y="1864995"/>
                  </a:lnTo>
                  <a:lnTo>
                    <a:pt x="957263" y="1844993"/>
                  </a:lnTo>
                  <a:lnTo>
                    <a:pt x="943928" y="1839278"/>
                  </a:lnTo>
                  <a:lnTo>
                    <a:pt x="932497" y="1845945"/>
                  </a:lnTo>
                  <a:lnTo>
                    <a:pt x="928688" y="1860232"/>
                  </a:lnTo>
                  <a:lnTo>
                    <a:pt x="926783" y="1879282"/>
                  </a:lnTo>
                  <a:lnTo>
                    <a:pt x="923925" y="1896428"/>
                  </a:lnTo>
                  <a:lnTo>
                    <a:pt x="919163" y="1887855"/>
                  </a:lnTo>
                  <a:lnTo>
                    <a:pt x="913447" y="1881188"/>
                  </a:lnTo>
                  <a:lnTo>
                    <a:pt x="913447" y="1875473"/>
                  </a:lnTo>
                  <a:lnTo>
                    <a:pt x="917258" y="1866900"/>
                  </a:lnTo>
                  <a:lnTo>
                    <a:pt x="914400" y="1863090"/>
                  </a:lnTo>
                  <a:lnTo>
                    <a:pt x="910590" y="1864995"/>
                  </a:lnTo>
                  <a:lnTo>
                    <a:pt x="905828" y="1875473"/>
                  </a:lnTo>
                  <a:lnTo>
                    <a:pt x="905828" y="1887855"/>
                  </a:lnTo>
                  <a:lnTo>
                    <a:pt x="907733" y="1898332"/>
                  </a:lnTo>
                  <a:lnTo>
                    <a:pt x="912495" y="1905953"/>
                  </a:lnTo>
                  <a:lnTo>
                    <a:pt x="917258" y="1911668"/>
                  </a:lnTo>
                  <a:lnTo>
                    <a:pt x="913447" y="1932623"/>
                  </a:lnTo>
                  <a:lnTo>
                    <a:pt x="910590" y="1925003"/>
                  </a:lnTo>
                  <a:lnTo>
                    <a:pt x="906780" y="1920240"/>
                  </a:lnTo>
                  <a:lnTo>
                    <a:pt x="895350" y="1911668"/>
                  </a:lnTo>
                  <a:lnTo>
                    <a:pt x="894397" y="1908810"/>
                  </a:lnTo>
                  <a:lnTo>
                    <a:pt x="894397" y="1905000"/>
                  </a:lnTo>
                  <a:lnTo>
                    <a:pt x="894397" y="1903095"/>
                  </a:lnTo>
                  <a:lnTo>
                    <a:pt x="889635" y="1901190"/>
                  </a:lnTo>
                  <a:lnTo>
                    <a:pt x="886778" y="1903095"/>
                  </a:lnTo>
                  <a:lnTo>
                    <a:pt x="883920" y="1909763"/>
                  </a:lnTo>
                  <a:lnTo>
                    <a:pt x="882968" y="1911668"/>
                  </a:lnTo>
                  <a:lnTo>
                    <a:pt x="870585" y="1911668"/>
                  </a:lnTo>
                  <a:lnTo>
                    <a:pt x="856297" y="1914525"/>
                  </a:lnTo>
                  <a:lnTo>
                    <a:pt x="844868" y="1922145"/>
                  </a:lnTo>
                  <a:lnTo>
                    <a:pt x="841058" y="1937385"/>
                  </a:lnTo>
                  <a:lnTo>
                    <a:pt x="845820" y="1947863"/>
                  </a:lnTo>
                  <a:lnTo>
                    <a:pt x="852488" y="1952625"/>
                  </a:lnTo>
                  <a:lnTo>
                    <a:pt x="866775" y="1957388"/>
                  </a:lnTo>
                  <a:lnTo>
                    <a:pt x="874395" y="1965960"/>
                  </a:lnTo>
                  <a:lnTo>
                    <a:pt x="878205" y="1971675"/>
                  </a:lnTo>
                  <a:lnTo>
                    <a:pt x="875347" y="1974532"/>
                  </a:lnTo>
                  <a:lnTo>
                    <a:pt x="865822" y="1978343"/>
                  </a:lnTo>
                  <a:lnTo>
                    <a:pt x="857250" y="1985010"/>
                  </a:lnTo>
                  <a:lnTo>
                    <a:pt x="848678" y="1989773"/>
                  </a:lnTo>
                  <a:lnTo>
                    <a:pt x="838200" y="1984057"/>
                  </a:lnTo>
                  <a:lnTo>
                    <a:pt x="836295" y="1989773"/>
                  </a:lnTo>
                  <a:lnTo>
                    <a:pt x="835343" y="1990725"/>
                  </a:lnTo>
                  <a:lnTo>
                    <a:pt x="835343" y="1993582"/>
                  </a:lnTo>
                  <a:lnTo>
                    <a:pt x="838200" y="1999298"/>
                  </a:lnTo>
                  <a:lnTo>
                    <a:pt x="829628" y="2004060"/>
                  </a:lnTo>
                  <a:lnTo>
                    <a:pt x="815340" y="2008823"/>
                  </a:lnTo>
                  <a:lnTo>
                    <a:pt x="808672" y="2015490"/>
                  </a:lnTo>
                  <a:lnTo>
                    <a:pt x="809625" y="1995488"/>
                  </a:lnTo>
                  <a:lnTo>
                    <a:pt x="803910" y="1975485"/>
                  </a:lnTo>
                  <a:lnTo>
                    <a:pt x="793433" y="1959293"/>
                  </a:lnTo>
                  <a:lnTo>
                    <a:pt x="782003" y="1953578"/>
                  </a:lnTo>
                  <a:lnTo>
                    <a:pt x="782955" y="1947863"/>
                  </a:lnTo>
                  <a:lnTo>
                    <a:pt x="780097" y="1911668"/>
                  </a:lnTo>
                  <a:lnTo>
                    <a:pt x="782955" y="1899285"/>
                  </a:lnTo>
                  <a:lnTo>
                    <a:pt x="786765" y="1893570"/>
                  </a:lnTo>
                  <a:lnTo>
                    <a:pt x="787718" y="1888807"/>
                  </a:lnTo>
                  <a:lnTo>
                    <a:pt x="783908" y="1881188"/>
                  </a:lnTo>
                  <a:lnTo>
                    <a:pt x="781050" y="1876425"/>
                  </a:lnTo>
                  <a:lnTo>
                    <a:pt x="777240" y="1873568"/>
                  </a:lnTo>
                  <a:lnTo>
                    <a:pt x="766763" y="1864995"/>
                  </a:lnTo>
                  <a:lnTo>
                    <a:pt x="762953" y="1861185"/>
                  </a:lnTo>
                  <a:lnTo>
                    <a:pt x="761047" y="1854518"/>
                  </a:lnTo>
                  <a:lnTo>
                    <a:pt x="758190" y="1855470"/>
                  </a:lnTo>
                  <a:lnTo>
                    <a:pt x="756285" y="1859280"/>
                  </a:lnTo>
                  <a:lnTo>
                    <a:pt x="754380" y="1864995"/>
                  </a:lnTo>
                  <a:lnTo>
                    <a:pt x="756285" y="1869757"/>
                  </a:lnTo>
                  <a:lnTo>
                    <a:pt x="763905" y="1880235"/>
                  </a:lnTo>
                  <a:lnTo>
                    <a:pt x="765810" y="1883093"/>
                  </a:lnTo>
                  <a:lnTo>
                    <a:pt x="763905" y="1889760"/>
                  </a:lnTo>
                  <a:lnTo>
                    <a:pt x="753428" y="1903095"/>
                  </a:lnTo>
                  <a:lnTo>
                    <a:pt x="750570" y="1911668"/>
                  </a:lnTo>
                  <a:lnTo>
                    <a:pt x="750570" y="1923098"/>
                  </a:lnTo>
                  <a:lnTo>
                    <a:pt x="751522" y="1929765"/>
                  </a:lnTo>
                  <a:lnTo>
                    <a:pt x="754380" y="1934528"/>
                  </a:lnTo>
                  <a:lnTo>
                    <a:pt x="758190" y="1943100"/>
                  </a:lnTo>
                  <a:lnTo>
                    <a:pt x="740093" y="1957388"/>
                  </a:lnTo>
                  <a:lnTo>
                    <a:pt x="736283" y="1986915"/>
                  </a:lnTo>
                  <a:lnTo>
                    <a:pt x="738188" y="2023110"/>
                  </a:lnTo>
                  <a:lnTo>
                    <a:pt x="732472" y="2057400"/>
                  </a:lnTo>
                  <a:lnTo>
                    <a:pt x="745808" y="2064068"/>
                  </a:lnTo>
                  <a:lnTo>
                    <a:pt x="753428" y="2065973"/>
                  </a:lnTo>
                  <a:lnTo>
                    <a:pt x="763905" y="2066925"/>
                  </a:lnTo>
                  <a:lnTo>
                    <a:pt x="773430" y="2065020"/>
                  </a:lnTo>
                  <a:lnTo>
                    <a:pt x="781050" y="2060257"/>
                  </a:lnTo>
                  <a:lnTo>
                    <a:pt x="794385" y="2045970"/>
                  </a:lnTo>
                  <a:lnTo>
                    <a:pt x="787718" y="2054543"/>
                  </a:lnTo>
                  <a:lnTo>
                    <a:pt x="770572" y="2082165"/>
                  </a:lnTo>
                  <a:lnTo>
                    <a:pt x="763905" y="2087880"/>
                  </a:lnTo>
                  <a:lnTo>
                    <a:pt x="758190" y="2090738"/>
                  </a:lnTo>
                  <a:lnTo>
                    <a:pt x="755333" y="2098358"/>
                  </a:lnTo>
                  <a:lnTo>
                    <a:pt x="752475" y="2105025"/>
                  </a:lnTo>
                  <a:lnTo>
                    <a:pt x="749618" y="2108835"/>
                  </a:lnTo>
                  <a:lnTo>
                    <a:pt x="741045" y="2111693"/>
                  </a:lnTo>
                  <a:lnTo>
                    <a:pt x="741045" y="2118360"/>
                  </a:lnTo>
                  <a:lnTo>
                    <a:pt x="749618" y="2135505"/>
                  </a:lnTo>
                  <a:lnTo>
                    <a:pt x="753428" y="2141220"/>
                  </a:lnTo>
                  <a:lnTo>
                    <a:pt x="760095" y="2145030"/>
                  </a:lnTo>
                  <a:lnTo>
                    <a:pt x="765810" y="2144078"/>
                  </a:lnTo>
                  <a:lnTo>
                    <a:pt x="767715" y="2137410"/>
                  </a:lnTo>
                  <a:lnTo>
                    <a:pt x="766763" y="2128838"/>
                  </a:lnTo>
                  <a:lnTo>
                    <a:pt x="767715" y="2121218"/>
                  </a:lnTo>
                  <a:lnTo>
                    <a:pt x="776288" y="2118360"/>
                  </a:lnTo>
                  <a:lnTo>
                    <a:pt x="776288" y="2136458"/>
                  </a:lnTo>
                  <a:lnTo>
                    <a:pt x="778193" y="2139315"/>
                  </a:lnTo>
                  <a:lnTo>
                    <a:pt x="781050" y="2139315"/>
                  </a:lnTo>
                  <a:lnTo>
                    <a:pt x="783908" y="2136458"/>
                  </a:lnTo>
                  <a:lnTo>
                    <a:pt x="783908" y="2133600"/>
                  </a:lnTo>
                  <a:lnTo>
                    <a:pt x="787718" y="2134553"/>
                  </a:lnTo>
                  <a:lnTo>
                    <a:pt x="792480" y="2134553"/>
                  </a:lnTo>
                  <a:lnTo>
                    <a:pt x="795338" y="2137410"/>
                  </a:lnTo>
                  <a:lnTo>
                    <a:pt x="798195" y="2149793"/>
                  </a:lnTo>
                  <a:lnTo>
                    <a:pt x="801053" y="2138363"/>
                  </a:lnTo>
                  <a:lnTo>
                    <a:pt x="803910" y="2125980"/>
                  </a:lnTo>
                  <a:lnTo>
                    <a:pt x="807720" y="2120265"/>
                  </a:lnTo>
                  <a:lnTo>
                    <a:pt x="816293" y="2128838"/>
                  </a:lnTo>
                  <a:lnTo>
                    <a:pt x="820103" y="2141220"/>
                  </a:lnTo>
                  <a:lnTo>
                    <a:pt x="820103" y="2155508"/>
                  </a:lnTo>
                  <a:lnTo>
                    <a:pt x="816293" y="2165985"/>
                  </a:lnTo>
                  <a:lnTo>
                    <a:pt x="805815" y="2165033"/>
                  </a:lnTo>
                  <a:lnTo>
                    <a:pt x="813435" y="2173605"/>
                  </a:lnTo>
                  <a:lnTo>
                    <a:pt x="817245" y="2187893"/>
                  </a:lnTo>
                  <a:lnTo>
                    <a:pt x="819150" y="2204085"/>
                  </a:lnTo>
                  <a:lnTo>
                    <a:pt x="820103" y="2235518"/>
                  </a:lnTo>
                  <a:lnTo>
                    <a:pt x="820103" y="2242185"/>
                  </a:lnTo>
                  <a:lnTo>
                    <a:pt x="818197" y="2248853"/>
                  </a:lnTo>
                  <a:lnTo>
                    <a:pt x="813435" y="2259330"/>
                  </a:lnTo>
                  <a:lnTo>
                    <a:pt x="812483" y="2265045"/>
                  </a:lnTo>
                  <a:lnTo>
                    <a:pt x="806768" y="2283143"/>
                  </a:lnTo>
                  <a:lnTo>
                    <a:pt x="805815" y="2290763"/>
                  </a:lnTo>
                  <a:lnTo>
                    <a:pt x="805815" y="2297430"/>
                  </a:lnTo>
                  <a:lnTo>
                    <a:pt x="805815" y="2299335"/>
                  </a:lnTo>
                  <a:lnTo>
                    <a:pt x="795338" y="2308860"/>
                  </a:lnTo>
                  <a:lnTo>
                    <a:pt x="786765" y="2314575"/>
                  </a:lnTo>
                  <a:lnTo>
                    <a:pt x="777240" y="2316480"/>
                  </a:lnTo>
                  <a:lnTo>
                    <a:pt x="769620" y="2314575"/>
                  </a:lnTo>
                  <a:lnTo>
                    <a:pt x="772478" y="2309813"/>
                  </a:lnTo>
                  <a:lnTo>
                    <a:pt x="773430" y="2304098"/>
                  </a:lnTo>
                  <a:lnTo>
                    <a:pt x="772478" y="2298383"/>
                  </a:lnTo>
                  <a:lnTo>
                    <a:pt x="769620" y="2293620"/>
                  </a:lnTo>
                  <a:lnTo>
                    <a:pt x="776288" y="2271713"/>
                  </a:lnTo>
                  <a:lnTo>
                    <a:pt x="773430" y="2243138"/>
                  </a:lnTo>
                  <a:lnTo>
                    <a:pt x="764858" y="2217420"/>
                  </a:lnTo>
                  <a:lnTo>
                    <a:pt x="753428" y="2205990"/>
                  </a:lnTo>
                  <a:lnTo>
                    <a:pt x="746760" y="2203133"/>
                  </a:lnTo>
                  <a:lnTo>
                    <a:pt x="721995" y="2180273"/>
                  </a:lnTo>
                  <a:lnTo>
                    <a:pt x="648653" y="2153603"/>
                  </a:lnTo>
                  <a:lnTo>
                    <a:pt x="608647" y="2149793"/>
                  </a:lnTo>
                  <a:lnTo>
                    <a:pt x="602933" y="2147888"/>
                  </a:lnTo>
                  <a:lnTo>
                    <a:pt x="597218" y="2145030"/>
                  </a:lnTo>
                  <a:lnTo>
                    <a:pt x="591503" y="2144078"/>
                  </a:lnTo>
                  <a:lnTo>
                    <a:pt x="586740" y="2146935"/>
                  </a:lnTo>
                  <a:lnTo>
                    <a:pt x="583883" y="2150745"/>
                  </a:lnTo>
                  <a:lnTo>
                    <a:pt x="580072" y="2155508"/>
                  </a:lnTo>
                  <a:lnTo>
                    <a:pt x="575310" y="2158365"/>
                  </a:lnTo>
                  <a:lnTo>
                    <a:pt x="570547" y="2160270"/>
                  </a:lnTo>
                  <a:lnTo>
                    <a:pt x="559118" y="2160270"/>
                  </a:lnTo>
                  <a:lnTo>
                    <a:pt x="550545" y="2158365"/>
                  </a:lnTo>
                  <a:lnTo>
                    <a:pt x="541972" y="2159318"/>
                  </a:lnTo>
                  <a:lnTo>
                    <a:pt x="530543" y="2165033"/>
                  </a:lnTo>
                  <a:lnTo>
                    <a:pt x="522922" y="2171700"/>
                  </a:lnTo>
                  <a:lnTo>
                    <a:pt x="518160" y="2177415"/>
                  </a:lnTo>
                  <a:lnTo>
                    <a:pt x="516255" y="2183130"/>
                  </a:lnTo>
                  <a:lnTo>
                    <a:pt x="513397" y="2185035"/>
                  </a:lnTo>
                  <a:lnTo>
                    <a:pt x="501015" y="2185988"/>
                  </a:lnTo>
                  <a:lnTo>
                    <a:pt x="496253" y="2187893"/>
                  </a:lnTo>
                  <a:lnTo>
                    <a:pt x="488633" y="2195513"/>
                  </a:lnTo>
                  <a:lnTo>
                    <a:pt x="480060" y="2200275"/>
                  </a:lnTo>
                  <a:lnTo>
                    <a:pt x="458153" y="2205990"/>
                  </a:lnTo>
                  <a:lnTo>
                    <a:pt x="431483" y="2228850"/>
                  </a:lnTo>
                  <a:lnTo>
                    <a:pt x="423863" y="2232660"/>
                  </a:lnTo>
                  <a:lnTo>
                    <a:pt x="412433" y="2232660"/>
                  </a:lnTo>
                  <a:lnTo>
                    <a:pt x="407670" y="2233613"/>
                  </a:lnTo>
                  <a:lnTo>
                    <a:pt x="403860" y="2236470"/>
                  </a:lnTo>
                  <a:lnTo>
                    <a:pt x="401003" y="2243138"/>
                  </a:lnTo>
                  <a:lnTo>
                    <a:pt x="399097" y="2257425"/>
                  </a:lnTo>
                  <a:lnTo>
                    <a:pt x="397193" y="2263140"/>
                  </a:lnTo>
                  <a:lnTo>
                    <a:pt x="384810" y="2267903"/>
                  </a:lnTo>
                  <a:lnTo>
                    <a:pt x="374333" y="2261235"/>
                  </a:lnTo>
                  <a:lnTo>
                    <a:pt x="365760" y="2251710"/>
                  </a:lnTo>
                  <a:lnTo>
                    <a:pt x="359093" y="2246948"/>
                  </a:lnTo>
                  <a:lnTo>
                    <a:pt x="346710" y="2245043"/>
                  </a:lnTo>
                  <a:lnTo>
                    <a:pt x="333375" y="2235518"/>
                  </a:lnTo>
                  <a:lnTo>
                    <a:pt x="324803" y="2232660"/>
                  </a:lnTo>
                  <a:lnTo>
                    <a:pt x="310515" y="2235518"/>
                  </a:lnTo>
                  <a:lnTo>
                    <a:pt x="310515" y="2246948"/>
                  </a:lnTo>
                  <a:lnTo>
                    <a:pt x="311468" y="2257425"/>
                  </a:lnTo>
                  <a:lnTo>
                    <a:pt x="296228" y="2265045"/>
                  </a:lnTo>
                  <a:lnTo>
                    <a:pt x="295275" y="2270760"/>
                  </a:lnTo>
                  <a:lnTo>
                    <a:pt x="296228" y="2278380"/>
                  </a:lnTo>
                  <a:lnTo>
                    <a:pt x="299085" y="2283143"/>
                  </a:lnTo>
                  <a:lnTo>
                    <a:pt x="302895" y="2286953"/>
                  </a:lnTo>
                  <a:lnTo>
                    <a:pt x="318135" y="2293620"/>
                  </a:lnTo>
                  <a:lnTo>
                    <a:pt x="311468" y="2300288"/>
                  </a:lnTo>
                  <a:lnTo>
                    <a:pt x="304800" y="2303145"/>
                  </a:lnTo>
                  <a:lnTo>
                    <a:pt x="288608" y="2304098"/>
                  </a:lnTo>
                  <a:lnTo>
                    <a:pt x="268605" y="2306955"/>
                  </a:lnTo>
                  <a:lnTo>
                    <a:pt x="199072" y="2290763"/>
                  </a:lnTo>
                  <a:lnTo>
                    <a:pt x="155258" y="2267903"/>
                  </a:lnTo>
                  <a:lnTo>
                    <a:pt x="108585" y="2255520"/>
                  </a:lnTo>
                  <a:lnTo>
                    <a:pt x="89535" y="2245043"/>
                  </a:lnTo>
                  <a:lnTo>
                    <a:pt x="80963" y="2242185"/>
                  </a:lnTo>
                  <a:lnTo>
                    <a:pt x="68580" y="2234565"/>
                  </a:lnTo>
                  <a:lnTo>
                    <a:pt x="58103" y="2215515"/>
                  </a:lnTo>
                  <a:lnTo>
                    <a:pt x="42863" y="2175510"/>
                  </a:lnTo>
                  <a:lnTo>
                    <a:pt x="45720" y="2160270"/>
                  </a:lnTo>
                  <a:lnTo>
                    <a:pt x="35243" y="2145983"/>
                  </a:lnTo>
                  <a:lnTo>
                    <a:pt x="20003" y="2137410"/>
                  </a:lnTo>
                  <a:lnTo>
                    <a:pt x="6668" y="2139315"/>
                  </a:lnTo>
                  <a:lnTo>
                    <a:pt x="0" y="2130743"/>
                  </a:lnTo>
                  <a:lnTo>
                    <a:pt x="953" y="2125028"/>
                  </a:lnTo>
                  <a:lnTo>
                    <a:pt x="4763" y="2115503"/>
                  </a:lnTo>
                  <a:lnTo>
                    <a:pt x="8572" y="2106930"/>
                  </a:lnTo>
                  <a:lnTo>
                    <a:pt x="37147" y="2085023"/>
                  </a:lnTo>
                  <a:lnTo>
                    <a:pt x="74295" y="2087880"/>
                  </a:lnTo>
                  <a:lnTo>
                    <a:pt x="114300" y="2098358"/>
                  </a:lnTo>
                  <a:lnTo>
                    <a:pt x="147638" y="2100263"/>
                  </a:lnTo>
                  <a:lnTo>
                    <a:pt x="159068" y="2094548"/>
                  </a:lnTo>
                  <a:lnTo>
                    <a:pt x="161925" y="2085975"/>
                  </a:lnTo>
                  <a:lnTo>
                    <a:pt x="158115" y="2060257"/>
                  </a:lnTo>
                  <a:lnTo>
                    <a:pt x="157163" y="2057400"/>
                  </a:lnTo>
                  <a:lnTo>
                    <a:pt x="160972" y="2050732"/>
                  </a:lnTo>
                  <a:lnTo>
                    <a:pt x="163830" y="2047875"/>
                  </a:lnTo>
                  <a:lnTo>
                    <a:pt x="177165" y="2041207"/>
                  </a:lnTo>
                  <a:lnTo>
                    <a:pt x="170497" y="2031682"/>
                  </a:lnTo>
                  <a:lnTo>
                    <a:pt x="167640" y="2021205"/>
                  </a:lnTo>
                  <a:lnTo>
                    <a:pt x="166688" y="2010728"/>
                  </a:lnTo>
                  <a:lnTo>
                    <a:pt x="163830" y="2000250"/>
                  </a:lnTo>
                  <a:lnTo>
                    <a:pt x="157163" y="1992630"/>
                  </a:lnTo>
                  <a:lnTo>
                    <a:pt x="149543" y="1987868"/>
                  </a:lnTo>
                  <a:lnTo>
                    <a:pt x="144780" y="1982153"/>
                  </a:lnTo>
                  <a:lnTo>
                    <a:pt x="147638" y="1973580"/>
                  </a:lnTo>
                  <a:lnTo>
                    <a:pt x="160020" y="1955482"/>
                  </a:lnTo>
                  <a:lnTo>
                    <a:pt x="165735" y="1948815"/>
                  </a:lnTo>
                  <a:lnTo>
                    <a:pt x="175260" y="1943100"/>
                  </a:lnTo>
                  <a:lnTo>
                    <a:pt x="190500" y="1938338"/>
                  </a:lnTo>
                  <a:lnTo>
                    <a:pt x="193358" y="1932623"/>
                  </a:lnTo>
                  <a:lnTo>
                    <a:pt x="190500" y="1918335"/>
                  </a:lnTo>
                  <a:lnTo>
                    <a:pt x="198120" y="1904048"/>
                  </a:lnTo>
                  <a:lnTo>
                    <a:pt x="234315" y="1900238"/>
                  </a:lnTo>
                  <a:lnTo>
                    <a:pt x="247650" y="1892618"/>
                  </a:lnTo>
                  <a:lnTo>
                    <a:pt x="249555" y="1884998"/>
                  </a:lnTo>
                  <a:lnTo>
                    <a:pt x="248603" y="1877378"/>
                  </a:lnTo>
                  <a:lnTo>
                    <a:pt x="247650" y="1870710"/>
                  </a:lnTo>
                  <a:lnTo>
                    <a:pt x="247650" y="1865948"/>
                  </a:lnTo>
                  <a:lnTo>
                    <a:pt x="251460" y="1862138"/>
                  </a:lnTo>
                  <a:lnTo>
                    <a:pt x="266700" y="1859280"/>
                  </a:lnTo>
                  <a:lnTo>
                    <a:pt x="277178" y="1853565"/>
                  </a:lnTo>
                  <a:lnTo>
                    <a:pt x="283845" y="1846898"/>
                  </a:lnTo>
                  <a:lnTo>
                    <a:pt x="287655" y="1837373"/>
                  </a:lnTo>
                  <a:lnTo>
                    <a:pt x="287655" y="1822132"/>
                  </a:lnTo>
                  <a:lnTo>
                    <a:pt x="285750" y="1808798"/>
                  </a:lnTo>
                  <a:lnTo>
                    <a:pt x="278130" y="1783080"/>
                  </a:lnTo>
                  <a:lnTo>
                    <a:pt x="279083" y="1769745"/>
                  </a:lnTo>
                  <a:lnTo>
                    <a:pt x="284797" y="1759268"/>
                  </a:lnTo>
                  <a:lnTo>
                    <a:pt x="294322" y="1752600"/>
                  </a:lnTo>
                  <a:lnTo>
                    <a:pt x="385763" y="1728788"/>
                  </a:lnTo>
                  <a:lnTo>
                    <a:pt x="399097" y="1722120"/>
                  </a:lnTo>
                  <a:lnTo>
                    <a:pt x="400050" y="1707832"/>
                  </a:lnTo>
                  <a:lnTo>
                    <a:pt x="390525" y="1674495"/>
                  </a:lnTo>
                  <a:lnTo>
                    <a:pt x="389572" y="1655445"/>
                  </a:lnTo>
                  <a:lnTo>
                    <a:pt x="393383" y="1644015"/>
                  </a:lnTo>
                  <a:lnTo>
                    <a:pt x="411480" y="1623060"/>
                  </a:lnTo>
                  <a:lnTo>
                    <a:pt x="423863" y="1603057"/>
                  </a:lnTo>
                  <a:lnTo>
                    <a:pt x="429578" y="1584960"/>
                  </a:lnTo>
                  <a:lnTo>
                    <a:pt x="426720" y="1567815"/>
                  </a:lnTo>
                  <a:lnTo>
                    <a:pt x="396240" y="1538288"/>
                  </a:lnTo>
                  <a:lnTo>
                    <a:pt x="386715" y="1525905"/>
                  </a:lnTo>
                  <a:lnTo>
                    <a:pt x="386715" y="1516380"/>
                  </a:lnTo>
                  <a:lnTo>
                    <a:pt x="390525" y="1504950"/>
                  </a:lnTo>
                  <a:lnTo>
                    <a:pt x="393383" y="1491615"/>
                  </a:lnTo>
                  <a:lnTo>
                    <a:pt x="392430" y="1479232"/>
                  </a:lnTo>
                  <a:lnTo>
                    <a:pt x="383858" y="1443038"/>
                  </a:lnTo>
                  <a:lnTo>
                    <a:pt x="379095" y="1415415"/>
                  </a:lnTo>
                  <a:lnTo>
                    <a:pt x="382905" y="1393508"/>
                  </a:lnTo>
                  <a:lnTo>
                    <a:pt x="393383" y="1376363"/>
                  </a:lnTo>
                  <a:lnTo>
                    <a:pt x="432435" y="1349693"/>
                  </a:lnTo>
                  <a:lnTo>
                    <a:pt x="461010" y="1339215"/>
                  </a:lnTo>
                  <a:lnTo>
                    <a:pt x="507683" y="1312545"/>
                  </a:lnTo>
                  <a:lnTo>
                    <a:pt x="519113" y="1312545"/>
                  </a:lnTo>
                  <a:lnTo>
                    <a:pt x="527685" y="1323975"/>
                  </a:lnTo>
                  <a:lnTo>
                    <a:pt x="530543" y="1340168"/>
                  </a:lnTo>
                  <a:lnTo>
                    <a:pt x="531495" y="1404938"/>
                  </a:lnTo>
                  <a:lnTo>
                    <a:pt x="530543" y="1413510"/>
                  </a:lnTo>
                  <a:lnTo>
                    <a:pt x="526733" y="1421130"/>
                  </a:lnTo>
                  <a:lnTo>
                    <a:pt x="521970" y="1428750"/>
                  </a:lnTo>
                  <a:lnTo>
                    <a:pt x="518160" y="1435418"/>
                  </a:lnTo>
                  <a:lnTo>
                    <a:pt x="519113" y="1443990"/>
                  </a:lnTo>
                  <a:lnTo>
                    <a:pt x="527685" y="1451610"/>
                  </a:lnTo>
                  <a:lnTo>
                    <a:pt x="539115" y="1443990"/>
                  </a:lnTo>
                  <a:lnTo>
                    <a:pt x="558165" y="1423035"/>
                  </a:lnTo>
                  <a:lnTo>
                    <a:pt x="564833" y="1420178"/>
                  </a:lnTo>
                  <a:lnTo>
                    <a:pt x="568643" y="1422083"/>
                  </a:lnTo>
                  <a:lnTo>
                    <a:pt x="571500" y="1420178"/>
                  </a:lnTo>
                  <a:lnTo>
                    <a:pt x="574358" y="1410653"/>
                  </a:lnTo>
                  <a:lnTo>
                    <a:pt x="575310" y="1403985"/>
                  </a:lnTo>
                  <a:lnTo>
                    <a:pt x="572453" y="1388745"/>
                  </a:lnTo>
                  <a:lnTo>
                    <a:pt x="574358" y="1379220"/>
                  </a:lnTo>
                  <a:lnTo>
                    <a:pt x="583883" y="1363028"/>
                  </a:lnTo>
                  <a:lnTo>
                    <a:pt x="590550" y="1365885"/>
                  </a:lnTo>
                  <a:lnTo>
                    <a:pt x="602933" y="1392555"/>
                  </a:lnTo>
                  <a:lnTo>
                    <a:pt x="612458" y="1406843"/>
                  </a:lnTo>
                  <a:lnTo>
                    <a:pt x="619125" y="1405890"/>
                  </a:lnTo>
                  <a:lnTo>
                    <a:pt x="641985" y="1370648"/>
                  </a:lnTo>
                  <a:lnTo>
                    <a:pt x="652463" y="1360170"/>
                  </a:lnTo>
                  <a:lnTo>
                    <a:pt x="662940" y="1353503"/>
                  </a:lnTo>
                  <a:lnTo>
                    <a:pt x="675322" y="1355408"/>
                  </a:lnTo>
                  <a:lnTo>
                    <a:pt x="678180" y="1360170"/>
                  </a:lnTo>
                  <a:lnTo>
                    <a:pt x="679133" y="1365885"/>
                  </a:lnTo>
                  <a:lnTo>
                    <a:pt x="678180" y="1370648"/>
                  </a:lnTo>
                  <a:lnTo>
                    <a:pt x="672465" y="1382078"/>
                  </a:lnTo>
                  <a:lnTo>
                    <a:pt x="671513" y="1387793"/>
                  </a:lnTo>
                  <a:lnTo>
                    <a:pt x="672465" y="1393508"/>
                  </a:lnTo>
                  <a:lnTo>
                    <a:pt x="675322" y="1399223"/>
                  </a:lnTo>
                  <a:lnTo>
                    <a:pt x="682943" y="1403033"/>
                  </a:lnTo>
                  <a:lnTo>
                    <a:pt x="700088" y="1405890"/>
                  </a:lnTo>
                  <a:lnTo>
                    <a:pt x="707708" y="1408748"/>
                  </a:lnTo>
                  <a:lnTo>
                    <a:pt x="714375" y="1415415"/>
                  </a:lnTo>
                  <a:lnTo>
                    <a:pt x="721995" y="1432560"/>
                  </a:lnTo>
                  <a:lnTo>
                    <a:pt x="729615" y="1442085"/>
                  </a:lnTo>
                  <a:lnTo>
                    <a:pt x="737235" y="1446848"/>
                  </a:lnTo>
                  <a:lnTo>
                    <a:pt x="746760" y="1447800"/>
                  </a:lnTo>
                  <a:lnTo>
                    <a:pt x="755333" y="1444943"/>
                  </a:lnTo>
                  <a:lnTo>
                    <a:pt x="762000" y="1437323"/>
                  </a:lnTo>
                  <a:lnTo>
                    <a:pt x="765810" y="1424940"/>
                  </a:lnTo>
                  <a:lnTo>
                    <a:pt x="763905" y="1405890"/>
                  </a:lnTo>
                  <a:lnTo>
                    <a:pt x="766763" y="1401128"/>
                  </a:lnTo>
                  <a:lnTo>
                    <a:pt x="782003" y="1401128"/>
                  </a:lnTo>
                  <a:lnTo>
                    <a:pt x="792480" y="1397318"/>
                  </a:lnTo>
                  <a:lnTo>
                    <a:pt x="798195" y="1385888"/>
                  </a:lnTo>
                  <a:lnTo>
                    <a:pt x="798195" y="1363980"/>
                  </a:lnTo>
                  <a:lnTo>
                    <a:pt x="804863" y="1376363"/>
                  </a:lnTo>
                  <a:lnTo>
                    <a:pt x="832485" y="1402080"/>
                  </a:lnTo>
                  <a:lnTo>
                    <a:pt x="843915" y="1420178"/>
                  </a:lnTo>
                  <a:lnTo>
                    <a:pt x="846772" y="1425893"/>
                  </a:lnTo>
                  <a:lnTo>
                    <a:pt x="846772" y="1433513"/>
                  </a:lnTo>
                  <a:lnTo>
                    <a:pt x="846772" y="1447800"/>
                  </a:lnTo>
                  <a:lnTo>
                    <a:pt x="847725" y="1453515"/>
                  </a:lnTo>
                  <a:lnTo>
                    <a:pt x="858203" y="1464945"/>
                  </a:lnTo>
                  <a:lnTo>
                    <a:pt x="868680" y="1463040"/>
                  </a:lnTo>
                  <a:lnTo>
                    <a:pt x="888683" y="1445895"/>
                  </a:lnTo>
                  <a:lnTo>
                    <a:pt x="897255" y="1440180"/>
                  </a:lnTo>
                  <a:lnTo>
                    <a:pt x="905828" y="1439228"/>
                  </a:lnTo>
                  <a:lnTo>
                    <a:pt x="968693" y="1442085"/>
                  </a:lnTo>
                  <a:lnTo>
                    <a:pt x="991553" y="1438275"/>
                  </a:lnTo>
                  <a:lnTo>
                    <a:pt x="1005840" y="1424940"/>
                  </a:lnTo>
                  <a:lnTo>
                    <a:pt x="1018222" y="1401128"/>
                  </a:lnTo>
                  <a:lnTo>
                    <a:pt x="1011555" y="1396365"/>
                  </a:lnTo>
                  <a:lnTo>
                    <a:pt x="1002983" y="1395413"/>
                  </a:lnTo>
                  <a:lnTo>
                    <a:pt x="995363" y="1396365"/>
                  </a:lnTo>
                  <a:lnTo>
                    <a:pt x="989647" y="1401128"/>
                  </a:lnTo>
                  <a:lnTo>
                    <a:pt x="981075" y="1390650"/>
                  </a:lnTo>
                  <a:lnTo>
                    <a:pt x="956310" y="1371600"/>
                  </a:lnTo>
                  <a:lnTo>
                    <a:pt x="960120" y="1364933"/>
                  </a:lnTo>
                  <a:lnTo>
                    <a:pt x="954405" y="1351598"/>
                  </a:lnTo>
                  <a:lnTo>
                    <a:pt x="950595" y="1346835"/>
                  </a:lnTo>
                  <a:lnTo>
                    <a:pt x="946785" y="1343025"/>
                  </a:lnTo>
                  <a:lnTo>
                    <a:pt x="942975" y="1343025"/>
                  </a:lnTo>
                  <a:lnTo>
                    <a:pt x="937260" y="1346835"/>
                  </a:lnTo>
                  <a:lnTo>
                    <a:pt x="933450" y="1348740"/>
                  </a:lnTo>
                  <a:lnTo>
                    <a:pt x="931545" y="1346835"/>
                  </a:lnTo>
                  <a:lnTo>
                    <a:pt x="928688" y="1339215"/>
                  </a:lnTo>
                  <a:lnTo>
                    <a:pt x="927735" y="1337310"/>
                  </a:lnTo>
                  <a:lnTo>
                    <a:pt x="904875" y="1327785"/>
                  </a:lnTo>
                  <a:lnTo>
                    <a:pt x="897255" y="1318260"/>
                  </a:lnTo>
                  <a:lnTo>
                    <a:pt x="895350" y="1301115"/>
                  </a:lnTo>
                  <a:lnTo>
                    <a:pt x="904875" y="1300163"/>
                  </a:lnTo>
                  <a:lnTo>
                    <a:pt x="916305" y="1298258"/>
                  </a:lnTo>
                  <a:lnTo>
                    <a:pt x="922972" y="1281113"/>
                  </a:lnTo>
                  <a:lnTo>
                    <a:pt x="921068" y="1274445"/>
                  </a:lnTo>
                  <a:lnTo>
                    <a:pt x="914400" y="1258253"/>
                  </a:lnTo>
                  <a:lnTo>
                    <a:pt x="912495" y="1250633"/>
                  </a:lnTo>
                  <a:lnTo>
                    <a:pt x="913447" y="1240155"/>
                  </a:lnTo>
                  <a:lnTo>
                    <a:pt x="915353" y="1233488"/>
                  </a:lnTo>
                  <a:lnTo>
                    <a:pt x="917258" y="1225868"/>
                  </a:lnTo>
                  <a:lnTo>
                    <a:pt x="920115" y="1217295"/>
                  </a:lnTo>
                  <a:lnTo>
                    <a:pt x="923925" y="1169670"/>
                  </a:lnTo>
                  <a:lnTo>
                    <a:pt x="922972" y="1155383"/>
                  </a:lnTo>
                  <a:lnTo>
                    <a:pt x="921068" y="1149668"/>
                  </a:lnTo>
                  <a:lnTo>
                    <a:pt x="915353" y="1138238"/>
                  </a:lnTo>
                  <a:lnTo>
                    <a:pt x="913447" y="1132523"/>
                  </a:lnTo>
                  <a:lnTo>
                    <a:pt x="912495" y="1125855"/>
                  </a:lnTo>
                  <a:lnTo>
                    <a:pt x="912495" y="1108710"/>
                  </a:lnTo>
                  <a:lnTo>
                    <a:pt x="911543" y="1103948"/>
                  </a:lnTo>
                  <a:lnTo>
                    <a:pt x="905828" y="1101090"/>
                  </a:lnTo>
                  <a:lnTo>
                    <a:pt x="900113" y="1102995"/>
                  </a:lnTo>
                  <a:lnTo>
                    <a:pt x="895350" y="1106805"/>
                  </a:lnTo>
                  <a:lnTo>
                    <a:pt x="890588" y="1105853"/>
                  </a:lnTo>
                  <a:lnTo>
                    <a:pt x="888683" y="1102043"/>
                  </a:lnTo>
                  <a:lnTo>
                    <a:pt x="883920" y="1087755"/>
                  </a:lnTo>
                  <a:lnTo>
                    <a:pt x="882015" y="1082040"/>
                  </a:lnTo>
                  <a:lnTo>
                    <a:pt x="866775" y="1069658"/>
                  </a:lnTo>
                  <a:lnTo>
                    <a:pt x="851535" y="1067753"/>
                  </a:lnTo>
                  <a:lnTo>
                    <a:pt x="836295" y="1069658"/>
                  </a:lnTo>
                  <a:lnTo>
                    <a:pt x="819150" y="1066800"/>
                  </a:lnTo>
                  <a:lnTo>
                    <a:pt x="809625" y="1059180"/>
                  </a:lnTo>
                  <a:lnTo>
                    <a:pt x="797243" y="1039178"/>
                  </a:lnTo>
                  <a:lnTo>
                    <a:pt x="788670" y="1030605"/>
                  </a:lnTo>
                  <a:lnTo>
                    <a:pt x="781050" y="1027748"/>
                  </a:lnTo>
                  <a:lnTo>
                    <a:pt x="763905" y="1025843"/>
                  </a:lnTo>
                  <a:lnTo>
                    <a:pt x="755333" y="1022985"/>
                  </a:lnTo>
                  <a:lnTo>
                    <a:pt x="750570" y="1019175"/>
                  </a:lnTo>
                  <a:lnTo>
                    <a:pt x="741997" y="1009650"/>
                  </a:lnTo>
                  <a:lnTo>
                    <a:pt x="737235" y="1006793"/>
                  </a:lnTo>
                  <a:lnTo>
                    <a:pt x="723900" y="1008698"/>
                  </a:lnTo>
                  <a:lnTo>
                    <a:pt x="721043" y="1007745"/>
                  </a:lnTo>
                  <a:lnTo>
                    <a:pt x="716280" y="999173"/>
                  </a:lnTo>
                  <a:lnTo>
                    <a:pt x="717233" y="988695"/>
                  </a:lnTo>
                  <a:lnTo>
                    <a:pt x="720090" y="976313"/>
                  </a:lnTo>
                  <a:lnTo>
                    <a:pt x="723900" y="947738"/>
                  </a:lnTo>
                  <a:lnTo>
                    <a:pt x="729615" y="939165"/>
                  </a:lnTo>
                  <a:lnTo>
                    <a:pt x="735330" y="932498"/>
                  </a:lnTo>
                  <a:lnTo>
                    <a:pt x="740093" y="922020"/>
                  </a:lnTo>
                  <a:lnTo>
                    <a:pt x="739140" y="909638"/>
                  </a:lnTo>
                  <a:lnTo>
                    <a:pt x="735330" y="899160"/>
                  </a:lnTo>
                  <a:lnTo>
                    <a:pt x="729615" y="890588"/>
                  </a:lnTo>
                  <a:lnTo>
                    <a:pt x="721995" y="885825"/>
                  </a:lnTo>
                  <a:lnTo>
                    <a:pt x="712470" y="886778"/>
                  </a:lnTo>
                  <a:lnTo>
                    <a:pt x="706755" y="896303"/>
                  </a:lnTo>
                  <a:lnTo>
                    <a:pt x="701993" y="905828"/>
                  </a:lnTo>
                  <a:lnTo>
                    <a:pt x="696278" y="910590"/>
                  </a:lnTo>
                  <a:lnTo>
                    <a:pt x="691515" y="905828"/>
                  </a:lnTo>
                  <a:lnTo>
                    <a:pt x="675322" y="875348"/>
                  </a:lnTo>
                  <a:lnTo>
                    <a:pt x="673418" y="870585"/>
                  </a:lnTo>
                  <a:lnTo>
                    <a:pt x="674370" y="868680"/>
                  </a:lnTo>
                  <a:lnTo>
                    <a:pt x="675322" y="865823"/>
                  </a:lnTo>
                  <a:lnTo>
                    <a:pt x="689610" y="864870"/>
                  </a:lnTo>
                  <a:lnTo>
                    <a:pt x="701040" y="861060"/>
                  </a:lnTo>
                  <a:lnTo>
                    <a:pt x="708660" y="852488"/>
                  </a:lnTo>
                  <a:lnTo>
                    <a:pt x="712470" y="832485"/>
                  </a:lnTo>
                  <a:lnTo>
                    <a:pt x="706755" y="792480"/>
                  </a:lnTo>
                  <a:lnTo>
                    <a:pt x="708660" y="775335"/>
                  </a:lnTo>
                  <a:lnTo>
                    <a:pt x="721995" y="768668"/>
                  </a:lnTo>
                  <a:lnTo>
                    <a:pt x="727710" y="755333"/>
                  </a:lnTo>
                  <a:lnTo>
                    <a:pt x="727710" y="737235"/>
                  </a:lnTo>
                  <a:lnTo>
                    <a:pt x="721995" y="719138"/>
                  </a:lnTo>
                  <a:lnTo>
                    <a:pt x="715328" y="705803"/>
                  </a:lnTo>
                  <a:lnTo>
                    <a:pt x="706755" y="697230"/>
                  </a:lnTo>
                  <a:lnTo>
                    <a:pt x="696278" y="694373"/>
                  </a:lnTo>
                  <a:lnTo>
                    <a:pt x="685800" y="693420"/>
                  </a:lnTo>
                  <a:lnTo>
                    <a:pt x="675322" y="694373"/>
                  </a:lnTo>
                  <a:lnTo>
                    <a:pt x="669608" y="706755"/>
                  </a:lnTo>
                  <a:lnTo>
                    <a:pt x="667703" y="718185"/>
                  </a:lnTo>
                  <a:lnTo>
                    <a:pt x="663893" y="729615"/>
                  </a:lnTo>
                  <a:lnTo>
                    <a:pt x="654368" y="738188"/>
                  </a:lnTo>
                  <a:lnTo>
                    <a:pt x="645795" y="741045"/>
                  </a:lnTo>
                  <a:lnTo>
                    <a:pt x="638175" y="740093"/>
                  </a:lnTo>
                  <a:lnTo>
                    <a:pt x="629603" y="736283"/>
                  </a:lnTo>
                  <a:lnTo>
                    <a:pt x="622935" y="729615"/>
                  </a:lnTo>
                  <a:lnTo>
                    <a:pt x="615315" y="718185"/>
                  </a:lnTo>
                  <a:lnTo>
                    <a:pt x="614363" y="706755"/>
                  </a:lnTo>
                  <a:lnTo>
                    <a:pt x="613410" y="695325"/>
                  </a:lnTo>
                  <a:lnTo>
                    <a:pt x="611505" y="682943"/>
                  </a:lnTo>
                  <a:lnTo>
                    <a:pt x="603885" y="673418"/>
                  </a:lnTo>
                  <a:lnTo>
                    <a:pt x="596265" y="669608"/>
                  </a:lnTo>
                  <a:lnTo>
                    <a:pt x="587693" y="667703"/>
                  </a:lnTo>
                  <a:lnTo>
                    <a:pt x="580072" y="663893"/>
                  </a:lnTo>
                  <a:lnTo>
                    <a:pt x="576263" y="655320"/>
                  </a:lnTo>
                  <a:lnTo>
                    <a:pt x="573405" y="645795"/>
                  </a:lnTo>
                  <a:lnTo>
                    <a:pt x="570547" y="637223"/>
                  </a:lnTo>
                  <a:lnTo>
                    <a:pt x="554355" y="626745"/>
                  </a:lnTo>
                  <a:lnTo>
                    <a:pt x="544830" y="610553"/>
                  </a:lnTo>
                  <a:lnTo>
                    <a:pt x="537210" y="605790"/>
                  </a:lnTo>
                  <a:lnTo>
                    <a:pt x="528638" y="610553"/>
                  </a:lnTo>
                  <a:lnTo>
                    <a:pt x="522922" y="618173"/>
                  </a:lnTo>
                  <a:lnTo>
                    <a:pt x="518160" y="622935"/>
                  </a:lnTo>
                  <a:lnTo>
                    <a:pt x="508635" y="615315"/>
                  </a:lnTo>
                  <a:lnTo>
                    <a:pt x="503872" y="607695"/>
                  </a:lnTo>
                  <a:lnTo>
                    <a:pt x="495300" y="583883"/>
                  </a:lnTo>
                  <a:lnTo>
                    <a:pt x="490538" y="573405"/>
                  </a:lnTo>
                  <a:lnTo>
                    <a:pt x="483870" y="541973"/>
                  </a:lnTo>
                  <a:lnTo>
                    <a:pt x="490538" y="521970"/>
                  </a:lnTo>
                  <a:lnTo>
                    <a:pt x="503872" y="503873"/>
                  </a:lnTo>
                  <a:lnTo>
                    <a:pt x="518160" y="480060"/>
                  </a:lnTo>
                  <a:lnTo>
                    <a:pt x="522922" y="450533"/>
                  </a:lnTo>
                  <a:lnTo>
                    <a:pt x="522922" y="422910"/>
                  </a:lnTo>
                  <a:lnTo>
                    <a:pt x="525780" y="398145"/>
                  </a:lnTo>
                  <a:lnTo>
                    <a:pt x="541020" y="378143"/>
                  </a:lnTo>
                  <a:lnTo>
                    <a:pt x="547688" y="367665"/>
                  </a:lnTo>
                  <a:lnTo>
                    <a:pt x="545783" y="359093"/>
                  </a:lnTo>
                  <a:lnTo>
                    <a:pt x="539115" y="353378"/>
                  </a:lnTo>
                  <a:lnTo>
                    <a:pt x="521018" y="346710"/>
                  </a:lnTo>
                  <a:lnTo>
                    <a:pt x="515303" y="341948"/>
                  </a:lnTo>
                  <a:lnTo>
                    <a:pt x="515303" y="333375"/>
                  </a:lnTo>
                  <a:lnTo>
                    <a:pt x="520065" y="319088"/>
                  </a:lnTo>
                  <a:lnTo>
                    <a:pt x="526733" y="310515"/>
                  </a:lnTo>
                  <a:lnTo>
                    <a:pt x="536258" y="300038"/>
                  </a:lnTo>
                  <a:lnTo>
                    <a:pt x="544830" y="288608"/>
                  </a:lnTo>
                  <a:lnTo>
                    <a:pt x="545783" y="278130"/>
                  </a:lnTo>
                  <a:lnTo>
                    <a:pt x="541020" y="274320"/>
                  </a:lnTo>
                  <a:lnTo>
                    <a:pt x="520065" y="267653"/>
                  </a:lnTo>
                  <a:lnTo>
                    <a:pt x="512445" y="261938"/>
                  </a:lnTo>
                  <a:lnTo>
                    <a:pt x="508635" y="250508"/>
                  </a:lnTo>
                  <a:lnTo>
                    <a:pt x="503872" y="223838"/>
                  </a:lnTo>
                  <a:lnTo>
                    <a:pt x="500063" y="211455"/>
                  </a:lnTo>
                  <a:lnTo>
                    <a:pt x="493395" y="200978"/>
                  </a:lnTo>
                  <a:lnTo>
                    <a:pt x="486728" y="195263"/>
                  </a:lnTo>
                  <a:lnTo>
                    <a:pt x="480060" y="192405"/>
                  </a:lnTo>
                  <a:lnTo>
                    <a:pt x="470535" y="191453"/>
                  </a:lnTo>
                  <a:lnTo>
                    <a:pt x="454343" y="200025"/>
                  </a:lnTo>
                  <a:lnTo>
                    <a:pt x="430530" y="230505"/>
                  </a:lnTo>
                  <a:lnTo>
                    <a:pt x="411480" y="234315"/>
                  </a:lnTo>
                  <a:lnTo>
                    <a:pt x="395288" y="227648"/>
                  </a:lnTo>
                  <a:lnTo>
                    <a:pt x="377190" y="213360"/>
                  </a:lnTo>
                  <a:lnTo>
                    <a:pt x="360045" y="194310"/>
                  </a:lnTo>
                  <a:lnTo>
                    <a:pt x="348615" y="175260"/>
                  </a:lnTo>
                  <a:lnTo>
                    <a:pt x="358140" y="167640"/>
                  </a:lnTo>
                  <a:lnTo>
                    <a:pt x="402908" y="147638"/>
                  </a:lnTo>
                  <a:lnTo>
                    <a:pt x="414338" y="140018"/>
                  </a:lnTo>
                  <a:lnTo>
                    <a:pt x="420053" y="131445"/>
                  </a:lnTo>
                  <a:lnTo>
                    <a:pt x="426720" y="123825"/>
                  </a:lnTo>
                  <a:lnTo>
                    <a:pt x="431483" y="120015"/>
                  </a:lnTo>
                  <a:lnTo>
                    <a:pt x="440055" y="115253"/>
                  </a:lnTo>
                  <a:lnTo>
                    <a:pt x="445770" y="110490"/>
                  </a:lnTo>
                  <a:lnTo>
                    <a:pt x="447675" y="108585"/>
                  </a:lnTo>
                  <a:lnTo>
                    <a:pt x="448628" y="105728"/>
                  </a:lnTo>
                  <a:lnTo>
                    <a:pt x="447675" y="100013"/>
                  </a:lnTo>
                  <a:lnTo>
                    <a:pt x="443865" y="80010"/>
                  </a:lnTo>
                  <a:lnTo>
                    <a:pt x="443865" y="75248"/>
                  </a:lnTo>
                  <a:lnTo>
                    <a:pt x="443865" y="72390"/>
                  </a:lnTo>
                  <a:lnTo>
                    <a:pt x="445770" y="69533"/>
                  </a:lnTo>
                  <a:lnTo>
                    <a:pt x="447675" y="68580"/>
                  </a:lnTo>
                  <a:lnTo>
                    <a:pt x="462915" y="61913"/>
                  </a:lnTo>
                  <a:lnTo>
                    <a:pt x="467678" y="60960"/>
                  </a:lnTo>
                  <a:lnTo>
                    <a:pt x="470535" y="60960"/>
                  </a:lnTo>
                  <a:lnTo>
                    <a:pt x="476250" y="62865"/>
                  </a:lnTo>
                  <a:lnTo>
                    <a:pt x="479108" y="64770"/>
                  </a:lnTo>
                  <a:lnTo>
                    <a:pt x="483870" y="68580"/>
                  </a:lnTo>
                  <a:lnTo>
                    <a:pt x="493395" y="77153"/>
                  </a:lnTo>
                  <a:lnTo>
                    <a:pt x="500063" y="81915"/>
                  </a:lnTo>
                  <a:lnTo>
                    <a:pt x="501968" y="83820"/>
                  </a:lnTo>
                  <a:lnTo>
                    <a:pt x="506730" y="89535"/>
                  </a:lnTo>
                  <a:lnTo>
                    <a:pt x="511493" y="92393"/>
                  </a:lnTo>
                  <a:lnTo>
                    <a:pt x="539115" y="103823"/>
                  </a:lnTo>
                  <a:lnTo>
                    <a:pt x="548640" y="108585"/>
                  </a:lnTo>
                  <a:lnTo>
                    <a:pt x="551497" y="109538"/>
                  </a:lnTo>
                  <a:lnTo>
                    <a:pt x="600075" y="107633"/>
                  </a:lnTo>
                  <a:lnTo>
                    <a:pt x="650558" y="86678"/>
                  </a:lnTo>
                  <a:lnTo>
                    <a:pt x="659130" y="86678"/>
                  </a:lnTo>
                  <a:lnTo>
                    <a:pt x="663893" y="90488"/>
                  </a:lnTo>
                  <a:lnTo>
                    <a:pt x="683895" y="102870"/>
                  </a:lnTo>
                  <a:lnTo>
                    <a:pt x="690563" y="104775"/>
                  </a:lnTo>
                  <a:lnTo>
                    <a:pt x="730568" y="107633"/>
                  </a:lnTo>
                  <a:lnTo>
                    <a:pt x="760095" y="104775"/>
                  </a:lnTo>
                  <a:lnTo>
                    <a:pt x="764858" y="102870"/>
                  </a:lnTo>
                  <a:lnTo>
                    <a:pt x="767715" y="101918"/>
                  </a:lnTo>
                  <a:lnTo>
                    <a:pt x="770572" y="102870"/>
                  </a:lnTo>
                  <a:lnTo>
                    <a:pt x="775335" y="104775"/>
                  </a:lnTo>
                  <a:lnTo>
                    <a:pt x="778193" y="104775"/>
                  </a:lnTo>
                  <a:lnTo>
                    <a:pt x="780097" y="102870"/>
                  </a:lnTo>
                  <a:lnTo>
                    <a:pt x="788670" y="77153"/>
                  </a:lnTo>
                  <a:lnTo>
                    <a:pt x="789622" y="72390"/>
                  </a:lnTo>
                  <a:lnTo>
                    <a:pt x="789622" y="68580"/>
                  </a:lnTo>
                  <a:lnTo>
                    <a:pt x="786765" y="63818"/>
                  </a:lnTo>
                  <a:lnTo>
                    <a:pt x="776288" y="49530"/>
                  </a:lnTo>
                  <a:lnTo>
                    <a:pt x="773430" y="44768"/>
                  </a:lnTo>
                  <a:lnTo>
                    <a:pt x="772478" y="42863"/>
                  </a:lnTo>
                  <a:lnTo>
                    <a:pt x="773430" y="39053"/>
                  </a:lnTo>
                  <a:lnTo>
                    <a:pt x="775335" y="36195"/>
                  </a:lnTo>
                  <a:lnTo>
                    <a:pt x="782003" y="32385"/>
                  </a:lnTo>
                  <a:lnTo>
                    <a:pt x="786765" y="33338"/>
                  </a:lnTo>
                  <a:lnTo>
                    <a:pt x="790575" y="34290"/>
                  </a:lnTo>
                  <a:lnTo>
                    <a:pt x="795338" y="33338"/>
                  </a:lnTo>
                  <a:lnTo>
                    <a:pt x="800100" y="32385"/>
                  </a:lnTo>
                  <a:lnTo>
                    <a:pt x="830580" y="15240"/>
                  </a:lnTo>
                  <a:lnTo>
                    <a:pt x="843915" y="13335"/>
                  </a:lnTo>
                  <a:lnTo>
                    <a:pt x="852488" y="9525"/>
                  </a:lnTo>
                  <a:lnTo>
                    <a:pt x="854393" y="9525"/>
                  </a:lnTo>
                  <a:lnTo>
                    <a:pt x="857250" y="10478"/>
                  </a:lnTo>
                  <a:lnTo>
                    <a:pt x="860108" y="11430"/>
                  </a:lnTo>
                  <a:lnTo>
                    <a:pt x="869633" y="19050"/>
                  </a:lnTo>
                  <a:lnTo>
                    <a:pt x="879158" y="31433"/>
                  </a:lnTo>
                  <a:lnTo>
                    <a:pt x="882015" y="33338"/>
                  </a:lnTo>
                  <a:lnTo>
                    <a:pt x="883920" y="34290"/>
                  </a:lnTo>
                  <a:lnTo>
                    <a:pt x="886778" y="34290"/>
                  </a:lnTo>
                  <a:lnTo>
                    <a:pt x="889635" y="32385"/>
                  </a:lnTo>
                  <a:lnTo>
                    <a:pt x="892493" y="29528"/>
                  </a:lnTo>
                  <a:lnTo>
                    <a:pt x="903922" y="7620"/>
                  </a:lnTo>
                  <a:lnTo>
                    <a:pt x="907733" y="2858"/>
                  </a:lnTo>
                  <a:lnTo>
                    <a:pt x="908685" y="953"/>
                  </a:lnTo>
                  <a:lnTo>
                    <a:pt x="911543" y="0"/>
                  </a:lnTo>
                  <a:lnTo>
                    <a:pt x="915353" y="953"/>
                  </a:lnTo>
                  <a:lnTo>
                    <a:pt x="922020" y="7620"/>
                  </a:lnTo>
                  <a:lnTo>
                    <a:pt x="924878" y="10478"/>
                  </a:lnTo>
                  <a:lnTo>
                    <a:pt x="927735" y="10478"/>
                  </a:lnTo>
                  <a:lnTo>
                    <a:pt x="932497" y="9525"/>
                  </a:lnTo>
                  <a:lnTo>
                    <a:pt x="939165" y="4763"/>
                  </a:lnTo>
                  <a:lnTo>
                    <a:pt x="947738" y="1905"/>
                  </a:lnTo>
                  <a:lnTo>
                    <a:pt x="956310" y="19050"/>
                  </a:lnTo>
                  <a:lnTo>
                    <a:pt x="963930" y="38100"/>
                  </a:lnTo>
                  <a:lnTo>
                    <a:pt x="974408" y="53340"/>
                  </a:lnTo>
                  <a:lnTo>
                    <a:pt x="993458" y="62865"/>
                  </a:lnTo>
                  <a:lnTo>
                    <a:pt x="1103948" y="68580"/>
                  </a:lnTo>
                  <a:close/>
                  <a:moveTo>
                    <a:pt x="1017270" y="1438275"/>
                  </a:moveTo>
                  <a:lnTo>
                    <a:pt x="1010603" y="1450657"/>
                  </a:lnTo>
                  <a:lnTo>
                    <a:pt x="1009650" y="1456373"/>
                  </a:lnTo>
                  <a:lnTo>
                    <a:pt x="1007745" y="1461135"/>
                  </a:lnTo>
                  <a:lnTo>
                    <a:pt x="1006793" y="1465898"/>
                  </a:lnTo>
                  <a:lnTo>
                    <a:pt x="1007745" y="1474470"/>
                  </a:lnTo>
                  <a:lnTo>
                    <a:pt x="1009650" y="1479232"/>
                  </a:lnTo>
                  <a:lnTo>
                    <a:pt x="1015365" y="1491615"/>
                  </a:lnTo>
                  <a:lnTo>
                    <a:pt x="1050608" y="1531620"/>
                  </a:lnTo>
                  <a:lnTo>
                    <a:pt x="1060133" y="1536382"/>
                  </a:lnTo>
                  <a:lnTo>
                    <a:pt x="1071563" y="1538288"/>
                  </a:lnTo>
                  <a:lnTo>
                    <a:pt x="1108710" y="1553528"/>
                  </a:lnTo>
                  <a:lnTo>
                    <a:pt x="1128713" y="1569720"/>
                  </a:lnTo>
                  <a:lnTo>
                    <a:pt x="1142048" y="1589723"/>
                  </a:lnTo>
                  <a:lnTo>
                    <a:pt x="1172528" y="1654493"/>
                  </a:lnTo>
                  <a:lnTo>
                    <a:pt x="1176338" y="1660207"/>
                  </a:lnTo>
                  <a:lnTo>
                    <a:pt x="1183005" y="1662113"/>
                  </a:lnTo>
                  <a:lnTo>
                    <a:pt x="1186815" y="1660207"/>
                  </a:lnTo>
                  <a:lnTo>
                    <a:pt x="1200150" y="1647825"/>
                  </a:lnTo>
                  <a:lnTo>
                    <a:pt x="1202055" y="1644015"/>
                  </a:lnTo>
                  <a:lnTo>
                    <a:pt x="1203960" y="1640205"/>
                  </a:lnTo>
                  <a:lnTo>
                    <a:pt x="1207770" y="1634490"/>
                  </a:lnTo>
                  <a:lnTo>
                    <a:pt x="1211580" y="1628775"/>
                  </a:lnTo>
                  <a:lnTo>
                    <a:pt x="1213485" y="1620203"/>
                  </a:lnTo>
                  <a:lnTo>
                    <a:pt x="1213485" y="1614488"/>
                  </a:lnTo>
                  <a:lnTo>
                    <a:pt x="1211580" y="1612582"/>
                  </a:lnTo>
                  <a:lnTo>
                    <a:pt x="1207770" y="1609725"/>
                  </a:lnTo>
                  <a:lnTo>
                    <a:pt x="1202055" y="1604963"/>
                  </a:lnTo>
                  <a:lnTo>
                    <a:pt x="1171575" y="1575435"/>
                  </a:lnTo>
                  <a:lnTo>
                    <a:pt x="1166813" y="1565910"/>
                  </a:lnTo>
                  <a:lnTo>
                    <a:pt x="1167765" y="1559243"/>
                  </a:lnTo>
                  <a:lnTo>
                    <a:pt x="1169670" y="1548765"/>
                  </a:lnTo>
                  <a:lnTo>
                    <a:pt x="1169670" y="1542098"/>
                  </a:lnTo>
                  <a:lnTo>
                    <a:pt x="1167765" y="1534478"/>
                  </a:lnTo>
                  <a:lnTo>
                    <a:pt x="1166813" y="1529715"/>
                  </a:lnTo>
                  <a:lnTo>
                    <a:pt x="1163955" y="1525905"/>
                  </a:lnTo>
                  <a:lnTo>
                    <a:pt x="1159193" y="1521143"/>
                  </a:lnTo>
                  <a:lnTo>
                    <a:pt x="1127760" y="1503045"/>
                  </a:lnTo>
                  <a:lnTo>
                    <a:pt x="1122998" y="1492568"/>
                  </a:lnTo>
                  <a:lnTo>
                    <a:pt x="1122998" y="1477328"/>
                  </a:lnTo>
                  <a:lnTo>
                    <a:pt x="1121093" y="1462088"/>
                  </a:lnTo>
                  <a:lnTo>
                    <a:pt x="1118235" y="1447800"/>
                  </a:lnTo>
                  <a:lnTo>
                    <a:pt x="1112520" y="1438275"/>
                  </a:lnTo>
                  <a:lnTo>
                    <a:pt x="1109663" y="1456373"/>
                  </a:lnTo>
                  <a:lnTo>
                    <a:pt x="1107758" y="1475423"/>
                  </a:lnTo>
                  <a:lnTo>
                    <a:pt x="1104900" y="1486853"/>
                  </a:lnTo>
                  <a:lnTo>
                    <a:pt x="1094423" y="1484948"/>
                  </a:lnTo>
                  <a:lnTo>
                    <a:pt x="1085850" y="1476375"/>
                  </a:lnTo>
                  <a:lnTo>
                    <a:pt x="1077278" y="1463040"/>
                  </a:lnTo>
                  <a:lnTo>
                    <a:pt x="1072515" y="1446848"/>
                  </a:lnTo>
                  <a:lnTo>
                    <a:pt x="1076325" y="1432560"/>
                  </a:lnTo>
                  <a:lnTo>
                    <a:pt x="1073468" y="1427798"/>
                  </a:lnTo>
                  <a:lnTo>
                    <a:pt x="1069658" y="1423988"/>
                  </a:lnTo>
                  <a:lnTo>
                    <a:pt x="1063943" y="1421130"/>
                  </a:lnTo>
                  <a:lnTo>
                    <a:pt x="1058228" y="1421130"/>
                  </a:lnTo>
                  <a:lnTo>
                    <a:pt x="1017270" y="143827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2" name="Полилиния: фигура 18">
              <a:extLst>
                <a:ext uri="{FF2B5EF4-FFF2-40B4-BE49-F238E27FC236}">
                  <a16:creationId xmlns:a16="http://schemas.microsoft.com/office/drawing/2014/main" id="{E1F8507C-76AF-B667-C1CB-E627EEA88D9F}"/>
                </a:ext>
              </a:extLst>
            </p:cNvPr>
            <p:cNvSpPr/>
            <p:nvPr/>
          </p:nvSpPr>
          <p:spPr>
            <a:xfrm>
              <a:off x="4105275" y="2339340"/>
              <a:ext cx="1419225" cy="1504950"/>
            </a:xfrm>
            <a:custGeom>
              <a:avLst/>
              <a:gdLst>
                <a:gd name="connsiteX0" fmla="*/ 1094423 w 1419225"/>
                <a:gd name="connsiteY0" fmla="*/ 188595 h 1504950"/>
                <a:gd name="connsiteX1" fmla="*/ 1121093 w 1419225"/>
                <a:gd name="connsiteY1" fmla="*/ 192405 h 1504950"/>
                <a:gd name="connsiteX2" fmla="*/ 1123950 w 1419225"/>
                <a:gd name="connsiteY2" fmla="*/ 194310 h 1504950"/>
                <a:gd name="connsiteX3" fmla="*/ 1128713 w 1419225"/>
                <a:gd name="connsiteY3" fmla="*/ 197167 h 1504950"/>
                <a:gd name="connsiteX4" fmla="*/ 1129665 w 1419225"/>
                <a:gd name="connsiteY4" fmla="*/ 200025 h 1504950"/>
                <a:gd name="connsiteX5" fmla="*/ 1130618 w 1419225"/>
                <a:gd name="connsiteY5" fmla="*/ 202882 h 1504950"/>
                <a:gd name="connsiteX6" fmla="*/ 1129665 w 1419225"/>
                <a:gd name="connsiteY6" fmla="*/ 208597 h 1504950"/>
                <a:gd name="connsiteX7" fmla="*/ 1127760 w 1419225"/>
                <a:gd name="connsiteY7" fmla="*/ 216217 h 1504950"/>
                <a:gd name="connsiteX8" fmla="*/ 1122045 w 1419225"/>
                <a:gd name="connsiteY8" fmla="*/ 226695 h 1504950"/>
                <a:gd name="connsiteX9" fmla="*/ 1121093 w 1419225"/>
                <a:gd name="connsiteY9" fmla="*/ 229552 h 1504950"/>
                <a:gd name="connsiteX10" fmla="*/ 1120140 w 1419225"/>
                <a:gd name="connsiteY10" fmla="*/ 236220 h 1504950"/>
                <a:gd name="connsiteX11" fmla="*/ 1120140 w 1419225"/>
                <a:gd name="connsiteY11" fmla="*/ 242888 h 1504950"/>
                <a:gd name="connsiteX12" fmla="*/ 1121093 w 1419225"/>
                <a:gd name="connsiteY12" fmla="*/ 251460 h 1504950"/>
                <a:gd name="connsiteX13" fmla="*/ 1122045 w 1419225"/>
                <a:gd name="connsiteY13" fmla="*/ 255270 h 1504950"/>
                <a:gd name="connsiteX14" fmla="*/ 1123950 w 1419225"/>
                <a:gd name="connsiteY14" fmla="*/ 260032 h 1504950"/>
                <a:gd name="connsiteX15" fmla="*/ 1127760 w 1419225"/>
                <a:gd name="connsiteY15" fmla="*/ 265747 h 1504950"/>
                <a:gd name="connsiteX16" fmla="*/ 1131570 w 1419225"/>
                <a:gd name="connsiteY16" fmla="*/ 269557 h 1504950"/>
                <a:gd name="connsiteX17" fmla="*/ 1134428 w 1419225"/>
                <a:gd name="connsiteY17" fmla="*/ 271463 h 1504950"/>
                <a:gd name="connsiteX18" fmla="*/ 1155382 w 1419225"/>
                <a:gd name="connsiteY18" fmla="*/ 281940 h 1504950"/>
                <a:gd name="connsiteX19" fmla="*/ 1157288 w 1419225"/>
                <a:gd name="connsiteY19" fmla="*/ 284797 h 1504950"/>
                <a:gd name="connsiteX20" fmla="*/ 1158240 w 1419225"/>
                <a:gd name="connsiteY20" fmla="*/ 288607 h 1504950"/>
                <a:gd name="connsiteX21" fmla="*/ 1158240 w 1419225"/>
                <a:gd name="connsiteY21" fmla="*/ 294322 h 1504950"/>
                <a:gd name="connsiteX22" fmla="*/ 1157288 w 1419225"/>
                <a:gd name="connsiteY22" fmla="*/ 303847 h 1504950"/>
                <a:gd name="connsiteX23" fmla="*/ 1155382 w 1419225"/>
                <a:gd name="connsiteY23" fmla="*/ 307657 h 1504950"/>
                <a:gd name="connsiteX24" fmla="*/ 1151573 w 1419225"/>
                <a:gd name="connsiteY24" fmla="*/ 310515 h 1504950"/>
                <a:gd name="connsiteX25" fmla="*/ 1147763 w 1419225"/>
                <a:gd name="connsiteY25" fmla="*/ 312420 h 1504950"/>
                <a:gd name="connsiteX26" fmla="*/ 1144905 w 1419225"/>
                <a:gd name="connsiteY26" fmla="*/ 315277 h 1504950"/>
                <a:gd name="connsiteX27" fmla="*/ 1143953 w 1419225"/>
                <a:gd name="connsiteY27" fmla="*/ 318135 h 1504950"/>
                <a:gd name="connsiteX28" fmla="*/ 1143953 w 1419225"/>
                <a:gd name="connsiteY28" fmla="*/ 320992 h 1504950"/>
                <a:gd name="connsiteX29" fmla="*/ 1145857 w 1419225"/>
                <a:gd name="connsiteY29" fmla="*/ 325755 h 1504950"/>
                <a:gd name="connsiteX30" fmla="*/ 1157288 w 1419225"/>
                <a:gd name="connsiteY30" fmla="*/ 350520 h 1504950"/>
                <a:gd name="connsiteX31" fmla="*/ 1159193 w 1419225"/>
                <a:gd name="connsiteY31" fmla="*/ 357188 h 1504950"/>
                <a:gd name="connsiteX32" fmla="*/ 1159193 w 1419225"/>
                <a:gd name="connsiteY32" fmla="*/ 367665 h 1504950"/>
                <a:gd name="connsiteX33" fmla="*/ 1159193 w 1419225"/>
                <a:gd name="connsiteY33" fmla="*/ 374332 h 1504950"/>
                <a:gd name="connsiteX34" fmla="*/ 1156335 w 1419225"/>
                <a:gd name="connsiteY34" fmla="*/ 380047 h 1504950"/>
                <a:gd name="connsiteX35" fmla="*/ 1154430 w 1419225"/>
                <a:gd name="connsiteY35" fmla="*/ 381953 h 1504950"/>
                <a:gd name="connsiteX36" fmla="*/ 1128713 w 1419225"/>
                <a:gd name="connsiteY36" fmla="*/ 399097 h 1504950"/>
                <a:gd name="connsiteX37" fmla="*/ 1124903 w 1419225"/>
                <a:gd name="connsiteY37" fmla="*/ 402907 h 1504950"/>
                <a:gd name="connsiteX38" fmla="*/ 1122998 w 1419225"/>
                <a:gd name="connsiteY38" fmla="*/ 406717 h 1504950"/>
                <a:gd name="connsiteX39" fmla="*/ 1122045 w 1419225"/>
                <a:gd name="connsiteY39" fmla="*/ 412432 h 1504950"/>
                <a:gd name="connsiteX40" fmla="*/ 1122998 w 1419225"/>
                <a:gd name="connsiteY40" fmla="*/ 420053 h 1504950"/>
                <a:gd name="connsiteX41" fmla="*/ 1130618 w 1419225"/>
                <a:gd name="connsiteY41" fmla="*/ 435292 h 1504950"/>
                <a:gd name="connsiteX42" fmla="*/ 1132523 w 1419225"/>
                <a:gd name="connsiteY42" fmla="*/ 441007 h 1504950"/>
                <a:gd name="connsiteX43" fmla="*/ 1134428 w 1419225"/>
                <a:gd name="connsiteY43" fmla="*/ 445770 h 1504950"/>
                <a:gd name="connsiteX44" fmla="*/ 1134428 w 1419225"/>
                <a:gd name="connsiteY44" fmla="*/ 452438 h 1504950"/>
                <a:gd name="connsiteX45" fmla="*/ 1136332 w 1419225"/>
                <a:gd name="connsiteY45" fmla="*/ 455295 h 1504950"/>
                <a:gd name="connsiteX46" fmla="*/ 1139190 w 1419225"/>
                <a:gd name="connsiteY46" fmla="*/ 459105 h 1504950"/>
                <a:gd name="connsiteX47" fmla="*/ 1146810 w 1419225"/>
                <a:gd name="connsiteY47" fmla="*/ 462915 h 1504950"/>
                <a:gd name="connsiteX48" fmla="*/ 1152525 w 1419225"/>
                <a:gd name="connsiteY48" fmla="*/ 464820 h 1504950"/>
                <a:gd name="connsiteX49" fmla="*/ 1167765 w 1419225"/>
                <a:gd name="connsiteY49" fmla="*/ 466725 h 1504950"/>
                <a:gd name="connsiteX50" fmla="*/ 1169670 w 1419225"/>
                <a:gd name="connsiteY50" fmla="*/ 467678 h 1504950"/>
                <a:gd name="connsiteX51" fmla="*/ 1171575 w 1419225"/>
                <a:gd name="connsiteY51" fmla="*/ 470535 h 1504950"/>
                <a:gd name="connsiteX52" fmla="*/ 1174432 w 1419225"/>
                <a:gd name="connsiteY52" fmla="*/ 473392 h 1504950"/>
                <a:gd name="connsiteX53" fmla="*/ 1181100 w 1419225"/>
                <a:gd name="connsiteY53" fmla="*/ 489585 h 1504950"/>
                <a:gd name="connsiteX54" fmla="*/ 1190625 w 1419225"/>
                <a:gd name="connsiteY54" fmla="*/ 503872 h 1504950"/>
                <a:gd name="connsiteX55" fmla="*/ 1194435 w 1419225"/>
                <a:gd name="connsiteY55" fmla="*/ 511492 h 1504950"/>
                <a:gd name="connsiteX56" fmla="*/ 1195388 w 1419225"/>
                <a:gd name="connsiteY56" fmla="*/ 515303 h 1504950"/>
                <a:gd name="connsiteX57" fmla="*/ 1197293 w 1419225"/>
                <a:gd name="connsiteY57" fmla="*/ 517207 h 1504950"/>
                <a:gd name="connsiteX58" fmla="*/ 1201103 w 1419225"/>
                <a:gd name="connsiteY58" fmla="*/ 519113 h 1504950"/>
                <a:gd name="connsiteX59" fmla="*/ 1207770 w 1419225"/>
                <a:gd name="connsiteY59" fmla="*/ 519113 h 1504950"/>
                <a:gd name="connsiteX60" fmla="*/ 1216343 w 1419225"/>
                <a:gd name="connsiteY60" fmla="*/ 518160 h 1504950"/>
                <a:gd name="connsiteX61" fmla="*/ 1222057 w 1419225"/>
                <a:gd name="connsiteY61" fmla="*/ 521017 h 1504950"/>
                <a:gd name="connsiteX62" fmla="*/ 1226820 w 1419225"/>
                <a:gd name="connsiteY62" fmla="*/ 532447 h 1504950"/>
                <a:gd name="connsiteX63" fmla="*/ 1214438 w 1419225"/>
                <a:gd name="connsiteY63" fmla="*/ 545782 h 1504950"/>
                <a:gd name="connsiteX64" fmla="*/ 1214438 w 1419225"/>
                <a:gd name="connsiteY64" fmla="*/ 552450 h 1504950"/>
                <a:gd name="connsiteX65" fmla="*/ 1217295 w 1419225"/>
                <a:gd name="connsiteY65" fmla="*/ 553403 h 1504950"/>
                <a:gd name="connsiteX66" fmla="*/ 1224915 w 1419225"/>
                <a:gd name="connsiteY66" fmla="*/ 558165 h 1504950"/>
                <a:gd name="connsiteX67" fmla="*/ 1227773 w 1419225"/>
                <a:gd name="connsiteY67" fmla="*/ 560070 h 1504950"/>
                <a:gd name="connsiteX68" fmla="*/ 1230630 w 1419225"/>
                <a:gd name="connsiteY68" fmla="*/ 562928 h 1504950"/>
                <a:gd name="connsiteX69" fmla="*/ 1233488 w 1419225"/>
                <a:gd name="connsiteY69" fmla="*/ 567690 h 1504950"/>
                <a:gd name="connsiteX70" fmla="*/ 1234440 w 1419225"/>
                <a:gd name="connsiteY70" fmla="*/ 571500 h 1504950"/>
                <a:gd name="connsiteX71" fmla="*/ 1234440 w 1419225"/>
                <a:gd name="connsiteY71" fmla="*/ 575310 h 1504950"/>
                <a:gd name="connsiteX72" fmla="*/ 1230630 w 1419225"/>
                <a:gd name="connsiteY72" fmla="*/ 581025 h 1504950"/>
                <a:gd name="connsiteX73" fmla="*/ 1228725 w 1419225"/>
                <a:gd name="connsiteY73" fmla="*/ 584835 h 1504950"/>
                <a:gd name="connsiteX74" fmla="*/ 1228725 w 1419225"/>
                <a:gd name="connsiteY74" fmla="*/ 588645 h 1504950"/>
                <a:gd name="connsiteX75" fmla="*/ 1229678 w 1419225"/>
                <a:gd name="connsiteY75" fmla="*/ 592455 h 1504950"/>
                <a:gd name="connsiteX76" fmla="*/ 1230630 w 1419225"/>
                <a:gd name="connsiteY76" fmla="*/ 597217 h 1504950"/>
                <a:gd name="connsiteX77" fmla="*/ 1232535 w 1419225"/>
                <a:gd name="connsiteY77" fmla="*/ 605790 h 1504950"/>
                <a:gd name="connsiteX78" fmla="*/ 1231582 w 1419225"/>
                <a:gd name="connsiteY78" fmla="*/ 609600 h 1504950"/>
                <a:gd name="connsiteX79" fmla="*/ 1230630 w 1419225"/>
                <a:gd name="connsiteY79" fmla="*/ 611505 h 1504950"/>
                <a:gd name="connsiteX80" fmla="*/ 1220153 w 1419225"/>
                <a:gd name="connsiteY80" fmla="*/ 617220 h 1504950"/>
                <a:gd name="connsiteX81" fmla="*/ 1218248 w 1419225"/>
                <a:gd name="connsiteY81" fmla="*/ 619125 h 1504950"/>
                <a:gd name="connsiteX82" fmla="*/ 1214438 w 1419225"/>
                <a:gd name="connsiteY82" fmla="*/ 622935 h 1504950"/>
                <a:gd name="connsiteX83" fmla="*/ 1214438 w 1419225"/>
                <a:gd name="connsiteY83" fmla="*/ 626745 h 1504950"/>
                <a:gd name="connsiteX84" fmla="*/ 1215390 w 1419225"/>
                <a:gd name="connsiteY84" fmla="*/ 640080 h 1504950"/>
                <a:gd name="connsiteX85" fmla="*/ 1214438 w 1419225"/>
                <a:gd name="connsiteY85" fmla="*/ 643890 h 1504950"/>
                <a:gd name="connsiteX86" fmla="*/ 1212532 w 1419225"/>
                <a:gd name="connsiteY86" fmla="*/ 646747 h 1504950"/>
                <a:gd name="connsiteX87" fmla="*/ 1203007 w 1419225"/>
                <a:gd name="connsiteY87" fmla="*/ 650557 h 1504950"/>
                <a:gd name="connsiteX88" fmla="*/ 1184910 w 1419225"/>
                <a:gd name="connsiteY88" fmla="*/ 661988 h 1504950"/>
                <a:gd name="connsiteX89" fmla="*/ 1180148 w 1419225"/>
                <a:gd name="connsiteY89" fmla="*/ 664845 h 1504950"/>
                <a:gd name="connsiteX90" fmla="*/ 1174432 w 1419225"/>
                <a:gd name="connsiteY90" fmla="*/ 674370 h 1504950"/>
                <a:gd name="connsiteX91" fmla="*/ 1172528 w 1419225"/>
                <a:gd name="connsiteY91" fmla="*/ 679132 h 1504950"/>
                <a:gd name="connsiteX92" fmla="*/ 1171575 w 1419225"/>
                <a:gd name="connsiteY92" fmla="*/ 683895 h 1504950"/>
                <a:gd name="connsiteX93" fmla="*/ 1171575 w 1419225"/>
                <a:gd name="connsiteY93" fmla="*/ 689610 h 1504950"/>
                <a:gd name="connsiteX94" fmla="*/ 1173480 w 1419225"/>
                <a:gd name="connsiteY94" fmla="*/ 696278 h 1504950"/>
                <a:gd name="connsiteX95" fmla="*/ 1177290 w 1419225"/>
                <a:gd name="connsiteY95" fmla="*/ 701040 h 1504950"/>
                <a:gd name="connsiteX96" fmla="*/ 1182053 w 1419225"/>
                <a:gd name="connsiteY96" fmla="*/ 703897 h 1504950"/>
                <a:gd name="connsiteX97" fmla="*/ 1184910 w 1419225"/>
                <a:gd name="connsiteY97" fmla="*/ 704850 h 1504950"/>
                <a:gd name="connsiteX98" fmla="*/ 1201103 w 1419225"/>
                <a:gd name="connsiteY98" fmla="*/ 704850 h 1504950"/>
                <a:gd name="connsiteX99" fmla="*/ 1206818 w 1419225"/>
                <a:gd name="connsiteY99" fmla="*/ 706755 h 1504950"/>
                <a:gd name="connsiteX100" fmla="*/ 1210628 w 1419225"/>
                <a:gd name="connsiteY100" fmla="*/ 710565 h 1504950"/>
                <a:gd name="connsiteX101" fmla="*/ 1213485 w 1419225"/>
                <a:gd name="connsiteY101" fmla="*/ 716280 h 1504950"/>
                <a:gd name="connsiteX102" fmla="*/ 1214438 w 1419225"/>
                <a:gd name="connsiteY102" fmla="*/ 724853 h 1504950"/>
                <a:gd name="connsiteX103" fmla="*/ 1213485 w 1419225"/>
                <a:gd name="connsiteY103" fmla="*/ 728663 h 1504950"/>
                <a:gd name="connsiteX104" fmla="*/ 1211580 w 1419225"/>
                <a:gd name="connsiteY104" fmla="*/ 730567 h 1504950"/>
                <a:gd name="connsiteX105" fmla="*/ 1208723 w 1419225"/>
                <a:gd name="connsiteY105" fmla="*/ 730567 h 1504950"/>
                <a:gd name="connsiteX106" fmla="*/ 1205865 w 1419225"/>
                <a:gd name="connsiteY106" fmla="*/ 732472 h 1504950"/>
                <a:gd name="connsiteX107" fmla="*/ 1203007 w 1419225"/>
                <a:gd name="connsiteY107" fmla="*/ 735330 h 1504950"/>
                <a:gd name="connsiteX108" fmla="*/ 1199198 w 1419225"/>
                <a:gd name="connsiteY108" fmla="*/ 746760 h 1504950"/>
                <a:gd name="connsiteX109" fmla="*/ 1197293 w 1419225"/>
                <a:gd name="connsiteY109" fmla="*/ 750570 h 1504950"/>
                <a:gd name="connsiteX110" fmla="*/ 1194435 w 1419225"/>
                <a:gd name="connsiteY110" fmla="*/ 755332 h 1504950"/>
                <a:gd name="connsiteX111" fmla="*/ 1194435 w 1419225"/>
                <a:gd name="connsiteY111" fmla="*/ 758190 h 1504950"/>
                <a:gd name="connsiteX112" fmla="*/ 1195388 w 1419225"/>
                <a:gd name="connsiteY112" fmla="*/ 760095 h 1504950"/>
                <a:gd name="connsiteX113" fmla="*/ 1205865 w 1419225"/>
                <a:gd name="connsiteY113" fmla="*/ 765810 h 1504950"/>
                <a:gd name="connsiteX114" fmla="*/ 1213485 w 1419225"/>
                <a:gd name="connsiteY114" fmla="*/ 772478 h 1504950"/>
                <a:gd name="connsiteX115" fmla="*/ 1215390 w 1419225"/>
                <a:gd name="connsiteY115" fmla="*/ 773430 h 1504950"/>
                <a:gd name="connsiteX116" fmla="*/ 1223963 w 1419225"/>
                <a:gd name="connsiteY116" fmla="*/ 773430 h 1504950"/>
                <a:gd name="connsiteX117" fmla="*/ 1226820 w 1419225"/>
                <a:gd name="connsiteY117" fmla="*/ 774382 h 1504950"/>
                <a:gd name="connsiteX118" fmla="*/ 1231582 w 1419225"/>
                <a:gd name="connsiteY118" fmla="*/ 777240 h 1504950"/>
                <a:gd name="connsiteX119" fmla="*/ 1235393 w 1419225"/>
                <a:gd name="connsiteY119" fmla="*/ 781050 h 1504950"/>
                <a:gd name="connsiteX120" fmla="*/ 1238250 w 1419225"/>
                <a:gd name="connsiteY120" fmla="*/ 787717 h 1504950"/>
                <a:gd name="connsiteX121" fmla="*/ 1240155 w 1419225"/>
                <a:gd name="connsiteY121" fmla="*/ 794385 h 1504950"/>
                <a:gd name="connsiteX122" fmla="*/ 1240155 w 1419225"/>
                <a:gd name="connsiteY122" fmla="*/ 798195 h 1504950"/>
                <a:gd name="connsiteX123" fmla="*/ 1238250 w 1419225"/>
                <a:gd name="connsiteY123" fmla="*/ 801053 h 1504950"/>
                <a:gd name="connsiteX124" fmla="*/ 1232535 w 1419225"/>
                <a:gd name="connsiteY124" fmla="*/ 805815 h 1504950"/>
                <a:gd name="connsiteX125" fmla="*/ 1230630 w 1419225"/>
                <a:gd name="connsiteY125" fmla="*/ 807720 h 1504950"/>
                <a:gd name="connsiteX126" fmla="*/ 1228725 w 1419225"/>
                <a:gd name="connsiteY126" fmla="*/ 811530 h 1504950"/>
                <a:gd name="connsiteX127" fmla="*/ 1228725 w 1419225"/>
                <a:gd name="connsiteY127" fmla="*/ 815340 h 1504950"/>
                <a:gd name="connsiteX128" fmla="*/ 1229678 w 1419225"/>
                <a:gd name="connsiteY128" fmla="*/ 822007 h 1504950"/>
                <a:gd name="connsiteX129" fmla="*/ 1232535 w 1419225"/>
                <a:gd name="connsiteY129" fmla="*/ 828675 h 1504950"/>
                <a:gd name="connsiteX130" fmla="*/ 1236345 w 1419225"/>
                <a:gd name="connsiteY130" fmla="*/ 832485 h 1504950"/>
                <a:gd name="connsiteX131" fmla="*/ 1249680 w 1419225"/>
                <a:gd name="connsiteY131" fmla="*/ 835342 h 1504950"/>
                <a:gd name="connsiteX132" fmla="*/ 1251585 w 1419225"/>
                <a:gd name="connsiteY132" fmla="*/ 837247 h 1504950"/>
                <a:gd name="connsiteX133" fmla="*/ 1254443 w 1419225"/>
                <a:gd name="connsiteY133" fmla="*/ 843915 h 1504950"/>
                <a:gd name="connsiteX134" fmla="*/ 1263968 w 1419225"/>
                <a:gd name="connsiteY134" fmla="*/ 893445 h 1504950"/>
                <a:gd name="connsiteX135" fmla="*/ 1265873 w 1419225"/>
                <a:gd name="connsiteY135" fmla="*/ 900113 h 1504950"/>
                <a:gd name="connsiteX136" fmla="*/ 1268730 w 1419225"/>
                <a:gd name="connsiteY136" fmla="*/ 901065 h 1504950"/>
                <a:gd name="connsiteX137" fmla="*/ 1287780 w 1419225"/>
                <a:gd name="connsiteY137" fmla="*/ 903922 h 1504950"/>
                <a:gd name="connsiteX138" fmla="*/ 1302068 w 1419225"/>
                <a:gd name="connsiteY138" fmla="*/ 902970 h 1504950"/>
                <a:gd name="connsiteX139" fmla="*/ 1304925 w 1419225"/>
                <a:gd name="connsiteY139" fmla="*/ 903922 h 1504950"/>
                <a:gd name="connsiteX140" fmla="*/ 1308735 w 1419225"/>
                <a:gd name="connsiteY140" fmla="*/ 905828 h 1504950"/>
                <a:gd name="connsiteX141" fmla="*/ 1313498 w 1419225"/>
                <a:gd name="connsiteY141" fmla="*/ 912495 h 1504950"/>
                <a:gd name="connsiteX142" fmla="*/ 1316355 w 1419225"/>
                <a:gd name="connsiteY142" fmla="*/ 915353 h 1504950"/>
                <a:gd name="connsiteX143" fmla="*/ 1320165 w 1419225"/>
                <a:gd name="connsiteY143" fmla="*/ 918210 h 1504950"/>
                <a:gd name="connsiteX144" fmla="*/ 1323023 w 1419225"/>
                <a:gd name="connsiteY144" fmla="*/ 919163 h 1504950"/>
                <a:gd name="connsiteX145" fmla="*/ 1324928 w 1419225"/>
                <a:gd name="connsiteY145" fmla="*/ 921067 h 1504950"/>
                <a:gd name="connsiteX146" fmla="*/ 1327785 w 1419225"/>
                <a:gd name="connsiteY146" fmla="*/ 923925 h 1504950"/>
                <a:gd name="connsiteX147" fmla="*/ 1326832 w 1419225"/>
                <a:gd name="connsiteY147" fmla="*/ 926782 h 1504950"/>
                <a:gd name="connsiteX148" fmla="*/ 1325880 w 1419225"/>
                <a:gd name="connsiteY148" fmla="*/ 928688 h 1504950"/>
                <a:gd name="connsiteX149" fmla="*/ 1323975 w 1419225"/>
                <a:gd name="connsiteY149" fmla="*/ 930592 h 1504950"/>
                <a:gd name="connsiteX150" fmla="*/ 1315403 w 1419225"/>
                <a:gd name="connsiteY150" fmla="*/ 935355 h 1504950"/>
                <a:gd name="connsiteX151" fmla="*/ 1312545 w 1419225"/>
                <a:gd name="connsiteY151" fmla="*/ 938213 h 1504950"/>
                <a:gd name="connsiteX152" fmla="*/ 1311593 w 1419225"/>
                <a:gd name="connsiteY152" fmla="*/ 942022 h 1504950"/>
                <a:gd name="connsiteX153" fmla="*/ 1310640 w 1419225"/>
                <a:gd name="connsiteY153" fmla="*/ 949642 h 1504950"/>
                <a:gd name="connsiteX154" fmla="*/ 1310640 w 1419225"/>
                <a:gd name="connsiteY154" fmla="*/ 953453 h 1504950"/>
                <a:gd name="connsiteX155" fmla="*/ 1311593 w 1419225"/>
                <a:gd name="connsiteY155" fmla="*/ 957263 h 1504950"/>
                <a:gd name="connsiteX156" fmla="*/ 1315403 w 1419225"/>
                <a:gd name="connsiteY156" fmla="*/ 961072 h 1504950"/>
                <a:gd name="connsiteX157" fmla="*/ 1319213 w 1419225"/>
                <a:gd name="connsiteY157" fmla="*/ 964882 h 1504950"/>
                <a:gd name="connsiteX158" fmla="*/ 1336357 w 1419225"/>
                <a:gd name="connsiteY158" fmla="*/ 977265 h 1504950"/>
                <a:gd name="connsiteX159" fmla="*/ 1359218 w 1419225"/>
                <a:gd name="connsiteY159" fmla="*/ 986790 h 1504950"/>
                <a:gd name="connsiteX160" fmla="*/ 1363028 w 1419225"/>
                <a:gd name="connsiteY160" fmla="*/ 988695 h 1504950"/>
                <a:gd name="connsiteX161" fmla="*/ 1363980 w 1419225"/>
                <a:gd name="connsiteY161" fmla="*/ 991553 h 1504950"/>
                <a:gd name="connsiteX162" fmla="*/ 1364932 w 1419225"/>
                <a:gd name="connsiteY162" fmla="*/ 994410 h 1504950"/>
                <a:gd name="connsiteX163" fmla="*/ 1364932 w 1419225"/>
                <a:gd name="connsiteY163" fmla="*/ 1017270 h 1504950"/>
                <a:gd name="connsiteX164" fmla="*/ 1365885 w 1419225"/>
                <a:gd name="connsiteY164" fmla="*/ 1023938 h 1504950"/>
                <a:gd name="connsiteX165" fmla="*/ 1366838 w 1419225"/>
                <a:gd name="connsiteY165" fmla="*/ 1027747 h 1504950"/>
                <a:gd name="connsiteX166" fmla="*/ 1371600 w 1419225"/>
                <a:gd name="connsiteY166" fmla="*/ 1037272 h 1504950"/>
                <a:gd name="connsiteX167" fmla="*/ 1377315 w 1419225"/>
                <a:gd name="connsiteY167" fmla="*/ 1045845 h 1504950"/>
                <a:gd name="connsiteX168" fmla="*/ 1386840 w 1419225"/>
                <a:gd name="connsiteY168" fmla="*/ 1058228 h 1504950"/>
                <a:gd name="connsiteX169" fmla="*/ 1394460 w 1419225"/>
                <a:gd name="connsiteY169" fmla="*/ 1074420 h 1504950"/>
                <a:gd name="connsiteX170" fmla="*/ 1397318 w 1419225"/>
                <a:gd name="connsiteY170" fmla="*/ 1084898 h 1504950"/>
                <a:gd name="connsiteX171" fmla="*/ 1397318 w 1419225"/>
                <a:gd name="connsiteY171" fmla="*/ 1088707 h 1504950"/>
                <a:gd name="connsiteX172" fmla="*/ 1397318 w 1419225"/>
                <a:gd name="connsiteY172" fmla="*/ 1095375 h 1504950"/>
                <a:gd name="connsiteX173" fmla="*/ 1395413 w 1419225"/>
                <a:gd name="connsiteY173" fmla="*/ 1099185 h 1504950"/>
                <a:gd name="connsiteX174" fmla="*/ 1392555 w 1419225"/>
                <a:gd name="connsiteY174" fmla="*/ 1102995 h 1504950"/>
                <a:gd name="connsiteX175" fmla="*/ 1389698 w 1419225"/>
                <a:gd name="connsiteY175" fmla="*/ 1106805 h 1504950"/>
                <a:gd name="connsiteX176" fmla="*/ 1387793 w 1419225"/>
                <a:gd name="connsiteY176" fmla="*/ 1107757 h 1504950"/>
                <a:gd name="connsiteX177" fmla="*/ 1383982 w 1419225"/>
                <a:gd name="connsiteY177" fmla="*/ 1107757 h 1504950"/>
                <a:gd name="connsiteX178" fmla="*/ 1383030 w 1419225"/>
                <a:gd name="connsiteY178" fmla="*/ 1110615 h 1504950"/>
                <a:gd name="connsiteX179" fmla="*/ 1382078 w 1419225"/>
                <a:gd name="connsiteY179" fmla="*/ 1115378 h 1504950"/>
                <a:gd name="connsiteX180" fmla="*/ 1380173 w 1419225"/>
                <a:gd name="connsiteY180" fmla="*/ 1119188 h 1504950"/>
                <a:gd name="connsiteX181" fmla="*/ 1377315 w 1419225"/>
                <a:gd name="connsiteY181" fmla="*/ 1123950 h 1504950"/>
                <a:gd name="connsiteX182" fmla="*/ 1375410 w 1419225"/>
                <a:gd name="connsiteY182" fmla="*/ 1125855 h 1504950"/>
                <a:gd name="connsiteX183" fmla="*/ 1365885 w 1419225"/>
                <a:gd name="connsiteY183" fmla="*/ 1134428 h 1504950"/>
                <a:gd name="connsiteX184" fmla="*/ 1364932 w 1419225"/>
                <a:gd name="connsiteY184" fmla="*/ 1136332 h 1504950"/>
                <a:gd name="connsiteX185" fmla="*/ 1363980 w 1419225"/>
                <a:gd name="connsiteY185" fmla="*/ 1139190 h 1504950"/>
                <a:gd name="connsiteX186" fmla="*/ 1363028 w 1419225"/>
                <a:gd name="connsiteY186" fmla="*/ 1144905 h 1504950"/>
                <a:gd name="connsiteX187" fmla="*/ 1363980 w 1419225"/>
                <a:gd name="connsiteY187" fmla="*/ 1147763 h 1504950"/>
                <a:gd name="connsiteX188" fmla="*/ 1365885 w 1419225"/>
                <a:gd name="connsiteY188" fmla="*/ 1149667 h 1504950"/>
                <a:gd name="connsiteX189" fmla="*/ 1367790 w 1419225"/>
                <a:gd name="connsiteY189" fmla="*/ 1149667 h 1504950"/>
                <a:gd name="connsiteX190" fmla="*/ 1372553 w 1419225"/>
                <a:gd name="connsiteY190" fmla="*/ 1148715 h 1504950"/>
                <a:gd name="connsiteX191" fmla="*/ 1397318 w 1419225"/>
                <a:gd name="connsiteY191" fmla="*/ 1138238 h 1504950"/>
                <a:gd name="connsiteX192" fmla="*/ 1403032 w 1419225"/>
                <a:gd name="connsiteY192" fmla="*/ 1136332 h 1504950"/>
                <a:gd name="connsiteX193" fmla="*/ 1408748 w 1419225"/>
                <a:gd name="connsiteY193" fmla="*/ 1136332 h 1504950"/>
                <a:gd name="connsiteX194" fmla="*/ 1413510 w 1419225"/>
                <a:gd name="connsiteY194" fmla="*/ 1138238 h 1504950"/>
                <a:gd name="connsiteX195" fmla="*/ 1418273 w 1419225"/>
                <a:gd name="connsiteY195" fmla="*/ 1143000 h 1504950"/>
                <a:gd name="connsiteX196" fmla="*/ 1426845 w 1419225"/>
                <a:gd name="connsiteY196" fmla="*/ 1150620 h 1504950"/>
                <a:gd name="connsiteX197" fmla="*/ 1413510 w 1419225"/>
                <a:gd name="connsiteY197" fmla="*/ 1168717 h 1504950"/>
                <a:gd name="connsiteX198" fmla="*/ 1406843 w 1419225"/>
                <a:gd name="connsiteY198" fmla="*/ 1172528 h 1504950"/>
                <a:gd name="connsiteX199" fmla="*/ 1388745 w 1419225"/>
                <a:gd name="connsiteY199" fmla="*/ 1175385 h 1504950"/>
                <a:gd name="connsiteX200" fmla="*/ 1384935 w 1419225"/>
                <a:gd name="connsiteY200" fmla="*/ 1177290 h 1504950"/>
                <a:gd name="connsiteX201" fmla="*/ 1383030 w 1419225"/>
                <a:gd name="connsiteY201" fmla="*/ 1180148 h 1504950"/>
                <a:gd name="connsiteX202" fmla="*/ 1375410 w 1419225"/>
                <a:gd name="connsiteY202" fmla="*/ 1193482 h 1504950"/>
                <a:gd name="connsiteX203" fmla="*/ 1363980 w 1419225"/>
                <a:gd name="connsiteY203" fmla="*/ 1207770 h 1504950"/>
                <a:gd name="connsiteX204" fmla="*/ 1358265 w 1419225"/>
                <a:gd name="connsiteY204" fmla="*/ 1212532 h 1504950"/>
                <a:gd name="connsiteX205" fmla="*/ 1354455 w 1419225"/>
                <a:gd name="connsiteY205" fmla="*/ 1214438 h 1504950"/>
                <a:gd name="connsiteX206" fmla="*/ 1353503 w 1419225"/>
                <a:gd name="connsiteY206" fmla="*/ 1212532 h 1504950"/>
                <a:gd name="connsiteX207" fmla="*/ 1350645 w 1419225"/>
                <a:gd name="connsiteY207" fmla="*/ 1207770 h 1504950"/>
                <a:gd name="connsiteX208" fmla="*/ 1347788 w 1419225"/>
                <a:gd name="connsiteY208" fmla="*/ 1194435 h 1504950"/>
                <a:gd name="connsiteX209" fmla="*/ 1346835 w 1419225"/>
                <a:gd name="connsiteY209" fmla="*/ 1191578 h 1504950"/>
                <a:gd name="connsiteX210" fmla="*/ 1343025 w 1419225"/>
                <a:gd name="connsiteY210" fmla="*/ 1184910 h 1504950"/>
                <a:gd name="connsiteX211" fmla="*/ 1342073 w 1419225"/>
                <a:gd name="connsiteY211" fmla="*/ 1182053 h 1504950"/>
                <a:gd name="connsiteX212" fmla="*/ 1343025 w 1419225"/>
                <a:gd name="connsiteY212" fmla="*/ 1175385 h 1504950"/>
                <a:gd name="connsiteX213" fmla="*/ 1342073 w 1419225"/>
                <a:gd name="connsiteY213" fmla="*/ 1172528 h 1504950"/>
                <a:gd name="connsiteX214" fmla="*/ 1340168 w 1419225"/>
                <a:gd name="connsiteY214" fmla="*/ 1169670 h 1504950"/>
                <a:gd name="connsiteX215" fmla="*/ 1332548 w 1419225"/>
                <a:gd name="connsiteY215" fmla="*/ 1167765 h 1504950"/>
                <a:gd name="connsiteX216" fmla="*/ 1327785 w 1419225"/>
                <a:gd name="connsiteY216" fmla="*/ 1167765 h 1504950"/>
                <a:gd name="connsiteX217" fmla="*/ 1324928 w 1419225"/>
                <a:gd name="connsiteY217" fmla="*/ 1168717 h 1504950"/>
                <a:gd name="connsiteX218" fmla="*/ 1315403 w 1419225"/>
                <a:gd name="connsiteY218" fmla="*/ 1177290 h 1504950"/>
                <a:gd name="connsiteX219" fmla="*/ 1311593 w 1419225"/>
                <a:gd name="connsiteY219" fmla="*/ 1181100 h 1504950"/>
                <a:gd name="connsiteX220" fmla="*/ 1305878 w 1419225"/>
                <a:gd name="connsiteY220" fmla="*/ 1190625 h 1504950"/>
                <a:gd name="connsiteX221" fmla="*/ 1303020 w 1419225"/>
                <a:gd name="connsiteY221" fmla="*/ 1195388 h 1504950"/>
                <a:gd name="connsiteX222" fmla="*/ 1291590 w 1419225"/>
                <a:gd name="connsiteY222" fmla="*/ 1209675 h 1504950"/>
                <a:gd name="connsiteX223" fmla="*/ 1274445 w 1419225"/>
                <a:gd name="connsiteY223" fmla="*/ 1225867 h 1504950"/>
                <a:gd name="connsiteX224" fmla="*/ 1269682 w 1419225"/>
                <a:gd name="connsiteY224" fmla="*/ 1232535 h 1504950"/>
                <a:gd name="connsiteX225" fmla="*/ 1268730 w 1419225"/>
                <a:gd name="connsiteY225" fmla="*/ 1236345 h 1504950"/>
                <a:gd name="connsiteX226" fmla="*/ 1269682 w 1419225"/>
                <a:gd name="connsiteY226" fmla="*/ 1243965 h 1504950"/>
                <a:gd name="connsiteX227" fmla="*/ 1268730 w 1419225"/>
                <a:gd name="connsiteY227" fmla="*/ 1250632 h 1504950"/>
                <a:gd name="connsiteX228" fmla="*/ 1268730 w 1419225"/>
                <a:gd name="connsiteY228" fmla="*/ 1257300 h 1504950"/>
                <a:gd name="connsiteX229" fmla="*/ 1267778 w 1419225"/>
                <a:gd name="connsiteY229" fmla="*/ 1261110 h 1504950"/>
                <a:gd name="connsiteX230" fmla="*/ 1263968 w 1419225"/>
                <a:gd name="connsiteY230" fmla="*/ 1272540 h 1504950"/>
                <a:gd name="connsiteX231" fmla="*/ 1260157 w 1419225"/>
                <a:gd name="connsiteY231" fmla="*/ 1278255 h 1504950"/>
                <a:gd name="connsiteX232" fmla="*/ 1250632 w 1419225"/>
                <a:gd name="connsiteY232" fmla="*/ 1292542 h 1504950"/>
                <a:gd name="connsiteX233" fmla="*/ 1247775 w 1419225"/>
                <a:gd name="connsiteY233" fmla="*/ 1298257 h 1504950"/>
                <a:gd name="connsiteX234" fmla="*/ 1248728 w 1419225"/>
                <a:gd name="connsiteY234" fmla="*/ 1300163 h 1504950"/>
                <a:gd name="connsiteX235" fmla="*/ 1249680 w 1419225"/>
                <a:gd name="connsiteY235" fmla="*/ 1302067 h 1504950"/>
                <a:gd name="connsiteX236" fmla="*/ 1254443 w 1419225"/>
                <a:gd name="connsiteY236" fmla="*/ 1304925 h 1504950"/>
                <a:gd name="connsiteX237" fmla="*/ 1267778 w 1419225"/>
                <a:gd name="connsiteY237" fmla="*/ 1308735 h 1504950"/>
                <a:gd name="connsiteX238" fmla="*/ 1272540 w 1419225"/>
                <a:gd name="connsiteY238" fmla="*/ 1310640 h 1504950"/>
                <a:gd name="connsiteX239" fmla="*/ 1273493 w 1419225"/>
                <a:gd name="connsiteY239" fmla="*/ 1313498 h 1504950"/>
                <a:gd name="connsiteX240" fmla="*/ 1271588 w 1419225"/>
                <a:gd name="connsiteY240" fmla="*/ 1321117 h 1504950"/>
                <a:gd name="connsiteX241" fmla="*/ 1274445 w 1419225"/>
                <a:gd name="connsiteY241" fmla="*/ 1327785 h 1504950"/>
                <a:gd name="connsiteX242" fmla="*/ 1273493 w 1419225"/>
                <a:gd name="connsiteY242" fmla="*/ 1330642 h 1504950"/>
                <a:gd name="connsiteX243" fmla="*/ 1272540 w 1419225"/>
                <a:gd name="connsiteY243" fmla="*/ 1334453 h 1504950"/>
                <a:gd name="connsiteX244" fmla="*/ 1269682 w 1419225"/>
                <a:gd name="connsiteY244" fmla="*/ 1338263 h 1504950"/>
                <a:gd name="connsiteX245" fmla="*/ 1266825 w 1419225"/>
                <a:gd name="connsiteY245" fmla="*/ 1344930 h 1504950"/>
                <a:gd name="connsiteX246" fmla="*/ 1267778 w 1419225"/>
                <a:gd name="connsiteY246" fmla="*/ 1350645 h 1504950"/>
                <a:gd name="connsiteX247" fmla="*/ 1237298 w 1419225"/>
                <a:gd name="connsiteY247" fmla="*/ 1367790 h 1504950"/>
                <a:gd name="connsiteX248" fmla="*/ 1232535 w 1419225"/>
                <a:gd name="connsiteY248" fmla="*/ 1368742 h 1504950"/>
                <a:gd name="connsiteX249" fmla="*/ 1227773 w 1419225"/>
                <a:gd name="connsiteY249" fmla="*/ 1369695 h 1504950"/>
                <a:gd name="connsiteX250" fmla="*/ 1223963 w 1419225"/>
                <a:gd name="connsiteY250" fmla="*/ 1368742 h 1504950"/>
                <a:gd name="connsiteX251" fmla="*/ 1219200 w 1419225"/>
                <a:gd name="connsiteY251" fmla="*/ 1367790 h 1504950"/>
                <a:gd name="connsiteX252" fmla="*/ 1212532 w 1419225"/>
                <a:gd name="connsiteY252" fmla="*/ 1371600 h 1504950"/>
                <a:gd name="connsiteX253" fmla="*/ 1210628 w 1419225"/>
                <a:gd name="connsiteY253" fmla="*/ 1374457 h 1504950"/>
                <a:gd name="connsiteX254" fmla="*/ 1209675 w 1419225"/>
                <a:gd name="connsiteY254" fmla="*/ 1378267 h 1504950"/>
                <a:gd name="connsiteX255" fmla="*/ 1210628 w 1419225"/>
                <a:gd name="connsiteY255" fmla="*/ 1380173 h 1504950"/>
                <a:gd name="connsiteX256" fmla="*/ 1213485 w 1419225"/>
                <a:gd name="connsiteY256" fmla="*/ 1384935 h 1504950"/>
                <a:gd name="connsiteX257" fmla="*/ 1223963 w 1419225"/>
                <a:gd name="connsiteY257" fmla="*/ 1399223 h 1504950"/>
                <a:gd name="connsiteX258" fmla="*/ 1226820 w 1419225"/>
                <a:gd name="connsiteY258" fmla="*/ 1403985 h 1504950"/>
                <a:gd name="connsiteX259" fmla="*/ 1226820 w 1419225"/>
                <a:gd name="connsiteY259" fmla="*/ 1407795 h 1504950"/>
                <a:gd name="connsiteX260" fmla="*/ 1225868 w 1419225"/>
                <a:gd name="connsiteY260" fmla="*/ 1412557 h 1504950"/>
                <a:gd name="connsiteX261" fmla="*/ 1217295 w 1419225"/>
                <a:gd name="connsiteY261" fmla="*/ 1438275 h 1504950"/>
                <a:gd name="connsiteX262" fmla="*/ 1215390 w 1419225"/>
                <a:gd name="connsiteY262" fmla="*/ 1440180 h 1504950"/>
                <a:gd name="connsiteX263" fmla="*/ 1212532 w 1419225"/>
                <a:gd name="connsiteY263" fmla="*/ 1440180 h 1504950"/>
                <a:gd name="connsiteX264" fmla="*/ 1207770 w 1419225"/>
                <a:gd name="connsiteY264" fmla="*/ 1438275 h 1504950"/>
                <a:gd name="connsiteX265" fmla="*/ 1204913 w 1419225"/>
                <a:gd name="connsiteY265" fmla="*/ 1437323 h 1504950"/>
                <a:gd name="connsiteX266" fmla="*/ 1202055 w 1419225"/>
                <a:gd name="connsiteY266" fmla="*/ 1438275 h 1504950"/>
                <a:gd name="connsiteX267" fmla="*/ 1197293 w 1419225"/>
                <a:gd name="connsiteY267" fmla="*/ 1440180 h 1504950"/>
                <a:gd name="connsiteX268" fmla="*/ 1167765 w 1419225"/>
                <a:gd name="connsiteY268" fmla="*/ 1443038 h 1504950"/>
                <a:gd name="connsiteX269" fmla="*/ 1127760 w 1419225"/>
                <a:gd name="connsiteY269" fmla="*/ 1440180 h 1504950"/>
                <a:gd name="connsiteX270" fmla="*/ 1121093 w 1419225"/>
                <a:gd name="connsiteY270" fmla="*/ 1438275 h 1504950"/>
                <a:gd name="connsiteX271" fmla="*/ 1101090 w 1419225"/>
                <a:gd name="connsiteY271" fmla="*/ 1425892 h 1504950"/>
                <a:gd name="connsiteX272" fmla="*/ 1096328 w 1419225"/>
                <a:gd name="connsiteY272" fmla="*/ 1422082 h 1504950"/>
                <a:gd name="connsiteX273" fmla="*/ 1087755 w 1419225"/>
                <a:gd name="connsiteY273" fmla="*/ 1422082 h 1504950"/>
                <a:gd name="connsiteX274" fmla="*/ 1037272 w 1419225"/>
                <a:gd name="connsiteY274" fmla="*/ 1443038 h 1504950"/>
                <a:gd name="connsiteX275" fmla="*/ 988695 w 1419225"/>
                <a:gd name="connsiteY275" fmla="*/ 1444942 h 1504950"/>
                <a:gd name="connsiteX276" fmla="*/ 985838 w 1419225"/>
                <a:gd name="connsiteY276" fmla="*/ 1443990 h 1504950"/>
                <a:gd name="connsiteX277" fmla="*/ 976313 w 1419225"/>
                <a:gd name="connsiteY277" fmla="*/ 1439228 h 1504950"/>
                <a:gd name="connsiteX278" fmla="*/ 948690 w 1419225"/>
                <a:gd name="connsiteY278" fmla="*/ 1427798 h 1504950"/>
                <a:gd name="connsiteX279" fmla="*/ 943928 w 1419225"/>
                <a:gd name="connsiteY279" fmla="*/ 1424940 h 1504950"/>
                <a:gd name="connsiteX280" fmla="*/ 939165 w 1419225"/>
                <a:gd name="connsiteY280" fmla="*/ 1419225 h 1504950"/>
                <a:gd name="connsiteX281" fmla="*/ 937260 w 1419225"/>
                <a:gd name="connsiteY281" fmla="*/ 1417320 h 1504950"/>
                <a:gd name="connsiteX282" fmla="*/ 930593 w 1419225"/>
                <a:gd name="connsiteY282" fmla="*/ 1412557 h 1504950"/>
                <a:gd name="connsiteX283" fmla="*/ 921068 w 1419225"/>
                <a:gd name="connsiteY283" fmla="*/ 1403985 h 1504950"/>
                <a:gd name="connsiteX284" fmla="*/ 916305 w 1419225"/>
                <a:gd name="connsiteY284" fmla="*/ 1400175 h 1504950"/>
                <a:gd name="connsiteX285" fmla="*/ 913447 w 1419225"/>
                <a:gd name="connsiteY285" fmla="*/ 1398270 h 1504950"/>
                <a:gd name="connsiteX286" fmla="*/ 907732 w 1419225"/>
                <a:gd name="connsiteY286" fmla="*/ 1396365 h 1504950"/>
                <a:gd name="connsiteX287" fmla="*/ 904875 w 1419225"/>
                <a:gd name="connsiteY287" fmla="*/ 1396365 h 1504950"/>
                <a:gd name="connsiteX288" fmla="*/ 900113 w 1419225"/>
                <a:gd name="connsiteY288" fmla="*/ 1397317 h 1504950"/>
                <a:gd name="connsiteX289" fmla="*/ 884872 w 1419225"/>
                <a:gd name="connsiteY289" fmla="*/ 1403985 h 1504950"/>
                <a:gd name="connsiteX290" fmla="*/ 882968 w 1419225"/>
                <a:gd name="connsiteY290" fmla="*/ 1404938 h 1504950"/>
                <a:gd name="connsiteX291" fmla="*/ 881063 w 1419225"/>
                <a:gd name="connsiteY291" fmla="*/ 1407795 h 1504950"/>
                <a:gd name="connsiteX292" fmla="*/ 881063 w 1419225"/>
                <a:gd name="connsiteY292" fmla="*/ 1410653 h 1504950"/>
                <a:gd name="connsiteX293" fmla="*/ 881063 w 1419225"/>
                <a:gd name="connsiteY293" fmla="*/ 1415415 h 1504950"/>
                <a:gd name="connsiteX294" fmla="*/ 884872 w 1419225"/>
                <a:gd name="connsiteY294" fmla="*/ 1435417 h 1504950"/>
                <a:gd name="connsiteX295" fmla="*/ 885825 w 1419225"/>
                <a:gd name="connsiteY295" fmla="*/ 1441132 h 1504950"/>
                <a:gd name="connsiteX296" fmla="*/ 884872 w 1419225"/>
                <a:gd name="connsiteY296" fmla="*/ 1443990 h 1504950"/>
                <a:gd name="connsiteX297" fmla="*/ 882968 w 1419225"/>
                <a:gd name="connsiteY297" fmla="*/ 1445895 h 1504950"/>
                <a:gd name="connsiteX298" fmla="*/ 877253 w 1419225"/>
                <a:gd name="connsiteY298" fmla="*/ 1450657 h 1504950"/>
                <a:gd name="connsiteX299" fmla="*/ 868680 w 1419225"/>
                <a:gd name="connsiteY299" fmla="*/ 1455420 h 1504950"/>
                <a:gd name="connsiteX300" fmla="*/ 863918 w 1419225"/>
                <a:gd name="connsiteY300" fmla="*/ 1459230 h 1504950"/>
                <a:gd name="connsiteX301" fmla="*/ 857250 w 1419225"/>
                <a:gd name="connsiteY301" fmla="*/ 1466850 h 1504950"/>
                <a:gd name="connsiteX302" fmla="*/ 851535 w 1419225"/>
                <a:gd name="connsiteY302" fmla="*/ 1475423 h 1504950"/>
                <a:gd name="connsiteX303" fmla="*/ 840105 w 1419225"/>
                <a:gd name="connsiteY303" fmla="*/ 1483042 h 1504950"/>
                <a:gd name="connsiteX304" fmla="*/ 795338 w 1419225"/>
                <a:gd name="connsiteY304" fmla="*/ 1503045 h 1504950"/>
                <a:gd name="connsiteX305" fmla="*/ 785813 w 1419225"/>
                <a:gd name="connsiteY305" fmla="*/ 1510665 h 1504950"/>
                <a:gd name="connsiteX306" fmla="*/ 782955 w 1419225"/>
                <a:gd name="connsiteY306" fmla="*/ 1504950 h 1504950"/>
                <a:gd name="connsiteX307" fmla="*/ 774382 w 1419225"/>
                <a:gd name="connsiteY307" fmla="*/ 1497330 h 1504950"/>
                <a:gd name="connsiteX308" fmla="*/ 770572 w 1419225"/>
                <a:gd name="connsiteY308" fmla="*/ 1491615 h 1504950"/>
                <a:gd name="connsiteX309" fmla="*/ 769620 w 1419225"/>
                <a:gd name="connsiteY309" fmla="*/ 1486853 h 1504950"/>
                <a:gd name="connsiteX310" fmla="*/ 767715 w 1419225"/>
                <a:gd name="connsiteY310" fmla="*/ 1466850 h 1504950"/>
                <a:gd name="connsiteX311" fmla="*/ 759143 w 1419225"/>
                <a:gd name="connsiteY311" fmla="*/ 1445895 h 1504950"/>
                <a:gd name="connsiteX312" fmla="*/ 758190 w 1419225"/>
                <a:gd name="connsiteY312" fmla="*/ 1440180 h 1504950"/>
                <a:gd name="connsiteX313" fmla="*/ 758190 w 1419225"/>
                <a:gd name="connsiteY313" fmla="*/ 1435417 h 1504950"/>
                <a:gd name="connsiteX314" fmla="*/ 756285 w 1419225"/>
                <a:gd name="connsiteY314" fmla="*/ 1429703 h 1504950"/>
                <a:gd name="connsiteX315" fmla="*/ 753428 w 1419225"/>
                <a:gd name="connsiteY315" fmla="*/ 1423035 h 1504950"/>
                <a:gd name="connsiteX316" fmla="*/ 738188 w 1419225"/>
                <a:gd name="connsiteY316" fmla="*/ 1413510 h 1504950"/>
                <a:gd name="connsiteX317" fmla="*/ 719138 w 1419225"/>
                <a:gd name="connsiteY317" fmla="*/ 1409700 h 1504950"/>
                <a:gd name="connsiteX318" fmla="*/ 682943 w 1419225"/>
                <a:gd name="connsiteY318" fmla="*/ 1409700 h 1504950"/>
                <a:gd name="connsiteX319" fmla="*/ 634365 w 1419225"/>
                <a:gd name="connsiteY319" fmla="*/ 1388745 h 1504950"/>
                <a:gd name="connsiteX320" fmla="*/ 617220 w 1419225"/>
                <a:gd name="connsiteY320" fmla="*/ 1388745 h 1504950"/>
                <a:gd name="connsiteX321" fmla="*/ 605790 w 1419225"/>
                <a:gd name="connsiteY321" fmla="*/ 1393507 h 1504950"/>
                <a:gd name="connsiteX322" fmla="*/ 596265 w 1419225"/>
                <a:gd name="connsiteY322" fmla="*/ 1422082 h 1504950"/>
                <a:gd name="connsiteX323" fmla="*/ 592455 w 1419225"/>
                <a:gd name="connsiteY323" fmla="*/ 1439228 h 1504950"/>
                <a:gd name="connsiteX324" fmla="*/ 592455 w 1419225"/>
                <a:gd name="connsiteY324" fmla="*/ 1452563 h 1504950"/>
                <a:gd name="connsiteX325" fmla="*/ 589597 w 1419225"/>
                <a:gd name="connsiteY325" fmla="*/ 1460182 h 1504950"/>
                <a:gd name="connsiteX326" fmla="*/ 584835 w 1419225"/>
                <a:gd name="connsiteY326" fmla="*/ 1460182 h 1504950"/>
                <a:gd name="connsiteX327" fmla="*/ 574357 w 1419225"/>
                <a:gd name="connsiteY327" fmla="*/ 1452563 h 1504950"/>
                <a:gd name="connsiteX328" fmla="*/ 567690 w 1419225"/>
                <a:gd name="connsiteY328" fmla="*/ 1445895 h 1504950"/>
                <a:gd name="connsiteX329" fmla="*/ 552450 w 1419225"/>
                <a:gd name="connsiteY329" fmla="*/ 1415415 h 1504950"/>
                <a:gd name="connsiteX330" fmla="*/ 561022 w 1419225"/>
                <a:gd name="connsiteY330" fmla="*/ 1404938 h 1504950"/>
                <a:gd name="connsiteX331" fmla="*/ 561975 w 1419225"/>
                <a:gd name="connsiteY331" fmla="*/ 1393507 h 1504950"/>
                <a:gd name="connsiteX332" fmla="*/ 557213 w 1419225"/>
                <a:gd name="connsiteY332" fmla="*/ 1382078 h 1504950"/>
                <a:gd name="connsiteX333" fmla="*/ 548640 w 1419225"/>
                <a:gd name="connsiteY333" fmla="*/ 1376363 h 1504950"/>
                <a:gd name="connsiteX334" fmla="*/ 536257 w 1419225"/>
                <a:gd name="connsiteY334" fmla="*/ 1378267 h 1504950"/>
                <a:gd name="connsiteX335" fmla="*/ 529590 w 1419225"/>
                <a:gd name="connsiteY335" fmla="*/ 1387792 h 1504950"/>
                <a:gd name="connsiteX336" fmla="*/ 523875 w 1419225"/>
                <a:gd name="connsiteY336" fmla="*/ 1400175 h 1504950"/>
                <a:gd name="connsiteX337" fmla="*/ 516255 w 1419225"/>
                <a:gd name="connsiteY337" fmla="*/ 1408748 h 1504950"/>
                <a:gd name="connsiteX338" fmla="*/ 504825 w 1419225"/>
                <a:gd name="connsiteY338" fmla="*/ 1411605 h 1504950"/>
                <a:gd name="connsiteX339" fmla="*/ 499110 w 1419225"/>
                <a:gd name="connsiteY339" fmla="*/ 1404938 h 1504950"/>
                <a:gd name="connsiteX340" fmla="*/ 498157 w 1419225"/>
                <a:gd name="connsiteY340" fmla="*/ 1393507 h 1504950"/>
                <a:gd name="connsiteX341" fmla="*/ 501968 w 1419225"/>
                <a:gd name="connsiteY341" fmla="*/ 1383030 h 1504950"/>
                <a:gd name="connsiteX342" fmla="*/ 509588 w 1419225"/>
                <a:gd name="connsiteY342" fmla="*/ 1372553 h 1504950"/>
                <a:gd name="connsiteX343" fmla="*/ 517207 w 1419225"/>
                <a:gd name="connsiteY343" fmla="*/ 1367790 h 1504950"/>
                <a:gd name="connsiteX344" fmla="*/ 522922 w 1419225"/>
                <a:gd name="connsiteY344" fmla="*/ 1360170 h 1504950"/>
                <a:gd name="connsiteX345" fmla="*/ 526732 w 1419225"/>
                <a:gd name="connsiteY345" fmla="*/ 1343978 h 1504950"/>
                <a:gd name="connsiteX346" fmla="*/ 525780 w 1419225"/>
                <a:gd name="connsiteY346" fmla="*/ 1329690 h 1504950"/>
                <a:gd name="connsiteX347" fmla="*/ 520065 w 1419225"/>
                <a:gd name="connsiteY347" fmla="*/ 1323023 h 1504950"/>
                <a:gd name="connsiteX348" fmla="*/ 511493 w 1419225"/>
                <a:gd name="connsiteY348" fmla="*/ 1322070 h 1504950"/>
                <a:gd name="connsiteX349" fmla="*/ 486728 w 1419225"/>
                <a:gd name="connsiteY349" fmla="*/ 1324928 h 1504950"/>
                <a:gd name="connsiteX350" fmla="*/ 478155 w 1419225"/>
                <a:gd name="connsiteY350" fmla="*/ 1330642 h 1504950"/>
                <a:gd name="connsiteX351" fmla="*/ 469582 w 1419225"/>
                <a:gd name="connsiteY351" fmla="*/ 1337310 h 1504950"/>
                <a:gd name="connsiteX352" fmla="*/ 458153 w 1419225"/>
                <a:gd name="connsiteY352" fmla="*/ 1343978 h 1504950"/>
                <a:gd name="connsiteX353" fmla="*/ 445770 w 1419225"/>
                <a:gd name="connsiteY353" fmla="*/ 1346835 h 1504950"/>
                <a:gd name="connsiteX354" fmla="*/ 437197 w 1419225"/>
                <a:gd name="connsiteY354" fmla="*/ 1343978 h 1504950"/>
                <a:gd name="connsiteX355" fmla="*/ 431482 w 1419225"/>
                <a:gd name="connsiteY355" fmla="*/ 1335405 h 1504950"/>
                <a:gd name="connsiteX356" fmla="*/ 429578 w 1419225"/>
                <a:gd name="connsiteY356" fmla="*/ 1320165 h 1504950"/>
                <a:gd name="connsiteX357" fmla="*/ 425768 w 1419225"/>
                <a:gd name="connsiteY357" fmla="*/ 1306830 h 1504950"/>
                <a:gd name="connsiteX358" fmla="*/ 417195 w 1419225"/>
                <a:gd name="connsiteY358" fmla="*/ 1307782 h 1504950"/>
                <a:gd name="connsiteX359" fmla="*/ 401003 w 1419225"/>
                <a:gd name="connsiteY359" fmla="*/ 1322070 h 1504950"/>
                <a:gd name="connsiteX360" fmla="*/ 392430 w 1419225"/>
                <a:gd name="connsiteY360" fmla="*/ 1323975 h 1504950"/>
                <a:gd name="connsiteX361" fmla="*/ 381000 w 1419225"/>
                <a:gd name="connsiteY361" fmla="*/ 1323975 h 1504950"/>
                <a:gd name="connsiteX362" fmla="*/ 373380 w 1419225"/>
                <a:gd name="connsiteY362" fmla="*/ 1318260 h 1504950"/>
                <a:gd name="connsiteX363" fmla="*/ 383857 w 1419225"/>
                <a:gd name="connsiteY363" fmla="*/ 1286828 h 1504950"/>
                <a:gd name="connsiteX364" fmla="*/ 381000 w 1419225"/>
                <a:gd name="connsiteY364" fmla="*/ 1272540 h 1504950"/>
                <a:gd name="connsiteX365" fmla="*/ 371475 w 1419225"/>
                <a:gd name="connsiteY365" fmla="*/ 1262063 h 1504950"/>
                <a:gd name="connsiteX366" fmla="*/ 360997 w 1419225"/>
                <a:gd name="connsiteY366" fmla="*/ 1257300 h 1504950"/>
                <a:gd name="connsiteX367" fmla="*/ 314325 w 1419225"/>
                <a:gd name="connsiteY367" fmla="*/ 1251585 h 1504950"/>
                <a:gd name="connsiteX368" fmla="*/ 292418 w 1419225"/>
                <a:gd name="connsiteY368" fmla="*/ 1243013 h 1504950"/>
                <a:gd name="connsiteX369" fmla="*/ 280988 w 1419225"/>
                <a:gd name="connsiteY369" fmla="*/ 1224915 h 1504950"/>
                <a:gd name="connsiteX370" fmla="*/ 277178 w 1419225"/>
                <a:gd name="connsiteY370" fmla="*/ 1221105 h 1504950"/>
                <a:gd name="connsiteX371" fmla="*/ 260032 w 1419225"/>
                <a:gd name="connsiteY371" fmla="*/ 1195388 h 1504950"/>
                <a:gd name="connsiteX372" fmla="*/ 252413 w 1419225"/>
                <a:gd name="connsiteY372" fmla="*/ 1186815 h 1504950"/>
                <a:gd name="connsiteX373" fmla="*/ 218122 w 1419225"/>
                <a:gd name="connsiteY373" fmla="*/ 1162050 h 1504950"/>
                <a:gd name="connsiteX374" fmla="*/ 200978 w 1419225"/>
                <a:gd name="connsiteY374" fmla="*/ 1153478 h 1504950"/>
                <a:gd name="connsiteX375" fmla="*/ 135255 w 1419225"/>
                <a:gd name="connsiteY375" fmla="*/ 1154430 h 1504950"/>
                <a:gd name="connsiteX376" fmla="*/ 124778 w 1419225"/>
                <a:gd name="connsiteY376" fmla="*/ 1148715 h 1504950"/>
                <a:gd name="connsiteX377" fmla="*/ 122872 w 1419225"/>
                <a:gd name="connsiteY377" fmla="*/ 1127760 h 1504950"/>
                <a:gd name="connsiteX378" fmla="*/ 111443 w 1419225"/>
                <a:gd name="connsiteY378" fmla="*/ 1126807 h 1504950"/>
                <a:gd name="connsiteX379" fmla="*/ 98107 w 1419225"/>
                <a:gd name="connsiteY379" fmla="*/ 1135380 h 1504950"/>
                <a:gd name="connsiteX380" fmla="*/ 91440 w 1419225"/>
                <a:gd name="connsiteY380" fmla="*/ 1137285 h 1504950"/>
                <a:gd name="connsiteX381" fmla="*/ 70485 w 1419225"/>
                <a:gd name="connsiteY381" fmla="*/ 1137285 h 1504950"/>
                <a:gd name="connsiteX382" fmla="*/ 64770 w 1419225"/>
                <a:gd name="connsiteY382" fmla="*/ 1129665 h 1504950"/>
                <a:gd name="connsiteX383" fmla="*/ 53340 w 1419225"/>
                <a:gd name="connsiteY383" fmla="*/ 1077278 h 1504950"/>
                <a:gd name="connsiteX384" fmla="*/ 45720 w 1419225"/>
                <a:gd name="connsiteY384" fmla="*/ 1053465 h 1504950"/>
                <a:gd name="connsiteX385" fmla="*/ 35243 w 1419225"/>
                <a:gd name="connsiteY385" fmla="*/ 1033463 h 1504950"/>
                <a:gd name="connsiteX386" fmla="*/ 20003 w 1419225"/>
                <a:gd name="connsiteY386" fmla="*/ 1019175 h 1504950"/>
                <a:gd name="connsiteX387" fmla="*/ 0 w 1419225"/>
                <a:gd name="connsiteY387" fmla="*/ 1011555 h 1504950"/>
                <a:gd name="connsiteX388" fmla="*/ 11430 w 1419225"/>
                <a:gd name="connsiteY388" fmla="*/ 968692 h 1504950"/>
                <a:gd name="connsiteX389" fmla="*/ 15240 w 1419225"/>
                <a:gd name="connsiteY389" fmla="*/ 948690 h 1504950"/>
                <a:gd name="connsiteX390" fmla="*/ 16193 w 1419225"/>
                <a:gd name="connsiteY390" fmla="*/ 930592 h 1504950"/>
                <a:gd name="connsiteX391" fmla="*/ 16193 w 1419225"/>
                <a:gd name="connsiteY391" fmla="*/ 926782 h 1504950"/>
                <a:gd name="connsiteX392" fmla="*/ 14288 w 1419225"/>
                <a:gd name="connsiteY392" fmla="*/ 922972 h 1504950"/>
                <a:gd name="connsiteX393" fmla="*/ 13335 w 1419225"/>
                <a:gd name="connsiteY393" fmla="*/ 914400 h 1504950"/>
                <a:gd name="connsiteX394" fmla="*/ 13335 w 1419225"/>
                <a:gd name="connsiteY394" fmla="*/ 906780 h 1504950"/>
                <a:gd name="connsiteX395" fmla="*/ 14288 w 1419225"/>
                <a:gd name="connsiteY395" fmla="*/ 903922 h 1504950"/>
                <a:gd name="connsiteX396" fmla="*/ 17145 w 1419225"/>
                <a:gd name="connsiteY396" fmla="*/ 902970 h 1504950"/>
                <a:gd name="connsiteX397" fmla="*/ 22860 w 1419225"/>
                <a:gd name="connsiteY397" fmla="*/ 902970 h 1504950"/>
                <a:gd name="connsiteX398" fmla="*/ 25718 w 1419225"/>
                <a:gd name="connsiteY398" fmla="*/ 902970 h 1504950"/>
                <a:gd name="connsiteX399" fmla="*/ 28575 w 1419225"/>
                <a:gd name="connsiteY399" fmla="*/ 900113 h 1504950"/>
                <a:gd name="connsiteX400" fmla="*/ 28575 w 1419225"/>
                <a:gd name="connsiteY400" fmla="*/ 897255 h 1504950"/>
                <a:gd name="connsiteX401" fmla="*/ 28575 w 1419225"/>
                <a:gd name="connsiteY401" fmla="*/ 894397 h 1504950"/>
                <a:gd name="connsiteX402" fmla="*/ 25718 w 1419225"/>
                <a:gd name="connsiteY402" fmla="*/ 889635 h 1504950"/>
                <a:gd name="connsiteX403" fmla="*/ 22860 w 1419225"/>
                <a:gd name="connsiteY403" fmla="*/ 884872 h 1504950"/>
                <a:gd name="connsiteX404" fmla="*/ 19050 w 1419225"/>
                <a:gd name="connsiteY404" fmla="*/ 874395 h 1504950"/>
                <a:gd name="connsiteX405" fmla="*/ 17145 w 1419225"/>
                <a:gd name="connsiteY405" fmla="*/ 863917 h 1504950"/>
                <a:gd name="connsiteX406" fmla="*/ 15240 w 1419225"/>
                <a:gd name="connsiteY406" fmla="*/ 820103 h 1504950"/>
                <a:gd name="connsiteX407" fmla="*/ 14288 w 1419225"/>
                <a:gd name="connsiteY407" fmla="*/ 814388 h 1504950"/>
                <a:gd name="connsiteX408" fmla="*/ 12382 w 1419225"/>
                <a:gd name="connsiteY408" fmla="*/ 802957 h 1504950"/>
                <a:gd name="connsiteX409" fmla="*/ 8572 w 1419225"/>
                <a:gd name="connsiteY409" fmla="*/ 789622 h 1504950"/>
                <a:gd name="connsiteX410" fmla="*/ 2857 w 1419225"/>
                <a:gd name="connsiteY410" fmla="*/ 780097 h 1504950"/>
                <a:gd name="connsiteX411" fmla="*/ 953 w 1419225"/>
                <a:gd name="connsiteY411" fmla="*/ 771525 h 1504950"/>
                <a:gd name="connsiteX412" fmla="*/ 0 w 1419225"/>
                <a:gd name="connsiteY412" fmla="*/ 767715 h 1504950"/>
                <a:gd name="connsiteX413" fmla="*/ 953 w 1419225"/>
                <a:gd name="connsiteY413" fmla="*/ 763905 h 1504950"/>
                <a:gd name="connsiteX414" fmla="*/ 2857 w 1419225"/>
                <a:gd name="connsiteY414" fmla="*/ 762000 h 1504950"/>
                <a:gd name="connsiteX415" fmla="*/ 7620 w 1419225"/>
                <a:gd name="connsiteY415" fmla="*/ 759142 h 1504950"/>
                <a:gd name="connsiteX416" fmla="*/ 10478 w 1419225"/>
                <a:gd name="connsiteY416" fmla="*/ 757238 h 1504950"/>
                <a:gd name="connsiteX417" fmla="*/ 13335 w 1419225"/>
                <a:gd name="connsiteY417" fmla="*/ 753428 h 1504950"/>
                <a:gd name="connsiteX418" fmla="*/ 14288 w 1419225"/>
                <a:gd name="connsiteY418" fmla="*/ 749617 h 1504950"/>
                <a:gd name="connsiteX419" fmla="*/ 14288 w 1419225"/>
                <a:gd name="connsiteY419" fmla="*/ 746760 h 1504950"/>
                <a:gd name="connsiteX420" fmla="*/ 13335 w 1419225"/>
                <a:gd name="connsiteY420" fmla="*/ 744855 h 1504950"/>
                <a:gd name="connsiteX421" fmla="*/ 8572 w 1419225"/>
                <a:gd name="connsiteY421" fmla="*/ 737235 h 1504950"/>
                <a:gd name="connsiteX422" fmla="*/ 6668 w 1419225"/>
                <a:gd name="connsiteY422" fmla="*/ 733425 h 1504950"/>
                <a:gd name="connsiteX423" fmla="*/ 4763 w 1419225"/>
                <a:gd name="connsiteY423" fmla="*/ 725805 h 1504950"/>
                <a:gd name="connsiteX424" fmla="*/ 4763 w 1419225"/>
                <a:gd name="connsiteY424" fmla="*/ 721995 h 1504950"/>
                <a:gd name="connsiteX425" fmla="*/ 5715 w 1419225"/>
                <a:gd name="connsiteY425" fmla="*/ 718185 h 1504950"/>
                <a:gd name="connsiteX426" fmla="*/ 8572 w 1419225"/>
                <a:gd name="connsiteY426" fmla="*/ 715328 h 1504950"/>
                <a:gd name="connsiteX427" fmla="*/ 11430 w 1419225"/>
                <a:gd name="connsiteY427" fmla="*/ 704850 h 1504950"/>
                <a:gd name="connsiteX428" fmla="*/ 12382 w 1419225"/>
                <a:gd name="connsiteY428" fmla="*/ 701040 h 1504950"/>
                <a:gd name="connsiteX429" fmla="*/ 14288 w 1419225"/>
                <a:gd name="connsiteY429" fmla="*/ 698182 h 1504950"/>
                <a:gd name="connsiteX430" fmla="*/ 18097 w 1419225"/>
                <a:gd name="connsiteY430" fmla="*/ 696278 h 1504950"/>
                <a:gd name="connsiteX431" fmla="*/ 23813 w 1419225"/>
                <a:gd name="connsiteY431" fmla="*/ 690563 h 1504950"/>
                <a:gd name="connsiteX432" fmla="*/ 27622 w 1419225"/>
                <a:gd name="connsiteY432" fmla="*/ 687705 h 1504950"/>
                <a:gd name="connsiteX433" fmla="*/ 31432 w 1419225"/>
                <a:gd name="connsiteY433" fmla="*/ 683895 h 1504950"/>
                <a:gd name="connsiteX434" fmla="*/ 34290 w 1419225"/>
                <a:gd name="connsiteY434" fmla="*/ 677228 h 1504950"/>
                <a:gd name="connsiteX435" fmla="*/ 36195 w 1419225"/>
                <a:gd name="connsiteY435" fmla="*/ 668655 h 1504950"/>
                <a:gd name="connsiteX436" fmla="*/ 39053 w 1419225"/>
                <a:gd name="connsiteY436" fmla="*/ 663892 h 1504950"/>
                <a:gd name="connsiteX437" fmla="*/ 40957 w 1419225"/>
                <a:gd name="connsiteY437" fmla="*/ 661988 h 1504950"/>
                <a:gd name="connsiteX438" fmla="*/ 49530 w 1419225"/>
                <a:gd name="connsiteY438" fmla="*/ 658178 h 1504950"/>
                <a:gd name="connsiteX439" fmla="*/ 52388 w 1419225"/>
                <a:gd name="connsiteY439" fmla="*/ 654367 h 1504950"/>
                <a:gd name="connsiteX440" fmla="*/ 53340 w 1419225"/>
                <a:gd name="connsiteY440" fmla="*/ 650557 h 1504950"/>
                <a:gd name="connsiteX441" fmla="*/ 53340 w 1419225"/>
                <a:gd name="connsiteY441" fmla="*/ 643890 h 1504950"/>
                <a:gd name="connsiteX442" fmla="*/ 54293 w 1419225"/>
                <a:gd name="connsiteY442" fmla="*/ 641032 h 1504950"/>
                <a:gd name="connsiteX443" fmla="*/ 56197 w 1419225"/>
                <a:gd name="connsiteY443" fmla="*/ 636270 h 1504950"/>
                <a:gd name="connsiteX444" fmla="*/ 58103 w 1419225"/>
                <a:gd name="connsiteY444" fmla="*/ 630555 h 1504950"/>
                <a:gd name="connsiteX445" fmla="*/ 61913 w 1419225"/>
                <a:gd name="connsiteY445" fmla="*/ 620078 h 1504950"/>
                <a:gd name="connsiteX446" fmla="*/ 65722 w 1419225"/>
                <a:gd name="connsiteY446" fmla="*/ 616267 h 1504950"/>
                <a:gd name="connsiteX447" fmla="*/ 68580 w 1419225"/>
                <a:gd name="connsiteY447" fmla="*/ 613410 h 1504950"/>
                <a:gd name="connsiteX448" fmla="*/ 80963 w 1419225"/>
                <a:gd name="connsiteY448" fmla="*/ 613410 h 1504950"/>
                <a:gd name="connsiteX449" fmla="*/ 103822 w 1419225"/>
                <a:gd name="connsiteY449" fmla="*/ 617220 h 1504950"/>
                <a:gd name="connsiteX450" fmla="*/ 106680 w 1419225"/>
                <a:gd name="connsiteY450" fmla="*/ 616267 h 1504950"/>
                <a:gd name="connsiteX451" fmla="*/ 110490 w 1419225"/>
                <a:gd name="connsiteY451" fmla="*/ 613410 h 1504950"/>
                <a:gd name="connsiteX452" fmla="*/ 121920 w 1419225"/>
                <a:gd name="connsiteY452" fmla="*/ 592455 h 1504950"/>
                <a:gd name="connsiteX453" fmla="*/ 125730 w 1419225"/>
                <a:gd name="connsiteY453" fmla="*/ 588645 h 1504950"/>
                <a:gd name="connsiteX454" fmla="*/ 128588 w 1419225"/>
                <a:gd name="connsiteY454" fmla="*/ 586740 h 1504950"/>
                <a:gd name="connsiteX455" fmla="*/ 141922 w 1419225"/>
                <a:gd name="connsiteY455" fmla="*/ 589597 h 1504950"/>
                <a:gd name="connsiteX456" fmla="*/ 149543 w 1419225"/>
                <a:gd name="connsiteY456" fmla="*/ 593407 h 1504950"/>
                <a:gd name="connsiteX457" fmla="*/ 158115 w 1419225"/>
                <a:gd name="connsiteY457" fmla="*/ 599122 h 1504950"/>
                <a:gd name="connsiteX458" fmla="*/ 163830 w 1419225"/>
                <a:gd name="connsiteY458" fmla="*/ 602932 h 1504950"/>
                <a:gd name="connsiteX459" fmla="*/ 166688 w 1419225"/>
                <a:gd name="connsiteY459" fmla="*/ 603885 h 1504950"/>
                <a:gd name="connsiteX460" fmla="*/ 176213 w 1419225"/>
                <a:gd name="connsiteY460" fmla="*/ 604838 h 1504950"/>
                <a:gd name="connsiteX461" fmla="*/ 181928 w 1419225"/>
                <a:gd name="connsiteY461" fmla="*/ 607695 h 1504950"/>
                <a:gd name="connsiteX462" fmla="*/ 192405 w 1419225"/>
                <a:gd name="connsiteY462" fmla="*/ 615315 h 1504950"/>
                <a:gd name="connsiteX463" fmla="*/ 197168 w 1419225"/>
                <a:gd name="connsiteY463" fmla="*/ 618172 h 1504950"/>
                <a:gd name="connsiteX464" fmla="*/ 202882 w 1419225"/>
                <a:gd name="connsiteY464" fmla="*/ 621030 h 1504950"/>
                <a:gd name="connsiteX465" fmla="*/ 208597 w 1419225"/>
                <a:gd name="connsiteY465" fmla="*/ 621982 h 1504950"/>
                <a:gd name="connsiteX466" fmla="*/ 214313 w 1419225"/>
                <a:gd name="connsiteY466" fmla="*/ 621030 h 1504950"/>
                <a:gd name="connsiteX467" fmla="*/ 217170 w 1419225"/>
                <a:gd name="connsiteY467" fmla="*/ 618172 h 1504950"/>
                <a:gd name="connsiteX468" fmla="*/ 227647 w 1419225"/>
                <a:gd name="connsiteY468" fmla="*/ 604838 h 1504950"/>
                <a:gd name="connsiteX469" fmla="*/ 231457 w 1419225"/>
                <a:gd name="connsiteY469" fmla="*/ 601028 h 1504950"/>
                <a:gd name="connsiteX470" fmla="*/ 243840 w 1419225"/>
                <a:gd name="connsiteY470" fmla="*/ 595313 h 1504950"/>
                <a:gd name="connsiteX471" fmla="*/ 260985 w 1419225"/>
                <a:gd name="connsiteY471" fmla="*/ 594360 h 1504950"/>
                <a:gd name="connsiteX472" fmla="*/ 264795 w 1419225"/>
                <a:gd name="connsiteY472" fmla="*/ 593407 h 1504950"/>
                <a:gd name="connsiteX473" fmla="*/ 270510 w 1419225"/>
                <a:gd name="connsiteY473" fmla="*/ 590550 h 1504950"/>
                <a:gd name="connsiteX474" fmla="*/ 272415 w 1419225"/>
                <a:gd name="connsiteY474" fmla="*/ 587692 h 1504950"/>
                <a:gd name="connsiteX475" fmla="*/ 273368 w 1419225"/>
                <a:gd name="connsiteY475" fmla="*/ 583882 h 1504950"/>
                <a:gd name="connsiteX476" fmla="*/ 272415 w 1419225"/>
                <a:gd name="connsiteY476" fmla="*/ 581978 h 1504950"/>
                <a:gd name="connsiteX477" fmla="*/ 270510 w 1419225"/>
                <a:gd name="connsiteY477" fmla="*/ 576263 h 1504950"/>
                <a:gd name="connsiteX478" fmla="*/ 269557 w 1419225"/>
                <a:gd name="connsiteY478" fmla="*/ 570547 h 1504950"/>
                <a:gd name="connsiteX479" fmla="*/ 268605 w 1419225"/>
                <a:gd name="connsiteY479" fmla="*/ 564832 h 1504950"/>
                <a:gd name="connsiteX480" fmla="*/ 268605 w 1419225"/>
                <a:gd name="connsiteY480" fmla="*/ 558165 h 1504950"/>
                <a:gd name="connsiteX481" fmla="*/ 268605 w 1419225"/>
                <a:gd name="connsiteY481" fmla="*/ 551497 h 1504950"/>
                <a:gd name="connsiteX482" fmla="*/ 267653 w 1419225"/>
                <a:gd name="connsiteY482" fmla="*/ 545782 h 1504950"/>
                <a:gd name="connsiteX483" fmla="*/ 264795 w 1419225"/>
                <a:gd name="connsiteY483" fmla="*/ 541020 h 1504950"/>
                <a:gd name="connsiteX484" fmla="*/ 259080 w 1419225"/>
                <a:gd name="connsiteY484" fmla="*/ 532447 h 1504950"/>
                <a:gd name="connsiteX485" fmla="*/ 256222 w 1419225"/>
                <a:gd name="connsiteY485" fmla="*/ 527685 h 1504950"/>
                <a:gd name="connsiteX486" fmla="*/ 255270 w 1419225"/>
                <a:gd name="connsiteY486" fmla="*/ 520065 h 1504950"/>
                <a:gd name="connsiteX487" fmla="*/ 256222 w 1419225"/>
                <a:gd name="connsiteY487" fmla="*/ 514350 h 1504950"/>
                <a:gd name="connsiteX488" fmla="*/ 258128 w 1419225"/>
                <a:gd name="connsiteY488" fmla="*/ 509588 h 1504950"/>
                <a:gd name="connsiteX489" fmla="*/ 260985 w 1419225"/>
                <a:gd name="connsiteY489" fmla="*/ 504825 h 1504950"/>
                <a:gd name="connsiteX490" fmla="*/ 264795 w 1419225"/>
                <a:gd name="connsiteY490" fmla="*/ 499110 h 1504950"/>
                <a:gd name="connsiteX491" fmla="*/ 266700 w 1419225"/>
                <a:gd name="connsiteY491" fmla="*/ 495300 h 1504950"/>
                <a:gd name="connsiteX492" fmla="*/ 266700 w 1419225"/>
                <a:gd name="connsiteY492" fmla="*/ 491490 h 1504950"/>
                <a:gd name="connsiteX493" fmla="*/ 263843 w 1419225"/>
                <a:gd name="connsiteY493" fmla="*/ 484822 h 1504950"/>
                <a:gd name="connsiteX494" fmla="*/ 257175 w 1419225"/>
                <a:gd name="connsiteY494" fmla="*/ 476250 h 1504950"/>
                <a:gd name="connsiteX495" fmla="*/ 255270 w 1419225"/>
                <a:gd name="connsiteY495" fmla="*/ 474345 h 1504950"/>
                <a:gd name="connsiteX496" fmla="*/ 253365 w 1419225"/>
                <a:gd name="connsiteY496" fmla="*/ 469582 h 1504950"/>
                <a:gd name="connsiteX497" fmla="*/ 253365 w 1419225"/>
                <a:gd name="connsiteY497" fmla="*/ 461963 h 1504950"/>
                <a:gd name="connsiteX498" fmla="*/ 254318 w 1419225"/>
                <a:gd name="connsiteY498" fmla="*/ 454342 h 1504950"/>
                <a:gd name="connsiteX499" fmla="*/ 254318 w 1419225"/>
                <a:gd name="connsiteY499" fmla="*/ 450532 h 1504950"/>
                <a:gd name="connsiteX500" fmla="*/ 253365 w 1419225"/>
                <a:gd name="connsiteY500" fmla="*/ 448628 h 1504950"/>
                <a:gd name="connsiteX501" fmla="*/ 251460 w 1419225"/>
                <a:gd name="connsiteY501" fmla="*/ 446722 h 1504950"/>
                <a:gd name="connsiteX502" fmla="*/ 249555 w 1419225"/>
                <a:gd name="connsiteY502" fmla="*/ 444817 h 1504950"/>
                <a:gd name="connsiteX503" fmla="*/ 240982 w 1419225"/>
                <a:gd name="connsiteY503" fmla="*/ 442913 h 1504950"/>
                <a:gd name="connsiteX504" fmla="*/ 236220 w 1419225"/>
                <a:gd name="connsiteY504" fmla="*/ 440055 h 1504950"/>
                <a:gd name="connsiteX505" fmla="*/ 234315 w 1419225"/>
                <a:gd name="connsiteY505" fmla="*/ 434340 h 1504950"/>
                <a:gd name="connsiteX506" fmla="*/ 233363 w 1419225"/>
                <a:gd name="connsiteY506" fmla="*/ 425767 h 1504950"/>
                <a:gd name="connsiteX507" fmla="*/ 232410 w 1419225"/>
                <a:gd name="connsiteY507" fmla="*/ 422910 h 1504950"/>
                <a:gd name="connsiteX508" fmla="*/ 230505 w 1419225"/>
                <a:gd name="connsiteY508" fmla="*/ 417195 h 1504950"/>
                <a:gd name="connsiteX509" fmla="*/ 228600 w 1419225"/>
                <a:gd name="connsiteY509" fmla="*/ 414338 h 1504950"/>
                <a:gd name="connsiteX510" fmla="*/ 227647 w 1419225"/>
                <a:gd name="connsiteY510" fmla="*/ 409575 h 1504950"/>
                <a:gd name="connsiteX511" fmla="*/ 228600 w 1419225"/>
                <a:gd name="connsiteY511" fmla="*/ 405765 h 1504950"/>
                <a:gd name="connsiteX512" fmla="*/ 230505 w 1419225"/>
                <a:gd name="connsiteY512" fmla="*/ 402907 h 1504950"/>
                <a:gd name="connsiteX513" fmla="*/ 246697 w 1419225"/>
                <a:gd name="connsiteY513" fmla="*/ 397192 h 1504950"/>
                <a:gd name="connsiteX514" fmla="*/ 249555 w 1419225"/>
                <a:gd name="connsiteY514" fmla="*/ 395288 h 1504950"/>
                <a:gd name="connsiteX515" fmla="*/ 250507 w 1419225"/>
                <a:gd name="connsiteY515" fmla="*/ 392430 h 1504950"/>
                <a:gd name="connsiteX516" fmla="*/ 250507 w 1419225"/>
                <a:gd name="connsiteY516" fmla="*/ 389572 h 1504950"/>
                <a:gd name="connsiteX517" fmla="*/ 246697 w 1419225"/>
                <a:gd name="connsiteY517" fmla="*/ 379095 h 1504950"/>
                <a:gd name="connsiteX518" fmla="*/ 244793 w 1419225"/>
                <a:gd name="connsiteY518" fmla="*/ 374332 h 1504950"/>
                <a:gd name="connsiteX519" fmla="*/ 241935 w 1419225"/>
                <a:gd name="connsiteY519" fmla="*/ 369570 h 1504950"/>
                <a:gd name="connsiteX520" fmla="*/ 240030 w 1419225"/>
                <a:gd name="connsiteY520" fmla="*/ 367665 h 1504950"/>
                <a:gd name="connsiteX521" fmla="*/ 207645 w 1419225"/>
                <a:gd name="connsiteY521" fmla="*/ 367665 h 1504950"/>
                <a:gd name="connsiteX522" fmla="*/ 200978 w 1419225"/>
                <a:gd name="connsiteY522" fmla="*/ 366713 h 1504950"/>
                <a:gd name="connsiteX523" fmla="*/ 198120 w 1419225"/>
                <a:gd name="connsiteY523" fmla="*/ 364807 h 1504950"/>
                <a:gd name="connsiteX524" fmla="*/ 196215 w 1419225"/>
                <a:gd name="connsiteY524" fmla="*/ 362903 h 1504950"/>
                <a:gd name="connsiteX525" fmla="*/ 194310 w 1419225"/>
                <a:gd name="connsiteY525" fmla="*/ 360045 h 1504950"/>
                <a:gd name="connsiteX526" fmla="*/ 193357 w 1419225"/>
                <a:gd name="connsiteY526" fmla="*/ 354330 h 1504950"/>
                <a:gd name="connsiteX527" fmla="*/ 194310 w 1419225"/>
                <a:gd name="connsiteY527" fmla="*/ 350520 h 1504950"/>
                <a:gd name="connsiteX528" fmla="*/ 195263 w 1419225"/>
                <a:gd name="connsiteY528" fmla="*/ 347663 h 1504950"/>
                <a:gd name="connsiteX529" fmla="*/ 197168 w 1419225"/>
                <a:gd name="connsiteY529" fmla="*/ 345757 h 1504950"/>
                <a:gd name="connsiteX530" fmla="*/ 203835 w 1419225"/>
                <a:gd name="connsiteY530" fmla="*/ 340995 h 1504950"/>
                <a:gd name="connsiteX531" fmla="*/ 206693 w 1419225"/>
                <a:gd name="connsiteY531" fmla="*/ 338138 h 1504950"/>
                <a:gd name="connsiteX532" fmla="*/ 206693 w 1419225"/>
                <a:gd name="connsiteY532" fmla="*/ 336232 h 1504950"/>
                <a:gd name="connsiteX533" fmla="*/ 205740 w 1419225"/>
                <a:gd name="connsiteY533" fmla="*/ 333375 h 1504950"/>
                <a:gd name="connsiteX534" fmla="*/ 203835 w 1419225"/>
                <a:gd name="connsiteY534" fmla="*/ 331470 h 1504950"/>
                <a:gd name="connsiteX535" fmla="*/ 188595 w 1419225"/>
                <a:gd name="connsiteY535" fmla="*/ 320040 h 1504950"/>
                <a:gd name="connsiteX536" fmla="*/ 187643 w 1419225"/>
                <a:gd name="connsiteY536" fmla="*/ 316230 h 1504950"/>
                <a:gd name="connsiteX537" fmla="*/ 186690 w 1419225"/>
                <a:gd name="connsiteY537" fmla="*/ 311467 h 1504950"/>
                <a:gd name="connsiteX538" fmla="*/ 186690 w 1419225"/>
                <a:gd name="connsiteY538" fmla="*/ 299085 h 1504950"/>
                <a:gd name="connsiteX539" fmla="*/ 188595 w 1419225"/>
                <a:gd name="connsiteY539" fmla="*/ 293370 h 1504950"/>
                <a:gd name="connsiteX540" fmla="*/ 190500 w 1419225"/>
                <a:gd name="connsiteY540" fmla="*/ 289560 h 1504950"/>
                <a:gd name="connsiteX541" fmla="*/ 192405 w 1419225"/>
                <a:gd name="connsiteY541" fmla="*/ 288607 h 1504950"/>
                <a:gd name="connsiteX542" fmla="*/ 198120 w 1419225"/>
                <a:gd name="connsiteY542" fmla="*/ 287655 h 1504950"/>
                <a:gd name="connsiteX543" fmla="*/ 200978 w 1419225"/>
                <a:gd name="connsiteY543" fmla="*/ 288607 h 1504950"/>
                <a:gd name="connsiteX544" fmla="*/ 205740 w 1419225"/>
                <a:gd name="connsiteY544" fmla="*/ 291465 h 1504950"/>
                <a:gd name="connsiteX545" fmla="*/ 209550 w 1419225"/>
                <a:gd name="connsiteY545" fmla="*/ 291465 h 1504950"/>
                <a:gd name="connsiteX546" fmla="*/ 213360 w 1419225"/>
                <a:gd name="connsiteY546" fmla="*/ 288607 h 1504950"/>
                <a:gd name="connsiteX547" fmla="*/ 218122 w 1419225"/>
                <a:gd name="connsiteY547" fmla="*/ 281940 h 1504950"/>
                <a:gd name="connsiteX548" fmla="*/ 219075 w 1419225"/>
                <a:gd name="connsiteY548" fmla="*/ 277177 h 1504950"/>
                <a:gd name="connsiteX549" fmla="*/ 219075 w 1419225"/>
                <a:gd name="connsiteY549" fmla="*/ 273367 h 1504950"/>
                <a:gd name="connsiteX550" fmla="*/ 217170 w 1419225"/>
                <a:gd name="connsiteY550" fmla="*/ 271463 h 1504950"/>
                <a:gd name="connsiteX551" fmla="*/ 211455 w 1419225"/>
                <a:gd name="connsiteY551" fmla="*/ 265747 h 1504950"/>
                <a:gd name="connsiteX552" fmla="*/ 209550 w 1419225"/>
                <a:gd name="connsiteY552" fmla="*/ 262890 h 1504950"/>
                <a:gd name="connsiteX553" fmla="*/ 208597 w 1419225"/>
                <a:gd name="connsiteY553" fmla="*/ 260032 h 1504950"/>
                <a:gd name="connsiteX554" fmla="*/ 208597 w 1419225"/>
                <a:gd name="connsiteY554" fmla="*/ 257175 h 1504950"/>
                <a:gd name="connsiteX555" fmla="*/ 210503 w 1419225"/>
                <a:gd name="connsiteY555" fmla="*/ 254317 h 1504950"/>
                <a:gd name="connsiteX556" fmla="*/ 215265 w 1419225"/>
                <a:gd name="connsiteY556" fmla="*/ 247650 h 1504950"/>
                <a:gd name="connsiteX557" fmla="*/ 231457 w 1419225"/>
                <a:gd name="connsiteY557" fmla="*/ 215265 h 1504950"/>
                <a:gd name="connsiteX558" fmla="*/ 233363 w 1419225"/>
                <a:gd name="connsiteY558" fmla="*/ 209550 h 1504950"/>
                <a:gd name="connsiteX559" fmla="*/ 234315 w 1419225"/>
                <a:gd name="connsiteY559" fmla="*/ 204788 h 1504950"/>
                <a:gd name="connsiteX560" fmla="*/ 234315 w 1419225"/>
                <a:gd name="connsiteY560" fmla="*/ 201930 h 1504950"/>
                <a:gd name="connsiteX561" fmla="*/ 232410 w 1419225"/>
                <a:gd name="connsiteY561" fmla="*/ 196215 h 1504950"/>
                <a:gd name="connsiteX562" fmla="*/ 230505 w 1419225"/>
                <a:gd name="connsiteY562" fmla="*/ 191452 h 1504950"/>
                <a:gd name="connsiteX563" fmla="*/ 226695 w 1419225"/>
                <a:gd name="connsiteY563" fmla="*/ 187642 h 1504950"/>
                <a:gd name="connsiteX564" fmla="*/ 222885 w 1419225"/>
                <a:gd name="connsiteY564" fmla="*/ 183832 h 1504950"/>
                <a:gd name="connsiteX565" fmla="*/ 218122 w 1419225"/>
                <a:gd name="connsiteY565" fmla="*/ 180975 h 1504950"/>
                <a:gd name="connsiteX566" fmla="*/ 204788 w 1419225"/>
                <a:gd name="connsiteY566" fmla="*/ 174307 h 1504950"/>
                <a:gd name="connsiteX567" fmla="*/ 202882 w 1419225"/>
                <a:gd name="connsiteY567" fmla="*/ 172402 h 1504950"/>
                <a:gd name="connsiteX568" fmla="*/ 200978 w 1419225"/>
                <a:gd name="connsiteY568" fmla="*/ 169545 h 1504950"/>
                <a:gd name="connsiteX569" fmla="*/ 200025 w 1419225"/>
                <a:gd name="connsiteY569" fmla="*/ 165735 h 1504950"/>
                <a:gd name="connsiteX570" fmla="*/ 200025 w 1419225"/>
                <a:gd name="connsiteY570" fmla="*/ 161925 h 1504950"/>
                <a:gd name="connsiteX571" fmla="*/ 200978 w 1419225"/>
                <a:gd name="connsiteY571" fmla="*/ 159067 h 1504950"/>
                <a:gd name="connsiteX572" fmla="*/ 206693 w 1419225"/>
                <a:gd name="connsiteY572" fmla="*/ 148590 h 1504950"/>
                <a:gd name="connsiteX573" fmla="*/ 207645 w 1419225"/>
                <a:gd name="connsiteY573" fmla="*/ 145732 h 1504950"/>
                <a:gd name="connsiteX574" fmla="*/ 209550 w 1419225"/>
                <a:gd name="connsiteY574" fmla="*/ 144780 h 1504950"/>
                <a:gd name="connsiteX575" fmla="*/ 212407 w 1419225"/>
                <a:gd name="connsiteY575" fmla="*/ 144780 h 1504950"/>
                <a:gd name="connsiteX576" fmla="*/ 225743 w 1419225"/>
                <a:gd name="connsiteY576" fmla="*/ 147638 h 1504950"/>
                <a:gd name="connsiteX577" fmla="*/ 228600 w 1419225"/>
                <a:gd name="connsiteY577" fmla="*/ 147638 h 1504950"/>
                <a:gd name="connsiteX578" fmla="*/ 233363 w 1419225"/>
                <a:gd name="connsiteY578" fmla="*/ 144780 h 1504950"/>
                <a:gd name="connsiteX579" fmla="*/ 238125 w 1419225"/>
                <a:gd name="connsiteY579" fmla="*/ 140970 h 1504950"/>
                <a:gd name="connsiteX580" fmla="*/ 241935 w 1419225"/>
                <a:gd name="connsiteY580" fmla="*/ 136207 h 1504950"/>
                <a:gd name="connsiteX581" fmla="*/ 245745 w 1419225"/>
                <a:gd name="connsiteY581" fmla="*/ 130492 h 1504950"/>
                <a:gd name="connsiteX582" fmla="*/ 245745 w 1419225"/>
                <a:gd name="connsiteY582" fmla="*/ 127635 h 1504950"/>
                <a:gd name="connsiteX583" fmla="*/ 243840 w 1419225"/>
                <a:gd name="connsiteY583" fmla="*/ 124777 h 1504950"/>
                <a:gd name="connsiteX584" fmla="*/ 234315 w 1419225"/>
                <a:gd name="connsiteY584" fmla="*/ 118110 h 1504950"/>
                <a:gd name="connsiteX585" fmla="*/ 232410 w 1419225"/>
                <a:gd name="connsiteY585" fmla="*/ 116205 h 1504950"/>
                <a:gd name="connsiteX586" fmla="*/ 233363 w 1419225"/>
                <a:gd name="connsiteY586" fmla="*/ 115252 h 1504950"/>
                <a:gd name="connsiteX587" fmla="*/ 235268 w 1419225"/>
                <a:gd name="connsiteY587" fmla="*/ 114300 h 1504950"/>
                <a:gd name="connsiteX588" fmla="*/ 245745 w 1419225"/>
                <a:gd name="connsiteY588" fmla="*/ 113347 h 1504950"/>
                <a:gd name="connsiteX589" fmla="*/ 252413 w 1419225"/>
                <a:gd name="connsiteY589" fmla="*/ 111442 h 1504950"/>
                <a:gd name="connsiteX590" fmla="*/ 261938 w 1419225"/>
                <a:gd name="connsiteY590" fmla="*/ 99060 h 1504950"/>
                <a:gd name="connsiteX591" fmla="*/ 308610 w 1419225"/>
                <a:gd name="connsiteY591" fmla="*/ 93345 h 1504950"/>
                <a:gd name="connsiteX592" fmla="*/ 344805 w 1419225"/>
                <a:gd name="connsiteY592" fmla="*/ 99060 h 1504950"/>
                <a:gd name="connsiteX593" fmla="*/ 361950 w 1419225"/>
                <a:gd name="connsiteY593" fmla="*/ 97155 h 1504950"/>
                <a:gd name="connsiteX594" fmla="*/ 406718 w 1419225"/>
                <a:gd name="connsiteY594" fmla="*/ 84772 h 1504950"/>
                <a:gd name="connsiteX595" fmla="*/ 458153 w 1419225"/>
                <a:gd name="connsiteY595" fmla="*/ 82867 h 1504950"/>
                <a:gd name="connsiteX596" fmla="*/ 462915 w 1419225"/>
                <a:gd name="connsiteY596" fmla="*/ 80963 h 1504950"/>
                <a:gd name="connsiteX597" fmla="*/ 472440 w 1419225"/>
                <a:gd name="connsiteY597" fmla="*/ 76200 h 1504950"/>
                <a:gd name="connsiteX598" fmla="*/ 477203 w 1419225"/>
                <a:gd name="connsiteY598" fmla="*/ 76200 h 1504950"/>
                <a:gd name="connsiteX599" fmla="*/ 482918 w 1419225"/>
                <a:gd name="connsiteY599" fmla="*/ 77152 h 1504950"/>
                <a:gd name="connsiteX600" fmla="*/ 507682 w 1419225"/>
                <a:gd name="connsiteY600" fmla="*/ 89535 h 1504950"/>
                <a:gd name="connsiteX601" fmla="*/ 512445 w 1419225"/>
                <a:gd name="connsiteY601" fmla="*/ 89535 h 1504950"/>
                <a:gd name="connsiteX602" fmla="*/ 518160 w 1419225"/>
                <a:gd name="connsiteY602" fmla="*/ 89535 h 1504950"/>
                <a:gd name="connsiteX603" fmla="*/ 528638 w 1419225"/>
                <a:gd name="connsiteY603" fmla="*/ 88582 h 1504950"/>
                <a:gd name="connsiteX604" fmla="*/ 537210 w 1419225"/>
                <a:gd name="connsiteY604" fmla="*/ 85725 h 1504950"/>
                <a:gd name="connsiteX605" fmla="*/ 541972 w 1419225"/>
                <a:gd name="connsiteY605" fmla="*/ 80963 h 1504950"/>
                <a:gd name="connsiteX606" fmla="*/ 551497 w 1419225"/>
                <a:gd name="connsiteY606" fmla="*/ 62865 h 1504950"/>
                <a:gd name="connsiteX607" fmla="*/ 553403 w 1419225"/>
                <a:gd name="connsiteY607" fmla="*/ 60960 h 1504950"/>
                <a:gd name="connsiteX608" fmla="*/ 559118 w 1419225"/>
                <a:gd name="connsiteY608" fmla="*/ 60007 h 1504950"/>
                <a:gd name="connsiteX609" fmla="*/ 605790 w 1419225"/>
                <a:gd name="connsiteY609" fmla="*/ 60960 h 1504950"/>
                <a:gd name="connsiteX610" fmla="*/ 610553 w 1419225"/>
                <a:gd name="connsiteY610" fmla="*/ 61913 h 1504950"/>
                <a:gd name="connsiteX611" fmla="*/ 623888 w 1419225"/>
                <a:gd name="connsiteY611" fmla="*/ 69532 h 1504950"/>
                <a:gd name="connsiteX612" fmla="*/ 626745 w 1419225"/>
                <a:gd name="connsiteY612" fmla="*/ 72390 h 1504950"/>
                <a:gd name="connsiteX613" fmla="*/ 630555 w 1419225"/>
                <a:gd name="connsiteY613" fmla="*/ 76200 h 1504950"/>
                <a:gd name="connsiteX614" fmla="*/ 632460 w 1419225"/>
                <a:gd name="connsiteY614" fmla="*/ 77152 h 1504950"/>
                <a:gd name="connsiteX615" fmla="*/ 643890 w 1419225"/>
                <a:gd name="connsiteY615" fmla="*/ 75247 h 1504950"/>
                <a:gd name="connsiteX616" fmla="*/ 651510 w 1419225"/>
                <a:gd name="connsiteY616" fmla="*/ 72390 h 1504950"/>
                <a:gd name="connsiteX617" fmla="*/ 661035 w 1419225"/>
                <a:gd name="connsiteY617" fmla="*/ 66675 h 1504950"/>
                <a:gd name="connsiteX618" fmla="*/ 663893 w 1419225"/>
                <a:gd name="connsiteY618" fmla="*/ 65722 h 1504950"/>
                <a:gd name="connsiteX619" fmla="*/ 666750 w 1419225"/>
                <a:gd name="connsiteY619" fmla="*/ 65722 h 1504950"/>
                <a:gd name="connsiteX620" fmla="*/ 706755 w 1419225"/>
                <a:gd name="connsiteY620" fmla="*/ 72390 h 1504950"/>
                <a:gd name="connsiteX621" fmla="*/ 711518 w 1419225"/>
                <a:gd name="connsiteY621" fmla="*/ 71438 h 1504950"/>
                <a:gd name="connsiteX622" fmla="*/ 714375 w 1419225"/>
                <a:gd name="connsiteY622" fmla="*/ 69532 h 1504950"/>
                <a:gd name="connsiteX623" fmla="*/ 717232 w 1419225"/>
                <a:gd name="connsiteY623" fmla="*/ 64770 h 1504950"/>
                <a:gd name="connsiteX624" fmla="*/ 721043 w 1419225"/>
                <a:gd name="connsiteY624" fmla="*/ 53340 h 1504950"/>
                <a:gd name="connsiteX625" fmla="*/ 727710 w 1419225"/>
                <a:gd name="connsiteY625" fmla="*/ 40005 h 1504950"/>
                <a:gd name="connsiteX626" fmla="*/ 731520 w 1419225"/>
                <a:gd name="connsiteY626" fmla="*/ 36195 h 1504950"/>
                <a:gd name="connsiteX627" fmla="*/ 738188 w 1419225"/>
                <a:gd name="connsiteY627" fmla="*/ 31432 h 1504950"/>
                <a:gd name="connsiteX628" fmla="*/ 750570 w 1419225"/>
                <a:gd name="connsiteY628" fmla="*/ 26670 h 1504950"/>
                <a:gd name="connsiteX629" fmla="*/ 755332 w 1419225"/>
                <a:gd name="connsiteY629" fmla="*/ 23813 h 1504950"/>
                <a:gd name="connsiteX630" fmla="*/ 759143 w 1419225"/>
                <a:gd name="connsiteY630" fmla="*/ 20002 h 1504950"/>
                <a:gd name="connsiteX631" fmla="*/ 762000 w 1419225"/>
                <a:gd name="connsiteY631" fmla="*/ 15240 h 1504950"/>
                <a:gd name="connsiteX632" fmla="*/ 764857 w 1419225"/>
                <a:gd name="connsiteY632" fmla="*/ 9525 h 1504950"/>
                <a:gd name="connsiteX633" fmla="*/ 765810 w 1419225"/>
                <a:gd name="connsiteY633" fmla="*/ 2857 h 1504950"/>
                <a:gd name="connsiteX634" fmla="*/ 768668 w 1419225"/>
                <a:gd name="connsiteY634" fmla="*/ 952 h 1504950"/>
                <a:gd name="connsiteX635" fmla="*/ 772478 w 1419225"/>
                <a:gd name="connsiteY635" fmla="*/ 0 h 1504950"/>
                <a:gd name="connsiteX636" fmla="*/ 805815 w 1419225"/>
                <a:gd name="connsiteY636" fmla="*/ 4763 h 1504950"/>
                <a:gd name="connsiteX637" fmla="*/ 808672 w 1419225"/>
                <a:gd name="connsiteY637" fmla="*/ 5715 h 1504950"/>
                <a:gd name="connsiteX638" fmla="*/ 811530 w 1419225"/>
                <a:gd name="connsiteY638" fmla="*/ 7620 h 1504950"/>
                <a:gd name="connsiteX639" fmla="*/ 812482 w 1419225"/>
                <a:gd name="connsiteY639" fmla="*/ 10477 h 1504950"/>
                <a:gd name="connsiteX640" fmla="*/ 810578 w 1419225"/>
                <a:gd name="connsiteY640" fmla="*/ 16192 h 1504950"/>
                <a:gd name="connsiteX641" fmla="*/ 811530 w 1419225"/>
                <a:gd name="connsiteY641" fmla="*/ 20002 h 1504950"/>
                <a:gd name="connsiteX642" fmla="*/ 814388 w 1419225"/>
                <a:gd name="connsiteY642" fmla="*/ 24765 h 1504950"/>
                <a:gd name="connsiteX643" fmla="*/ 822960 w 1419225"/>
                <a:gd name="connsiteY643" fmla="*/ 33338 h 1504950"/>
                <a:gd name="connsiteX644" fmla="*/ 825818 w 1419225"/>
                <a:gd name="connsiteY644" fmla="*/ 38100 h 1504950"/>
                <a:gd name="connsiteX645" fmla="*/ 826770 w 1419225"/>
                <a:gd name="connsiteY645" fmla="*/ 40957 h 1504950"/>
                <a:gd name="connsiteX646" fmla="*/ 824865 w 1419225"/>
                <a:gd name="connsiteY646" fmla="*/ 48577 h 1504950"/>
                <a:gd name="connsiteX647" fmla="*/ 825818 w 1419225"/>
                <a:gd name="connsiteY647" fmla="*/ 51435 h 1504950"/>
                <a:gd name="connsiteX648" fmla="*/ 827722 w 1419225"/>
                <a:gd name="connsiteY648" fmla="*/ 60007 h 1504950"/>
                <a:gd name="connsiteX649" fmla="*/ 827722 w 1419225"/>
                <a:gd name="connsiteY649" fmla="*/ 62865 h 1504950"/>
                <a:gd name="connsiteX650" fmla="*/ 827722 w 1419225"/>
                <a:gd name="connsiteY650" fmla="*/ 69532 h 1504950"/>
                <a:gd name="connsiteX651" fmla="*/ 827722 w 1419225"/>
                <a:gd name="connsiteY651" fmla="*/ 72390 h 1504950"/>
                <a:gd name="connsiteX652" fmla="*/ 828675 w 1419225"/>
                <a:gd name="connsiteY652" fmla="*/ 76200 h 1504950"/>
                <a:gd name="connsiteX653" fmla="*/ 837247 w 1419225"/>
                <a:gd name="connsiteY653" fmla="*/ 95250 h 1504950"/>
                <a:gd name="connsiteX654" fmla="*/ 842010 w 1419225"/>
                <a:gd name="connsiteY654" fmla="*/ 101917 h 1504950"/>
                <a:gd name="connsiteX655" fmla="*/ 844868 w 1419225"/>
                <a:gd name="connsiteY655" fmla="*/ 105727 h 1504950"/>
                <a:gd name="connsiteX656" fmla="*/ 860107 w 1419225"/>
                <a:gd name="connsiteY656" fmla="*/ 117157 h 1504950"/>
                <a:gd name="connsiteX657" fmla="*/ 861060 w 1419225"/>
                <a:gd name="connsiteY657" fmla="*/ 120015 h 1504950"/>
                <a:gd name="connsiteX658" fmla="*/ 861060 w 1419225"/>
                <a:gd name="connsiteY658" fmla="*/ 122872 h 1504950"/>
                <a:gd name="connsiteX659" fmla="*/ 836295 w 1419225"/>
                <a:gd name="connsiteY659" fmla="*/ 155257 h 1504950"/>
                <a:gd name="connsiteX660" fmla="*/ 833438 w 1419225"/>
                <a:gd name="connsiteY660" fmla="*/ 160020 h 1504950"/>
                <a:gd name="connsiteX661" fmla="*/ 831532 w 1419225"/>
                <a:gd name="connsiteY661" fmla="*/ 165735 h 1504950"/>
                <a:gd name="connsiteX662" fmla="*/ 831532 w 1419225"/>
                <a:gd name="connsiteY662" fmla="*/ 169545 h 1504950"/>
                <a:gd name="connsiteX663" fmla="*/ 834390 w 1419225"/>
                <a:gd name="connsiteY663" fmla="*/ 171450 h 1504950"/>
                <a:gd name="connsiteX664" fmla="*/ 843915 w 1419225"/>
                <a:gd name="connsiteY664" fmla="*/ 179070 h 1504950"/>
                <a:gd name="connsiteX665" fmla="*/ 846772 w 1419225"/>
                <a:gd name="connsiteY665" fmla="*/ 182880 h 1504950"/>
                <a:gd name="connsiteX666" fmla="*/ 847725 w 1419225"/>
                <a:gd name="connsiteY666" fmla="*/ 186690 h 1504950"/>
                <a:gd name="connsiteX667" fmla="*/ 848678 w 1419225"/>
                <a:gd name="connsiteY667" fmla="*/ 192405 h 1504950"/>
                <a:gd name="connsiteX668" fmla="*/ 849630 w 1419225"/>
                <a:gd name="connsiteY668" fmla="*/ 195263 h 1504950"/>
                <a:gd name="connsiteX669" fmla="*/ 856297 w 1419225"/>
                <a:gd name="connsiteY669" fmla="*/ 205740 h 1504950"/>
                <a:gd name="connsiteX670" fmla="*/ 857250 w 1419225"/>
                <a:gd name="connsiteY670" fmla="*/ 208597 h 1504950"/>
                <a:gd name="connsiteX671" fmla="*/ 857250 w 1419225"/>
                <a:gd name="connsiteY671" fmla="*/ 210502 h 1504950"/>
                <a:gd name="connsiteX672" fmla="*/ 855345 w 1419225"/>
                <a:gd name="connsiteY672" fmla="*/ 216217 h 1504950"/>
                <a:gd name="connsiteX673" fmla="*/ 849630 w 1419225"/>
                <a:gd name="connsiteY673" fmla="*/ 221932 h 1504950"/>
                <a:gd name="connsiteX674" fmla="*/ 848678 w 1419225"/>
                <a:gd name="connsiteY674" fmla="*/ 223838 h 1504950"/>
                <a:gd name="connsiteX675" fmla="*/ 847725 w 1419225"/>
                <a:gd name="connsiteY675" fmla="*/ 226695 h 1504950"/>
                <a:gd name="connsiteX676" fmla="*/ 849630 w 1419225"/>
                <a:gd name="connsiteY676" fmla="*/ 231457 h 1504950"/>
                <a:gd name="connsiteX677" fmla="*/ 855345 w 1419225"/>
                <a:gd name="connsiteY677" fmla="*/ 235267 h 1504950"/>
                <a:gd name="connsiteX678" fmla="*/ 860107 w 1419225"/>
                <a:gd name="connsiteY678" fmla="*/ 237172 h 1504950"/>
                <a:gd name="connsiteX679" fmla="*/ 871538 w 1419225"/>
                <a:gd name="connsiteY679" fmla="*/ 240030 h 1504950"/>
                <a:gd name="connsiteX680" fmla="*/ 891540 w 1419225"/>
                <a:gd name="connsiteY680" fmla="*/ 238125 h 1504950"/>
                <a:gd name="connsiteX681" fmla="*/ 928688 w 1419225"/>
                <a:gd name="connsiteY681" fmla="*/ 244792 h 1504950"/>
                <a:gd name="connsiteX682" fmla="*/ 984885 w 1419225"/>
                <a:gd name="connsiteY682" fmla="*/ 240982 h 1504950"/>
                <a:gd name="connsiteX683" fmla="*/ 995363 w 1419225"/>
                <a:gd name="connsiteY683" fmla="*/ 241935 h 1504950"/>
                <a:gd name="connsiteX684" fmla="*/ 998220 w 1419225"/>
                <a:gd name="connsiteY684" fmla="*/ 241935 h 1504950"/>
                <a:gd name="connsiteX685" fmla="*/ 1001078 w 1419225"/>
                <a:gd name="connsiteY685" fmla="*/ 240982 h 1504950"/>
                <a:gd name="connsiteX686" fmla="*/ 1002030 w 1419225"/>
                <a:gd name="connsiteY686" fmla="*/ 237172 h 1504950"/>
                <a:gd name="connsiteX687" fmla="*/ 1002030 w 1419225"/>
                <a:gd name="connsiteY687" fmla="*/ 229552 h 1504950"/>
                <a:gd name="connsiteX688" fmla="*/ 1003935 w 1419225"/>
                <a:gd name="connsiteY688" fmla="*/ 222885 h 1504950"/>
                <a:gd name="connsiteX689" fmla="*/ 1007745 w 1419225"/>
                <a:gd name="connsiteY689" fmla="*/ 220027 h 1504950"/>
                <a:gd name="connsiteX690" fmla="*/ 1014413 w 1419225"/>
                <a:gd name="connsiteY690" fmla="*/ 218122 h 1504950"/>
                <a:gd name="connsiteX691" fmla="*/ 1036320 w 1419225"/>
                <a:gd name="connsiteY691" fmla="*/ 215265 h 1504950"/>
                <a:gd name="connsiteX692" fmla="*/ 1045845 w 1419225"/>
                <a:gd name="connsiteY692" fmla="*/ 216217 h 1504950"/>
                <a:gd name="connsiteX693" fmla="*/ 1050607 w 1419225"/>
                <a:gd name="connsiteY693" fmla="*/ 214313 h 1504950"/>
                <a:gd name="connsiteX694" fmla="*/ 1055370 w 1419225"/>
                <a:gd name="connsiteY694" fmla="*/ 211455 h 1504950"/>
                <a:gd name="connsiteX695" fmla="*/ 1072515 w 1419225"/>
                <a:gd name="connsiteY695" fmla="*/ 195263 h 1504950"/>
                <a:gd name="connsiteX696" fmla="*/ 1076325 w 1419225"/>
                <a:gd name="connsiteY696" fmla="*/ 190500 h 1504950"/>
                <a:gd name="connsiteX697" fmla="*/ 1082040 w 1419225"/>
                <a:gd name="connsiteY697" fmla="*/ 187642 h 1504950"/>
                <a:gd name="connsiteX698" fmla="*/ 1094423 w 1419225"/>
                <a:gd name="connsiteY698" fmla="*/ 188595 h 150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</a:cxnLst>
              <a:rect l="l" t="t" r="r" b="b"/>
              <a:pathLst>
                <a:path w="1419225" h="1504950">
                  <a:moveTo>
                    <a:pt x="1094423" y="188595"/>
                  </a:moveTo>
                  <a:lnTo>
                    <a:pt x="1121093" y="192405"/>
                  </a:lnTo>
                  <a:lnTo>
                    <a:pt x="1123950" y="194310"/>
                  </a:lnTo>
                  <a:lnTo>
                    <a:pt x="1128713" y="197167"/>
                  </a:lnTo>
                  <a:lnTo>
                    <a:pt x="1129665" y="200025"/>
                  </a:lnTo>
                  <a:lnTo>
                    <a:pt x="1130618" y="202882"/>
                  </a:lnTo>
                  <a:lnTo>
                    <a:pt x="1129665" y="208597"/>
                  </a:lnTo>
                  <a:lnTo>
                    <a:pt x="1127760" y="216217"/>
                  </a:lnTo>
                  <a:lnTo>
                    <a:pt x="1122045" y="226695"/>
                  </a:lnTo>
                  <a:lnTo>
                    <a:pt x="1121093" y="229552"/>
                  </a:lnTo>
                  <a:lnTo>
                    <a:pt x="1120140" y="236220"/>
                  </a:lnTo>
                  <a:lnTo>
                    <a:pt x="1120140" y="242888"/>
                  </a:lnTo>
                  <a:lnTo>
                    <a:pt x="1121093" y="251460"/>
                  </a:lnTo>
                  <a:lnTo>
                    <a:pt x="1122045" y="255270"/>
                  </a:lnTo>
                  <a:lnTo>
                    <a:pt x="1123950" y="260032"/>
                  </a:lnTo>
                  <a:lnTo>
                    <a:pt x="1127760" y="265747"/>
                  </a:lnTo>
                  <a:lnTo>
                    <a:pt x="1131570" y="269557"/>
                  </a:lnTo>
                  <a:lnTo>
                    <a:pt x="1134428" y="271463"/>
                  </a:lnTo>
                  <a:lnTo>
                    <a:pt x="1155382" y="281940"/>
                  </a:lnTo>
                  <a:lnTo>
                    <a:pt x="1157288" y="284797"/>
                  </a:lnTo>
                  <a:lnTo>
                    <a:pt x="1158240" y="288607"/>
                  </a:lnTo>
                  <a:lnTo>
                    <a:pt x="1158240" y="294322"/>
                  </a:lnTo>
                  <a:lnTo>
                    <a:pt x="1157288" y="303847"/>
                  </a:lnTo>
                  <a:lnTo>
                    <a:pt x="1155382" y="307657"/>
                  </a:lnTo>
                  <a:lnTo>
                    <a:pt x="1151573" y="310515"/>
                  </a:lnTo>
                  <a:lnTo>
                    <a:pt x="1147763" y="312420"/>
                  </a:lnTo>
                  <a:lnTo>
                    <a:pt x="1144905" y="315277"/>
                  </a:lnTo>
                  <a:lnTo>
                    <a:pt x="1143953" y="318135"/>
                  </a:lnTo>
                  <a:lnTo>
                    <a:pt x="1143953" y="320992"/>
                  </a:lnTo>
                  <a:lnTo>
                    <a:pt x="1145857" y="325755"/>
                  </a:lnTo>
                  <a:lnTo>
                    <a:pt x="1157288" y="350520"/>
                  </a:lnTo>
                  <a:lnTo>
                    <a:pt x="1159193" y="357188"/>
                  </a:lnTo>
                  <a:lnTo>
                    <a:pt x="1159193" y="367665"/>
                  </a:lnTo>
                  <a:lnTo>
                    <a:pt x="1159193" y="374332"/>
                  </a:lnTo>
                  <a:lnTo>
                    <a:pt x="1156335" y="380047"/>
                  </a:lnTo>
                  <a:lnTo>
                    <a:pt x="1154430" y="381953"/>
                  </a:lnTo>
                  <a:lnTo>
                    <a:pt x="1128713" y="399097"/>
                  </a:lnTo>
                  <a:lnTo>
                    <a:pt x="1124903" y="402907"/>
                  </a:lnTo>
                  <a:lnTo>
                    <a:pt x="1122998" y="406717"/>
                  </a:lnTo>
                  <a:lnTo>
                    <a:pt x="1122045" y="412432"/>
                  </a:lnTo>
                  <a:lnTo>
                    <a:pt x="1122998" y="420053"/>
                  </a:lnTo>
                  <a:lnTo>
                    <a:pt x="1130618" y="435292"/>
                  </a:lnTo>
                  <a:lnTo>
                    <a:pt x="1132523" y="441007"/>
                  </a:lnTo>
                  <a:lnTo>
                    <a:pt x="1134428" y="445770"/>
                  </a:lnTo>
                  <a:lnTo>
                    <a:pt x="1134428" y="452438"/>
                  </a:lnTo>
                  <a:lnTo>
                    <a:pt x="1136332" y="455295"/>
                  </a:lnTo>
                  <a:lnTo>
                    <a:pt x="1139190" y="459105"/>
                  </a:lnTo>
                  <a:lnTo>
                    <a:pt x="1146810" y="462915"/>
                  </a:lnTo>
                  <a:lnTo>
                    <a:pt x="1152525" y="464820"/>
                  </a:lnTo>
                  <a:lnTo>
                    <a:pt x="1167765" y="466725"/>
                  </a:lnTo>
                  <a:lnTo>
                    <a:pt x="1169670" y="467678"/>
                  </a:lnTo>
                  <a:lnTo>
                    <a:pt x="1171575" y="470535"/>
                  </a:lnTo>
                  <a:lnTo>
                    <a:pt x="1174432" y="473392"/>
                  </a:lnTo>
                  <a:lnTo>
                    <a:pt x="1181100" y="489585"/>
                  </a:lnTo>
                  <a:lnTo>
                    <a:pt x="1190625" y="503872"/>
                  </a:lnTo>
                  <a:lnTo>
                    <a:pt x="1194435" y="511492"/>
                  </a:lnTo>
                  <a:lnTo>
                    <a:pt x="1195388" y="515303"/>
                  </a:lnTo>
                  <a:lnTo>
                    <a:pt x="1197293" y="517207"/>
                  </a:lnTo>
                  <a:lnTo>
                    <a:pt x="1201103" y="519113"/>
                  </a:lnTo>
                  <a:lnTo>
                    <a:pt x="1207770" y="519113"/>
                  </a:lnTo>
                  <a:lnTo>
                    <a:pt x="1216343" y="518160"/>
                  </a:lnTo>
                  <a:lnTo>
                    <a:pt x="1222057" y="521017"/>
                  </a:lnTo>
                  <a:lnTo>
                    <a:pt x="1226820" y="532447"/>
                  </a:lnTo>
                  <a:lnTo>
                    <a:pt x="1214438" y="545782"/>
                  </a:lnTo>
                  <a:lnTo>
                    <a:pt x="1214438" y="552450"/>
                  </a:lnTo>
                  <a:lnTo>
                    <a:pt x="1217295" y="553403"/>
                  </a:lnTo>
                  <a:lnTo>
                    <a:pt x="1224915" y="558165"/>
                  </a:lnTo>
                  <a:lnTo>
                    <a:pt x="1227773" y="560070"/>
                  </a:lnTo>
                  <a:lnTo>
                    <a:pt x="1230630" y="562928"/>
                  </a:lnTo>
                  <a:lnTo>
                    <a:pt x="1233488" y="567690"/>
                  </a:lnTo>
                  <a:lnTo>
                    <a:pt x="1234440" y="571500"/>
                  </a:lnTo>
                  <a:lnTo>
                    <a:pt x="1234440" y="575310"/>
                  </a:lnTo>
                  <a:lnTo>
                    <a:pt x="1230630" y="581025"/>
                  </a:lnTo>
                  <a:lnTo>
                    <a:pt x="1228725" y="584835"/>
                  </a:lnTo>
                  <a:lnTo>
                    <a:pt x="1228725" y="588645"/>
                  </a:lnTo>
                  <a:lnTo>
                    <a:pt x="1229678" y="592455"/>
                  </a:lnTo>
                  <a:lnTo>
                    <a:pt x="1230630" y="597217"/>
                  </a:lnTo>
                  <a:lnTo>
                    <a:pt x="1232535" y="605790"/>
                  </a:lnTo>
                  <a:lnTo>
                    <a:pt x="1231582" y="609600"/>
                  </a:lnTo>
                  <a:lnTo>
                    <a:pt x="1230630" y="611505"/>
                  </a:lnTo>
                  <a:lnTo>
                    <a:pt x="1220153" y="617220"/>
                  </a:lnTo>
                  <a:lnTo>
                    <a:pt x="1218248" y="619125"/>
                  </a:lnTo>
                  <a:lnTo>
                    <a:pt x="1214438" y="622935"/>
                  </a:lnTo>
                  <a:lnTo>
                    <a:pt x="1214438" y="626745"/>
                  </a:lnTo>
                  <a:lnTo>
                    <a:pt x="1215390" y="640080"/>
                  </a:lnTo>
                  <a:lnTo>
                    <a:pt x="1214438" y="643890"/>
                  </a:lnTo>
                  <a:lnTo>
                    <a:pt x="1212532" y="646747"/>
                  </a:lnTo>
                  <a:lnTo>
                    <a:pt x="1203007" y="650557"/>
                  </a:lnTo>
                  <a:lnTo>
                    <a:pt x="1184910" y="661988"/>
                  </a:lnTo>
                  <a:lnTo>
                    <a:pt x="1180148" y="664845"/>
                  </a:lnTo>
                  <a:lnTo>
                    <a:pt x="1174432" y="674370"/>
                  </a:lnTo>
                  <a:lnTo>
                    <a:pt x="1172528" y="679132"/>
                  </a:lnTo>
                  <a:lnTo>
                    <a:pt x="1171575" y="683895"/>
                  </a:lnTo>
                  <a:lnTo>
                    <a:pt x="1171575" y="689610"/>
                  </a:lnTo>
                  <a:lnTo>
                    <a:pt x="1173480" y="696278"/>
                  </a:lnTo>
                  <a:lnTo>
                    <a:pt x="1177290" y="701040"/>
                  </a:lnTo>
                  <a:lnTo>
                    <a:pt x="1182053" y="703897"/>
                  </a:lnTo>
                  <a:lnTo>
                    <a:pt x="1184910" y="704850"/>
                  </a:lnTo>
                  <a:lnTo>
                    <a:pt x="1201103" y="704850"/>
                  </a:lnTo>
                  <a:lnTo>
                    <a:pt x="1206818" y="706755"/>
                  </a:lnTo>
                  <a:lnTo>
                    <a:pt x="1210628" y="710565"/>
                  </a:lnTo>
                  <a:lnTo>
                    <a:pt x="1213485" y="716280"/>
                  </a:lnTo>
                  <a:lnTo>
                    <a:pt x="1214438" y="724853"/>
                  </a:lnTo>
                  <a:lnTo>
                    <a:pt x="1213485" y="728663"/>
                  </a:lnTo>
                  <a:lnTo>
                    <a:pt x="1211580" y="730567"/>
                  </a:lnTo>
                  <a:lnTo>
                    <a:pt x="1208723" y="730567"/>
                  </a:lnTo>
                  <a:lnTo>
                    <a:pt x="1205865" y="732472"/>
                  </a:lnTo>
                  <a:lnTo>
                    <a:pt x="1203007" y="735330"/>
                  </a:lnTo>
                  <a:lnTo>
                    <a:pt x="1199198" y="746760"/>
                  </a:lnTo>
                  <a:lnTo>
                    <a:pt x="1197293" y="750570"/>
                  </a:lnTo>
                  <a:lnTo>
                    <a:pt x="1194435" y="755332"/>
                  </a:lnTo>
                  <a:lnTo>
                    <a:pt x="1194435" y="758190"/>
                  </a:lnTo>
                  <a:lnTo>
                    <a:pt x="1195388" y="760095"/>
                  </a:lnTo>
                  <a:lnTo>
                    <a:pt x="1205865" y="765810"/>
                  </a:lnTo>
                  <a:lnTo>
                    <a:pt x="1213485" y="772478"/>
                  </a:lnTo>
                  <a:lnTo>
                    <a:pt x="1215390" y="773430"/>
                  </a:lnTo>
                  <a:lnTo>
                    <a:pt x="1223963" y="773430"/>
                  </a:lnTo>
                  <a:lnTo>
                    <a:pt x="1226820" y="774382"/>
                  </a:lnTo>
                  <a:lnTo>
                    <a:pt x="1231582" y="777240"/>
                  </a:lnTo>
                  <a:lnTo>
                    <a:pt x="1235393" y="781050"/>
                  </a:lnTo>
                  <a:lnTo>
                    <a:pt x="1238250" y="787717"/>
                  </a:lnTo>
                  <a:lnTo>
                    <a:pt x="1240155" y="794385"/>
                  </a:lnTo>
                  <a:lnTo>
                    <a:pt x="1240155" y="798195"/>
                  </a:lnTo>
                  <a:lnTo>
                    <a:pt x="1238250" y="801053"/>
                  </a:lnTo>
                  <a:lnTo>
                    <a:pt x="1232535" y="805815"/>
                  </a:lnTo>
                  <a:lnTo>
                    <a:pt x="1230630" y="807720"/>
                  </a:lnTo>
                  <a:lnTo>
                    <a:pt x="1228725" y="811530"/>
                  </a:lnTo>
                  <a:lnTo>
                    <a:pt x="1228725" y="815340"/>
                  </a:lnTo>
                  <a:lnTo>
                    <a:pt x="1229678" y="822007"/>
                  </a:lnTo>
                  <a:lnTo>
                    <a:pt x="1232535" y="828675"/>
                  </a:lnTo>
                  <a:lnTo>
                    <a:pt x="1236345" y="832485"/>
                  </a:lnTo>
                  <a:lnTo>
                    <a:pt x="1249680" y="835342"/>
                  </a:lnTo>
                  <a:lnTo>
                    <a:pt x="1251585" y="837247"/>
                  </a:lnTo>
                  <a:lnTo>
                    <a:pt x="1254443" y="843915"/>
                  </a:lnTo>
                  <a:lnTo>
                    <a:pt x="1263968" y="893445"/>
                  </a:lnTo>
                  <a:lnTo>
                    <a:pt x="1265873" y="900113"/>
                  </a:lnTo>
                  <a:lnTo>
                    <a:pt x="1268730" y="901065"/>
                  </a:lnTo>
                  <a:lnTo>
                    <a:pt x="1287780" y="903922"/>
                  </a:lnTo>
                  <a:lnTo>
                    <a:pt x="1302068" y="902970"/>
                  </a:lnTo>
                  <a:lnTo>
                    <a:pt x="1304925" y="903922"/>
                  </a:lnTo>
                  <a:lnTo>
                    <a:pt x="1308735" y="905828"/>
                  </a:lnTo>
                  <a:lnTo>
                    <a:pt x="1313498" y="912495"/>
                  </a:lnTo>
                  <a:lnTo>
                    <a:pt x="1316355" y="915353"/>
                  </a:lnTo>
                  <a:lnTo>
                    <a:pt x="1320165" y="918210"/>
                  </a:lnTo>
                  <a:lnTo>
                    <a:pt x="1323023" y="919163"/>
                  </a:lnTo>
                  <a:lnTo>
                    <a:pt x="1324928" y="921067"/>
                  </a:lnTo>
                  <a:lnTo>
                    <a:pt x="1327785" y="923925"/>
                  </a:lnTo>
                  <a:lnTo>
                    <a:pt x="1326832" y="926782"/>
                  </a:lnTo>
                  <a:lnTo>
                    <a:pt x="1325880" y="928688"/>
                  </a:lnTo>
                  <a:lnTo>
                    <a:pt x="1323975" y="930592"/>
                  </a:lnTo>
                  <a:lnTo>
                    <a:pt x="1315403" y="935355"/>
                  </a:lnTo>
                  <a:lnTo>
                    <a:pt x="1312545" y="938213"/>
                  </a:lnTo>
                  <a:lnTo>
                    <a:pt x="1311593" y="942022"/>
                  </a:lnTo>
                  <a:lnTo>
                    <a:pt x="1310640" y="949642"/>
                  </a:lnTo>
                  <a:lnTo>
                    <a:pt x="1310640" y="953453"/>
                  </a:lnTo>
                  <a:lnTo>
                    <a:pt x="1311593" y="957263"/>
                  </a:lnTo>
                  <a:lnTo>
                    <a:pt x="1315403" y="961072"/>
                  </a:lnTo>
                  <a:lnTo>
                    <a:pt x="1319213" y="964882"/>
                  </a:lnTo>
                  <a:lnTo>
                    <a:pt x="1336357" y="977265"/>
                  </a:lnTo>
                  <a:lnTo>
                    <a:pt x="1359218" y="986790"/>
                  </a:lnTo>
                  <a:lnTo>
                    <a:pt x="1363028" y="988695"/>
                  </a:lnTo>
                  <a:lnTo>
                    <a:pt x="1363980" y="991553"/>
                  </a:lnTo>
                  <a:lnTo>
                    <a:pt x="1364932" y="994410"/>
                  </a:lnTo>
                  <a:lnTo>
                    <a:pt x="1364932" y="1017270"/>
                  </a:lnTo>
                  <a:lnTo>
                    <a:pt x="1365885" y="1023938"/>
                  </a:lnTo>
                  <a:lnTo>
                    <a:pt x="1366838" y="1027747"/>
                  </a:lnTo>
                  <a:lnTo>
                    <a:pt x="1371600" y="1037272"/>
                  </a:lnTo>
                  <a:lnTo>
                    <a:pt x="1377315" y="1045845"/>
                  </a:lnTo>
                  <a:lnTo>
                    <a:pt x="1386840" y="1058228"/>
                  </a:lnTo>
                  <a:lnTo>
                    <a:pt x="1394460" y="1074420"/>
                  </a:lnTo>
                  <a:lnTo>
                    <a:pt x="1397318" y="1084898"/>
                  </a:lnTo>
                  <a:lnTo>
                    <a:pt x="1397318" y="1088707"/>
                  </a:lnTo>
                  <a:lnTo>
                    <a:pt x="1397318" y="1095375"/>
                  </a:lnTo>
                  <a:lnTo>
                    <a:pt x="1395413" y="1099185"/>
                  </a:lnTo>
                  <a:lnTo>
                    <a:pt x="1392555" y="1102995"/>
                  </a:lnTo>
                  <a:lnTo>
                    <a:pt x="1389698" y="1106805"/>
                  </a:lnTo>
                  <a:lnTo>
                    <a:pt x="1387793" y="1107757"/>
                  </a:lnTo>
                  <a:lnTo>
                    <a:pt x="1383982" y="1107757"/>
                  </a:lnTo>
                  <a:lnTo>
                    <a:pt x="1383030" y="1110615"/>
                  </a:lnTo>
                  <a:lnTo>
                    <a:pt x="1382078" y="1115378"/>
                  </a:lnTo>
                  <a:lnTo>
                    <a:pt x="1380173" y="1119188"/>
                  </a:lnTo>
                  <a:lnTo>
                    <a:pt x="1377315" y="1123950"/>
                  </a:lnTo>
                  <a:lnTo>
                    <a:pt x="1375410" y="1125855"/>
                  </a:lnTo>
                  <a:lnTo>
                    <a:pt x="1365885" y="1134428"/>
                  </a:lnTo>
                  <a:lnTo>
                    <a:pt x="1364932" y="1136332"/>
                  </a:lnTo>
                  <a:lnTo>
                    <a:pt x="1363980" y="1139190"/>
                  </a:lnTo>
                  <a:lnTo>
                    <a:pt x="1363028" y="1144905"/>
                  </a:lnTo>
                  <a:lnTo>
                    <a:pt x="1363980" y="1147763"/>
                  </a:lnTo>
                  <a:lnTo>
                    <a:pt x="1365885" y="1149667"/>
                  </a:lnTo>
                  <a:lnTo>
                    <a:pt x="1367790" y="1149667"/>
                  </a:lnTo>
                  <a:lnTo>
                    <a:pt x="1372553" y="1148715"/>
                  </a:lnTo>
                  <a:lnTo>
                    <a:pt x="1397318" y="1138238"/>
                  </a:lnTo>
                  <a:lnTo>
                    <a:pt x="1403032" y="1136332"/>
                  </a:lnTo>
                  <a:lnTo>
                    <a:pt x="1408748" y="1136332"/>
                  </a:lnTo>
                  <a:lnTo>
                    <a:pt x="1413510" y="1138238"/>
                  </a:lnTo>
                  <a:lnTo>
                    <a:pt x="1418273" y="1143000"/>
                  </a:lnTo>
                  <a:lnTo>
                    <a:pt x="1426845" y="1150620"/>
                  </a:lnTo>
                  <a:lnTo>
                    <a:pt x="1413510" y="1168717"/>
                  </a:lnTo>
                  <a:lnTo>
                    <a:pt x="1406843" y="1172528"/>
                  </a:lnTo>
                  <a:lnTo>
                    <a:pt x="1388745" y="1175385"/>
                  </a:lnTo>
                  <a:lnTo>
                    <a:pt x="1384935" y="1177290"/>
                  </a:lnTo>
                  <a:lnTo>
                    <a:pt x="1383030" y="1180148"/>
                  </a:lnTo>
                  <a:lnTo>
                    <a:pt x="1375410" y="1193482"/>
                  </a:lnTo>
                  <a:lnTo>
                    <a:pt x="1363980" y="1207770"/>
                  </a:lnTo>
                  <a:lnTo>
                    <a:pt x="1358265" y="1212532"/>
                  </a:lnTo>
                  <a:lnTo>
                    <a:pt x="1354455" y="1214438"/>
                  </a:lnTo>
                  <a:lnTo>
                    <a:pt x="1353503" y="1212532"/>
                  </a:lnTo>
                  <a:lnTo>
                    <a:pt x="1350645" y="1207770"/>
                  </a:lnTo>
                  <a:lnTo>
                    <a:pt x="1347788" y="1194435"/>
                  </a:lnTo>
                  <a:lnTo>
                    <a:pt x="1346835" y="1191578"/>
                  </a:lnTo>
                  <a:lnTo>
                    <a:pt x="1343025" y="1184910"/>
                  </a:lnTo>
                  <a:lnTo>
                    <a:pt x="1342073" y="1182053"/>
                  </a:lnTo>
                  <a:lnTo>
                    <a:pt x="1343025" y="1175385"/>
                  </a:lnTo>
                  <a:lnTo>
                    <a:pt x="1342073" y="1172528"/>
                  </a:lnTo>
                  <a:lnTo>
                    <a:pt x="1340168" y="1169670"/>
                  </a:lnTo>
                  <a:lnTo>
                    <a:pt x="1332548" y="1167765"/>
                  </a:lnTo>
                  <a:lnTo>
                    <a:pt x="1327785" y="1167765"/>
                  </a:lnTo>
                  <a:lnTo>
                    <a:pt x="1324928" y="1168717"/>
                  </a:lnTo>
                  <a:lnTo>
                    <a:pt x="1315403" y="1177290"/>
                  </a:lnTo>
                  <a:lnTo>
                    <a:pt x="1311593" y="1181100"/>
                  </a:lnTo>
                  <a:lnTo>
                    <a:pt x="1305878" y="1190625"/>
                  </a:lnTo>
                  <a:lnTo>
                    <a:pt x="1303020" y="1195388"/>
                  </a:lnTo>
                  <a:lnTo>
                    <a:pt x="1291590" y="1209675"/>
                  </a:lnTo>
                  <a:lnTo>
                    <a:pt x="1274445" y="1225867"/>
                  </a:lnTo>
                  <a:lnTo>
                    <a:pt x="1269682" y="1232535"/>
                  </a:lnTo>
                  <a:lnTo>
                    <a:pt x="1268730" y="1236345"/>
                  </a:lnTo>
                  <a:lnTo>
                    <a:pt x="1269682" y="1243965"/>
                  </a:lnTo>
                  <a:lnTo>
                    <a:pt x="1268730" y="1250632"/>
                  </a:lnTo>
                  <a:lnTo>
                    <a:pt x="1268730" y="1257300"/>
                  </a:lnTo>
                  <a:lnTo>
                    <a:pt x="1267778" y="1261110"/>
                  </a:lnTo>
                  <a:lnTo>
                    <a:pt x="1263968" y="1272540"/>
                  </a:lnTo>
                  <a:lnTo>
                    <a:pt x="1260157" y="1278255"/>
                  </a:lnTo>
                  <a:lnTo>
                    <a:pt x="1250632" y="1292542"/>
                  </a:lnTo>
                  <a:lnTo>
                    <a:pt x="1247775" y="1298257"/>
                  </a:lnTo>
                  <a:lnTo>
                    <a:pt x="1248728" y="1300163"/>
                  </a:lnTo>
                  <a:lnTo>
                    <a:pt x="1249680" y="1302067"/>
                  </a:lnTo>
                  <a:lnTo>
                    <a:pt x="1254443" y="1304925"/>
                  </a:lnTo>
                  <a:lnTo>
                    <a:pt x="1267778" y="1308735"/>
                  </a:lnTo>
                  <a:lnTo>
                    <a:pt x="1272540" y="1310640"/>
                  </a:lnTo>
                  <a:lnTo>
                    <a:pt x="1273493" y="1313498"/>
                  </a:lnTo>
                  <a:lnTo>
                    <a:pt x="1271588" y="1321117"/>
                  </a:lnTo>
                  <a:lnTo>
                    <a:pt x="1274445" y="1327785"/>
                  </a:lnTo>
                  <a:lnTo>
                    <a:pt x="1273493" y="1330642"/>
                  </a:lnTo>
                  <a:lnTo>
                    <a:pt x="1272540" y="1334453"/>
                  </a:lnTo>
                  <a:lnTo>
                    <a:pt x="1269682" y="1338263"/>
                  </a:lnTo>
                  <a:lnTo>
                    <a:pt x="1266825" y="1344930"/>
                  </a:lnTo>
                  <a:lnTo>
                    <a:pt x="1267778" y="1350645"/>
                  </a:lnTo>
                  <a:lnTo>
                    <a:pt x="1237298" y="1367790"/>
                  </a:lnTo>
                  <a:lnTo>
                    <a:pt x="1232535" y="1368742"/>
                  </a:lnTo>
                  <a:lnTo>
                    <a:pt x="1227773" y="1369695"/>
                  </a:lnTo>
                  <a:lnTo>
                    <a:pt x="1223963" y="1368742"/>
                  </a:lnTo>
                  <a:lnTo>
                    <a:pt x="1219200" y="1367790"/>
                  </a:lnTo>
                  <a:lnTo>
                    <a:pt x="1212532" y="1371600"/>
                  </a:lnTo>
                  <a:lnTo>
                    <a:pt x="1210628" y="1374457"/>
                  </a:lnTo>
                  <a:lnTo>
                    <a:pt x="1209675" y="1378267"/>
                  </a:lnTo>
                  <a:lnTo>
                    <a:pt x="1210628" y="1380173"/>
                  </a:lnTo>
                  <a:lnTo>
                    <a:pt x="1213485" y="1384935"/>
                  </a:lnTo>
                  <a:lnTo>
                    <a:pt x="1223963" y="1399223"/>
                  </a:lnTo>
                  <a:lnTo>
                    <a:pt x="1226820" y="1403985"/>
                  </a:lnTo>
                  <a:lnTo>
                    <a:pt x="1226820" y="1407795"/>
                  </a:lnTo>
                  <a:lnTo>
                    <a:pt x="1225868" y="1412557"/>
                  </a:lnTo>
                  <a:lnTo>
                    <a:pt x="1217295" y="1438275"/>
                  </a:lnTo>
                  <a:lnTo>
                    <a:pt x="1215390" y="1440180"/>
                  </a:lnTo>
                  <a:lnTo>
                    <a:pt x="1212532" y="1440180"/>
                  </a:lnTo>
                  <a:lnTo>
                    <a:pt x="1207770" y="1438275"/>
                  </a:lnTo>
                  <a:lnTo>
                    <a:pt x="1204913" y="1437323"/>
                  </a:lnTo>
                  <a:lnTo>
                    <a:pt x="1202055" y="1438275"/>
                  </a:lnTo>
                  <a:lnTo>
                    <a:pt x="1197293" y="1440180"/>
                  </a:lnTo>
                  <a:lnTo>
                    <a:pt x="1167765" y="1443038"/>
                  </a:lnTo>
                  <a:lnTo>
                    <a:pt x="1127760" y="1440180"/>
                  </a:lnTo>
                  <a:lnTo>
                    <a:pt x="1121093" y="1438275"/>
                  </a:lnTo>
                  <a:lnTo>
                    <a:pt x="1101090" y="1425892"/>
                  </a:lnTo>
                  <a:lnTo>
                    <a:pt x="1096328" y="1422082"/>
                  </a:lnTo>
                  <a:lnTo>
                    <a:pt x="1087755" y="1422082"/>
                  </a:lnTo>
                  <a:lnTo>
                    <a:pt x="1037272" y="1443038"/>
                  </a:lnTo>
                  <a:lnTo>
                    <a:pt x="988695" y="1444942"/>
                  </a:lnTo>
                  <a:lnTo>
                    <a:pt x="985838" y="1443990"/>
                  </a:lnTo>
                  <a:lnTo>
                    <a:pt x="976313" y="1439228"/>
                  </a:lnTo>
                  <a:lnTo>
                    <a:pt x="948690" y="1427798"/>
                  </a:lnTo>
                  <a:lnTo>
                    <a:pt x="943928" y="1424940"/>
                  </a:lnTo>
                  <a:lnTo>
                    <a:pt x="939165" y="1419225"/>
                  </a:lnTo>
                  <a:lnTo>
                    <a:pt x="937260" y="1417320"/>
                  </a:lnTo>
                  <a:lnTo>
                    <a:pt x="930593" y="1412557"/>
                  </a:lnTo>
                  <a:lnTo>
                    <a:pt x="921068" y="1403985"/>
                  </a:lnTo>
                  <a:lnTo>
                    <a:pt x="916305" y="1400175"/>
                  </a:lnTo>
                  <a:lnTo>
                    <a:pt x="913447" y="1398270"/>
                  </a:lnTo>
                  <a:lnTo>
                    <a:pt x="907732" y="1396365"/>
                  </a:lnTo>
                  <a:lnTo>
                    <a:pt x="904875" y="1396365"/>
                  </a:lnTo>
                  <a:lnTo>
                    <a:pt x="900113" y="1397317"/>
                  </a:lnTo>
                  <a:lnTo>
                    <a:pt x="884872" y="1403985"/>
                  </a:lnTo>
                  <a:lnTo>
                    <a:pt x="882968" y="1404938"/>
                  </a:lnTo>
                  <a:lnTo>
                    <a:pt x="881063" y="1407795"/>
                  </a:lnTo>
                  <a:lnTo>
                    <a:pt x="881063" y="1410653"/>
                  </a:lnTo>
                  <a:lnTo>
                    <a:pt x="881063" y="1415415"/>
                  </a:lnTo>
                  <a:lnTo>
                    <a:pt x="884872" y="1435417"/>
                  </a:lnTo>
                  <a:lnTo>
                    <a:pt x="885825" y="1441132"/>
                  </a:lnTo>
                  <a:lnTo>
                    <a:pt x="884872" y="1443990"/>
                  </a:lnTo>
                  <a:lnTo>
                    <a:pt x="882968" y="1445895"/>
                  </a:lnTo>
                  <a:lnTo>
                    <a:pt x="877253" y="1450657"/>
                  </a:lnTo>
                  <a:lnTo>
                    <a:pt x="868680" y="1455420"/>
                  </a:lnTo>
                  <a:lnTo>
                    <a:pt x="863918" y="1459230"/>
                  </a:lnTo>
                  <a:lnTo>
                    <a:pt x="857250" y="1466850"/>
                  </a:lnTo>
                  <a:lnTo>
                    <a:pt x="851535" y="1475423"/>
                  </a:lnTo>
                  <a:lnTo>
                    <a:pt x="840105" y="1483042"/>
                  </a:lnTo>
                  <a:lnTo>
                    <a:pt x="795338" y="1503045"/>
                  </a:lnTo>
                  <a:lnTo>
                    <a:pt x="785813" y="1510665"/>
                  </a:lnTo>
                  <a:lnTo>
                    <a:pt x="782955" y="1504950"/>
                  </a:lnTo>
                  <a:lnTo>
                    <a:pt x="774382" y="1497330"/>
                  </a:lnTo>
                  <a:lnTo>
                    <a:pt x="770572" y="1491615"/>
                  </a:lnTo>
                  <a:lnTo>
                    <a:pt x="769620" y="1486853"/>
                  </a:lnTo>
                  <a:lnTo>
                    <a:pt x="767715" y="1466850"/>
                  </a:lnTo>
                  <a:lnTo>
                    <a:pt x="759143" y="1445895"/>
                  </a:lnTo>
                  <a:lnTo>
                    <a:pt x="758190" y="1440180"/>
                  </a:lnTo>
                  <a:lnTo>
                    <a:pt x="758190" y="1435417"/>
                  </a:lnTo>
                  <a:lnTo>
                    <a:pt x="756285" y="1429703"/>
                  </a:lnTo>
                  <a:lnTo>
                    <a:pt x="753428" y="1423035"/>
                  </a:lnTo>
                  <a:lnTo>
                    <a:pt x="738188" y="1413510"/>
                  </a:lnTo>
                  <a:lnTo>
                    <a:pt x="719138" y="1409700"/>
                  </a:lnTo>
                  <a:lnTo>
                    <a:pt x="682943" y="1409700"/>
                  </a:lnTo>
                  <a:lnTo>
                    <a:pt x="634365" y="1388745"/>
                  </a:lnTo>
                  <a:lnTo>
                    <a:pt x="617220" y="1388745"/>
                  </a:lnTo>
                  <a:lnTo>
                    <a:pt x="605790" y="1393507"/>
                  </a:lnTo>
                  <a:lnTo>
                    <a:pt x="596265" y="1422082"/>
                  </a:lnTo>
                  <a:lnTo>
                    <a:pt x="592455" y="1439228"/>
                  </a:lnTo>
                  <a:lnTo>
                    <a:pt x="592455" y="1452563"/>
                  </a:lnTo>
                  <a:lnTo>
                    <a:pt x="589597" y="1460182"/>
                  </a:lnTo>
                  <a:lnTo>
                    <a:pt x="584835" y="1460182"/>
                  </a:lnTo>
                  <a:lnTo>
                    <a:pt x="574357" y="1452563"/>
                  </a:lnTo>
                  <a:lnTo>
                    <a:pt x="567690" y="1445895"/>
                  </a:lnTo>
                  <a:lnTo>
                    <a:pt x="552450" y="1415415"/>
                  </a:lnTo>
                  <a:lnTo>
                    <a:pt x="561022" y="1404938"/>
                  </a:lnTo>
                  <a:lnTo>
                    <a:pt x="561975" y="1393507"/>
                  </a:lnTo>
                  <a:lnTo>
                    <a:pt x="557213" y="1382078"/>
                  </a:lnTo>
                  <a:lnTo>
                    <a:pt x="548640" y="1376363"/>
                  </a:lnTo>
                  <a:lnTo>
                    <a:pt x="536257" y="1378267"/>
                  </a:lnTo>
                  <a:lnTo>
                    <a:pt x="529590" y="1387792"/>
                  </a:lnTo>
                  <a:lnTo>
                    <a:pt x="523875" y="1400175"/>
                  </a:lnTo>
                  <a:lnTo>
                    <a:pt x="516255" y="1408748"/>
                  </a:lnTo>
                  <a:lnTo>
                    <a:pt x="504825" y="1411605"/>
                  </a:lnTo>
                  <a:lnTo>
                    <a:pt x="499110" y="1404938"/>
                  </a:lnTo>
                  <a:lnTo>
                    <a:pt x="498157" y="1393507"/>
                  </a:lnTo>
                  <a:lnTo>
                    <a:pt x="501968" y="1383030"/>
                  </a:lnTo>
                  <a:lnTo>
                    <a:pt x="509588" y="1372553"/>
                  </a:lnTo>
                  <a:lnTo>
                    <a:pt x="517207" y="1367790"/>
                  </a:lnTo>
                  <a:lnTo>
                    <a:pt x="522922" y="1360170"/>
                  </a:lnTo>
                  <a:lnTo>
                    <a:pt x="526732" y="1343978"/>
                  </a:lnTo>
                  <a:lnTo>
                    <a:pt x="525780" y="1329690"/>
                  </a:lnTo>
                  <a:lnTo>
                    <a:pt x="520065" y="1323023"/>
                  </a:lnTo>
                  <a:lnTo>
                    <a:pt x="511493" y="1322070"/>
                  </a:lnTo>
                  <a:lnTo>
                    <a:pt x="486728" y="1324928"/>
                  </a:lnTo>
                  <a:lnTo>
                    <a:pt x="478155" y="1330642"/>
                  </a:lnTo>
                  <a:lnTo>
                    <a:pt x="469582" y="1337310"/>
                  </a:lnTo>
                  <a:lnTo>
                    <a:pt x="458153" y="1343978"/>
                  </a:lnTo>
                  <a:lnTo>
                    <a:pt x="445770" y="1346835"/>
                  </a:lnTo>
                  <a:lnTo>
                    <a:pt x="437197" y="1343978"/>
                  </a:lnTo>
                  <a:lnTo>
                    <a:pt x="431482" y="1335405"/>
                  </a:lnTo>
                  <a:lnTo>
                    <a:pt x="429578" y="1320165"/>
                  </a:lnTo>
                  <a:lnTo>
                    <a:pt x="425768" y="1306830"/>
                  </a:lnTo>
                  <a:lnTo>
                    <a:pt x="417195" y="1307782"/>
                  </a:lnTo>
                  <a:lnTo>
                    <a:pt x="401003" y="1322070"/>
                  </a:lnTo>
                  <a:lnTo>
                    <a:pt x="392430" y="1323975"/>
                  </a:lnTo>
                  <a:lnTo>
                    <a:pt x="381000" y="1323975"/>
                  </a:lnTo>
                  <a:lnTo>
                    <a:pt x="373380" y="1318260"/>
                  </a:lnTo>
                  <a:lnTo>
                    <a:pt x="383857" y="1286828"/>
                  </a:lnTo>
                  <a:lnTo>
                    <a:pt x="381000" y="1272540"/>
                  </a:lnTo>
                  <a:lnTo>
                    <a:pt x="371475" y="1262063"/>
                  </a:lnTo>
                  <a:lnTo>
                    <a:pt x="360997" y="1257300"/>
                  </a:lnTo>
                  <a:lnTo>
                    <a:pt x="314325" y="1251585"/>
                  </a:lnTo>
                  <a:lnTo>
                    <a:pt x="292418" y="1243013"/>
                  </a:lnTo>
                  <a:lnTo>
                    <a:pt x="280988" y="1224915"/>
                  </a:lnTo>
                  <a:lnTo>
                    <a:pt x="277178" y="1221105"/>
                  </a:lnTo>
                  <a:lnTo>
                    <a:pt x="260032" y="1195388"/>
                  </a:lnTo>
                  <a:lnTo>
                    <a:pt x="252413" y="1186815"/>
                  </a:lnTo>
                  <a:lnTo>
                    <a:pt x="218122" y="1162050"/>
                  </a:lnTo>
                  <a:lnTo>
                    <a:pt x="200978" y="1153478"/>
                  </a:lnTo>
                  <a:lnTo>
                    <a:pt x="135255" y="1154430"/>
                  </a:lnTo>
                  <a:lnTo>
                    <a:pt x="124778" y="1148715"/>
                  </a:lnTo>
                  <a:lnTo>
                    <a:pt x="122872" y="1127760"/>
                  </a:lnTo>
                  <a:lnTo>
                    <a:pt x="111443" y="1126807"/>
                  </a:lnTo>
                  <a:lnTo>
                    <a:pt x="98107" y="1135380"/>
                  </a:lnTo>
                  <a:lnTo>
                    <a:pt x="91440" y="1137285"/>
                  </a:lnTo>
                  <a:lnTo>
                    <a:pt x="70485" y="1137285"/>
                  </a:lnTo>
                  <a:lnTo>
                    <a:pt x="64770" y="1129665"/>
                  </a:lnTo>
                  <a:lnTo>
                    <a:pt x="53340" y="1077278"/>
                  </a:lnTo>
                  <a:lnTo>
                    <a:pt x="45720" y="1053465"/>
                  </a:lnTo>
                  <a:lnTo>
                    <a:pt x="35243" y="1033463"/>
                  </a:lnTo>
                  <a:lnTo>
                    <a:pt x="20003" y="1019175"/>
                  </a:lnTo>
                  <a:lnTo>
                    <a:pt x="0" y="1011555"/>
                  </a:lnTo>
                  <a:lnTo>
                    <a:pt x="11430" y="968692"/>
                  </a:lnTo>
                  <a:lnTo>
                    <a:pt x="15240" y="948690"/>
                  </a:lnTo>
                  <a:lnTo>
                    <a:pt x="16193" y="930592"/>
                  </a:lnTo>
                  <a:lnTo>
                    <a:pt x="16193" y="926782"/>
                  </a:lnTo>
                  <a:lnTo>
                    <a:pt x="14288" y="922972"/>
                  </a:lnTo>
                  <a:lnTo>
                    <a:pt x="13335" y="914400"/>
                  </a:lnTo>
                  <a:lnTo>
                    <a:pt x="13335" y="906780"/>
                  </a:lnTo>
                  <a:lnTo>
                    <a:pt x="14288" y="903922"/>
                  </a:lnTo>
                  <a:lnTo>
                    <a:pt x="17145" y="902970"/>
                  </a:lnTo>
                  <a:lnTo>
                    <a:pt x="22860" y="902970"/>
                  </a:lnTo>
                  <a:lnTo>
                    <a:pt x="25718" y="902970"/>
                  </a:lnTo>
                  <a:lnTo>
                    <a:pt x="28575" y="900113"/>
                  </a:lnTo>
                  <a:lnTo>
                    <a:pt x="28575" y="897255"/>
                  </a:lnTo>
                  <a:lnTo>
                    <a:pt x="28575" y="894397"/>
                  </a:lnTo>
                  <a:lnTo>
                    <a:pt x="25718" y="889635"/>
                  </a:lnTo>
                  <a:lnTo>
                    <a:pt x="22860" y="884872"/>
                  </a:lnTo>
                  <a:lnTo>
                    <a:pt x="19050" y="874395"/>
                  </a:lnTo>
                  <a:lnTo>
                    <a:pt x="17145" y="863917"/>
                  </a:lnTo>
                  <a:lnTo>
                    <a:pt x="15240" y="820103"/>
                  </a:lnTo>
                  <a:lnTo>
                    <a:pt x="14288" y="814388"/>
                  </a:lnTo>
                  <a:lnTo>
                    <a:pt x="12382" y="802957"/>
                  </a:lnTo>
                  <a:lnTo>
                    <a:pt x="8572" y="789622"/>
                  </a:lnTo>
                  <a:lnTo>
                    <a:pt x="2857" y="780097"/>
                  </a:lnTo>
                  <a:lnTo>
                    <a:pt x="953" y="771525"/>
                  </a:lnTo>
                  <a:lnTo>
                    <a:pt x="0" y="767715"/>
                  </a:lnTo>
                  <a:lnTo>
                    <a:pt x="953" y="763905"/>
                  </a:lnTo>
                  <a:lnTo>
                    <a:pt x="2857" y="762000"/>
                  </a:lnTo>
                  <a:lnTo>
                    <a:pt x="7620" y="759142"/>
                  </a:lnTo>
                  <a:lnTo>
                    <a:pt x="10478" y="757238"/>
                  </a:lnTo>
                  <a:lnTo>
                    <a:pt x="13335" y="753428"/>
                  </a:lnTo>
                  <a:lnTo>
                    <a:pt x="14288" y="749617"/>
                  </a:lnTo>
                  <a:lnTo>
                    <a:pt x="14288" y="746760"/>
                  </a:lnTo>
                  <a:lnTo>
                    <a:pt x="13335" y="744855"/>
                  </a:lnTo>
                  <a:lnTo>
                    <a:pt x="8572" y="737235"/>
                  </a:lnTo>
                  <a:lnTo>
                    <a:pt x="6668" y="733425"/>
                  </a:lnTo>
                  <a:lnTo>
                    <a:pt x="4763" y="725805"/>
                  </a:lnTo>
                  <a:lnTo>
                    <a:pt x="4763" y="721995"/>
                  </a:lnTo>
                  <a:lnTo>
                    <a:pt x="5715" y="718185"/>
                  </a:lnTo>
                  <a:lnTo>
                    <a:pt x="8572" y="715328"/>
                  </a:lnTo>
                  <a:lnTo>
                    <a:pt x="11430" y="704850"/>
                  </a:lnTo>
                  <a:lnTo>
                    <a:pt x="12382" y="701040"/>
                  </a:lnTo>
                  <a:lnTo>
                    <a:pt x="14288" y="698182"/>
                  </a:lnTo>
                  <a:lnTo>
                    <a:pt x="18097" y="696278"/>
                  </a:lnTo>
                  <a:lnTo>
                    <a:pt x="23813" y="690563"/>
                  </a:lnTo>
                  <a:lnTo>
                    <a:pt x="27622" y="687705"/>
                  </a:lnTo>
                  <a:lnTo>
                    <a:pt x="31432" y="683895"/>
                  </a:lnTo>
                  <a:lnTo>
                    <a:pt x="34290" y="677228"/>
                  </a:lnTo>
                  <a:lnTo>
                    <a:pt x="36195" y="668655"/>
                  </a:lnTo>
                  <a:lnTo>
                    <a:pt x="39053" y="663892"/>
                  </a:lnTo>
                  <a:lnTo>
                    <a:pt x="40957" y="661988"/>
                  </a:lnTo>
                  <a:lnTo>
                    <a:pt x="49530" y="658178"/>
                  </a:lnTo>
                  <a:lnTo>
                    <a:pt x="52388" y="654367"/>
                  </a:lnTo>
                  <a:lnTo>
                    <a:pt x="53340" y="650557"/>
                  </a:lnTo>
                  <a:lnTo>
                    <a:pt x="53340" y="643890"/>
                  </a:lnTo>
                  <a:lnTo>
                    <a:pt x="54293" y="641032"/>
                  </a:lnTo>
                  <a:lnTo>
                    <a:pt x="56197" y="636270"/>
                  </a:lnTo>
                  <a:lnTo>
                    <a:pt x="58103" y="630555"/>
                  </a:lnTo>
                  <a:lnTo>
                    <a:pt x="61913" y="620078"/>
                  </a:lnTo>
                  <a:lnTo>
                    <a:pt x="65722" y="616267"/>
                  </a:lnTo>
                  <a:lnTo>
                    <a:pt x="68580" y="613410"/>
                  </a:lnTo>
                  <a:lnTo>
                    <a:pt x="80963" y="613410"/>
                  </a:lnTo>
                  <a:lnTo>
                    <a:pt x="103822" y="617220"/>
                  </a:lnTo>
                  <a:lnTo>
                    <a:pt x="106680" y="616267"/>
                  </a:lnTo>
                  <a:lnTo>
                    <a:pt x="110490" y="613410"/>
                  </a:lnTo>
                  <a:lnTo>
                    <a:pt x="121920" y="592455"/>
                  </a:lnTo>
                  <a:lnTo>
                    <a:pt x="125730" y="588645"/>
                  </a:lnTo>
                  <a:lnTo>
                    <a:pt x="128588" y="586740"/>
                  </a:lnTo>
                  <a:lnTo>
                    <a:pt x="141922" y="589597"/>
                  </a:lnTo>
                  <a:lnTo>
                    <a:pt x="149543" y="593407"/>
                  </a:lnTo>
                  <a:lnTo>
                    <a:pt x="158115" y="599122"/>
                  </a:lnTo>
                  <a:lnTo>
                    <a:pt x="163830" y="602932"/>
                  </a:lnTo>
                  <a:lnTo>
                    <a:pt x="166688" y="603885"/>
                  </a:lnTo>
                  <a:lnTo>
                    <a:pt x="176213" y="604838"/>
                  </a:lnTo>
                  <a:lnTo>
                    <a:pt x="181928" y="607695"/>
                  </a:lnTo>
                  <a:lnTo>
                    <a:pt x="192405" y="615315"/>
                  </a:lnTo>
                  <a:lnTo>
                    <a:pt x="197168" y="618172"/>
                  </a:lnTo>
                  <a:lnTo>
                    <a:pt x="202882" y="621030"/>
                  </a:lnTo>
                  <a:lnTo>
                    <a:pt x="208597" y="621982"/>
                  </a:lnTo>
                  <a:lnTo>
                    <a:pt x="214313" y="621030"/>
                  </a:lnTo>
                  <a:lnTo>
                    <a:pt x="217170" y="618172"/>
                  </a:lnTo>
                  <a:lnTo>
                    <a:pt x="227647" y="604838"/>
                  </a:lnTo>
                  <a:lnTo>
                    <a:pt x="231457" y="601028"/>
                  </a:lnTo>
                  <a:lnTo>
                    <a:pt x="243840" y="595313"/>
                  </a:lnTo>
                  <a:lnTo>
                    <a:pt x="260985" y="594360"/>
                  </a:lnTo>
                  <a:lnTo>
                    <a:pt x="264795" y="593407"/>
                  </a:lnTo>
                  <a:lnTo>
                    <a:pt x="270510" y="590550"/>
                  </a:lnTo>
                  <a:lnTo>
                    <a:pt x="272415" y="587692"/>
                  </a:lnTo>
                  <a:lnTo>
                    <a:pt x="273368" y="583882"/>
                  </a:lnTo>
                  <a:lnTo>
                    <a:pt x="272415" y="581978"/>
                  </a:lnTo>
                  <a:lnTo>
                    <a:pt x="270510" y="576263"/>
                  </a:lnTo>
                  <a:lnTo>
                    <a:pt x="269557" y="570547"/>
                  </a:lnTo>
                  <a:lnTo>
                    <a:pt x="268605" y="564832"/>
                  </a:lnTo>
                  <a:lnTo>
                    <a:pt x="268605" y="558165"/>
                  </a:lnTo>
                  <a:lnTo>
                    <a:pt x="268605" y="551497"/>
                  </a:lnTo>
                  <a:lnTo>
                    <a:pt x="267653" y="545782"/>
                  </a:lnTo>
                  <a:lnTo>
                    <a:pt x="264795" y="541020"/>
                  </a:lnTo>
                  <a:lnTo>
                    <a:pt x="259080" y="532447"/>
                  </a:lnTo>
                  <a:lnTo>
                    <a:pt x="256222" y="527685"/>
                  </a:lnTo>
                  <a:lnTo>
                    <a:pt x="255270" y="520065"/>
                  </a:lnTo>
                  <a:lnTo>
                    <a:pt x="256222" y="514350"/>
                  </a:lnTo>
                  <a:lnTo>
                    <a:pt x="258128" y="509588"/>
                  </a:lnTo>
                  <a:lnTo>
                    <a:pt x="260985" y="504825"/>
                  </a:lnTo>
                  <a:lnTo>
                    <a:pt x="264795" y="499110"/>
                  </a:lnTo>
                  <a:lnTo>
                    <a:pt x="266700" y="495300"/>
                  </a:lnTo>
                  <a:lnTo>
                    <a:pt x="266700" y="491490"/>
                  </a:lnTo>
                  <a:lnTo>
                    <a:pt x="263843" y="484822"/>
                  </a:lnTo>
                  <a:lnTo>
                    <a:pt x="257175" y="476250"/>
                  </a:lnTo>
                  <a:lnTo>
                    <a:pt x="255270" y="474345"/>
                  </a:lnTo>
                  <a:lnTo>
                    <a:pt x="253365" y="469582"/>
                  </a:lnTo>
                  <a:lnTo>
                    <a:pt x="253365" y="461963"/>
                  </a:lnTo>
                  <a:lnTo>
                    <a:pt x="254318" y="454342"/>
                  </a:lnTo>
                  <a:lnTo>
                    <a:pt x="254318" y="450532"/>
                  </a:lnTo>
                  <a:lnTo>
                    <a:pt x="253365" y="448628"/>
                  </a:lnTo>
                  <a:lnTo>
                    <a:pt x="251460" y="446722"/>
                  </a:lnTo>
                  <a:lnTo>
                    <a:pt x="249555" y="444817"/>
                  </a:lnTo>
                  <a:lnTo>
                    <a:pt x="240982" y="442913"/>
                  </a:lnTo>
                  <a:lnTo>
                    <a:pt x="236220" y="440055"/>
                  </a:lnTo>
                  <a:lnTo>
                    <a:pt x="234315" y="434340"/>
                  </a:lnTo>
                  <a:lnTo>
                    <a:pt x="233363" y="425767"/>
                  </a:lnTo>
                  <a:lnTo>
                    <a:pt x="232410" y="422910"/>
                  </a:lnTo>
                  <a:lnTo>
                    <a:pt x="230505" y="417195"/>
                  </a:lnTo>
                  <a:lnTo>
                    <a:pt x="228600" y="414338"/>
                  </a:lnTo>
                  <a:lnTo>
                    <a:pt x="227647" y="409575"/>
                  </a:lnTo>
                  <a:lnTo>
                    <a:pt x="228600" y="405765"/>
                  </a:lnTo>
                  <a:lnTo>
                    <a:pt x="230505" y="402907"/>
                  </a:lnTo>
                  <a:lnTo>
                    <a:pt x="246697" y="397192"/>
                  </a:lnTo>
                  <a:lnTo>
                    <a:pt x="249555" y="395288"/>
                  </a:lnTo>
                  <a:lnTo>
                    <a:pt x="250507" y="392430"/>
                  </a:lnTo>
                  <a:lnTo>
                    <a:pt x="250507" y="389572"/>
                  </a:lnTo>
                  <a:lnTo>
                    <a:pt x="246697" y="379095"/>
                  </a:lnTo>
                  <a:lnTo>
                    <a:pt x="244793" y="374332"/>
                  </a:lnTo>
                  <a:lnTo>
                    <a:pt x="241935" y="369570"/>
                  </a:lnTo>
                  <a:lnTo>
                    <a:pt x="240030" y="367665"/>
                  </a:lnTo>
                  <a:lnTo>
                    <a:pt x="207645" y="367665"/>
                  </a:lnTo>
                  <a:lnTo>
                    <a:pt x="200978" y="366713"/>
                  </a:lnTo>
                  <a:lnTo>
                    <a:pt x="198120" y="364807"/>
                  </a:lnTo>
                  <a:lnTo>
                    <a:pt x="196215" y="362903"/>
                  </a:lnTo>
                  <a:lnTo>
                    <a:pt x="194310" y="360045"/>
                  </a:lnTo>
                  <a:lnTo>
                    <a:pt x="193357" y="354330"/>
                  </a:lnTo>
                  <a:lnTo>
                    <a:pt x="194310" y="350520"/>
                  </a:lnTo>
                  <a:lnTo>
                    <a:pt x="195263" y="347663"/>
                  </a:lnTo>
                  <a:lnTo>
                    <a:pt x="197168" y="345757"/>
                  </a:lnTo>
                  <a:lnTo>
                    <a:pt x="203835" y="340995"/>
                  </a:lnTo>
                  <a:lnTo>
                    <a:pt x="206693" y="338138"/>
                  </a:lnTo>
                  <a:lnTo>
                    <a:pt x="206693" y="336232"/>
                  </a:lnTo>
                  <a:lnTo>
                    <a:pt x="205740" y="333375"/>
                  </a:lnTo>
                  <a:lnTo>
                    <a:pt x="203835" y="331470"/>
                  </a:lnTo>
                  <a:lnTo>
                    <a:pt x="188595" y="320040"/>
                  </a:lnTo>
                  <a:lnTo>
                    <a:pt x="187643" y="316230"/>
                  </a:lnTo>
                  <a:lnTo>
                    <a:pt x="186690" y="311467"/>
                  </a:lnTo>
                  <a:lnTo>
                    <a:pt x="186690" y="299085"/>
                  </a:lnTo>
                  <a:lnTo>
                    <a:pt x="188595" y="293370"/>
                  </a:lnTo>
                  <a:lnTo>
                    <a:pt x="190500" y="289560"/>
                  </a:lnTo>
                  <a:lnTo>
                    <a:pt x="192405" y="288607"/>
                  </a:lnTo>
                  <a:lnTo>
                    <a:pt x="198120" y="287655"/>
                  </a:lnTo>
                  <a:lnTo>
                    <a:pt x="200978" y="288607"/>
                  </a:lnTo>
                  <a:lnTo>
                    <a:pt x="205740" y="291465"/>
                  </a:lnTo>
                  <a:lnTo>
                    <a:pt x="209550" y="291465"/>
                  </a:lnTo>
                  <a:lnTo>
                    <a:pt x="213360" y="288607"/>
                  </a:lnTo>
                  <a:lnTo>
                    <a:pt x="218122" y="281940"/>
                  </a:lnTo>
                  <a:lnTo>
                    <a:pt x="219075" y="277177"/>
                  </a:lnTo>
                  <a:lnTo>
                    <a:pt x="219075" y="273367"/>
                  </a:lnTo>
                  <a:lnTo>
                    <a:pt x="217170" y="271463"/>
                  </a:lnTo>
                  <a:lnTo>
                    <a:pt x="211455" y="265747"/>
                  </a:lnTo>
                  <a:lnTo>
                    <a:pt x="209550" y="262890"/>
                  </a:lnTo>
                  <a:lnTo>
                    <a:pt x="208597" y="260032"/>
                  </a:lnTo>
                  <a:lnTo>
                    <a:pt x="208597" y="257175"/>
                  </a:lnTo>
                  <a:lnTo>
                    <a:pt x="210503" y="254317"/>
                  </a:lnTo>
                  <a:lnTo>
                    <a:pt x="215265" y="247650"/>
                  </a:lnTo>
                  <a:lnTo>
                    <a:pt x="231457" y="215265"/>
                  </a:lnTo>
                  <a:lnTo>
                    <a:pt x="233363" y="209550"/>
                  </a:lnTo>
                  <a:lnTo>
                    <a:pt x="234315" y="204788"/>
                  </a:lnTo>
                  <a:lnTo>
                    <a:pt x="234315" y="201930"/>
                  </a:lnTo>
                  <a:lnTo>
                    <a:pt x="232410" y="196215"/>
                  </a:lnTo>
                  <a:lnTo>
                    <a:pt x="230505" y="191452"/>
                  </a:lnTo>
                  <a:lnTo>
                    <a:pt x="226695" y="187642"/>
                  </a:lnTo>
                  <a:lnTo>
                    <a:pt x="222885" y="183832"/>
                  </a:lnTo>
                  <a:lnTo>
                    <a:pt x="218122" y="180975"/>
                  </a:lnTo>
                  <a:lnTo>
                    <a:pt x="204788" y="174307"/>
                  </a:lnTo>
                  <a:lnTo>
                    <a:pt x="202882" y="172402"/>
                  </a:lnTo>
                  <a:lnTo>
                    <a:pt x="200978" y="169545"/>
                  </a:lnTo>
                  <a:lnTo>
                    <a:pt x="200025" y="165735"/>
                  </a:lnTo>
                  <a:lnTo>
                    <a:pt x="200025" y="161925"/>
                  </a:lnTo>
                  <a:lnTo>
                    <a:pt x="200978" y="159067"/>
                  </a:lnTo>
                  <a:lnTo>
                    <a:pt x="206693" y="148590"/>
                  </a:lnTo>
                  <a:lnTo>
                    <a:pt x="207645" y="145732"/>
                  </a:lnTo>
                  <a:lnTo>
                    <a:pt x="209550" y="144780"/>
                  </a:lnTo>
                  <a:lnTo>
                    <a:pt x="212407" y="144780"/>
                  </a:lnTo>
                  <a:lnTo>
                    <a:pt x="225743" y="147638"/>
                  </a:lnTo>
                  <a:lnTo>
                    <a:pt x="228600" y="147638"/>
                  </a:lnTo>
                  <a:lnTo>
                    <a:pt x="233363" y="144780"/>
                  </a:lnTo>
                  <a:lnTo>
                    <a:pt x="238125" y="140970"/>
                  </a:lnTo>
                  <a:lnTo>
                    <a:pt x="241935" y="136207"/>
                  </a:lnTo>
                  <a:lnTo>
                    <a:pt x="245745" y="130492"/>
                  </a:lnTo>
                  <a:lnTo>
                    <a:pt x="245745" y="127635"/>
                  </a:lnTo>
                  <a:lnTo>
                    <a:pt x="243840" y="124777"/>
                  </a:lnTo>
                  <a:lnTo>
                    <a:pt x="234315" y="118110"/>
                  </a:lnTo>
                  <a:lnTo>
                    <a:pt x="232410" y="116205"/>
                  </a:lnTo>
                  <a:lnTo>
                    <a:pt x="233363" y="115252"/>
                  </a:lnTo>
                  <a:lnTo>
                    <a:pt x="235268" y="114300"/>
                  </a:lnTo>
                  <a:lnTo>
                    <a:pt x="245745" y="113347"/>
                  </a:lnTo>
                  <a:lnTo>
                    <a:pt x="252413" y="111442"/>
                  </a:lnTo>
                  <a:lnTo>
                    <a:pt x="261938" y="99060"/>
                  </a:lnTo>
                  <a:lnTo>
                    <a:pt x="308610" y="93345"/>
                  </a:lnTo>
                  <a:lnTo>
                    <a:pt x="344805" y="99060"/>
                  </a:lnTo>
                  <a:lnTo>
                    <a:pt x="361950" y="97155"/>
                  </a:lnTo>
                  <a:lnTo>
                    <a:pt x="406718" y="84772"/>
                  </a:lnTo>
                  <a:lnTo>
                    <a:pt x="458153" y="82867"/>
                  </a:lnTo>
                  <a:lnTo>
                    <a:pt x="462915" y="80963"/>
                  </a:lnTo>
                  <a:lnTo>
                    <a:pt x="472440" y="76200"/>
                  </a:lnTo>
                  <a:lnTo>
                    <a:pt x="477203" y="76200"/>
                  </a:lnTo>
                  <a:lnTo>
                    <a:pt x="482918" y="77152"/>
                  </a:lnTo>
                  <a:lnTo>
                    <a:pt x="507682" y="89535"/>
                  </a:lnTo>
                  <a:lnTo>
                    <a:pt x="512445" y="89535"/>
                  </a:lnTo>
                  <a:lnTo>
                    <a:pt x="518160" y="89535"/>
                  </a:lnTo>
                  <a:lnTo>
                    <a:pt x="528638" y="88582"/>
                  </a:lnTo>
                  <a:lnTo>
                    <a:pt x="537210" y="85725"/>
                  </a:lnTo>
                  <a:lnTo>
                    <a:pt x="541972" y="80963"/>
                  </a:lnTo>
                  <a:lnTo>
                    <a:pt x="551497" y="62865"/>
                  </a:lnTo>
                  <a:lnTo>
                    <a:pt x="553403" y="60960"/>
                  </a:lnTo>
                  <a:lnTo>
                    <a:pt x="559118" y="60007"/>
                  </a:lnTo>
                  <a:lnTo>
                    <a:pt x="605790" y="60960"/>
                  </a:lnTo>
                  <a:lnTo>
                    <a:pt x="610553" y="61913"/>
                  </a:lnTo>
                  <a:lnTo>
                    <a:pt x="623888" y="69532"/>
                  </a:lnTo>
                  <a:lnTo>
                    <a:pt x="626745" y="72390"/>
                  </a:lnTo>
                  <a:lnTo>
                    <a:pt x="630555" y="76200"/>
                  </a:lnTo>
                  <a:lnTo>
                    <a:pt x="632460" y="77152"/>
                  </a:lnTo>
                  <a:lnTo>
                    <a:pt x="643890" y="75247"/>
                  </a:lnTo>
                  <a:lnTo>
                    <a:pt x="651510" y="72390"/>
                  </a:lnTo>
                  <a:lnTo>
                    <a:pt x="661035" y="66675"/>
                  </a:lnTo>
                  <a:lnTo>
                    <a:pt x="663893" y="65722"/>
                  </a:lnTo>
                  <a:lnTo>
                    <a:pt x="666750" y="65722"/>
                  </a:lnTo>
                  <a:lnTo>
                    <a:pt x="706755" y="72390"/>
                  </a:lnTo>
                  <a:lnTo>
                    <a:pt x="711518" y="71438"/>
                  </a:lnTo>
                  <a:lnTo>
                    <a:pt x="714375" y="69532"/>
                  </a:lnTo>
                  <a:lnTo>
                    <a:pt x="717232" y="64770"/>
                  </a:lnTo>
                  <a:lnTo>
                    <a:pt x="721043" y="53340"/>
                  </a:lnTo>
                  <a:lnTo>
                    <a:pt x="727710" y="40005"/>
                  </a:lnTo>
                  <a:lnTo>
                    <a:pt x="731520" y="36195"/>
                  </a:lnTo>
                  <a:lnTo>
                    <a:pt x="738188" y="31432"/>
                  </a:lnTo>
                  <a:lnTo>
                    <a:pt x="750570" y="26670"/>
                  </a:lnTo>
                  <a:lnTo>
                    <a:pt x="755332" y="23813"/>
                  </a:lnTo>
                  <a:lnTo>
                    <a:pt x="759143" y="20002"/>
                  </a:lnTo>
                  <a:lnTo>
                    <a:pt x="762000" y="15240"/>
                  </a:lnTo>
                  <a:lnTo>
                    <a:pt x="764857" y="9525"/>
                  </a:lnTo>
                  <a:lnTo>
                    <a:pt x="765810" y="2857"/>
                  </a:lnTo>
                  <a:lnTo>
                    <a:pt x="768668" y="952"/>
                  </a:lnTo>
                  <a:lnTo>
                    <a:pt x="772478" y="0"/>
                  </a:lnTo>
                  <a:lnTo>
                    <a:pt x="805815" y="4763"/>
                  </a:lnTo>
                  <a:lnTo>
                    <a:pt x="808672" y="5715"/>
                  </a:lnTo>
                  <a:lnTo>
                    <a:pt x="811530" y="7620"/>
                  </a:lnTo>
                  <a:lnTo>
                    <a:pt x="812482" y="10477"/>
                  </a:lnTo>
                  <a:lnTo>
                    <a:pt x="810578" y="16192"/>
                  </a:lnTo>
                  <a:lnTo>
                    <a:pt x="811530" y="20002"/>
                  </a:lnTo>
                  <a:lnTo>
                    <a:pt x="814388" y="24765"/>
                  </a:lnTo>
                  <a:lnTo>
                    <a:pt x="822960" y="33338"/>
                  </a:lnTo>
                  <a:lnTo>
                    <a:pt x="825818" y="38100"/>
                  </a:lnTo>
                  <a:lnTo>
                    <a:pt x="826770" y="40957"/>
                  </a:lnTo>
                  <a:lnTo>
                    <a:pt x="824865" y="48577"/>
                  </a:lnTo>
                  <a:lnTo>
                    <a:pt x="825818" y="51435"/>
                  </a:lnTo>
                  <a:lnTo>
                    <a:pt x="827722" y="60007"/>
                  </a:lnTo>
                  <a:lnTo>
                    <a:pt x="827722" y="62865"/>
                  </a:lnTo>
                  <a:lnTo>
                    <a:pt x="827722" y="69532"/>
                  </a:lnTo>
                  <a:lnTo>
                    <a:pt x="827722" y="72390"/>
                  </a:lnTo>
                  <a:lnTo>
                    <a:pt x="828675" y="76200"/>
                  </a:lnTo>
                  <a:lnTo>
                    <a:pt x="837247" y="95250"/>
                  </a:lnTo>
                  <a:lnTo>
                    <a:pt x="842010" y="101917"/>
                  </a:lnTo>
                  <a:lnTo>
                    <a:pt x="844868" y="105727"/>
                  </a:lnTo>
                  <a:lnTo>
                    <a:pt x="860107" y="117157"/>
                  </a:lnTo>
                  <a:lnTo>
                    <a:pt x="861060" y="120015"/>
                  </a:lnTo>
                  <a:lnTo>
                    <a:pt x="861060" y="122872"/>
                  </a:lnTo>
                  <a:lnTo>
                    <a:pt x="836295" y="155257"/>
                  </a:lnTo>
                  <a:lnTo>
                    <a:pt x="833438" y="160020"/>
                  </a:lnTo>
                  <a:lnTo>
                    <a:pt x="831532" y="165735"/>
                  </a:lnTo>
                  <a:lnTo>
                    <a:pt x="831532" y="169545"/>
                  </a:lnTo>
                  <a:lnTo>
                    <a:pt x="834390" y="171450"/>
                  </a:lnTo>
                  <a:lnTo>
                    <a:pt x="843915" y="179070"/>
                  </a:lnTo>
                  <a:lnTo>
                    <a:pt x="846772" y="182880"/>
                  </a:lnTo>
                  <a:lnTo>
                    <a:pt x="847725" y="186690"/>
                  </a:lnTo>
                  <a:lnTo>
                    <a:pt x="848678" y="192405"/>
                  </a:lnTo>
                  <a:lnTo>
                    <a:pt x="849630" y="195263"/>
                  </a:lnTo>
                  <a:lnTo>
                    <a:pt x="856297" y="205740"/>
                  </a:lnTo>
                  <a:lnTo>
                    <a:pt x="857250" y="208597"/>
                  </a:lnTo>
                  <a:lnTo>
                    <a:pt x="857250" y="210502"/>
                  </a:lnTo>
                  <a:lnTo>
                    <a:pt x="855345" y="216217"/>
                  </a:lnTo>
                  <a:lnTo>
                    <a:pt x="849630" y="221932"/>
                  </a:lnTo>
                  <a:lnTo>
                    <a:pt x="848678" y="223838"/>
                  </a:lnTo>
                  <a:lnTo>
                    <a:pt x="847725" y="226695"/>
                  </a:lnTo>
                  <a:lnTo>
                    <a:pt x="849630" y="231457"/>
                  </a:lnTo>
                  <a:lnTo>
                    <a:pt x="855345" y="235267"/>
                  </a:lnTo>
                  <a:lnTo>
                    <a:pt x="860107" y="237172"/>
                  </a:lnTo>
                  <a:lnTo>
                    <a:pt x="871538" y="240030"/>
                  </a:lnTo>
                  <a:lnTo>
                    <a:pt x="891540" y="238125"/>
                  </a:lnTo>
                  <a:lnTo>
                    <a:pt x="928688" y="244792"/>
                  </a:lnTo>
                  <a:lnTo>
                    <a:pt x="984885" y="240982"/>
                  </a:lnTo>
                  <a:lnTo>
                    <a:pt x="995363" y="241935"/>
                  </a:lnTo>
                  <a:lnTo>
                    <a:pt x="998220" y="241935"/>
                  </a:lnTo>
                  <a:lnTo>
                    <a:pt x="1001078" y="240982"/>
                  </a:lnTo>
                  <a:lnTo>
                    <a:pt x="1002030" y="237172"/>
                  </a:lnTo>
                  <a:lnTo>
                    <a:pt x="1002030" y="229552"/>
                  </a:lnTo>
                  <a:lnTo>
                    <a:pt x="1003935" y="222885"/>
                  </a:lnTo>
                  <a:lnTo>
                    <a:pt x="1007745" y="220027"/>
                  </a:lnTo>
                  <a:lnTo>
                    <a:pt x="1014413" y="218122"/>
                  </a:lnTo>
                  <a:lnTo>
                    <a:pt x="1036320" y="215265"/>
                  </a:lnTo>
                  <a:lnTo>
                    <a:pt x="1045845" y="216217"/>
                  </a:lnTo>
                  <a:lnTo>
                    <a:pt x="1050607" y="214313"/>
                  </a:lnTo>
                  <a:lnTo>
                    <a:pt x="1055370" y="211455"/>
                  </a:lnTo>
                  <a:lnTo>
                    <a:pt x="1072515" y="195263"/>
                  </a:lnTo>
                  <a:lnTo>
                    <a:pt x="1076325" y="190500"/>
                  </a:lnTo>
                  <a:lnTo>
                    <a:pt x="1082040" y="187642"/>
                  </a:lnTo>
                  <a:lnTo>
                    <a:pt x="1094423" y="18859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9" name="Полилиния: фигура 19">
              <a:extLst>
                <a:ext uri="{FF2B5EF4-FFF2-40B4-BE49-F238E27FC236}">
                  <a16:creationId xmlns:a16="http://schemas.microsoft.com/office/drawing/2014/main" id="{F319B9EA-55DA-BD2D-3AAC-90BB3054F1F8}"/>
                </a:ext>
              </a:extLst>
            </p:cNvPr>
            <p:cNvSpPr/>
            <p:nvPr/>
          </p:nvSpPr>
          <p:spPr>
            <a:xfrm>
              <a:off x="4010978" y="862013"/>
              <a:ext cx="1333500" cy="1714500"/>
            </a:xfrm>
            <a:custGeom>
              <a:avLst/>
              <a:gdLst>
                <a:gd name="connsiteX0" fmla="*/ 1139190 w 1333500"/>
                <a:gd name="connsiteY0" fmla="*/ 233363 h 1714500"/>
                <a:gd name="connsiteX1" fmla="*/ 1143000 w 1333500"/>
                <a:gd name="connsiteY1" fmla="*/ 240983 h 1714500"/>
                <a:gd name="connsiteX2" fmla="*/ 1145857 w 1333500"/>
                <a:gd name="connsiteY2" fmla="*/ 244792 h 1714500"/>
                <a:gd name="connsiteX3" fmla="*/ 1148715 w 1333500"/>
                <a:gd name="connsiteY3" fmla="*/ 245745 h 1714500"/>
                <a:gd name="connsiteX4" fmla="*/ 1150620 w 1333500"/>
                <a:gd name="connsiteY4" fmla="*/ 244792 h 1714500"/>
                <a:gd name="connsiteX5" fmla="*/ 1155382 w 1333500"/>
                <a:gd name="connsiteY5" fmla="*/ 241935 h 1714500"/>
                <a:gd name="connsiteX6" fmla="*/ 1157288 w 1333500"/>
                <a:gd name="connsiteY6" fmla="*/ 240983 h 1714500"/>
                <a:gd name="connsiteX7" fmla="*/ 1159192 w 1333500"/>
                <a:gd name="connsiteY7" fmla="*/ 243840 h 1714500"/>
                <a:gd name="connsiteX8" fmla="*/ 1159192 w 1333500"/>
                <a:gd name="connsiteY8" fmla="*/ 245745 h 1714500"/>
                <a:gd name="connsiteX9" fmla="*/ 1160145 w 1333500"/>
                <a:gd name="connsiteY9" fmla="*/ 252413 h 1714500"/>
                <a:gd name="connsiteX10" fmla="*/ 1158240 w 1333500"/>
                <a:gd name="connsiteY10" fmla="*/ 283845 h 1714500"/>
                <a:gd name="connsiteX11" fmla="*/ 1157288 w 1333500"/>
                <a:gd name="connsiteY11" fmla="*/ 293370 h 1714500"/>
                <a:gd name="connsiteX12" fmla="*/ 1156335 w 1333500"/>
                <a:gd name="connsiteY12" fmla="*/ 300038 h 1714500"/>
                <a:gd name="connsiteX13" fmla="*/ 1150620 w 1333500"/>
                <a:gd name="connsiteY13" fmla="*/ 311467 h 1714500"/>
                <a:gd name="connsiteX14" fmla="*/ 1143953 w 1333500"/>
                <a:gd name="connsiteY14" fmla="*/ 320040 h 1714500"/>
                <a:gd name="connsiteX15" fmla="*/ 1137285 w 1333500"/>
                <a:gd name="connsiteY15" fmla="*/ 326708 h 1714500"/>
                <a:gd name="connsiteX16" fmla="*/ 1121092 w 1333500"/>
                <a:gd name="connsiteY16" fmla="*/ 339090 h 1714500"/>
                <a:gd name="connsiteX17" fmla="*/ 1111567 w 1333500"/>
                <a:gd name="connsiteY17" fmla="*/ 344805 h 1714500"/>
                <a:gd name="connsiteX18" fmla="*/ 1105853 w 1333500"/>
                <a:gd name="connsiteY18" fmla="*/ 345758 h 1714500"/>
                <a:gd name="connsiteX19" fmla="*/ 1099185 w 1333500"/>
                <a:gd name="connsiteY19" fmla="*/ 346710 h 1714500"/>
                <a:gd name="connsiteX20" fmla="*/ 1096328 w 1333500"/>
                <a:gd name="connsiteY20" fmla="*/ 347663 h 1714500"/>
                <a:gd name="connsiteX21" fmla="*/ 1096328 w 1333500"/>
                <a:gd name="connsiteY21" fmla="*/ 351473 h 1714500"/>
                <a:gd name="connsiteX22" fmla="*/ 1105853 w 1333500"/>
                <a:gd name="connsiteY22" fmla="*/ 387667 h 1714500"/>
                <a:gd name="connsiteX23" fmla="*/ 1111567 w 1333500"/>
                <a:gd name="connsiteY23" fmla="*/ 431483 h 1714500"/>
                <a:gd name="connsiteX24" fmla="*/ 1114425 w 1333500"/>
                <a:gd name="connsiteY24" fmla="*/ 442913 h 1714500"/>
                <a:gd name="connsiteX25" fmla="*/ 1116330 w 1333500"/>
                <a:gd name="connsiteY25" fmla="*/ 448628 h 1714500"/>
                <a:gd name="connsiteX26" fmla="*/ 1118235 w 1333500"/>
                <a:gd name="connsiteY26" fmla="*/ 452438 h 1714500"/>
                <a:gd name="connsiteX27" fmla="*/ 1120140 w 1333500"/>
                <a:gd name="connsiteY27" fmla="*/ 451485 h 1714500"/>
                <a:gd name="connsiteX28" fmla="*/ 1121092 w 1333500"/>
                <a:gd name="connsiteY28" fmla="*/ 449580 h 1714500"/>
                <a:gd name="connsiteX29" fmla="*/ 1132523 w 1333500"/>
                <a:gd name="connsiteY29" fmla="*/ 431483 h 1714500"/>
                <a:gd name="connsiteX30" fmla="*/ 1133475 w 1333500"/>
                <a:gd name="connsiteY30" fmla="*/ 429578 h 1714500"/>
                <a:gd name="connsiteX31" fmla="*/ 1136332 w 1333500"/>
                <a:gd name="connsiteY31" fmla="*/ 429578 h 1714500"/>
                <a:gd name="connsiteX32" fmla="*/ 1139190 w 1333500"/>
                <a:gd name="connsiteY32" fmla="*/ 429578 h 1714500"/>
                <a:gd name="connsiteX33" fmla="*/ 1144905 w 1333500"/>
                <a:gd name="connsiteY33" fmla="*/ 431483 h 1714500"/>
                <a:gd name="connsiteX34" fmla="*/ 1154430 w 1333500"/>
                <a:gd name="connsiteY34" fmla="*/ 438150 h 1714500"/>
                <a:gd name="connsiteX35" fmla="*/ 1170623 w 1333500"/>
                <a:gd name="connsiteY35" fmla="*/ 453390 h 1714500"/>
                <a:gd name="connsiteX36" fmla="*/ 1173480 w 1333500"/>
                <a:gd name="connsiteY36" fmla="*/ 457200 h 1714500"/>
                <a:gd name="connsiteX37" fmla="*/ 1175385 w 1333500"/>
                <a:gd name="connsiteY37" fmla="*/ 460058 h 1714500"/>
                <a:gd name="connsiteX38" fmla="*/ 1177290 w 1333500"/>
                <a:gd name="connsiteY38" fmla="*/ 464820 h 1714500"/>
                <a:gd name="connsiteX39" fmla="*/ 1178242 w 1333500"/>
                <a:gd name="connsiteY39" fmla="*/ 470535 h 1714500"/>
                <a:gd name="connsiteX40" fmla="*/ 1179195 w 1333500"/>
                <a:gd name="connsiteY40" fmla="*/ 473392 h 1714500"/>
                <a:gd name="connsiteX41" fmla="*/ 1182053 w 1333500"/>
                <a:gd name="connsiteY41" fmla="*/ 475298 h 1714500"/>
                <a:gd name="connsiteX42" fmla="*/ 1183957 w 1333500"/>
                <a:gd name="connsiteY42" fmla="*/ 477203 h 1714500"/>
                <a:gd name="connsiteX43" fmla="*/ 1197292 w 1333500"/>
                <a:gd name="connsiteY43" fmla="*/ 481013 h 1714500"/>
                <a:gd name="connsiteX44" fmla="*/ 1202055 w 1333500"/>
                <a:gd name="connsiteY44" fmla="*/ 483870 h 1714500"/>
                <a:gd name="connsiteX45" fmla="*/ 1203960 w 1333500"/>
                <a:gd name="connsiteY45" fmla="*/ 485775 h 1714500"/>
                <a:gd name="connsiteX46" fmla="*/ 1207770 w 1333500"/>
                <a:gd name="connsiteY46" fmla="*/ 489585 h 1714500"/>
                <a:gd name="connsiteX47" fmla="*/ 1210628 w 1333500"/>
                <a:gd name="connsiteY47" fmla="*/ 495300 h 1714500"/>
                <a:gd name="connsiteX48" fmla="*/ 1211580 w 1333500"/>
                <a:gd name="connsiteY48" fmla="*/ 497205 h 1714500"/>
                <a:gd name="connsiteX49" fmla="*/ 1211580 w 1333500"/>
                <a:gd name="connsiteY49" fmla="*/ 501015 h 1714500"/>
                <a:gd name="connsiteX50" fmla="*/ 1211580 w 1333500"/>
                <a:gd name="connsiteY50" fmla="*/ 504825 h 1714500"/>
                <a:gd name="connsiteX51" fmla="*/ 1208723 w 1333500"/>
                <a:gd name="connsiteY51" fmla="*/ 510540 h 1714500"/>
                <a:gd name="connsiteX52" fmla="*/ 1202055 w 1333500"/>
                <a:gd name="connsiteY52" fmla="*/ 521017 h 1714500"/>
                <a:gd name="connsiteX53" fmla="*/ 1199198 w 1333500"/>
                <a:gd name="connsiteY53" fmla="*/ 526733 h 1714500"/>
                <a:gd name="connsiteX54" fmla="*/ 1198245 w 1333500"/>
                <a:gd name="connsiteY54" fmla="*/ 530543 h 1714500"/>
                <a:gd name="connsiteX55" fmla="*/ 1197292 w 1333500"/>
                <a:gd name="connsiteY55" fmla="*/ 540068 h 1714500"/>
                <a:gd name="connsiteX56" fmla="*/ 1197292 w 1333500"/>
                <a:gd name="connsiteY56" fmla="*/ 545783 h 1714500"/>
                <a:gd name="connsiteX57" fmla="*/ 1199198 w 1333500"/>
                <a:gd name="connsiteY57" fmla="*/ 564833 h 1714500"/>
                <a:gd name="connsiteX58" fmla="*/ 1199198 w 1333500"/>
                <a:gd name="connsiteY58" fmla="*/ 570548 h 1714500"/>
                <a:gd name="connsiteX59" fmla="*/ 1197292 w 1333500"/>
                <a:gd name="connsiteY59" fmla="*/ 576263 h 1714500"/>
                <a:gd name="connsiteX60" fmla="*/ 1194435 w 1333500"/>
                <a:gd name="connsiteY60" fmla="*/ 576263 h 1714500"/>
                <a:gd name="connsiteX61" fmla="*/ 1192530 w 1333500"/>
                <a:gd name="connsiteY61" fmla="*/ 575310 h 1714500"/>
                <a:gd name="connsiteX62" fmla="*/ 1185863 w 1333500"/>
                <a:gd name="connsiteY62" fmla="*/ 569595 h 1714500"/>
                <a:gd name="connsiteX63" fmla="*/ 1183005 w 1333500"/>
                <a:gd name="connsiteY63" fmla="*/ 568643 h 1714500"/>
                <a:gd name="connsiteX64" fmla="*/ 1180148 w 1333500"/>
                <a:gd name="connsiteY64" fmla="*/ 567690 h 1714500"/>
                <a:gd name="connsiteX65" fmla="*/ 1163003 w 1333500"/>
                <a:gd name="connsiteY65" fmla="*/ 567690 h 1714500"/>
                <a:gd name="connsiteX66" fmla="*/ 1161098 w 1333500"/>
                <a:gd name="connsiteY66" fmla="*/ 570548 h 1714500"/>
                <a:gd name="connsiteX67" fmla="*/ 1160145 w 1333500"/>
                <a:gd name="connsiteY67" fmla="*/ 575310 h 1714500"/>
                <a:gd name="connsiteX68" fmla="*/ 1163003 w 1333500"/>
                <a:gd name="connsiteY68" fmla="*/ 586740 h 1714500"/>
                <a:gd name="connsiteX69" fmla="*/ 1165860 w 1333500"/>
                <a:gd name="connsiteY69" fmla="*/ 591503 h 1714500"/>
                <a:gd name="connsiteX70" fmla="*/ 1168717 w 1333500"/>
                <a:gd name="connsiteY70" fmla="*/ 593408 h 1714500"/>
                <a:gd name="connsiteX71" fmla="*/ 1171575 w 1333500"/>
                <a:gd name="connsiteY71" fmla="*/ 593408 h 1714500"/>
                <a:gd name="connsiteX72" fmla="*/ 1174432 w 1333500"/>
                <a:gd name="connsiteY72" fmla="*/ 594360 h 1714500"/>
                <a:gd name="connsiteX73" fmla="*/ 1176338 w 1333500"/>
                <a:gd name="connsiteY73" fmla="*/ 596265 h 1714500"/>
                <a:gd name="connsiteX74" fmla="*/ 1205865 w 1333500"/>
                <a:gd name="connsiteY74" fmla="*/ 642938 h 1714500"/>
                <a:gd name="connsiteX75" fmla="*/ 1218248 w 1333500"/>
                <a:gd name="connsiteY75" fmla="*/ 657225 h 1714500"/>
                <a:gd name="connsiteX76" fmla="*/ 1219200 w 1333500"/>
                <a:gd name="connsiteY76" fmla="*/ 659130 h 1714500"/>
                <a:gd name="connsiteX77" fmla="*/ 1220153 w 1333500"/>
                <a:gd name="connsiteY77" fmla="*/ 662940 h 1714500"/>
                <a:gd name="connsiteX78" fmla="*/ 1221105 w 1333500"/>
                <a:gd name="connsiteY78" fmla="*/ 668655 h 1714500"/>
                <a:gd name="connsiteX79" fmla="*/ 1210628 w 1333500"/>
                <a:gd name="connsiteY79" fmla="*/ 727710 h 1714500"/>
                <a:gd name="connsiteX80" fmla="*/ 1210628 w 1333500"/>
                <a:gd name="connsiteY80" fmla="*/ 730568 h 1714500"/>
                <a:gd name="connsiteX81" fmla="*/ 1211580 w 1333500"/>
                <a:gd name="connsiteY81" fmla="*/ 734378 h 1714500"/>
                <a:gd name="connsiteX82" fmla="*/ 1214438 w 1333500"/>
                <a:gd name="connsiteY82" fmla="*/ 736283 h 1714500"/>
                <a:gd name="connsiteX83" fmla="*/ 1216342 w 1333500"/>
                <a:gd name="connsiteY83" fmla="*/ 736283 h 1714500"/>
                <a:gd name="connsiteX84" fmla="*/ 1236345 w 1333500"/>
                <a:gd name="connsiteY84" fmla="*/ 734378 h 1714500"/>
                <a:gd name="connsiteX85" fmla="*/ 1243013 w 1333500"/>
                <a:gd name="connsiteY85" fmla="*/ 735330 h 1714500"/>
                <a:gd name="connsiteX86" fmla="*/ 1248728 w 1333500"/>
                <a:gd name="connsiteY86" fmla="*/ 737235 h 1714500"/>
                <a:gd name="connsiteX87" fmla="*/ 1252538 w 1333500"/>
                <a:gd name="connsiteY87" fmla="*/ 741045 h 1714500"/>
                <a:gd name="connsiteX88" fmla="*/ 1254442 w 1333500"/>
                <a:gd name="connsiteY88" fmla="*/ 743903 h 1714500"/>
                <a:gd name="connsiteX89" fmla="*/ 1256348 w 1333500"/>
                <a:gd name="connsiteY89" fmla="*/ 751522 h 1714500"/>
                <a:gd name="connsiteX90" fmla="*/ 1258253 w 1333500"/>
                <a:gd name="connsiteY90" fmla="*/ 763905 h 1714500"/>
                <a:gd name="connsiteX91" fmla="*/ 1265873 w 1333500"/>
                <a:gd name="connsiteY91" fmla="*/ 792480 h 1714500"/>
                <a:gd name="connsiteX92" fmla="*/ 1265873 w 1333500"/>
                <a:gd name="connsiteY92" fmla="*/ 796290 h 1714500"/>
                <a:gd name="connsiteX93" fmla="*/ 1264920 w 1333500"/>
                <a:gd name="connsiteY93" fmla="*/ 801053 h 1714500"/>
                <a:gd name="connsiteX94" fmla="*/ 1262063 w 1333500"/>
                <a:gd name="connsiteY94" fmla="*/ 808672 h 1714500"/>
                <a:gd name="connsiteX95" fmla="*/ 1259205 w 1333500"/>
                <a:gd name="connsiteY95" fmla="*/ 812483 h 1714500"/>
                <a:gd name="connsiteX96" fmla="*/ 1256348 w 1333500"/>
                <a:gd name="connsiteY96" fmla="*/ 815340 h 1714500"/>
                <a:gd name="connsiteX97" fmla="*/ 1240155 w 1333500"/>
                <a:gd name="connsiteY97" fmla="*/ 823913 h 1714500"/>
                <a:gd name="connsiteX98" fmla="*/ 1236345 w 1333500"/>
                <a:gd name="connsiteY98" fmla="*/ 828675 h 1714500"/>
                <a:gd name="connsiteX99" fmla="*/ 1231582 w 1333500"/>
                <a:gd name="connsiteY99" fmla="*/ 840105 h 1714500"/>
                <a:gd name="connsiteX100" fmla="*/ 1217295 w 1333500"/>
                <a:gd name="connsiteY100" fmla="*/ 862965 h 1714500"/>
                <a:gd name="connsiteX101" fmla="*/ 1211580 w 1333500"/>
                <a:gd name="connsiteY101" fmla="*/ 871538 h 1714500"/>
                <a:gd name="connsiteX102" fmla="*/ 1206817 w 1333500"/>
                <a:gd name="connsiteY102" fmla="*/ 882968 h 1714500"/>
                <a:gd name="connsiteX103" fmla="*/ 1205865 w 1333500"/>
                <a:gd name="connsiteY103" fmla="*/ 886778 h 1714500"/>
                <a:gd name="connsiteX104" fmla="*/ 1205865 w 1333500"/>
                <a:gd name="connsiteY104" fmla="*/ 889635 h 1714500"/>
                <a:gd name="connsiteX105" fmla="*/ 1208723 w 1333500"/>
                <a:gd name="connsiteY105" fmla="*/ 894397 h 1714500"/>
                <a:gd name="connsiteX106" fmla="*/ 1212532 w 1333500"/>
                <a:gd name="connsiteY106" fmla="*/ 899160 h 1714500"/>
                <a:gd name="connsiteX107" fmla="*/ 1222057 w 1333500"/>
                <a:gd name="connsiteY107" fmla="*/ 905828 h 1714500"/>
                <a:gd name="connsiteX108" fmla="*/ 1223010 w 1333500"/>
                <a:gd name="connsiteY108" fmla="*/ 908685 h 1714500"/>
                <a:gd name="connsiteX109" fmla="*/ 1223963 w 1333500"/>
                <a:gd name="connsiteY109" fmla="*/ 911543 h 1714500"/>
                <a:gd name="connsiteX110" fmla="*/ 1221105 w 1333500"/>
                <a:gd name="connsiteY110" fmla="*/ 921068 h 1714500"/>
                <a:gd name="connsiteX111" fmla="*/ 1216342 w 1333500"/>
                <a:gd name="connsiteY111" fmla="*/ 936308 h 1714500"/>
                <a:gd name="connsiteX112" fmla="*/ 1213485 w 1333500"/>
                <a:gd name="connsiteY112" fmla="*/ 941070 h 1714500"/>
                <a:gd name="connsiteX113" fmla="*/ 1210628 w 1333500"/>
                <a:gd name="connsiteY113" fmla="*/ 942022 h 1714500"/>
                <a:gd name="connsiteX114" fmla="*/ 1204913 w 1333500"/>
                <a:gd name="connsiteY114" fmla="*/ 942975 h 1714500"/>
                <a:gd name="connsiteX115" fmla="*/ 1203007 w 1333500"/>
                <a:gd name="connsiteY115" fmla="*/ 944880 h 1714500"/>
                <a:gd name="connsiteX116" fmla="*/ 1203007 w 1333500"/>
                <a:gd name="connsiteY116" fmla="*/ 948690 h 1714500"/>
                <a:gd name="connsiteX117" fmla="*/ 1204913 w 1333500"/>
                <a:gd name="connsiteY117" fmla="*/ 955358 h 1714500"/>
                <a:gd name="connsiteX118" fmla="*/ 1207770 w 1333500"/>
                <a:gd name="connsiteY118" fmla="*/ 958215 h 1714500"/>
                <a:gd name="connsiteX119" fmla="*/ 1213485 w 1333500"/>
                <a:gd name="connsiteY119" fmla="*/ 961072 h 1714500"/>
                <a:gd name="connsiteX120" fmla="*/ 1216342 w 1333500"/>
                <a:gd name="connsiteY120" fmla="*/ 965835 h 1714500"/>
                <a:gd name="connsiteX121" fmla="*/ 1217295 w 1333500"/>
                <a:gd name="connsiteY121" fmla="*/ 967740 h 1714500"/>
                <a:gd name="connsiteX122" fmla="*/ 1216342 w 1333500"/>
                <a:gd name="connsiteY122" fmla="*/ 974408 h 1714500"/>
                <a:gd name="connsiteX123" fmla="*/ 1211580 w 1333500"/>
                <a:gd name="connsiteY123" fmla="*/ 990600 h 1714500"/>
                <a:gd name="connsiteX124" fmla="*/ 1208723 w 1333500"/>
                <a:gd name="connsiteY124" fmla="*/ 996315 h 1714500"/>
                <a:gd name="connsiteX125" fmla="*/ 1206817 w 1333500"/>
                <a:gd name="connsiteY125" fmla="*/ 998220 h 1714500"/>
                <a:gd name="connsiteX126" fmla="*/ 1204913 w 1333500"/>
                <a:gd name="connsiteY126" fmla="*/ 999172 h 1714500"/>
                <a:gd name="connsiteX127" fmla="*/ 1202055 w 1333500"/>
                <a:gd name="connsiteY127" fmla="*/ 999172 h 1714500"/>
                <a:gd name="connsiteX128" fmla="*/ 1192530 w 1333500"/>
                <a:gd name="connsiteY128" fmla="*/ 997268 h 1714500"/>
                <a:gd name="connsiteX129" fmla="*/ 1189673 w 1333500"/>
                <a:gd name="connsiteY129" fmla="*/ 997268 h 1714500"/>
                <a:gd name="connsiteX130" fmla="*/ 1187767 w 1333500"/>
                <a:gd name="connsiteY130" fmla="*/ 998220 h 1714500"/>
                <a:gd name="connsiteX131" fmla="*/ 1186815 w 1333500"/>
                <a:gd name="connsiteY131" fmla="*/ 1001078 h 1714500"/>
                <a:gd name="connsiteX132" fmla="*/ 1186815 w 1333500"/>
                <a:gd name="connsiteY132" fmla="*/ 1003935 h 1714500"/>
                <a:gd name="connsiteX133" fmla="*/ 1188720 w 1333500"/>
                <a:gd name="connsiteY133" fmla="*/ 1006793 h 1714500"/>
                <a:gd name="connsiteX134" fmla="*/ 1197292 w 1333500"/>
                <a:gd name="connsiteY134" fmla="*/ 1011555 h 1714500"/>
                <a:gd name="connsiteX135" fmla="*/ 1199198 w 1333500"/>
                <a:gd name="connsiteY135" fmla="*/ 1013460 h 1714500"/>
                <a:gd name="connsiteX136" fmla="*/ 1199198 w 1333500"/>
                <a:gd name="connsiteY136" fmla="*/ 1016318 h 1714500"/>
                <a:gd name="connsiteX137" fmla="*/ 1196340 w 1333500"/>
                <a:gd name="connsiteY137" fmla="*/ 1022033 h 1714500"/>
                <a:gd name="connsiteX138" fmla="*/ 1193482 w 1333500"/>
                <a:gd name="connsiteY138" fmla="*/ 1023938 h 1714500"/>
                <a:gd name="connsiteX139" fmla="*/ 1190625 w 1333500"/>
                <a:gd name="connsiteY139" fmla="*/ 1024890 h 1714500"/>
                <a:gd name="connsiteX140" fmla="*/ 1179195 w 1333500"/>
                <a:gd name="connsiteY140" fmla="*/ 1025843 h 1714500"/>
                <a:gd name="connsiteX141" fmla="*/ 1177290 w 1333500"/>
                <a:gd name="connsiteY141" fmla="*/ 1028700 h 1714500"/>
                <a:gd name="connsiteX142" fmla="*/ 1178242 w 1333500"/>
                <a:gd name="connsiteY142" fmla="*/ 1032510 h 1714500"/>
                <a:gd name="connsiteX143" fmla="*/ 1181100 w 1333500"/>
                <a:gd name="connsiteY143" fmla="*/ 1038225 h 1714500"/>
                <a:gd name="connsiteX144" fmla="*/ 1184910 w 1333500"/>
                <a:gd name="connsiteY144" fmla="*/ 1041083 h 1714500"/>
                <a:gd name="connsiteX145" fmla="*/ 1187767 w 1333500"/>
                <a:gd name="connsiteY145" fmla="*/ 1041083 h 1714500"/>
                <a:gd name="connsiteX146" fmla="*/ 1190625 w 1333500"/>
                <a:gd name="connsiteY146" fmla="*/ 1040130 h 1714500"/>
                <a:gd name="connsiteX147" fmla="*/ 1210628 w 1333500"/>
                <a:gd name="connsiteY147" fmla="*/ 1031558 h 1714500"/>
                <a:gd name="connsiteX148" fmla="*/ 1213485 w 1333500"/>
                <a:gd name="connsiteY148" fmla="*/ 1031558 h 1714500"/>
                <a:gd name="connsiteX149" fmla="*/ 1236345 w 1333500"/>
                <a:gd name="connsiteY149" fmla="*/ 1030605 h 1714500"/>
                <a:gd name="connsiteX150" fmla="*/ 1239203 w 1333500"/>
                <a:gd name="connsiteY150" fmla="*/ 1031558 h 1714500"/>
                <a:gd name="connsiteX151" fmla="*/ 1242060 w 1333500"/>
                <a:gd name="connsiteY151" fmla="*/ 1032510 h 1714500"/>
                <a:gd name="connsiteX152" fmla="*/ 1245870 w 1333500"/>
                <a:gd name="connsiteY152" fmla="*/ 1036320 h 1714500"/>
                <a:gd name="connsiteX153" fmla="*/ 1252538 w 1333500"/>
                <a:gd name="connsiteY153" fmla="*/ 1044893 h 1714500"/>
                <a:gd name="connsiteX154" fmla="*/ 1258253 w 1333500"/>
                <a:gd name="connsiteY154" fmla="*/ 1053465 h 1714500"/>
                <a:gd name="connsiteX155" fmla="*/ 1260157 w 1333500"/>
                <a:gd name="connsiteY155" fmla="*/ 1057275 h 1714500"/>
                <a:gd name="connsiteX156" fmla="*/ 1263015 w 1333500"/>
                <a:gd name="connsiteY156" fmla="*/ 1080135 h 1714500"/>
                <a:gd name="connsiteX157" fmla="*/ 1269682 w 1333500"/>
                <a:gd name="connsiteY157" fmla="*/ 1098233 h 1714500"/>
                <a:gd name="connsiteX158" fmla="*/ 1271588 w 1333500"/>
                <a:gd name="connsiteY158" fmla="*/ 1110615 h 1714500"/>
                <a:gd name="connsiteX159" fmla="*/ 1274445 w 1333500"/>
                <a:gd name="connsiteY159" fmla="*/ 1115378 h 1714500"/>
                <a:gd name="connsiteX160" fmla="*/ 1276350 w 1333500"/>
                <a:gd name="connsiteY160" fmla="*/ 1117283 h 1714500"/>
                <a:gd name="connsiteX161" fmla="*/ 1283017 w 1333500"/>
                <a:gd name="connsiteY161" fmla="*/ 1117283 h 1714500"/>
                <a:gd name="connsiteX162" fmla="*/ 1289685 w 1333500"/>
                <a:gd name="connsiteY162" fmla="*/ 1118235 h 1714500"/>
                <a:gd name="connsiteX163" fmla="*/ 1291590 w 1333500"/>
                <a:gd name="connsiteY163" fmla="*/ 1120140 h 1714500"/>
                <a:gd name="connsiteX164" fmla="*/ 1295400 w 1333500"/>
                <a:gd name="connsiteY164" fmla="*/ 1124903 h 1714500"/>
                <a:gd name="connsiteX165" fmla="*/ 1301115 w 1333500"/>
                <a:gd name="connsiteY165" fmla="*/ 1140143 h 1714500"/>
                <a:gd name="connsiteX166" fmla="*/ 1305878 w 1333500"/>
                <a:gd name="connsiteY166" fmla="*/ 1148715 h 1714500"/>
                <a:gd name="connsiteX167" fmla="*/ 1309688 w 1333500"/>
                <a:gd name="connsiteY167" fmla="*/ 1152525 h 1714500"/>
                <a:gd name="connsiteX168" fmla="*/ 1311592 w 1333500"/>
                <a:gd name="connsiteY168" fmla="*/ 1153478 h 1714500"/>
                <a:gd name="connsiteX169" fmla="*/ 1318260 w 1333500"/>
                <a:gd name="connsiteY169" fmla="*/ 1156335 h 1714500"/>
                <a:gd name="connsiteX170" fmla="*/ 1320165 w 1333500"/>
                <a:gd name="connsiteY170" fmla="*/ 1160145 h 1714500"/>
                <a:gd name="connsiteX171" fmla="*/ 1320165 w 1333500"/>
                <a:gd name="connsiteY171" fmla="*/ 1167765 h 1714500"/>
                <a:gd name="connsiteX172" fmla="*/ 1317307 w 1333500"/>
                <a:gd name="connsiteY172" fmla="*/ 1200150 h 1714500"/>
                <a:gd name="connsiteX173" fmla="*/ 1318260 w 1333500"/>
                <a:gd name="connsiteY173" fmla="*/ 1209675 h 1714500"/>
                <a:gd name="connsiteX174" fmla="*/ 1317307 w 1333500"/>
                <a:gd name="connsiteY174" fmla="*/ 1227773 h 1714500"/>
                <a:gd name="connsiteX175" fmla="*/ 1318260 w 1333500"/>
                <a:gd name="connsiteY175" fmla="*/ 1230630 h 1714500"/>
                <a:gd name="connsiteX176" fmla="*/ 1320165 w 1333500"/>
                <a:gd name="connsiteY176" fmla="*/ 1235393 h 1714500"/>
                <a:gd name="connsiteX177" fmla="*/ 1321117 w 1333500"/>
                <a:gd name="connsiteY177" fmla="*/ 1238250 h 1714500"/>
                <a:gd name="connsiteX178" fmla="*/ 1324928 w 1333500"/>
                <a:gd name="connsiteY178" fmla="*/ 1241108 h 1714500"/>
                <a:gd name="connsiteX179" fmla="*/ 1332548 w 1333500"/>
                <a:gd name="connsiteY179" fmla="*/ 1245870 h 1714500"/>
                <a:gd name="connsiteX180" fmla="*/ 1334453 w 1333500"/>
                <a:gd name="connsiteY180" fmla="*/ 1247775 h 1714500"/>
                <a:gd name="connsiteX181" fmla="*/ 1336357 w 1333500"/>
                <a:gd name="connsiteY181" fmla="*/ 1251585 h 1714500"/>
                <a:gd name="connsiteX182" fmla="*/ 1336357 w 1333500"/>
                <a:gd name="connsiteY182" fmla="*/ 1257300 h 1714500"/>
                <a:gd name="connsiteX183" fmla="*/ 1336357 w 1333500"/>
                <a:gd name="connsiteY183" fmla="*/ 1267778 h 1714500"/>
                <a:gd name="connsiteX184" fmla="*/ 1339215 w 1333500"/>
                <a:gd name="connsiteY184" fmla="*/ 1272540 h 1714500"/>
                <a:gd name="connsiteX185" fmla="*/ 1340167 w 1333500"/>
                <a:gd name="connsiteY185" fmla="*/ 1276350 h 1714500"/>
                <a:gd name="connsiteX186" fmla="*/ 1340167 w 1333500"/>
                <a:gd name="connsiteY186" fmla="*/ 1280160 h 1714500"/>
                <a:gd name="connsiteX187" fmla="*/ 1336357 w 1333500"/>
                <a:gd name="connsiteY187" fmla="*/ 1288733 h 1714500"/>
                <a:gd name="connsiteX188" fmla="*/ 1332548 w 1333500"/>
                <a:gd name="connsiteY188" fmla="*/ 1292543 h 1714500"/>
                <a:gd name="connsiteX189" fmla="*/ 1328738 w 1333500"/>
                <a:gd name="connsiteY189" fmla="*/ 1294448 h 1714500"/>
                <a:gd name="connsiteX190" fmla="*/ 1311592 w 1333500"/>
                <a:gd name="connsiteY190" fmla="*/ 1299210 h 1714500"/>
                <a:gd name="connsiteX191" fmla="*/ 1308735 w 1333500"/>
                <a:gd name="connsiteY191" fmla="*/ 1300163 h 1714500"/>
                <a:gd name="connsiteX192" fmla="*/ 1306830 w 1333500"/>
                <a:gd name="connsiteY192" fmla="*/ 1303020 h 1714500"/>
                <a:gd name="connsiteX193" fmla="*/ 1305878 w 1333500"/>
                <a:gd name="connsiteY193" fmla="*/ 1306830 h 1714500"/>
                <a:gd name="connsiteX194" fmla="*/ 1305878 w 1333500"/>
                <a:gd name="connsiteY194" fmla="*/ 1311593 h 1714500"/>
                <a:gd name="connsiteX195" fmla="*/ 1306830 w 1333500"/>
                <a:gd name="connsiteY195" fmla="*/ 1319213 h 1714500"/>
                <a:gd name="connsiteX196" fmla="*/ 1314450 w 1333500"/>
                <a:gd name="connsiteY196" fmla="*/ 1349693 h 1714500"/>
                <a:gd name="connsiteX197" fmla="*/ 1312545 w 1333500"/>
                <a:gd name="connsiteY197" fmla="*/ 1354455 h 1714500"/>
                <a:gd name="connsiteX198" fmla="*/ 1309688 w 1333500"/>
                <a:gd name="connsiteY198" fmla="*/ 1358265 h 1714500"/>
                <a:gd name="connsiteX199" fmla="*/ 1307782 w 1333500"/>
                <a:gd name="connsiteY199" fmla="*/ 1361123 h 1714500"/>
                <a:gd name="connsiteX200" fmla="*/ 1307782 w 1333500"/>
                <a:gd name="connsiteY200" fmla="*/ 1366838 h 1714500"/>
                <a:gd name="connsiteX201" fmla="*/ 1309688 w 1333500"/>
                <a:gd name="connsiteY201" fmla="*/ 1373505 h 1714500"/>
                <a:gd name="connsiteX202" fmla="*/ 1340167 w 1333500"/>
                <a:gd name="connsiteY202" fmla="*/ 1423035 h 1714500"/>
                <a:gd name="connsiteX203" fmla="*/ 1341120 w 1333500"/>
                <a:gd name="connsiteY203" fmla="*/ 1428750 h 1714500"/>
                <a:gd name="connsiteX204" fmla="*/ 1340167 w 1333500"/>
                <a:gd name="connsiteY204" fmla="*/ 1433513 h 1714500"/>
                <a:gd name="connsiteX205" fmla="*/ 1337310 w 1333500"/>
                <a:gd name="connsiteY205" fmla="*/ 1438275 h 1714500"/>
                <a:gd name="connsiteX206" fmla="*/ 1324928 w 1333500"/>
                <a:gd name="connsiteY206" fmla="*/ 1451610 h 1714500"/>
                <a:gd name="connsiteX207" fmla="*/ 1321117 w 1333500"/>
                <a:gd name="connsiteY207" fmla="*/ 1454468 h 1714500"/>
                <a:gd name="connsiteX208" fmla="*/ 1306830 w 1333500"/>
                <a:gd name="connsiteY208" fmla="*/ 1462088 h 1714500"/>
                <a:gd name="connsiteX209" fmla="*/ 1304925 w 1333500"/>
                <a:gd name="connsiteY209" fmla="*/ 1463993 h 1714500"/>
                <a:gd name="connsiteX210" fmla="*/ 1302067 w 1333500"/>
                <a:gd name="connsiteY210" fmla="*/ 1467803 h 1714500"/>
                <a:gd name="connsiteX211" fmla="*/ 1298257 w 1333500"/>
                <a:gd name="connsiteY211" fmla="*/ 1476375 h 1714500"/>
                <a:gd name="connsiteX212" fmla="*/ 1289685 w 1333500"/>
                <a:gd name="connsiteY212" fmla="*/ 1487805 h 1714500"/>
                <a:gd name="connsiteX213" fmla="*/ 1285875 w 1333500"/>
                <a:gd name="connsiteY213" fmla="*/ 1491615 h 1714500"/>
                <a:gd name="connsiteX214" fmla="*/ 1283017 w 1333500"/>
                <a:gd name="connsiteY214" fmla="*/ 1493520 h 1714500"/>
                <a:gd name="connsiteX215" fmla="*/ 1275398 w 1333500"/>
                <a:gd name="connsiteY215" fmla="*/ 1496378 h 1714500"/>
                <a:gd name="connsiteX216" fmla="*/ 1272540 w 1333500"/>
                <a:gd name="connsiteY216" fmla="*/ 1497330 h 1714500"/>
                <a:gd name="connsiteX217" fmla="*/ 1266825 w 1333500"/>
                <a:gd name="connsiteY217" fmla="*/ 1503998 h 1714500"/>
                <a:gd name="connsiteX218" fmla="*/ 1263015 w 1333500"/>
                <a:gd name="connsiteY218" fmla="*/ 1506855 h 1714500"/>
                <a:gd name="connsiteX219" fmla="*/ 1245870 w 1333500"/>
                <a:gd name="connsiteY219" fmla="*/ 1514475 h 1714500"/>
                <a:gd name="connsiteX220" fmla="*/ 1226820 w 1333500"/>
                <a:gd name="connsiteY220" fmla="*/ 1528763 h 1714500"/>
                <a:gd name="connsiteX221" fmla="*/ 1222057 w 1333500"/>
                <a:gd name="connsiteY221" fmla="*/ 1529715 h 1714500"/>
                <a:gd name="connsiteX222" fmla="*/ 1217295 w 1333500"/>
                <a:gd name="connsiteY222" fmla="*/ 1528763 h 1714500"/>
                <a:gd name="connsiteX223" fmla="*/ 1214438 w 1333500"/>
                <a:gd name="connsiteY223" fmla="*/ 1529715 h 1714500"/>
                <a:gd name="connsiteX224" fmla="*/ 1211580 w 1333500"/>
                <a:gd name="connsiteY224" fmla="*/ 1531620 h 1714500"/>
                <a:gd name="connsiteX225" fmla="*/ 1208723 w 1333500"/>
                <a:gd name="connsiteY225" fmla="*/ 1537335 h 1714500"/>
                <a:gd name="connsiteX226" fmla="*/ 1205865 w 1333500"/>
                <a:gd name="connsiteY226" fmla="*/ 1540193 h 1714500"/>
                <a:gd name="connsiteX227" fmla="*/ 1202055 w 1333500"/>
                <a:gd name="connsiteY227" fmla="*/ 1542098 h 1714500"/>
                <a:gd name="connsiteX228" fmla="*/ 1195388 w 1333500"/>
                <a:gd name="connsiteY228" fmla="*/ 1541145 h 1714500"/>
                <a:gd name="connsiteX229" fmla="*/ 1192530 w 1333500"/>
                <a:gd name="connsiteY229" fmla="*/ 1541145 h 1714500"/>
                <a:gd name="connsiteX230" fmla="*/ 1190625 w 1333500"/>
                <a:gd name="connsiteY230" fmla="*/ 1542098 h 1714500"/>
                <a:gd name="connsiteX231" fmla="*/ 1185863 w 1333500"/>
                <a:gd name="connsiteY231" fmla="*/ 1544955 h 1714500"/>
                <a:gd name="connsiteX232" fmla="*/ 1184910 w 1333500"/>
                <a:gd name="connsiteY232" fmla="*/ 1547813 h 1714500"/>
                <a:gd name="connsiteX233" fmla="*/ 1183957 w 1333500"/>
                <a:gd name="connsiteY233" fmla="*/ 1551623 h 1714500"/>
                <a:gd name="connsiteX234" fmla="*/ 1185863 w 1333500"/>
                <a:gd name="connsiteY234" fmla="*/ 1558290 h 1714500"/>
                <a:gd name="connsiteX235" fmla="*/ 1186815 w 1333500"/>
                <a:gd name="connsiteY235" fmla="*/ 1562100 h 1714500"/>
                <a:gd name="connsiteX236" fmla="*/ 1189673 w 1333500"/>
                <a:gd name="connsiteY236" fmla="*/ 1567815 h 1714500"/>
                <a:gd name="connsiteX237" fmla="*/ 1190625 w 1333500"/>
                <a:gd name="connsiteY237" fmla="*/ 1572578 h 1714500"/>
                <a:gd name="connsiteX238" fmla="*/ 1189673 w 1333500"/>
                <a:gd name="connsiteY238" fmla="*/ 1578293 h 1714500"/>
                <a:gd name="connsiteX239" fmla="*/ 1187767 w 1333500"/>
                <a:gd name="connsiteY239" fmla="*/ 1588770 h 1714500"/>
                <a:gd name="connsiteX240" fmla="*/ 1184910 w 1333500"/>
                <a:gd name="connsiteY240" fmla="*/ 1598295 h 1714500"/>
                <a:gd name="connsiteX241" fmla="*/ 1181100 w 1333500"/>
                <a:gd name="connsiteY241" fmla="*/ 1605915 h 1714500"/>
                <a:gd name="connsiteX242" fmla="*/ 1178242 w 1333500"/>
                <a:gd name="connsiteY242" fmla="*/ 1610678 h 1714500"/>
                <a:gd name="connsiteX243" fmla="*/ 1174432 w 1333500"/>
                <a:gd name="connsiteY243" fmla="*/ 1615440 h 1714500"/>
                <a:gd name="connsiteX244" fmla="*/ 1174432 w 1333500"/>
                <a:gd name="connsiteY244" fmla="*/ 1619250 h 1714500"/>
                <a:gd name="connsiteX245" fmla="*/ 1181100 w 1333500"/>
                <a:gd name="connsiteY245" fmla="*/ 1620203 h 1714500"/>
                <a:gd name="connsiteX246" fmla="*/ 1187767 w 1333500"/>
                <a:gd name="connsiteY246" fmla="*/ 1620203 h 1714500"/>
                <a:gd name="connsiteX247" fmla="*/ 1200150 w 1333500"/>
                <a:gd name="connsiteY247" fmla="*/ 1618298 h 1714500"/>
                <a:gd name="connsiteX248" fmla="*/ 1205865 w 1333500"/>
                <a:gd name="connsiteY248" fmla="*/ 1618298 h 1714500"/>
                <a:gd name="connsiteX249" fmla="*/ 1206817 w 1333500"/>
                <a:gd name="connsiteY249" fmla="*/ 1620203 h 1714500"/>
                <a:gd name="connsiteX250" fmla="*/ 1207770 w 1333500"/>
                <a:gd name="connsiteY250" fmla="*/ 1623060 h 1714500"/>
                <a:gd name="connsiteX251" fmla="*/ 1207770 w 1333500"/>
                <a:gd name="connsiteY251" fmla="*/ 1627823 h 1714500"/>
                <a:gd name="connsiteX252" fmla="*/ 1207770 w 1333500"/>
                <a:gd name="connsiteY252" fmla="*/ 1634490 h 1714500"/>
                <a:gd name="connsiteX253" fmla="*/ 1206817 w 1333500"/>
                <a:gd name="connsiteY253" fmla="*/ 1638300 h 1714500"/>
                <a:gd name="connsiteX254" fmla="*/ 1204913 w 1333500"/>
                <a:gd name="connsiteY254" fmla="*/ 1642110 h 1714500"/>
                <a:gd name="connsiteX255" fmla="*/ 1203007 w 1333500"/>
                <a:gd name="connsiteY255" fmla="*/ 1645920 h 1714500"/>
                <a:gd name="connsiteX256" fmla="*/ 1195388 w 1333500"/>
                <a:gd name="connsiteY256" fmla="*/ 1649730 h 1714500"/>
                <a:gd name="connsiteX257" fmla="*/ 1190625 w 1333500"/>
                <a:gd name="connsiteY257" fmla="*/ 1653540 h 1714500"/>
                <a:gd name="connsiteX258" fmla="*/ 1188720 w 1333500"/>
                <a:gd name="connsiteY258" fmla="*/ 1665923 h 1714500"/>
                <a:gd name="connsiteX259" fmla="*/ 1176338 w 1333500"/>
                <a:gd name="connsiteY259" fmla="*/ 1664970 h 1714500"/>
                <a:gd name="connsiteX260" fmla="*/ 1170623 w 1333500"/>
                <a:gd name="connsiteY260" fmla="*/ 1667828 h 1714500"/>
                <a:gd name="connsiteX261" fmla="*/ 1166813 w 1333500"/>
                <a:gd name="connsiteY261" fmla="*/ 1672590 h 1714500"/>
                <a:gd name="connsiteX262" fmla="*/ 1149667 w 1333500"/>
                <a:gd name="connsiteY262" fmla="*/ 1688783 h 1714500"/>
                <a:gd name="connsiteX263" fmla="*/ 1144905 w 1333500"/>
                <a:gd name="connsiteY263" fmla="*/ 1691640 h 1714500"/>
                <a:gd name="connsiteX264" fmla="*/ 1140142 w 1333500"/>
                <a:gd name="connsiteY264" fmla="*/ 1693545 h 1714500"/>
                <a:gd name="connsiteX265" fmla="*/ 1130617 w 1333500"/>
                <a:gd name="connsiteY265" fmla="*/ 1692593 h 1714500"/>
                <a:gd name="connsiteX266" fmla="*/ 1108710 w 1333500"/>
                <a:gd name="connsiteY266" fmla="*/ 1695450 h 1714500"/>
                <a:gd name="connsiteX267" fmla="*/ 1102042 w 1333500"/>
                <a:gd name="connsiteY267" fmla="*/ 1697355 h 1714500"/>
                <a:gd name="connsiteX268" fmla="*/ 1098232 w 1333500"/>
                <a:gd name="connsiteY268" fmla="*/ 1700213 h 1714500"/>
                <a:gd name="connsiteX269" fmla="*/ 1096328 w 1333500"/>
                <a:gd name="connsiteY269" fmla="*/ 1706880 h 1714500"/>
                <a:gd name="connsiteX270" fmla="*/ 1096328 w 1333500"/>
                <a:gd name="connsiteY270" fmla="*/ 1714500 h 1714500"/>
                <a:gd name="connsiteX271" fmla="*/ 1095375 w 1333500"/>
                <a:gd name="connsiteY271" fmla="*/ 1718310 h 1714500"/>
                <a:gd name="connsiteX272" fmla="*/ 1092517 w 1333500"/>
                <a:gd name="connsiteY272" fmla="*/ 1719263 h 1714500"/>
                <a:gd name="connsiteX273" fmla="*/ 1089660 w 1333500"/>
                <a:gd name="connsiteY273" fmla="*/ 1719263 h 1714500"/>
                <a:gd name="connsiteX274" fmla="*/ 1079182 w 1333500"/>
                <a:gd name="connsiteY274" fmla="*/ 1718310 h 1714500"/>
                <a:gd name="connsiteX275" fmla="*/ 1022985 w 1333500"/>
                <a:gd name="connsiteY275" fmla="*/ 1722120 h 1714500"/>
                <a:gd name="connsiteX276" fmla="*/ 985838 w 1333500"/>
                <a:gd name="connsiteY276" fmla="*/ 1715453 h 1714500"/>
                <a:gd name="connsiteX277" fmla="*/ 965835 w 1333500"/>
                <a:gd name="connsiteY277" fmla="*/ 1717358 h 1714500"/>
                <a:gd name="connsiteX278" fmla="*/ 954405 w 1333500"/>
                <a:gd name="connsiteY278" fmla="*/ 1714500 h 1714500"/>
                <a:gd name="connsiteX279" fmla="*/ 949642 w 1333500"/>
                <a:gd name="connsiteY279" fmla="*/ 1712595 h 1714500"/>
                <a:gd name="connsiteX280" fmla="*/ 943928 w 1333500"/>
                <a:gd name="connsiteY280" fmla="*/ 1708785 h 1714500"/>
                <a:gd name="connsiteX281" fmla="*/ 942022 w 1333500"/>
                <a:gd name="connsiteY281" fmla="*/ 1704023 h 1714500"/>
                <a:gd name="connsiteX282" fmla="*/ 942975 w 1333500"/>
                <a:gd name="connsiteY282" fmla="*/ 1701165 h 1714500"/>
                <a:gd name="connsiteX283" fmla="*/ 943928 w 1333500"/>
                <a:gd name="connsiteY283" fmla="*/ 1699260 h 1714500"/>
                <a:gd name="connsiteX284" fmla="*/ 949642 w 1333500"/>
                <a:gd name="connsiteY284" fmla="*/ 1693545 h 1714500"/>
                <a:gd name="connsiteX285" fmla="*/ 951547 w 1333500"/>
                <a:gd name="connsiteY285" fmla="*/ 1687830 h 1714500"/>
                <a:gd name="connsiteX286" fmla="*/ 951547 w 1333500"/>
                <a:gd name="connsiteY286" fmla="*/ 1685925 h 1714500"/>
                <a:gd name="connsiteX287" fmla="*/ 950595 w 1333500"/>
                <a:gd name="connsiteY287" fmla="*/ 1683068 h 1714500"/>
                <a:gd name="connsiteX288" fmla="*/ 943928 w 1333500"/>
                <a:gd name="connsiteY288" fmla="*/ 1672590 h 1714500"/>
                <a:gd name="connsiteX289" fmla="*/ 942975 w 1333500"/>
                <a:gd name="connsiteY289" fmla="*/ 1669733 h 1714500"/>
                <a:gd name="connsiteX290" fmla="*/ 942022 w 1333500"/>
                <a:gd name="connsiteY290" fmla="*/ 1664018 h 1714500"/>
                <a:gd name="connsiteX291" fmla="*/ 941070 w 1333500"/>
                <a:gd name="connsiteY291" fmla="*/ 1660208 h 1714500"/>
                <a:gd name="connsiteX292" fmla="*/ 938213 w 1333500"/>
                <a:gd name="connsiteY292" fmla="*/ 1656398 h 1714500"/>
                <a:gd name="connsiteX293" fmla="*/ 928688 w 1333500"/>
                <a:gd name="connsiteY293" fmla="*/ 1648778 h 1714500"/>
                <a:gd name="connsiteX294" fmla="*/ 925830 w 1333500"/>
                <a:gd name="connsiteY294" fmla="*/ 1646873 h 1714500"/>
                <a:gd name="connsiteX295" fmla="*/ 925830 w 1333500"/>
                <a:gd name="connsiteY295" fmla="*/ 1643063 h 1714500"/>
                <a:gd name="connsiteX296" fmla="*/ 927735 w 1333500"/>
                <a:gd name="connsiteY296" fmla="*/ 1637348 h 1714500"/>
                <a:gd name="connsiteX297" fmla="*/ 930592 w 1333500"/>
                <a:gd name="connsiteY297" fmla="*/ 1632585 h 1714500"/>
                <a:gd name="connsiteX298" fmla="*/ 955357 w 1333500"/>
                <a:gd name="connsiteY298" fmla="*/ 1600200 h 1714500"/>
                <a:gd name="connsiteX299" fmla="*/ 955357 w 1333500"/>
                <a:gd name="connsiteY299" fmla="*/ 1597343 h 1714500"/>
                <a:gd name="connsiteX300" fmla="*/ 954405 w 1333500"/>
                <a:gd name="connsiteY300" fmla="*/ 1594485 h 1714500"/>
                <a:gd name="connsiteX301" fmla="*/ 939165 w 1333500"/>
                <a:gd name="connsiteY301" fmla="*/ 1583055 h 1714500"/>
                <a:gd name="connsiteX302" fmla="*/ 936307 w 1333500"/>
                <a:gd name="connsiteY302" fmla="*/ 1579245 h 1714500"/>
                <a:gd name="connsiteX303" fmla="*/ 931545 w 1333500"/>
                <a:gd name="connsiteY303" fmla="*/ 1572578 h 1714500"/>
                <a:gd name="connsiteX304" fmla="*/ 922972 w 1333500"/>
                <a:gd name="connsiteY304" fmla="*/ 1553528 h 1714500"/>
                <a:gd name="connsiteX305" fmla="*/ 922020 w 1333500"/>
                <a:gd name="connsiteY305" fmla="*/ 1549718 h 1714500"/>
                <a:gd name="connsiteX306" fmla="*/ 922020 w 1333500"/>
                <a:gd name="connsiteY306" fmla="*/ 1546860 h 1714500"/>
                <a:gd name="connsiteX307" fmla="*/ 922020 w 1333500"/>
                <a:gd name="connsiteY307" fmla="*/ 1540193 h 1714500"/>
                <a:gd name="connsiteX308" fmla="*/ 922020 w 1333500"/>
                <a:gd name="connsiteY308" fmla="*/ 1537335 h 1714500"/>
                <a:gd name="connsiteX309" fmla="*/ 920115 w 1333500"/>
                <a:gd name="connsiteY309" fmla="*/ 1528763 h 1714500"/>
                <a:gd name="connsiteX310" fmla="*/ 919163 w 1333500"/>
                <a:gd name="connsiteY310" fmla="*/ 1525905 h 1714500"/>
                <a:gd name="connsiteX311" fmla="*/ 921067 w 1333500"/>
                <a:gd name="connsiteY311" fmla="*/ 1518285 h 1714500"/>
                <a:gd name="connsiteX312" fmla="*/ 920115 w 1333500"/>
                <a:gd name="connsiteY312" fmla="*/ 1515428 h 1714500"/>
                <a:gd name="connsiteX313" fmla="*/ 917257 w 1333500"/>
                <a:gd name="connsiteY313" fmla="*/ 1510665 h 1714500"/>
                <a:gd name="connsiteX314" fmla="*/ 908685 w 1333500"/>
                <a:gd name="connsiteY314" fmla="*/ 1502093 h 1714500"/>
                <a:gd name="connsiteX315" fmla="*/ 905828 w 1333500"/>
                <a:gd name="connsiteY315" fmla="*/ 1497330 h 1714500"/>
                <a:gd name="connsiteX316" fmla="*/ 904875 w 1333500"/>
                <a:gd name="connsiteY316" fmla="*/ 1493520 h 1714500"/>
                <a:gd name="connsiteX317" fmla="*/ 906780 w 1333500"/>
                <a:gd name="connsiteY317" fmla="*/ 1487805 h 1714500"/>
                <a:gd name="connsiteX318" fmla="*/ 905828 w 1333500"/>
                <a:gd name="connsiteY318" fmla="*/ 1484948 h 1714500"/>
                <a:gd name="connsiteX319" fmla="*/ 902970 w 1333500"/>
                <a:gd name="connsiteY319" fmla="*/ 1483043 h 1714500"/>
                <a:gd name="connsiteX320" fmla="*/ 900113 w 1333500"/>
                <a:gd name="connsiteY320" fmla="*/ 1482090 h 1714500"/>
                <a:gd name="connsiteX321" fmla="*/ 866775 w 1333500"/>
                <a:gd name="connsiteY321" fmla="*/ 1477328 h 1714500"/>
                <a:gd name="connsiteX322" fmla="*/ 862965 w 1333500"/>
                <a:gd name="connsiteY322" fmla="*/ 1478280 h 1714500"/>
                <a:gd name="connsiteX323" fmla="*/ 860107 w 1333500"/>
                <a:gd name="connsiteY323" fmla="*/ 1480185 h 1714500"/>
                <a:gd name="connsiteX324" fmla="*/ 859155 w 1333500"/>
                <a:gd name="connsiteY324" fmla="*/ 1486853 h 1714500"/>
                <a:gd name="connsiteX325" fmla="*/ 856297 w 1333500"/>
                <a:gd name="connsiteY325" fmla="*/ 1492568 h 1714500"/>
                <a:gd name="connsiteX326" fmla="*/ 853440 w 1333500"/>
                <a:gd name="connsiteY326" fmla="*/ 1497330 h 1714500"/>
                <a:gd name="connsiteX327" fmla="*/ 849630 w 1333500"/>
                <a:gd name="connsiteY327" fmla="*/ 1501140 h 1714500"/>
                <a:gd name="connsiteX328" fmla="*/ 844867 w 1333500"/>
                <a:gd name="connsiteY328" fmla="*/ 1503998 h 1714500"/>
                <a:gd name="connsiteX329" fmla="*/ 832485 w 1333500"/>
                <a:gd name="connsiteY329" fmla="*/ 1508760 h 1714500"/>
                <a:gd name="connsiteX330" fmla="*/ 825817 w 1333500"/>
                <a:gd name="connsiteY330" fmla="*/ 1513523 h 1714500"/>
                <a:gd name="connsiteX331" fmla="*/ 822007 w 1333500"/>
                <a:gd name="connsiteY331" fmla="*/ 1517333 h 1714500"/>
                <a:gd name="connsiteX332" fmla="*/ 815340 w 1333500"/>
                <a:gd name="connsiteY332" fmla="*/ 1530668 h 1714500"/>
                <a:gd name="connsiteX333" fmla="*/ 811530 w 1333500"/>
                <a:gd name="connsiteY333" fmla="*/ 1542098 h 1714500"/>
                <a:gd name="connsiteX334" fmla="*/ 808672 w 1333500"/>
                <a:gd name="connsiteY334" fmla="*/ 1546860 h 1714500"/>
                <a:gd name="connsiteX335" fmla="*/ 805815 w 1333500"/>
                <a:gd name="connsiteY335" fmla="*/ 1548765 h 1714500"/>
                <a:gd name="connsiteX336" fmla="*/ 801053 w 1333500"/>
                <a:gd name="connsiteY336" fmla="*/ 1549718 h 1714500"/>
                <a:gd name="connsiteX337" fmla="*/ 761047 w 1333500"/>
                <a:gd name="connsiteY337" fmla="*/ 1543050 h 1714500"/>
                <a:gd name="connsiteX338" fmla="*/ 758190 w 1333500"/>
                <a:gd name="connsiteY338" fmla="*/ 1543050 h 1714500"/>
                <a:gd name="connsiteX339" fmla="*/ 755332 w 1333500"/>
                <a:gd name="connsiteY339" fmla="*/ 1544003 h 1714500"/>
                <a:gd name="connsiteX340" fmla="*/ 745807 w 1333500"/>
                <a:gd name="connsiteY340" fmla="*/ 1549718 h 1714500"/>
                <a:gd name="connsiteX341" fmla="*/ 738188 w 1333500"/>
                <a:gd name="connsiteY341" fmla="*/ 1552575 h 1714500"/>
                <a:gd name="connsiteX342" fmla="*/ 726757 w 1333500"/>
                <a:gd name="connsiteY342" fmla="*/ 1554480 h 1714500"/>
                <a:gd name="connsiteX343" fmla="*/ 724853 w 1333500"/>
                <a:gd name="connsiteY343" fmla="*/ 1553528 h 1714500"/>
                <a:gd name="connsiteX344" fmla="*/ 721042 w 1333500"/>
                <a:gd name="connsiteY344" fmla="*/ 1549718 h 1714500"/>
                <a:gd name="connsiteX345" fmla="*/ 718185 w 1333500"/>
                <a:gd name="connsiteY345" fmla="*/ 1546860 h 1714500"/>
                <a:gd name="connsiteX346" fmla="*/ 704850 w 1333500"/>
                <a:gd name="connsiteY346" fmla="*/ 1539240 h 1714500"/>
                <a:gd name="connsiteX347" fmla="*/ 700088 w 1333500"/>
                <a:gd name="connsiteY347" fmla="*/ 1538288 h 1714500"/>
                <a:gd name="connsiteX348" fmla="*/ 653415 w 1333500"/>
                <a:gd name="connsiteY348" fmla="*/ 1537335 h 1714500"/>
                <a:gd name="connsiteX349" fmla="*/ 647700 w 1333500"/>
                <a:gd name="connsiteY349" fmla="*/ 1538288 h 1714500"/>
                <a:gd name="connsiteX350" fmla="*/ 645795 w 1333500"/>
                <a:gd name="connsiteY350" fmla="*/ 1540193 h 1714500"/>
                <a:gd name="connsiteX351" fmla="*/ 636270 w 1333500"/>
                <a:gd name="connsiteY351" fmla="*/ 1558290 h 1714500"/>
                <a:gd name="connsiteX352" fmla="*/ 631507 w 1333500"/>
                <a:gd name="connsiteY352" fmla="*/ 1563053 h 1714500"/>
                <a:gd name="connsiteX353" fmla="*/ 622935 w 1333500"/>
                <a:gd name="connsiteY353" fmla="*/ 1565910 h 1714500"/>
                <a:gd name="connsiteX354" fmla="*/ 612457 w 1333500"/>
                <a:gd name="connsiteY354" fmla="*/ 1566863 h 1714500"/>
                <a:gd name="connsiteX355" fmla="*/ 606742 w 1333500"/>
                <a:gd name="connsiteY355" fmla="*/ 1566863 h 1714500"/>
                <a:gd name="connsiteX356" fmla="*/ 601980 w 1333500"/>
                <a:gd name="connsiteY356" fmla="*/ 1566863 h 1714500"/>
                <a:gd name="connsiteX357" fmla="*/ 577215 w 1333500"/>
                <a:gd name="connsiteY357" fmla="*/ 1554480 h 1714500"/>
                <a:gd name="connsiteX358" fmla="*/ 571500 w 1333500"/>
                <a:gd name="connsiteY358" fmla="*/ 1553528 h 1714500"/>
                <a:gd name="connsiteX359" fmla="*/ 566738 w 1333500"/>
                <a:gd name="connsiteY359" fmla="*/ 1553528 h 1714500"/>
                <a:gd name="connsiteX360" fmla="*/ 557213 w 1333500"/>
                <a:gd name="connsiteY360" fmla="*/ 1558290 h 1714500"/>
                <a:gd name="connsiteX361" fmla="*/ 552450 w 1333500"/>
                <a:gd name="connsiteY361" fmla="*/ 1560195 h 1714500"/>
                <a:gd name="connsiteX362" fmla="*/ 501015 w 1333500"/>
                <a:gd name="connsiteY362" fmla="*/ 1562100 h 1714500"/>
                <a:gd name="connsiteX363" fmla="*/ 456247 w 1333500"/>
                <a:gd name="connsiteY363" fmla="*/ 1574483 h 1714500"/>
                <a:gd name="connsiteX364" fmla="*/ 439103 w 1333500"/>
                <a:gd name="connsiteY364" fmla="*/ 1576388 h 1714500"/>
                <a:gd name="connsiteX365" fmla="*/ 402907 w 1333500"/>
                <a:gd name="connsiteY365" fmla="*/ 1570673 h 1714500"/>
                <a:gd name="connsiteX366" fmla="*/ 356235 w 1333500"/>
                <a:gd name="connsiteY366" fmla="*/ 1576388 h 1714500"/>
                <a:gd name="connsiteX367" fmla="*/ 246697 w 1333500"/>
                <a:gd name="connsiteY367" fmla="*/ 1544955 h 1714500"/>
                <a:gd name="connsiteX368" fmla="*/ 243840 w 1333500"/>
                <a:gd name="connsiteY368" fmla="*/ 1541145 h 1714500"/>
                <a:gd name="connsiteX369" fmla="*/ 240982 w 1333500"/>
                <a:gd name="connsiteY369" fmla="*/ 1536383 h 1714500"/>
                <a:gd name="connsiteX370" fmla="*/ 240030 w 1333500"/>
                <a:gd name="connsiteY370" fmla="*/ 1533525 h 1714500"/>
                <a:gd name="connsiteX371" fmla="*/ 239078 w 1333500"/>
                <a:gd name="connsiteY371" fmla="*/ 1527810 h 1714500"/>
                <a:gd name="connsiteX372" fmla="*/ 237172 w 1333500"/>
                <a:gd name="connsiteY372" fmla="*/ 1522095 h 1714500"/>
                <a:gd name="connsiteX373" fmla="*/ 231457 w 1333500"/>
                <a:gd name="connsiteY373" fmla="*/ 1513523 h 1714500"/>
                <a:gd name="connsiteX374" fmla="*/ 217170 w 1333500"/>
                <a:gd name="connsiteY374" fmla="*/ 1494473 h 1714500"/>
                <a:gd name="connsiteX375" fmla="*/ 214313 w 1333500"/>
                <a:gd name="connsiteY375" fmla="*/ 1489710 h 1714500"/>
                <a:gd name="connsiteX376" fmla="*/ 213360 w 1333500"/>
                <a:gd name="connsiteY376" fmla="*/ 1483995 h 1714500"/>
                <a:gd name="connsiteX377" fmla="*/ 215265 w 1333500"/>
                <a:gd name="connsiteY377" fmla="*/ 1475423 h 1714500"/>
                <a:gd name="connsiteX378" fmla="*/ 215265 w 1333500"/>
                <a:gd name="connsiteY378" fmla="*/ 1472565 h 1714500"/>
                <a:gd name="connsiteX379" fmla="*/ 213360 w 1333500"/>
                <a:gd name="connsiteY379" fmla="*/ 1467803 h 1714500"/>
                <a:gd name="connsiteX380" fmla="*/ 211455 w 1333500"/>
                <a:gd name="connsiteY380" fmla="*/ 1465898 h 1714500"/>
                <a:gd name="connsiteX381" fmla="*/ 208597 w 1333500"/>
                <a:gd name="connsiteY381" fmla="*/ 1463993 h 1714500"/>
                <a:gd name="connsiteX382" fmla="*/ 189547 w 1333500"/>
                <a:gd name="connsiteY382" fmla="*/ 1456373 h 1714500"/>
                <a:gd name="connsiteX383" fmla="*/ 185738 w 1333500"/>
                <a:gd name="connsiteY383" fmla="*/ 1453515 h 1714500"/>
                <a:gd name="connsiteX384" fmla="*/ 183832 w 1333500"/>
                <a:gd name="connsiteY384" fmla="*/ 1449705 h 1714500"/>
                <a:gd name="connsiteX385" fmla="*/ 185738 w 1333500"/>
                <a:gd name="connsiteY385" fmla="*/ 1431608 h 1714500"/>
                <a:gd name="connsiteX386" fmla="*/ 186690 w 1333500"/>
                <a:gd name="connsiteY386" fmla="*/ 1428750 h 1714500"/>
                <a:gd name="connsiteX387" fmla="*/ 187642 w 1333500"/>
                <a:gd name="connsiteY387" fmla="*/ 1426845 h 1714500"/>
                <a:gd name="connsiteX388" fmla="*/ 190500 w 1333500"/>
                <a:gd name="connsiteY388" fmla="*/ 1425893 h 1714500"/>
                <a:gd name="connsiteX389" fmla="*/ 200025 w 1333500"/>
                <a:gd name="connsiteY389" fmla="*/ 1424940 h 1714500"/>
                <a:gd name="connsiteX390" fmla="*/ 202882 w 1333500"/>
                <a:gd name="connsiteY390" fmla="*/ 1423988 h 1714500"/>
                <a:gd name="connsiteX391" fmla="*/ 204788 w 1333500"/>
                <a:gd name="connsiteY391" fmla="*/ 1422083 h 1714500"/>
                <a:gd name="connsiteX392" fmla="*/ 204788 w 1333500"/>
                <a:gd name="connsiteY392" fmla="*/ 1420178 h 1714500"/>
                <a:gd name="connsiteX393" fmla="*/ 203835 w 1333500"/>
                <a:gd name="connsiteY393" fmla="*/ 1414463 h 1714500"/>
                <a:gd name="connsiteX394" fmla="*/ 201930 w 1333500"/>
                <a:gd name="connsiteY394" fmla="*/ 1408748 h 1714500"/>
                <a:gd name="connsiteX395" fmla="*/ 186690 w 1333500"/>
                <a:gd name="connsiteY395" fmla="*/ 1382078 h 1714500"/>
                <a:gd name="connsiteX396" fmla="*/ 185738 w 1333500"/>
                <a:gd name="connsiteY396" fmla="*/ 1377315 h 1714500"/>
                <a:gd name="connsiteX397" fmla="*/ 185738 w 1333500"/>
                <a:gd name="connsiteY397" fmla="*/ 1374458 h 1714500"/>
                <a:gd name="connsiteX398" fmla="*/ 187642 w 1333500"/>
                <a:gd name="connsiteY398" fmla="*/ 1373505 h 1714500"/>
                <a:gd name="connsiteX399" fmla="*/ 213360 w 1333500"/>
                <a:gd name="connsiteY399" fmla="*/ 1378268 h 1714500"/>
                <a:gd name="connsiteX400" fmla="*/ 217170 w 1333500"/>
                <a:gd name="connsiteY400" fmla="*/ 1377315 h 1714500"/>
                <a:gd name="connsiteX401" fmla="*/ 222885 w 1333500"/>
                <a:gd name="connsiteY401" fmla="*/ 1376363 h 1714500"/>
                <a:gd name="connsiteX402" fmla="*/ 226695 w 1333500"/>
                <a:gd name="connsiteY402" fmla="*/ 1372553 h 1714500"/>
                <a:gd name="connsiteX403" fmla="*/ 229553 w 1333500"/>
                <a:gd name="connsiteY403" fmla="*/ 1368743 h 1714500"/>
                <a:gd name="connsiteX404" fmla="*/ 233363 w 1333500"/>
                <a:gd name="connsiteY404" fmla="*/ 1364933 h 1714500"/>
                <a:gd name="connsiteX405" fmla="*/ 236220 w 1333500"/>
                <a:gd name="connsiteY405" fmla="*/ 1363028 h 1714500"/>
                <a:gd name="connsiteX406" fmla="*/ 244792 w 1333500"/>
                <a:gd name="connsiteY406" fmla="*/ 1362075 h 1714500"/>
                <a:gd name="connsiteX407" fmla="*/ 246697 w 1333500"/>
                <a:gd name="connsiteY407" fmla="*/ 1360170 h 1714500"/>
                <a:gd name="connsiteX408" fmla="*/ 248603 w 1333500"/>
                <a:gd name="connsiteY408" fmla="*/ 1353503 h 1714500"/>
                <a:gd name="connsiteX409" fmla="*/ 249555 w 1333500"/>
                <a:gd name="connsiteY409" fmla="*/ 1343978 h 1714500"/>
                <a:gd name="connsiteX410" fmla="*/ 248603 w 1333500"/>
                <a:gd name="connsiteY410" fmla="*/ 1336358 h 1714500"/>
                <a:gd name="connsiteX411" fmla="*/ 246697 w 1333500"/>
                <a:gd name="connsiteY411" fmla="*/ 1332548 h 1714500"/>
                <a:gd name="connsiteX412" fmla="*/ 244792 w 1333500"/>
                <a:gd name="connsiteY412" fmla="*/ 1329690 h 1714500"/>
                <a:gd name="connsiteX413" fmla="*/ 242888 w 1333500"/>
                <a:gd name="connsiteY413" fmla="*/ 1328738 h 1714500"/>
                <a:gd name="connsiteX414" fmla="*/ 232410 w 1333500"/>
                <a:gd name="connsiteY414" fmla="*/ 1323975 h 1714500"/>
                <a:gd name="connsiteX415" fmla="*/ 228600 w 1333500"/>
                <a:gd name="connsiteY415" fmla="*/ 1321118 h 1714500"/>
                <a:gd name="connsiteX416" fmla="*/ 226695 w 1333500"/>
                <a:gd name="connsiteY416" fmla="*/ 1318260 h 1714500"/>
                <a:gd name="connsiteX417" fmla="*/ 225742 w 1333500"/>
                <a:gd name="connsiteY417" fmla="*/ 1315403 h 1714500"/>
                <a:gd name="connsiteX418" fmla="*/ 226695 w 1333500"/>
                <a:gd name="connsiteY418" fmla="*/ 1310640 h 1714500"/>
                <a:gd name="connsiteX419" fmla="*/ 229553 w 1333500"/>
                <a:gd name="connsiteY419" fmla="*/ 1302068 h 1714500"/>
                <a:gd name="connsiteX420" fmla="*/ 232410 w 1333500"/>
                <a:gd name="connsiteY420" fmla="*/ 1296353 h 1714500"/>
                <a:gd name="connsiteX421" fmla="*/ 239078 w 1333500"/>
                <a:gd name="connsiteY421" fmla="*/ 1287780 h 1714500"/>
                <a:gd name="connsiteX422" fmla="*/ 240030 w 1333500"/>
                <a:gd name="connsiteY422" fmla="*/ 1283970 h 1714500"/>
                <a:gd name="connsiteX423" fmla="*/ 239078 w 1333500"/>
                <a:gd name="connsiteY423" fmla="*/ 1282065 h 1714500"/>
                <a:gd name="connsiteX424" fmla="*/ 237172 w 1333500"/>
                <a:gd name="connsiteY424" fmla="*/ 1279208 h 1714500"/>
                <a:gd name="connsiteX425" fmla="*/ 230505 w 1333500"/>
                <a:gd name="connsiteY425" fmla="*/ 1273493 h 1714500"/>
                <a:gd name="connsiteX426" fmla="*/ 229553 w 1333500"/>
                <a:gd name="connsiteY426" fmla="*/ 1269683 h 1714500"/>
                <a:gd name="connsiteX427" fmla="*/ 229553 w 1333500"/>
                <a:gd name="connsiteY427" fmla="*/ 1266825 h 1714500"/>
                <a:gd name="connsiteX428" fmla="*/ 230505 w 1333500"/>
                <a:gd name="connsiteY428" fmla="*/ 1263968 h 1714500"/>
                <a:gd name="connsiteX429" fmla="*/ 232410 w 1333500"/>
                <a:gd name="connsiteY429" fmla="*/ 1263015 h 1714500"/>
                <a:gd name="connsiteX430" fmla="*/ 237172 w 1333500"/>
                <a:gd name="connsiteY430" fmla="*/ 1260158 h 1714500"/>
                <a:gd name="connsiteX431" fmla="*/ 240030 w 1333500"/>
                <a:gd name="connsiteY431" fmla="*/ 1258253 h 1714500"/>
                <a:gd name="connsiteX432" fmla="*/ 240982 w 1333500"/>
                <a:gd name="connsiteY432" fmla="*/ 1254443 h 1714500"/>
                <a:gd name="connsiteX433" fmla="*/ 240982 w 1333500"/>
                <a:gd name="connsiteY433" fmla="*/ 1247775 h 1714500"/>
                <a:gd name="connsiteX434" fmla="*/ 239078 w 1333500"/>
                <a:gd name="connsiteY434" fmla="*/ 1241108 h 1714500"/>
                <a:gd name="connsiteX435" fmla="*/ 233363 w 1333500"/>
                <a:gd name="connsiteY435" fmla="*/ 1232535 h 1714500"/>
                <a:gd name="connsiteX436" fmla="*/ 224790 w 1333500"/>
                <a:gd name="connsiteY436" fmla="*/ 1223010 h 1714500"/>
                <a:gd name="connsiteX437" fmla="*/ 220980 w 1333500"/>
                <a:gd name="connsiteY437" fmla="*/ 1217295 h 1714500"/>
                <a:gd name="connsiteX438" fmla="*/ 219075 w 1333500"/>
                <a:gd name="connsiteY438" fmla="*/ 1213485 h 1714500"/>
                <a:gd name="connsiteX439" fmla="*/ 218122 w 1333500"/>
                <a:gd name="connsiteY439" fmla="*/ 1210628 h 1714500"/>
                <a:gd name="connsiteX440" fmla="*/ 218122 w 1333500"/>
                <a:gd name="connsiteY440" fmla="*/ 1206818 h 1714500"/>
                <a:gd name="connsiteX441" fmla="*/ 220028 w 1333500"/>
                <a:gd name="connsiteY441" fmla="*/ 1187768 h 1714500"/>
                <a:gd name="connsiteX442" fmla="*/ 220028 w 1333500"/>
                <a:gd name="connsiteY442" fmla="*/ 1182053 h 1714500"/>
                <a:gd name="connsiteX443" fmla="*/ 219075 w 1333500"/>
                <a:gd name="connsiteY443" fmla="*/ 1175385 h 1714500"/>
                <a:gd name="connsiteX444" fmla="*/ 217170 w 1333500"/>
                <a:gd name="connsiteY444" fmla="*/ 1171575 h 1714500"/>
                <a:gd name="connsiteX445" fmla="*/ 214313 w 1333500"/>
                <a:gd name="connsiteY445" fmla="*/ 1168718 h 1714500"/>
                <a:gd name="connsiteX446" fmla="*/ 211455 w 1333500"/>
                <a:gd name="connsiteY446" fmla="*/ 1168718 h 1714500"/>
                <a:gd name="connsiteX447" fmla="*/ 207645 w 1333500"/>
                <a:gd name="connsiteY447" fmla="*/ 1168718 h 1714500"/>
                <a:gd name="connsiteX448" fmla="*/ 205740 w 1333500"/>
                <a:gd name="connsiteY448" fmla="*/ 1170623 h 1714500"/>
                <a:gd name="connsiteX449" fmla="*/ 201930 w 1333500"/>
                <a:gd name="connsiteY449" fmla="*/ 1178243 h 1714500"/>
                <a:gd name="connsiteX450" fmla="*/ 197167 w 1333500"/>
                <a:gd name="connsiteY450" fmla="*/ 1184910 h 1714500"/>
                <a:gd name="connsiteX451" fmla="*/ 193357 w 1333500"/>
                <a:gd name="connsiteY451" fmla="*/ 1194435 h 1714500"/>
                <a:gd name="connsiteX452" fmla="*/ 190500 w 1333500"/>
                <a:gd name="connsiteY452" fmla="*/ 1199198 h 1714500"/>
                <a:gd name="connsiteX453" fmla="*/ 188595 w 1333500"/>
                <a:gd name="connsiteY453" fmla="*/ 1200150 h 1714500"/>
                <a:gd name="connsiteX454" fmla="*/ 185738 w 1333500"/>
                <a:gd name="connsiteY454" fmla="*/ 1201103 h 1714500"/>
                <a:gd name="connsiteX455" fmla="*/ 161925 w 1333500"/>
                <a:gd name="connsiteY455" fmla="*/ 1198245 h 1714500"/>
                <a:gd name="connsiteX456" fmla="*/ 160020 w 1333500"/>
                <a:gd name="connsiteY456" fmla="*/ 1198245 h 1714500"/>
                <a:gd name="connsiteX457" fmla="*/ 156210 w 1333500"/>
                <a:gd name="connsiteY457" fmla="*/ 1196340 h 1714500"/>
                <a:gd name="connsiteX458" fmla="*/ 155257 w 1333500"/>
                <a:gd name="connsiteY458" fmla="*/ 1192530 h 1714500"/>
                <a:gd name="connsiteX459" fmla="*/ 154305 w 1333500"/>
                <a:gd name="connsiteY459" fmla="*/ 1182053 h 1714500"/>
                <a:gd name="connsiteX460" fmla="*/ 153353 w 1333500"/>
                <a:gd name="connsiteY460" fmla="*/ 1179195 h 1714500"/>
                <a:gd name="connsiteX461" fmla="*/ 152400 w 1333500"/>
                <a:gd name="connsiteY461" fmla="*/ 1176338 h 1714500"/>
                <a:gd name="connsiteX462" fmla="*/ 147638 w 1333500"/>
                <a:gd name="connsiteY462" fmla="*/ 1172528 h 1714500"/>
                <a:gd name="connsiteX463" fmla="*/ 137160 w 1333500"/>
                <a:gd name="connsiteY463" fmla="*/ 1169670 h 1714500"/>
                <a:gd name="connsiteX464" fmla="*/ 132397 w 1333500"/>
                <a:gd name="connsiteY464" fmla="*/ 1166813 h 1714500"/>
                <a:gd name="connsiteX465" fmla="*/ 129540 w 1333500"/>
                <a:gd name="connsiteY465" fmla="*/ 1163003 h 1714500"/>
                <a:gd name="connsiteX466" fmla="*/ 126682 w 1333500"/>
                <a:gd name="connsiteY466" fmla="*/ 1156335 h 1714500"/>
                <a:gd name="connsiteX467" fmla="*/ 123825 w 1333500"/>
                <a:gd name="connsiteY467" fmla="*/ 1154430 h 1714500"/>
                <a:gd name="connsiteX468" fmla="*/ 120967 w 1333500"/>
                <a:gd name="connsiteY468" fmla="*/ 1153478 h 1714500"/>
                <a:gd name="connsiteX469" fmla="*/ 115253 w 1333500"/>
                <a:gd name="connsiteY469" fmla="*/ 1154430 h 1714500"/>
                <a:gd name="connsiteX470" fmla="*/ 111442 w 1333500"/>
                <a:gd name="connsiteY470" fmla="*/ 1154430 h 1714500"/>
                <a:gd name="connsiteX471" fmla="*/ 109538 w 1333500"/>
                <a:gd name="connsiteY471" fmla="*/ 1152525 h 1714500"/>
                <a:gd name="connsiteX472" fmla="*/ 108585 w 1333500"/>
                <a:gd name="connsiteY472" fmla="*/ 1149668 h 1714500"/>
                <a:gd name="connsiteX473" fmla="*/ 109538 w 1333500"/>
                <a:gd name="connsiteY473" fmla="*/ 1146810 h 1714500"/>
                <a:gd name="connsiteX474" fmla="*/ 112395 w 1333500"/>
                <a:gd name="connsiteY474" fmla="*/ 1142048 h 1714500"/>
                <a:gd name="connsiteX475" fmla="*/ 114300 w 1333500"/>
                <a:gd name="connsiteY475" fmla="*/ 1139190 h 1714500"/>
                <a:gd name="connsiteX476" fmla="*/ 113347 w 1333500"/>
                <a:gd name="connsiteY476" fmla="*/ 1136333 h 1714500"/>
                <a:gd name="connsiteX477" fmla="*/ 111442 w 1333500"/>
                <a:gd name="connsiteY477" fmla="*/ 1134428 h 1714500"/>
                <a:gd name="connsiteX478" fmla="*/ 106680 w 1333500"/>
                <a:gd name="connsiteY478" fmla="*/ 1131570 h 1714500"/>
                <a:gd name="connsiteX479" fmla="*/ 89535 w 1333500"/>
                <a:gd name="connsiteY479" fmla="*/ 1118235 h 1714500"/>
                <a:gd name="connsiteX480" fmla="*/ 66675 w 1333500"/>
                <a:gd name="connsiteY480" fmla="*/ 1104900 h 1714500"/>
                <a:gd name="connsiteX481" fmla="*/ 60960 w 1333500"/>
                <a:gd name="connsiteY481" fmla="*/ 1100138 h 1714500"/>
                <a:gd name="connsiteX482" fmla="*/ 58103 w 1333500"/>
                <a:gd name="connsiteY482" fmla="*/ 1096328 h 1714500"/>
                <a:gd name="connsiteX483" fmla="*/ 56197 w 1333500"/>
                <a:gd name="connsiteY483" fmla="*/ 1092518 h 1714500"/>
                <a:gd name="connsiteX484" fmla="*/ 54292 w 1333500"/>
                <a:gd name="connsiteY484" fmla="*/ 1082993 h 1714500"/>
                <a:gd name="connsiteX485" fmla="*/ 52388 w 1333500"/>
                <a:gd name="connsiteY485" fmla="*/ 1079183 h 1714500"/>
                <a:gd name="connsiteX486" fmla="*/ 50482 w 1333500"/>
                <a:gd name="connsiteY486" fmla="*/ 1077278 h 1714500"/>
                <a:gd name="connsiteX487" fmla="*/ 45720 w 1333500"/>
                <a:gd name="connsiteY487" fmla="*/ 1074420 h 1714500"/>
                <a:gd name="connsiteX488" fmla="*/ 31432 w 1333500"/>
                <a:gd name="connsiteY488" fmla="*/ 1071563 h 1714500"/>
                <a:gd name="connsiteX489" fmla="*/ 27622 w 1333500"/>
                <a:gd name="connsiteY489" fmla="*/ 1070610 h 1714500"/>
                <a:gd name="connsiteX490" fmla="*/ 22860 w 1333500"/>
                <a:gd name="connsiteY490" fmla="*/ 1066800 h 1714500"/>
                <a:gd name="connsiteX491" fmla="*/ 20003 w 1333500"/>
                <a:gd name="connsiteY491" fmla="*/ 1064895 h 1714500"/>
                <a:gd name="connsiteX492" fmla="*/ 19050 w 1333500"/>
                <a:gd name="connsiteY492" fmla="*/ 1061085 h 1714500"/>
                <a:gd name="connsiteX493" fmla="*/ 19050 w 1333500"/>
                <a:gd name="connsiteY493" fmla="*/ 1054418 h 1714500"/>
                <a:gd name="connsiteX494" fmla="*/ 29528 w 1333500"/>
                <a:gd name="connsiteY494" fmla="*/ 1016318 h 1714500"/>
                <a:gd name="connsiteX495" fmla="*/ 32385 w 1333500"/>
                <a:gd name="connsiteY495" fmla="*/ 1010603 h 1714500"/>
                <a:gd name="connsiteX496" fmla="*/ 35242 w 1333500"/>
                <a:gd name="connsiteY496" fmla="*/ 1005840 h 1714500"/>
                <a:gd name="connsiteX497" fmla="*/ 39053 w 1333500"/>
                <a:gd name="connsiteY497" fmla="*/ 1002030 h 1714500"/>
                <a:gd name="connsiteX498" fmla="*/ 43815 w 1333500"/>
                <a:gd name="connsiteY498" fmla="*/ 999172 h 1714500"/>
                <a:gd name="connsiteX499" fmla="*/ 55245 w 1333500"/>
                <a:gd name="connsiteY499" fmla="*/ 992505 h 1714500"/>
                <a:gd name="connsiteX500" fmla="*/ 59055 w 1333500"/>
                <a:gd name="connsiteY500" fmla="*/ 988695 h 1714500"/>
                <a:gd name="connsiteX501" fmla="*/ 59055 w 1333500"/>
                <a:gd name="connsiteY501" fmla="*/ 985838 h 1714500"/>
                <a:gd name="connsiteX502" fmla="*/ 54292 w 1333500"/>
                <a:gd name="connsiteY502" fmla="*/ 982980 h 1714500"/>
                <a:gd name="connsiteX503" fmla="*/ 43815 w 1333500"/>
                <a:gd name="connsiteY503" fmla="*/ 980122 h 1714500"/>
                <a:gd name="connsiteX504" fmla="*/ 40005 w 1333500"/>
                <a:gd name="connsiteY504" fmla="*/ 979170 h 1714500"/>
                <a:gd name="connsiteX505" fmla="*/ 36195 w 1333500"/>
                <a:gd name="connsiteY505" fmla="*/ 975360 h 1714500"/>
                <a:gd name="connsiteX506" fmla="*/ 33338 w 1333500"/>
                <a:gd name="connsiteY506" fmla="*/ 971550 h 1714500"/>
                <a:gd name="connsiteX507" fmla="*/ 31432 w 1333500"/>
                <a:gd name="connsiteY507" fmla="*/ 966788 h 1714500"/>
                <a:gd name="connsiteX508" fmla="*/ 28575 w 1333500"/>
                <a:gd name="connsiteY508" fmla="*/ 959168 h 1714500"/>
                <a:gd name="connsiteX509" fmla="*/ 24765 w 1333500"/>
                <a:gd name="connsiteY509" fmla="*/ 956310 h 1714500"/>
                <a:gd name="connsiteX510" fmla="*/ 17145 w 1333500"/>
                <a:gd name="connsiteY510" fmla="*/ 950595 h 1714500"/>
                <a:gd name="connsiteX511" fmla="*/ 10478 w 1333500"/>
                <a:gd name="connsiteY511" fmla="*/ 940118 h 1714500"/>
                <a:gd name="connsiteX512" fmla="*/ 7620 w 1333500"/>
                <a:gd name="connsiteY512" fmla="*/ 937260 h 1714500"/>
                <a:gd name="connsiteX513" fmla="*/ 0 w 1333500"/>
                <a:gd name="connsiteY513" fmla="*/ 933450 h 1714500"/>
                <a:gd name="connsiteX514" fmla="*/ 19050 w 1333500"/>
                <a:gd name="connsiteY514" fmla="*/ 911543 h 1714500"/>
                <a:gd name="connsiteX515" fmla="*/ 22860 w 1333500"/>
                <a:gd name="connsiteY515" fmla="*/ 899160 h 1714500"/>
                <a:gd name="connsiteX516" fmla="*/ 21907 w 1333500"/>
                <a:gd name="connsiteY516" fmla="*/ 895350 h 1714500"/>
                <a:gd name="connsiteX517" fmla="*/ 18097 w 1333500"/>
                <a:gd name="connsiteY517" fmla="*/ 891540 h 1714500"/>
                <a:gd name="connsiteX518" fmla="*/ 7620 w 1333500"/>
                <a:gd name="connsiteY518" fmla="*/ 885825 h 1714500"/>
                <a:gd name="connsiteX519" fmla="*/ 4763 w 1333500"/>
                <a:gd name="connsiteY519" fmla="*/ 883920 h 1714500"/>
                <a:gd name="connsiteX520" fmla="*/ 2857 w 1333500"/>
                <a:gd name="connsiteY520" fmla="*/ 880110 h 1714500"/>
                <a:gd name="connsiteX521" fmla="*/ 0 w 1333500"/>
                <a:gd name="connsiteY521" fmla="*/ 873443 h 1714500"/>
                <a:gd name="connsiteX522" fmla="*/ 0 w 1333500"/>
                <a:gd name="connsiteY522" fmla="*/ 869633 h 1714500"/>
                <a:gd name="connsiteX523" fmla="*/ 1905 w 1333500"/>
                <a:gd name="connsiteY523" fmla="*/ 864870 h 1714500"/>
                <a:gd name="connsiteX524" fmla="*/ 4763 w 1333500"/>
                <a:gd name="connsiteY524" fmla="*/ 856297 h 1714500"/>
                <a:gd name="connsiteX525" fmla="*/ 10478 w 1333500"/>
                <a:gd name="connsiteY525" fmla="*/ 841058 h 1714500"/>
                <a:gd name="connsiteX526" fmla="*/ 12382 w 1333500"/>
                <a:gd name="connsiteY526" fmla="*/ 837247 h 1714500"/>
                <a:gd name="connsiteX527" fmla="*/ 22860 w 1333500"/>
                <a:gd name="connsiteY527" fmla="*/ 823913 h 1714500"/>
                <a:gd name="connsiteX528" fmla="*/ 26670 w 1333500"/>
                <a:gd name="connsiteY528" fmla="*/ 816293 h 1714500"/>
                <a:gd name="connsiteX529" fmla="*/ 39053 w 1333500"/>
                <a:gd name="connsiteY529" fmla="*/ 784860 h 1714500"/>
                <a:gd name="connsiteX530" fmla="*/ 40957 w 1333500"/>
                <a:gd name="connsiteY530" fmla="*/ 776288 h 1714500"/>
                <a:gd name="connsiteX531" fmla="*/ 41910 w 1333500"/>
                <a:gd name="connsiteY531" fmla="*/ 770572 h 1714500"/>
                <a:gd name="connsiteX532" fmla="*/ 40005 w 1333500"/>
                <a:gd name="connsiteY532" fmla="*/ 762000 h 1714500"/>
                <a:gd name="connsiteX533" fmla="*/ 36195 w 1333500"/>
                <a:gd name="connsiteY533" fmla="*/ 754380 h 1714500"/>
                <a:gd name="connsiteX534" fmla="*/ 25717 w 1333500"/>
                <a:gd name="connsiteY534" fmla="*/ 738188 h 1714500"/>
                <a:gd name="connsiteX535" fmla="*/ 20955 w 1333500"/>
                <a:gd name="connsiteY535" fmla="*/ 728663 h 1714500"/>
                <a:gd name="connsiteX536" fmla="*/ 18097 w 1333500"/>
                <a:gd name="connsiteY536" fmla="*/ 721995 h 1714500"/>
                <a:gd name="connsiteX537" fmla="*/ 17145 w 1333500"/>
                <a:gd name="connsiteY537" fmla="*/ 717233 h 1714500"/>
                <a:gd name="connsiteX538" fmla="*/ 16192 w 1333500"/>
                <a:gd name="connsiteY538" fmla="*/ 707708 h 1714500"/>
                <a:gd name="connsiteX539" fmla="*/ 16192 w 1333500"/>
                <a:gd name="connsiteY539" fmla="*/ 701993 h 1714500"/>
                <a:gd name="connsiteX540" fmla="*/ 17145 w 1333500"/>
                <a:gd name="connsiteY540" fmla="*/ 697230 h 1714500"/>
                <a:gd name="connsiteX541" fmla="*/ 24765 w 1333500"/>
                <a:gd name="connsiteY541" fmla="*/ 657225 h 1714500"/>
                <a:gd name="connsiteX542" fmla="*/ 25717 w 1333500"/>
                <a:gd name="connsiteY542" fmla="*/ 648653 h 1714500"/>
                <a:gd name="connsiteX543" fmla="*/ 24765 w 1333500"/>
                <a:gd name="connsiteY543" fmla="*/ 642938 h 1714500"/>
                <a:gd name="connsiteX544" fmla="*/ 22860 w 1333500"/>
                <a:gd name="connsiteY544" fmla="*/ 637222 h 1714500"/>
                <a:gd name="connsiteX545" fmla="*/ 16192 w 1333500"/>
                <a:gd name="connsiteY545" fmla="*/ 628650 h 1714500"/>
                <a:gd name="connsiteX546" fmla="*/ 14288 w 1333500"/>
                <a:gd name="connsiteY546" fmla="*/ 625793 h 1714500"/>
                <a:gd name="connsiteX547" fmla="*/ 12382 w 1333500"/>
                <a:gd name="connsiteY547" fmla="*/ 621030 h 1714500"/>
                <a:gd name="connsiteX548" fmla="*/ 13335 w 1333500"/>
                <a:gd name="connsiteY548" fmla="*/ 618172 h 1714500"/>
                <a:gd name="connsiteX549" fmla="*/ 19050 w 1333500"/>
                <a:gd name="connsiteY549" fmla="*/ 616268 h 1714500"/>
                <a:gd name="connsiteX550" fmla="*/ 20955 w 1333500"/>
                <a:gd name="connsiteY550" fmla="*/ 613410 h 1714500"/>
                <a:gd name="connsiteX551" fmla="*/ 23813 w 1333500"/>
                <a:gd name="connsiteY551" fmla="*/ 608647 h 1714500"/>
                <a:gd name="connsiteX552" fmla="*/ 22860 w 1333500"/>
                <a:gd name="connsiteY552" fmla="*/ 605790 h 1714500"/>
                <a:gd name="connsiteX553" fmla="*/ 21907 w 1333500"/>
                <a:gd name="connsiteY553" fmla="*/ 602933 h 1714500"/>
                <a:gd name="connsiteX554" fmla="*/ 18097 w 1333500"/>
                <a:gd name="connsiteY554" fmla="*/ 599122 h 1714500"/>
                <a:gd name="connsiteX555" fmla="*/ 16192 w 1333500"/>
                <a:gd name="connsiteY555" fmla="*/ 596265 h 1714500"/>
                <a:gd name="connsiteX556" fmla="*/ 14288 w 1333500"/>
                <a:gd name="connsiteY556" fmla="*/ 592455 h 1714500"/>
                <a:gd name="connsiteX557" fmla="*/ 13335 w 1333500"/>
                <a:gd name="connsiteY557" fmla="*/ 584835 h 1714500"/>
                <a:gd name="connsiteX558" fmla="*/ 13335 w 1333500"/>
                <a:gd name="connsiteY558" fmla="*/ 580073 h 1714500"/>
                <a:gd name="connsiteX559" fmla="*/ 12382 w 1333500"/>
                <a:gd name="connsiteY559" fmla="*/ 576263 h 1714500"/>
                <a:gd name="connsiteX560" fmla="*/ 6667 w 1333500"/>
                <a:gd name="connsiteY560" fmla="*/ 565785 h 1714500"/>
                <a:gd name="connsiteX561" fmla="*/ 2857 w 1333500"/>
                <a:gd name="connsiteY561" fmla="*/ 558165 h 1714500"/>
                <a:gd name="connsiteX562" fmla="*/ 3810 w 1333500"/>
                <a:gd name="connsiteY562" fmla="*/ 554355 h 1714500"/>
                <a:gd name="connsiteX563" fmla="*/ 7620 w 1333500"/>
                <a:gd name="connsiteY563" fmla="*/ 550545 h 1714500"/>
                <a:gd name="connsiteX564" fmla="*/ 12382 w 1333500"/>
                <a:gd name="connsiteY564" fmla="*/ 533400 h 1714500"/>
                <a:gd name="connsiteX565" fmla="*/ 14288 w 1333500"/>
                <a:gd name="connsiteY565" fmla="*/ 529590 h 1714500"/>
                <a:gd name="connsiteX566" fmla="*/ 16192 w 1333500"/>
                <a:gd name="connsiteY566" fmla="*/ 527685 h 1714500"/>
                <a:gd name="connsiteX567" fmla="*/ 20955 w 1333500"/>
                <a:gd name="connsiteY567" fmla="*/ 524828 h 1714500"/>
                <a:gd name="connsiteX568" fmla="*/ 41910 w 1333500"/>
                <a:gd name="connsiteY568" fmla="*/ 520065 h 1714500"/>
                <a:gd name="connsiteX569" fmla="*/ 54292 w 1333500"/>
                <a:gd name="connsiteY569" fmla="*/ 514350 h 1714500"/>
                <a:gd name="connsiteX570" fmla="*/ 56197 w 1333500"/>
                <a:gd name="connsiteY570" fmla="*/ 511492 h 1714500"/>
                <a:gd name="connsiteX571" fmla="*/ 59055 w 1333500"/>
                <a:gd name="connsiteY571" fmla="*/ 506730 h 1714500"/>
                <a:gd name="connsiteX572" fmla="*/ 65722 w 1333500"/>
                <a:gd name="connsiteY572" fmla="*/ 491490 h 1714500"/>
                <a:gd name="connsiteX573" fmla="*/ 67628 w 1333500"/>
                <a:gd name="connsiteY573" fmla="*/ 487680 h 1714500"/>
                <a:gd name="connsiteX574" fmla="*/ 69532 w 1333500"/>
                <a:gd name="connsiteY574" fmla="*/ 485775 h 1714500"/>
                <a:gd name="connsiteX575" fmla="*/ 75247 w 1333500"/>
                <a:gd name="connsiteY575" fmla="*/ 480060 h 1714500"/>
                <a:gd name="connsiteX576" fmla="*/ 80010 w 1333500"/>
                <a:gd name="connsiteY576" fmla="*/ 473392 h 1714500"/>
                <a:gd name="connsiteX577" fmla="*/ 82867 w 1333500"/>
                <a:gd name="connsiteY577" fmla="*/ 466725 h 1714500"/>
                <a:gd name="connsiteX578" fmla="*/ 84772 w 1333500"/>
                <a:gd name="connsiteY578" fmla="*/ 461010 h 1714500"/>
                <a:gd name="connsiteX579" fmla="*/ 85725 w 1333500"/>
                <a:gd name="connsiteY579" fmla="*/ 441960 h 1714500"/>
                <a:gd name="connsiteX580" fmla="*/ 86678 w 1333500"/>
                <a:gd name="connsiteY580" fmla="*/ 436245 h 1714500"/>
                <a:gd name="connsiteX581" fmla="*/ 87630 w 1333500"/>
                <a:gd name="connsiteY581" fmla="*/ 431483 h 1714500"/>
                <a:gd name="connsiteX582" fmla="*/ 88582 w 1333500"/>
                <a:gd name="connsiteY582" fmla="*/ 428625 h 1714500"/>
                <a:gd name="connsiteX583" fmla="*/ 93345 w 1333500"/>
                <a:gd name="connsiteY583" fmla="*/ 422910 h 1714500"/>
                <a:gd name="connsiteX584" fmla="*/ 97155 w 1333500"/>
                <a:gd name="connsiteY584" fmla="*/ 419100 h 1714500"/>
                <a:gd name="connsiteX585" fmla="*/ 99060 w 1333500"/>
                <a:gd name="connsiteY585" fmla="*/ 415290 h 1714500"/>
                <a:gd name="connsiteX586" fmla="*/ 101917 w 1333500"/>
                <a:gd name="connsiteY586" fmla="*/ 410528 h 1714500"/>
                <a:gd name="connsiteX587" fmla="*/ 108585 w 1333500"/>
                <a:gd name="connsiteY587" fmla="*/ 389573 h 1714500"/>
                <a:gd name="connsiteX588" fmla="*/ 111442 w 1333500"/>
                <a:gd name="connsiteY588" fmla="*/ 384810 h 1714500"/>
                <a:gd name="connsiteX589" fmla="*/ 113347 w 1333500"/>
                <a:gd name="connsiteY589" fmla="*/ 382905 h 1714500"/>
                <a:gd name="connsiteX590" fmla="*/ 125730 w 1333500"/>
                <a:gd name="connsiteY590" fmla="*/ 375285 h 1714500"/>
                <a:gd name="connsiteX591" fmla="*/ 128588 w 1333500"/>
                <a:gd name="connsiteY591" fmla="*/ 372428 h 1714500"/>
                <a:gd name="connsiteX592" fmla="*/ 131445 w 1333500"/>
                <a:gd name="connsiteY592" fmla="*/ 368617 h 1714500"/>
                <a:gd name="connsiteX593" fmla="*/ 135255 w 1333500"/>
                <a:gd name="connsiteY593" fmla="*/ 359092 h 1714500"/>
                <a:gd name="connsiteX594" fmla="*/ 137160 w 1333500"/>
                <a:gd name="connsiteY594" fmla="*/ 353378 h 1714500"/>
                <a:gd name="connsiteX595" fmla="*/ 138113 w 1333500"/>
                <a:gd name="connsiteY595" fmla="*/ 348615 h 1714500"/>
                <a:gd name="connsiteX596" fmla="*/ 138113 w 1333500"/>
                <a:gd name="connsiteY596" fmla="*/ 344805 h 1714500"/>
                <a:gd name="connsiteX597" fmla="*/ 137160 w 1333500"/>
                <a:gd name="connsiteY597" fmla="*/ 340042 h 1714500"/>
                <a:gd name="connsiteX598" fmla="*/ 136207 w 1333500"/>
                <a:gd name="connsiteY598" fmla="*/ 336233 h 1714500"/>
                <a:gd name="connsiteX599" fmla="*/ 119063 w 1333500"/>
                <a:gd name="connsiteY599" fmla="*/ 300038 h 1714500"/>
                <a:gd name="connsiteX600" fmla="*/ 118110 w 1333500"/>
                <a:gd name="connsiteY600" fmla="*/ 296228 h 1714500"/>
                <a:gd name="connsiteX601" fmla="*/ 119063 w 1333500"/>
                <a:gd name="connsiteY601" fmla="*/ 294323 h 1714500"/>
                <a:gd name="connsiteX602" fmla="*/ 120967 w 1333500"/>
                <a:gd name="connsiteY602" fmla="*/ 292417 h 1714500"/>
                <a:gd name="connsiteX603" fmla="*/ 150495 w 1333500"/>
                <a:gd name="connsiteY603" fmla="*/ 285750 h 1714500"/>
                <a:gd name="connsiteX604" fmla="*/ 155257 w 1333500"/>
                <a:gd name="connsiteY604" fmla="*/ 282892 h 1714500"/>
                <a:gd name="connsiteX605" fmla="*/ 160972 w 1333500"/>
                <a:gd name="connsiteY605" fmla="*/ 277178 h 1714500"/>
                <a:gd name="connsiteX606" fmla="*/ 163830 w 1333500"/>
                <a:gd name="connsiteY606" fmla="*/ 270510 h 1714500"/>
                <a:gd name="connsiteX607" fmla="*/ 167640 w 1333500"/>
                <a:gd name="connsiteY607" fmla="*/ 262890 h 1714500"/>
                <a:gd name="connsiteX608" fmla="*/ 168592 w 1333500"/>
                <a:gd name="connsiteY608" fmla="*/ 258127 h 1714500"/>
                <a:gd name="connsiteX609" fmla="*/ 168592 w 1333500"/>
                <a:gd name="connsiteY609" fmla="*/ 254317 h 1714500"/>
                <a:gd name="connsiteX610" fmla="*/ 165735 w 1333500"/>
                <a:gd name="connsiteY610" fmla="*/ 249555 h 1714500"/>
                <a:gd name="connsiteX611" fmla="*/ 157163 w 1333500"/>
                <a:gd name="connsiteY611" fmla="*/ 241935 h 1714500"/>
                <a:gd name="connsiteX612" fmla="*/ 156210 w 1333500"/>
                <a:gd name="connsiteY612" fmla="*/ 234315 h 1714500"/>
                <a:gd name="connsiteX613" fmla="*/ 156210 w 1333500"/>
                <a:gd name="connsiteY613" fmla="*/ 223838 h 1714500"/>
                <a:gd name="connsiteX614" fmla="*/ 161925 w 1333500"/>
                <a:gd name="connsiteY614" fmla="*/ 186690 h 1714500"/>
                <a:gd name="connsiteX615" fmla="*/ 163830 w 1333500"/>
                <a:gd name="connsiteY615" fmla="*/ 180023 h 1714500"/>
                <a:gd name="connsiteX616" fmla="*/ 164782 w 1333500"/>
                <a:gd name="connsiteY616" fmla="*/ 178117 h 1714500"/>
                <a:gd name="connsiteX617" fmla="*/ 167640 w 1333500"/>
                <a:gd name="connsiteY617" fmla="*/ 177165 h 1714500"/>
                <a:gd name="connsiteX618" fmla="*/ 170497 w 1333500"/>
                <a:gd name="connsiteY618" fmla="*/ 178117 h 1714500"/>
                <a:gd name="connsiteX619" fmla="*/ 172403 w 1333500"/>
                <a:gd name="connsiteY619" fmla="*/ 179070 h 1714500"/>
                <a:gd name="connsiteX620" fmla="*/ 176213 w 1333500"/>
                <a:gd name="connsiteY620" fmla="*/ 182880 h 1714500"/>
                <a:gd name="connsiteX621" fmla="*/ 179070 w 1333500"/>
                <a:gd name="connsiteY621" fmla="*/ 187642 h 1714500"/>
                <a:gd name="connsiteX622" fmla="*/ 181928 w 1333500"/>
                <a:gd name="connsiteY622" fmla="*/ 196215 h 1714500"/>
                <a:gd name="connsiteX623" fmla="*/ 185738 w 1333500"/>
                <a:gd name="connsiteY623" fmla="*/ 200977 h 1714500"/>
                <a:gd name="connsiteX624" fmla="*/ 206692 w 1333500"/>
                <a:gd name="connsiteY624" fmla="*/ 219075 h 1714500"/>
                <a:gd name="connsiteX625" fmla="*/ 208597 w 1333500"/>
                <a:gd name="connsiteY625" fmla="*/ 220980 h 1714500"/>
                <a:gd name="connsiteX626" fmla="*/ 211455 w 1333500"/>
                <a:gd name="connsiteY626" fmla="*/ 220980 h 1714500"/>
                <a:gd name="connsiteX627" fmla="*/ 215265 w 1333500"/>
                <a:gd name="connsiteY627" fmla="*/ 220980 h 1714500"/>
                <a:gd name="connsiteX628" fmla="*/ 216217 w 1333500"/>
                <a:gd name="connsiteY628" fmla="*/ 218123 h 1714500"/>
                <a:gd name="connsiteX629" fmla="*/ 217170 w 1333500"/>
                <a:gd name="connsiteY629" fmla="*/ 215265 h 1714500"/>
                <a:gd name="connsiteX630" fmla="*/ 217170 w 1333500"/>
                <a:gd name="connsiteY630" fmla="*/ 211455 h 1714500"/>
                <a:gd name="connsiteX631" fmla="*/ 215265 w 1333500"/>
                <a:gd name="connsiteY631" fmla="*/ 206692 h 1714500"/>
                <a:gd name="connsiteX632" fmla="*/ 212407 w 1333500"/>
                <a:gd name="connsiteY632" fmla="*/ 201930 h 1714500"/>
                <a:gd name="connsiteX633" fmla="*/ 203835 w 1333500"/>
                <a:gd name="connsiteY633" fmla="*/ 193358 h 1714500"/>
                <a:gd name="connsiteX634" fmla="*/ 202882 w 1333500"/>
                <a:gd name="connsiteY634" fmla="*/ 188595 h 1714500"/>
                <a:gd name="connsiteX635" fmla="*/ 201930 w 1333500"/>
                <a:gd name="connsiteY635" fmla="*/ 181927 h 1714500"/>
                <a:gd name="connsiteX636" fmla="*/ 203835 w 1333500"/>
                <a:gd name="connsiteY636" fmla="*/ 165735 h 1714500"/>
                <a:gd name="connsiteX637" fmla="*/ 205740 w 1333500"/>
                <a:gd name="connsiteY637" fmla="*/ 158115 h 1714500"/>
                <a:gd name="connsiteX638" fmla="*/ 207645 w 1333500"/>
                <a:gd name="connsiteY638" fmla="*/ 152400 h 1714500"/>
                <a:gd name="connsiteX639" fmla="*/ 209550 w 1333500"/>
                <a:gd name="connsiteY639" fmla="*/ 151448 h 1714500"/>
                <a:gd name="connsiteX640" fmla="*/ 214313 w 1333500"/>
                <a:gd name="connsiteY640" fmla="*/ 148590 h 1714500"/>
                <a:gd name="connsiteX641" fmla="*/ 220028 w 1333500"/>
                <a:gd name="connsiteY641" fmla="*/ 146685 h 1714500"/>
                <a:gd name="connsiteX642" fmla="*/ 232410 w 1333500"/>
                <a:gd name="connsiteY642" fmla="*/ 140017 h 1714500"/>
                <a:gd name="connsiteX643" fmla="*/ 249555 w 1333500"/>
                <a:gd name="connsiteY643" fmla="*/ 137160 h 1714500"/>
                <a:gd name="connsiteX644" fmla="*/ 252413 w 1333500"/>
                <a:gd name="connsiteY644" fmla="*/ 141923 h 1714500"/>
                <a:gd name="connsiteX645" fmla="*/ 259080 w 1333500"/>
                <a:gd name="connsiteY645" fmla="*/ 149542 h 1714500"/>
                <a:gd name="connsiteX646" fmla="*/ 267653 w 1333500"/>
                <a:gd name="connsiteY646" fmla="*/ 157163 h 1714500"/>
                <a:gd name="connsiteX647" fmla="*/ 275272 w 1333500"/>
                <a:gd name="connsiteY647" fmla="*/ 160020 h 1714500"/>
                <a:gd name="connsiteX648" fmla="*/ 283845 w 1333500"/>
                <a:gd name="connsiteY648" fmla="*/ 159067 h 1714500"/>
                <a:gd name="connsiteX649" fmla="*/ 289560 w 1333500"/>
                <a:gd name="connsiteY649" fmla="*/ 153352 h 1714500"/>
                <a:gd name="connsiteX650" fmla="*/ 313372 w 1333500"/>
                <a:gd name="connsiteY650" fmla="*/ 120015 h 1714500"/>
                <a:gd name="connsiteX651" fmla="*/ 316230 w 1333500"/>
                <a:gd name="connsiteY651" fmla="*/ 114300 h 1714500"/>
                <a:gd name="connsiteX652" fmla="*/ 319088 w 1333500"/>
                <a:gd name="connsiteY652" fmla="*/ 102870 h 1714500"/>
                <a:gd name="connsiteX653" fmla="*/ 318135 w 1333500"/>
                <a:gd name="connsiteY653" fmla="*/ 94298 h 1714500"/>
                <a:gd name="connsiteX654" fmla="*/ 317182 w 1333500"/>
                <a:gd name="connsiteY654" fmla="*/ 84773 h 1714500"/>
                <a:gd name="connsiteX655" fmla="*/ 317182 w 1333500"/>
                <a:gd name="connsiteY655" fmla="*/ 74295 h 1714500"/>
                <a:gd name="connsiteX656" fmla="*/ 320040 w 1333500"/>
                <a:gd name="connsiteY656" fmla="*/ 57150 h 1714500"/>
                <a:gd name="connsiteX657" fmla="*/ 326707 w 1333500"/>
                <a:gd name="connsiteY657" fmla="*/ 42863 h 1714500"/>
                <a:gd name="connsiteX658" fmla="*/ 337185 w 1333500"/>
                <a:gd name="connsiteY658" fmla="*/ 33338 h 1714500"/>
                <a:gd name="connsiteX659" fmla="*/ 348615 w 1333500"/>
                <a:gd name="connsiteY659" fmla="*/ 31433 h 1714500"/>
                <a:gd name="connsiteX660" fmla="*/ 360045 w 1333500"/>
                <a:gd name="connsiteY660" fmla="*/ 37148 h 1714500"/>
                <a:gd name="connsiteX661" fmla="*/ 392430 w 1333500"/>
                <a:gd name="connsiteY661" fmla="*/ 72390 h 1714500"/>
                <a:gd name="connsiteX662" fmla="*/ 401955 w 1333500"/>
                <a:gd name="connsiteY662" fmla="*/ 78105 h 1714500"/>
                <a:gd name="connsiteX663" fmla="*/ 411480 w 1333500"/>
                <a:gd name="connsiteY663" fmla="*/ 80010 h 1714500"/>
                <a:gd name="connsiteX664" fmla="*/ 462915 w 1333500"/>
                <a:gd name="connsiteY664" fmla="*/ 80010 h 1714500"/>
                <a:gd name="connsiteX665" fmla="*/ 473392 w 1333500"/>
                <a:gd name="connsiteY665" fmla="*/ 76200 h 1714500"/>
                <a:gd name="connsiteX666" fmla="*/ 485775 w 1333500"/>
                <a:gd name="connsiteY666" fmla="*/ 64770 h 1714500"/>
                <a:gd name="connsiteX667" fmla="*/ 502920 w 1333500"/>
                <a:gd name="connsiteY667" fmla="*/ 32385 h 1714500"/>
                <a:gd name="connsiteX668" fmla="*/ 513397 w 1333500"/>
                <a:gd name="connsiteY668" fmla="*/ 16192 h 1714500"/>
                <a:gd name="connsiteX669" fmla="*/ 524828 w 1333500"/>
                <a:gd name="connsiteY669" fmla="*/ 5715 h 1714500"/>
                <a:gd name="connsiteX670" fmla="*/ 536257 w 1333500"/>
                <a:gd name="connsiteY670" fmla="*/ 0 h 1714500"/>
                <a:gd name="connsiteX671" fmla="*/ 547688 w 1333500"/>
                <a:gd name="connsiteY671" fmla="*/ 952 h 1714500"/>
                <a:gd name="connsiteX672" fmla="*/ 555307 w 1333500"/>
                <a:gd name="connsiteY672" fmla="*/ 9525 h 1714500"/>
                <a:gd name="connsiteX673" fmla="*/ 557213 w 1333500"/>
                <a:gd name="connsiteY673" fmla="*/ 18098 h 1714500"/>
                <a:gd name="connsiteX674" fmla="*/ 557213 w 1333500"/>
                <a:gd name="connsiteY674" fmla="*/ 25717 h 1714500"/>
                <a:gd name="connsiteX675" fmla="*/ 557213 w 1333500"/>
                <a:gd name="connsiteY675" fmla="*/ 33338 h 1714500"/>
                <a:gd name="connsiteX676" fmla="*/ 561975 w 1333500"/>
                <a:gd name="connsiteY676" fmla="*/ 42863 h 1714500"/>
                <a:gd name="connsiteX677" fmla="*/ 568642 w 1333500"/>
                <a:gd name="connsiteY677" fmla="*/ 49530 h 1714500"/>
                <a:gd name="connsiteX678" fmla="*/ 582930 w 1333500"/>
                <a:gd name="connsiteY678" fmla="*/ 59055 h 1714500"/>
                <a:gd name="connsiteX679" fmla="*/ 589597 w 1333500"/>
                <a:gd name="connsiteY679" fmla="*/ 65723 h 1714500"/>
                <a:gd name="connsiteX680" fmla="*/ 593407 w 1333500"/>
                <a:gd name="connsiteY680" fmla="*/ 75248 h 1714500"/>
                <a:gd name="connsiteX681" fmla="*/ 599122 w 1333500"/>
                <a:gd name="connsiteY681" fmla="*/ 98108 h 1714500"/>
                <a:gd name="connsiteX682" fmla="*/ 601980 w 1333500"/>
                <a:gd name="connsiteY682" fmla="*/ 104775 h 1714500"/>
                <a:gd name="connsiteX683" fmla="*/ 608647 w 1333500"/>
                <a:gd name="connsiteY683" fmla="*/ 107633 h 1714500"/>
                <a:gd name="connsiteX684" fmla="*/ 615315 w 1333500"/>
                <a:gd name="connsiteY684" fmla="*/ 104775 h 1714500"/>
                <a:gd name="connsiteX685" fmla="*/ 629603 w 1333500"/>
                <a:gd name="connsiteY685" fmla="*/ 91440 h 1714500"/>
                <a:gd name="connsiteX686" fmla="*/ 655320 w 1333500"/>
                <a:gd name="connsiteY686" fmla="*/ 73342 h 1714500"/>
                <a:gd name="connsiteX687" fmla="*/ 669607 w 1333500"/>
                <a:gd name="connsiteY687" fmla="*/ 68580 h 1714500"/>
                <a:gd name="connsiteX688" fmla="*/ 683895 w 1333500"/>
                <a:gd name="connsiteY688" fmla="*/ 68580 h 1714500"/>
                <a:gd name="connsiteX689" fmla="*/ 730567 w 1333500"/>
                <a:gd name="connsiteY689" fmla="*/ 78105 h 1714500"/>
                <a:gd name="connsiteX690" fmla="*/ 744855 w 1333500"/>
                <a:gd name="connsiteY690" fmla="*/ 83820 h 1714500"/>
                <a:gd name="connsiteX691" fmla="*/ 748665 w 1333500"/>
                <a:gd name="connsiteY691" fmla="*/ 95250 h 1714500"/>
                <a:gd name="connsiteX692" fmla="*/ 750570 w 1333500"/>
                <a:gd name="connsiteY692" fmla="*/ 112395 h 1714500"/>
                <a:gd name="connsiteX693" fmla="*/ 758190 w 1333500"/>
                <a:gd name="connsiteY693" fmla="*/ 160020 h 1714500"/>
                <a:gd name="connsiteX694" fmla="*/ 762000 w 1333500"/>
                <a:gd name="connsiteY694" fmla="*/ 171450 h 1714500"/>
                <a:gd name="connsiteX695" fmla="*/ 766763 w 1333500"/>
                <a:gd name="connsiteY695" fmla="*/ 180975 h 1714500"/>
                <a:gd name="connsiteX696" fmla="*/ 776288 w 1333500"/>
                <a:gd name="connsiteY696" fmla="*/ 184785 h 1714500"/>
                <a:gd name="connsiteX697" fmla="*/ 783907 w 1333500"/>
                <a:gd name="connsiteY697" fmla="*/ 181927 h 1714500"/>
                <a:gd name="connsiteX698" fmla="*/ 790575 w 1333500"/>
                <a:gd name="connsiteY698" fmla="*/ 177165 h 1714500"/>
                <a:gd name="connsiteX699" fmla="*/ 797242 w 1333500"/>
                <a:gd name="connsiteY699" fmla="*/ 178117 h 1714500"/>
                <a:gd name="connsiteX700" fmla="*/ 801053 w 1333500"/>
                <a:gd name="connsiteY700" fmla="*/ 188595 h 1714500"/>
                <a:gd name="connsiteX701" fmla="*/ 804863 w 1333500"/>
                <a:gd name="connsiteY701" fmla="*/ 203835 h 1714500"/>
                <a:gd name="connsiteX702" fmla="*/ 810578 w 1333500"/>
                <a:gd name="connsiteY702" fmla="*/ 212408 h 1714500"/>
                <a:gd name="connsiteX703" fmla="*/ 820103 w 1333500"/>
                <a:gd name="connsiteY703" fmla="*/ 201930 h 1714500"/>
                <a:gd name="connsiteX704" fmla="*/ 822007 w 1333500"/>
                <a:gd name="connsiteY704" fmla="*/ 189548 h 1714500"/>
                <a:gd name="connsiteX705" fmla="*/ 821055 w 1333500"/>
                <a:gd name="connsiteY705" fmla="*/ 157163 h 1714500"/>
                <a:gd name="connsiteX706" fmla="*/ 822960 w 1333500"/>
                <a:gd name="connsiteY706" fmla="*/ 142875 h 1714500"/>
                <a:gd name="connsiteX707" fmla="*/ 833438 w 1333500"/>
                <a:gd name="connsiteY707" fmla="*/ 120015 h 1714500"/>
                <a:gd name="connsiteX708" fmla="*/ 847725 w 1333500"/>
                <a:gd name="connsiteY708" fmla="*/ 101917 h 1714500"/>
                <a:gd name="connsiteX709" fmla="*/ 864870 w 1333500"/>
                <a:gd name="connsiteY709" fmla="*/ 88583 h 1714500"/>
                <a:gd name="connsiteX710" fmla="*/ 881063 w 1333500"/>
                <a:gd name="connsiteY710" fmla="*/ 79058 h 1714500"/>
                <a:gd name="connsiteX711" fmla="*/ 897255 w 1333500"/>
                <a:gd name="connsiteY711" fmla="*/ 76200 h 1714500"/>
                <a:gd name="connsiteX712" fmla="*/ 929640 w 1333500"/>
                <a:gd name="connsiteY712" fmla="*/ 75248 h 1714500"/>
                <a:gd name="connsiteX713" fmla="*/ 942975 w 1333500"/>
                <a:gd name="connsiteY713" fmla="*/ 70485 h 1714500"/>
                <a:gd name="connsiteX714" fmla="*/ 953453 w 1333500"/>
                <a:gd name="connsiteY714" fmla="*/ 59055 h 1714500"/>
                <a:gd name="connsiteX715" fmla="*/ 965835 w 1333500"/>
                <a:gd name="connsiteY715" fmla="*/ 32385 h 1714500"/>
                <a:gd name="connsiteX716" fmla="*/ 976313 w 1333500"/>
                <a:gd name="connsiteY716" fmla="*/ 21908 h 1714500"/>
                <a:gd name="connsiteX717" fmla="*/ 986790 w 1333500"/>
                <a:gd name="connsiteY717" fmla="*/ 18098 h 1714500"/>
                <a:gd name="connsiteX718" fmla="*/ 997267 w 1333500"/>
                <a:gd name="connsiteY718" fmla="*/ 18098 h 1714500"/>
                <a:gd name="connsiteX719" fmla="*/ 1018222 w 1333500"/>
                <a:gd name="connsiteY719" fmla="*/ 22860 h 1714500"/>
                <a:gd name="connsiteX720" fmla="*/ 1031557 w 1333500"/>
                <a:gd name="connsiteY720" fmla="*/ 31433 h 1714500"/>
                <a:gd name="connsiteX721" fmla="*/ 1038225 w 1333500"/>
                <a:gd name="connsiteY721" fmla="*/ 41910 h 1714500"/>
                <a:gd name="connsiteX722" fmla="*/ 1048703 w 1333500"/>
                <a:gd name="connsiteY722" fmla="*/ 72390 h 1714500"/>
                <a:gd name="connsiteX723" fmla="*/ 1066800 w 1333500"/>
                <a:gd name="connsiteY723" fmla="*/ 99060 h 1714500"/>
                <a:gd name="connsiteX724" fmla="*/ 1072515 w 1333500"/>
                <a:gd name="connsiteY724" fmla="*/ 113348 h 1714500"/>
                <a:gd name="connsiteX725" fmla="*/ 1074420 w 1333500"/>
                <a:gd name="connsiteY725" fmla="*/ 135255 h 1714500"/>
                <a:gd name="connsiteX726" fmla="*/ 1069657 w 1333500"/>
                <a:gd name="connsiteY726" fmla="*/ 157163 h 1714500"/>
                <a:gd name="connsiteX727" fmla="*/ 1073467 w 1333500"/>
                <a:gd name="connsiteY727" fmla="*/ 166688 h 1714500"/>
                <a:gd name="connsiteX728" fmla="*/ 1082040 w 1333500"/>
                <a:gd name="connsiteY728" fmla="*/ 173355 h 1714500"/>
                <a:gd name="connsiteX729" fmla="*/ 1092517 w 1333500"/>
                <a:gd name="connsiteY729" fmla="*/ 185738 h 1714500"/>
                <a:gd name="connsiteX730" fmla="*/ 1099185 w 1333500"/>
                <a:gd name="connsiteY730" fmla="*/ 201930 h 1714500"/>
                <a:gd name="connsiteX731" fmla="*/ 1102995 w 1333500"/>
                <a:gd name="connsiteY731" fmla="*/ 220980 h 1714500"/>
                <a:gd name="connsiteX732" fmla="*/ 1109663 w 1333500"/>
                <a:gd name="connsiteY732" fmla="*/ 236220 h 1714500"/>
                <a:gd name="connsiteX733" fmla="*/ 1122045 w 1333500"/>
                <a:gd name="connsiteY733" fmla="*/ 242888 h 1714500"/>
                <a:gd name="connsiteX734" fmla="*/ 1132523 w 1333500"/>
                <a:gd name="connsiteY734" fmla="*/ 239077 h 1714500"/>
                <a:gd name="connsiteX735" fmla="*/ 1139190 w 1333500"/>
                <a:gd name="connsiteY735" fmla="*/ 233363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</a:cxnLst>
              <a:rect l="l" t="t" r="r" b="b"/>
              <a:pathLst>
                <a:path w="1333500" h="1714500">
                  <a:moveTo>
                    <a:pt x="1139190" y="233363"/>
                  </a:moveTo>
                  <a:lnTo>
                    <a:pt x="1143000" y="240983"/>
                  </a:lnTo>
                  <a:lnTo>
                    <a:pt x="1145857" y="244792"/>
                  </a:lnTo>
                  <a:lnTo>
                    <a:pt x="1148715" y="245745"/>
                  </a:lnTo>
                  <a:lnTo>
                    <a:pt x="1150620" y="244792"/>
                  </a:lnTo>
                  <a:lnTo>
                    <a:pt x="1155382" y="241935"/>
                  </a:lnTo>
                  <a:lnTo>
                    <a:pt x="1157288" y="240983"/>
                  </a:lnTo>
                  <a:lnTo>
                    <a:pt x="1159192" y="243840"/>
                  </a:lnTo>
                  <a:lnTo>
                    <a:pt x="1159192" y="245745"/>
                  </a:lnTo>
                  <a:lnTo>
                    <a:pt x="1160145" y="252413"/>
                  </a:lnTo>
                  <a:lnTo>
                    <a:pt x="1158240" y="283845"/>
                  </a:lnTo>
                  <a:lnTo>
                    <a:pt x="1157288" y="293370"/>
                  </a:lnTo>
                  <a:lnTo>
                    <a:pt x="1156335" y="300038"/>
                  </a:lnTo>
                  <a:lnTo>
                    <a:pt x="1150620" y="311467"/>
                  </a:lnTo>
                  <a:lnTo>
                    <a:pt x="1143953" y="320040"/>
                  </a:lnTo>
                  <a:lnTo>
                    <a:pt x="1137285" y="326708"/>
                  </a:lnTo>
                  <a:lnTo>
                    <a:pt x="1121092" y="339090"/>
                  </a:lnTo>
                  <a:lnTo>
                    <a:pt x="1111567" y="344805"/>
                  </a:lnTo>
                  <a:lnTo>
                    <a:pt x="1105853" y="345758"/>
                  </a:lnTo>
                  <a:lnTo>
                    <a:pt x="1099185" y="346710"/>
                  </a:lnTo>
                  <a:lnTo>
                    <a:pt x="1096328" y="347663"/>
                  </a:lnTo>
                  <a:lnTo>
                    <a:pt x="1096328" y="351473"/>
                  </a:lnTo>
                  <a:lnTo>
                    <a:pt x="1105853" y="387667"/>
                  </a:lnTo>
                  <a:lnTo>
                    <a:pt x="1111567" y="431483"/>
                  </a:lnTo>
                  <a:lnTo>
                    <a:pt x="1114425" y="442913"/>
                  </a:lnTo>
                  <a:lnTo>
                    <a:pt x="1116330" y="448628"/>
                  </a:lnTo>
                  <a:lnTo>
                    <a:pt x="1118235" y="452438"/>
                  </a:lnTo>
                  <a:lnTo>
                    <a:pt x="1120140" y="451485"/>
                  </a:lnTo>
                  <a:lnTo>
                    <a:pt x="1121092" y="449580"/>
                  </a:lnTo>
                  <a:lnTo>
                    <a:pt x="1132523" y="431483"/>
                  </a:lnTo>
                  <a:lnTo>
                    <a:pt x="1133475" y="429578"/>
                  </a:lnTo>
                  <a:lnTo>
                    <a:pt x="1136332" y="429578"/>
                  </a:lnTo>
                  <a:lnTo>
                    <a:pt x="1139190" y="429578"/>
                  </a:lnTo>
                  <a:lnTo>
                    <a:pt x="1144905" y="431483"/>
                  </a:lnTo>
                  <a:lnTo>
                    <a:pt x="1154430" y="438150"/>
                  </a:lnTo>
                  <a:lnTo>
                    <a:pt x="1170623" y="453390"/>
                  </a:lnTo>
                  <a:lnTo>
                    <a:pt x="1173480" y="457200"/>
                  </a:lnTo>
                  <a:lnTo>
                    <a:pt x="1175385" y="460058"/>
                  </a:lnTo>
                  <a:lnTo>
                    <a:pt x="1177290" y="464820"/>
                  </a:lnTo>
                  <a:lnTo>
                    <a:pt x="1178242" y="470535"/>
                  </a:lnTo>
                  <a:lnTo>
                    <a:pt x="1179195" y="473392"/>
                  </a:lnTo>
                  <a:lnTo>
                    <a:pt x="1182053" y="475298"/>
                  </a:lnTo>
                  <a:lnTo>
                    <a:pt x="1183957" y="477203"/>
                  </a:lnTo>
                  <a:lnTo>
                    <a:pt x="1197292" y="481013"/>
                  </a:lnTo>
                  <a:lnTo>
                    <a:pt x="1202055" y="483870"/>
                  </a:lnTo>
                  <a:lnTo>
                    <a:pt x="1203960" y="485775"/>
                  </a:lnTo>
                  <a:lnTo>
                    <a:pt x="1207770" y="489585"/>
                  </a:lnTo>
                  <a:lnTo>
                    <a:pt x="1210628" y="495300"/>
                  </a:lnTo>
                  <a:lnTo>
                    <a:pt x="1211580" y="497205"/>
                  </a:lnTo>
                  <a:lnTo>
                    <a:pt x="1211580" y="501015"/>
                  </a:lnTo>
                  <a:lnTo>
                    <a:pt x="1211580" y="504825"/>
                  </a:lnTo>
                  <a:lnTo>
                    <a:pt x="1208723" y="510540"/>
                  </a:lnTo>
                  <a:lnTo>
                    <a:pt x="1202055" y="521017"/>
                  </a:lnTo>
                  <a:lnTo>
                    <a:pt x="1199198" y="526733"/>
                  </a:lnTo>
                  <a:lnTo>
                    <a:pt x="1198245" y="530543"/>
                  </a:lnTo>
                  <a:lnTo>
                    <a:pt x="1197292" y="540068"/>
                  </a:lnTo>
                  <a:lnTo>
                    <a:pt x="1197292" y="545783"/>
                  </a:lnTo>
                  <a:lnTo>
                    <a:pt x="1199198" y="564833"/>
                  </a:lnTo>
                  <a:lnTo>
                    <a:pt x="1199198" y="570548"/>
                  </a:lnTo>
                  <a:lnTo>
                    <a:pt x="1197292" y="576263"/>
                  </a:lnTo>
                  <a:lnTo>
                    <a:pt x="1194435" y="576263"/>
                  </a:lnTo>
                  <a:lnTo>
                    <a:pt x="1192530" y="575310"/>
                  </a:lnTo>
                  <a:lnTo>
                    <a:pt x="1185863" y="569595"/>
                  </a:lnTo>
                  <a:lnTo>
                    <a:pt x="1183005" y="568643"/>
                  </a:lnTo>
                  <a:lnTo>
                    <a:pt x="1180148" y="567690"/>
                  </a:lnTo>
                  <a:lnTo>
                    <a:pt x="1163003" y="567690"/>
                  </a:lnTo>
                  <a:lnTo>
                    <a:pt x="1161098" y="570548"/>
                  </a:lnTo>
                  <a:lnTo>
                    <a:pt x="1160145" y="575310"/>
                  </a:lnTo>
                  <a:lnTo>
                    <a:pt x="1163003" y="586740"/>
                  </a:lnTo>
                  <a:lnTo>
                    <a:pt x="1165860" y="591503"/>
                  </a:lnTo>
                  <a:lnTo>
                    <a:pt x="1168717" y="593408"/>
                  </a:lnTo>
                  <a:lnTo>
                    <a:pt x="1171575" y="593408"/>
                  </a:lnTo>
                  <a:lnTo>
                    <a:pt x="1174432" y="594360"/>
                  </a:lnTo>
                  <a:lnTo>
                    <a:pt x="1176338" y="596265"/>
                  </a:lnTo>
                  <a:lnTo>
                    <a:pt x="1205865" y="642938"/>
                  </a:lnTo>
                  <a:lnTo>
                    <a:pt x="1218248" y="657225"/>
                  </a:lnTo>
                  <a:lnTo>
                    <a:pt x="1219200" y="659130"/>
                  </a:lnTo>
                  <a:lnTo>
                    <a:pt x="1220153" y="662940"/>
                  </a:lnTo>
                  <a:lnTo>
                    <a:pt x="1221105" y="668655"/>
                  </a:lnTo>
                  <a:lnTo>
                    <a:pt x="1210628" y="727710"/>
                  </a:lnTo>
                  <a:lnTo>
                    <a:pt x="1210628" y="730568"/>
                  </a:lnTo>
                  <a:lnTo>
                    <a:pt x="1211580" y="734378"/>
                  </a:lnTo>
                  <a:lnTo>
                    <a:pt x="1214438" y="736283"/>
                  </a:lnTo>
                  <a:lnTo>
                    <a:pt x="1216342" y="736283"/>
                  </a:lnTo>
                  <a:lnTo>
                    <a:pt x="1236345" y="734378"/>
                  </a:lnTo>
                  <a:lnTo>
                    <a:pt x="1243013" y="735330"/>
                  </a:lnTo>
                  <a:lnTo>
                    <a:pt x="1248728" y="737235"/>
                  </a:lnTo>
                  <a:lnTo>
                    <a:pt x="1252538" y="741045"/>
                  </a:lnTo>
                  <a:lnTo>
                    <a:pt x="1254442" y="743903"/>
                  </a:lnTo>
                  <a:lnTo>
                    <a:pt x="1256348" y="751522"/>
                  </a:lnTo>
                  <a:lnTo>
                    <a:pt x="1258253" y="763905"/>
                  </a:lnTo>
                  <a:lnTo>
                    <a:pt x="1265873" y="792480"/>
                  </a:lnTo>
                  <a:lnTo>
                    <a:pt x="1265873" y="796290"/>
                  </a:lnTo>
                  <a:lnTo>
                    <a:pt x="1264920" y="801053"/>
                  </a:lnTo>
                  <a:lnTo>
                    <a:pt x="1262063" y="808672"/>
                  </a:lnTo>
                  <a:lnTo>
                    <a:pt x="1259205" y="812483"/>
                  </a:lnTo>
                  <a:lnTo>
                    <a:pt x="1256348" y="815340"/>
                  </a:lnTo>
                  <a:lnTo>
                    <a:pt x="1240155" y="823913"/>
                  </a:lnTo>
                  <a:lnTo>
                    <a:pt x="1236345" y="828675"/>
                  </a:lnTo>
                  <a:lnTo>
                    <a:pt x="1231582" y="840105"/>
                  </a:lnTo>
                  <a:lnTo>
                    <a:pt x="1217295" y="862965"/>
                  </a:lnTo>
                  <a:lnTo>
                    <a:pt x="1211580" y="871538"/>
                  </a:lnTo>
                  <a:lnTo>
                    <a:pt x="1206817" y="882968"/>
                  </a:lnTo>
                  <a:lnTo>
                    <a:pt x="1205865" y="886778"/>
                  </a:lnTo>
                  <a:lnTo>
                    <a:pt x="1205865" y="889635"/>
                  </a:lnTo>
                  <a:lnTo>
                    <a:pt x="1208723" y="894397"/>
                  </a:lnTo>
                  <a:lnTo>
                    <a:pt x="1212532" y="899160"/>
                  </a:lnTo>
                  <a:lnTo>
                    <a:pt x="1222057" y="905828"/>
                  </a:lnTo>
                  <a:lnTo>
                    <a:pt x="1223010" y="908685"/>
                  </a:lnTo>
                  <a:lnTo>
                    <a:pt x="1223963" y="911543"/>
                  </a:lnTo>
                  <a:lnTo>
                    <a:pt x="1221105" y="921068"/>
                  </a:lnTo>
                  <a:lnTo>
                    <a:pt x="1216342" y="936308"/>
                  </a:lnTo>
                  <a:lnTo>
                    <a:pt x="1213485" y="941070"/>
                  </a:lnTo>
                  <a:lnTo>
                    <a:pt x="1210628" y="942022"/>
                  </a:lnTo>
                  <a:lnTo>
                    <a:pt x="1204913" y="942975"/>
                  </a:lnTo>
                  <a:lnTo>
                    <a:pt x="1203007" y="944880"/>
                  </a:lnTo>
                  <a:lnTo>
                    <a:pt x="1203007" y="948690"/>
                  </a:lnTo>
                  <a:lnTo>
                    <a:pt x="1204913" y="955358"/>
                  </a:lnTo>
                  <a:lnTo>
                    <a:pt x="1207770" y="958215"/>
                  </a:lnTo>
                  <a:lnTo>
                    <a:pt x="1213485" y="961072"/>
                  </a:lnTo>
                  <a:lnTo>
                    <a:pt x="1216342" y="965835"/>
                  </a:lnTo>
                  <a:lnTo>
                    <a:pt x="1217295" y="967740"/>
                  </a:lnTo>
                  <a:lnTo>
                    <a:pt x="1216342" y="974408"/>
                  </a:lnTo>
                  <a:lnTo>
                    <a:pt x="1211580" y="990600"/>
                  </a:lnTo>
                  <a:lnTo>
                    <a:pt x="1208723" y="996315"/>
                  </a:lnTo>
                  <a:lnTo>
                    <a:pt x="1206817" y="998220"/>
                  </a:lnTo>
                  <a:lnTo>
                    <a:pt x="1204913" y="999172"/>
                  </a:lnTo>
                  <a:lnTo>
                    <a:pt x="1202055" y="999172"/>
                  </a:lnTo>
                  <a:lnTo>
                    <a:pt x="1192530" y="997268"/>
                  </a:lnTo>
                  <a:lnTo>
                    <a:pt x="1189673" y="997268"/>
                  </a:lnTo>
                  <a:lnTo>
                    <a:pt x="1187767" y="998220"/>
                  </a:lnTo>
                  <a:lnTo>
                    <a:pt x="1186815" y="1001078"/>
                  </a:lnTo>
                  <a:lnTo>
                    <a:pt x="1186815" y="1003935"/>
                  </a:lnTo>
                  <a:lnTo>
                    <a:pt x="1188720" y="1006793"/>
                  </a:lnTo>
                  <a:lnTo>
                    <a:pt x="1197292" y="1011555"/>
                  </a:lnTo>
                  <a:lnTo>
                    <a:pt x="1199198" y="1013460"/>
                  </a:lnTo>
                  <a:lnTo>
                    <a:pt x="1199198" y="1016318"/>
                  </a:lnTo>
                  <a:lnTo>
                    <a:pt x="1196340" y="1022033"/>
                  </a:lnTo>
                  <a:lnTo>
                    <a:pt x="1193482" y="1023938"/>
                  </a:lnTo>
                  <a:lnTo>
                    <a:pt x="1190625" y="1024890"/>
                  </a:lnTo>
                  <a:lnTo>
                    <a:pt x="1179195" y="1025843"/>
                  </a:lnTo>
                  <a:lnTo>
                    <a:pt x="1177290" y="1028700"/>
                  </a:lnTo>
                  <a:lnTo>
                    <a:pt x="1178242" y="1032510"/>
                  </a:lnTo>
                  <a:lnTo>
                    <a:pt x="1181100" y="1038225"/>
                  </a:lnTo>
                  <a:lnTo>
                    <a:pt x="1184910" y="1041083"/>
                  </a:lnTo>
                  <a:lnTo>
                    <a:pt x="1187767" y="1041083"/>
                  </a:lnTo>
                  <a:lnTo>
                    <a:pt x="1190625" y="1040130"/>
                  </a:lnTo>
                  <a:lnTo>
                    <a:pt x="1210628" y="1031558"/>
                  </a:lnTo>
                  <a:lnTo>
                    <a:pt x="1213485" y="1031558"/>
                  </a:lnTo>
                  <a:lnTo>
                    <a:pt x="1236345" y="1030605"/>
                  </a:lnTo>
                  <a:lnTo>
                    <a:pt x="1239203" y="1031558"/>
                  </a:lnTo>
                  <a:lnTo>
                    <a:pt x="1242060" y="1032510"/>
                  </a:lnTo>
                  <a:lnTo>
                    <a:pt x="1245870" y="1036320"/>
                  </a:lnTo>
                  <a:lnTo>
                    <a:pt x="1252538" y="1044893"/>
                  </a:lnTo>
                  <a:lnTo>
                    <a:pt x="1258253" y="1053465"/>
                  </a:lnTo>
                  <a:lnTo>
                    <a:pt x="1260157" y="1057275"/>
                  </a:lnTo>
                  <a:lnTo>
                    <a:pt x="1263015" y="1080135"/>
                  </a:lnTo>
                  <a:lnTo>
                    <a:pt x="1269682" y="1098233"/>
                  </a:lnTo>
                  <a:lnTo>
                    <a:pt x="1271588" y="1110615"/>
                  </a:lnTo>
                  <a:lnTo>
                    <a:pt x="1274445" y="1115378"/>
                  </a:lnTo>
                  <a:lnTo>
                    <a:pt x="1276350" y="1117283"/>
                  </a:lnTo>
                  <a:lnTo>
                    <a:pt x="1283017" y="1117283"/>
                  </a:lnTo>
                  <a:lnTo>
                    <a:pt x="1289685" y="1118235"/>
                  </a:lnTo>
                  <a:lnTo>
                    <a:pt x="1291590" y="1120140"/>
                  </a:lnTo>
                  <a:lnTo>
                    <a:pt x="1295400" y="1124903"/>
                  </a:lnTo>
                  <a:lnTo>
                    <a:pt x="1301115" y="1140143"/>
                  </a:lnTo>
                  <a:lnTo>
                    <a:pt x="1305878" y="1148715"/>
                  </a:lnTo>
                  <a:lnTo>
                    <a:pt x="1309688" y="1152525"/>
                  </a:lnTo>
                  <a:lnTo>
                    <a:pt x="1311592" y="1153478"/>
                  </a:lnTo>
                  <a:lnTo>
                    <a:pt x="1318260" y="1156335"/>
                  </a:lnTo>
                  <a:lnTo>
                    <a:pt x="1320165" y="1160145"/>
                  </a:lnTo>
                  <a:lnTo>
                    <a:pt x="1320165" y="1167765"/>
                  </a:lnTo>
                  <a:lnTo>
                    <a:pt x="1317307" y="1200150"/>
                  </a:lnTo>
                  <a:lnTo>
                    <a:pt x="1318260" y="1209675"/>
                  </a:lnTo>
                  <a:lnTo>
                    <a:pt x="1317307" y="1227773"/>
                  </a:lnTo>
                  <a:lnTo>
                    <a:pt x="1318260" y="1230630"/>
                  </a:lnTo>
                  <a:lnTo>
                    <a:pt x="1320165" y="1235393"/>
                  </a:lnTo>
                  <a:lnTo>
                    <a:pt x="1321117" y="1238250"/>
                  </a:lnTo>
                  <a:lnTo>
                    <a:pt x="1324928" y="1241108"/>
                  </a:lnTo>
                  <a:lnTo>
                    <a:pt x="1332548" y="1245870"/>
                  </a:lnTo>
                  <a:lnTo>
                    <a:pt x="1334453" y="1247775"/>
                  </a:lnTo>
                  <a:lnTo>
                    <a:pt x="1336357" y="1251585"/>
                  </a:lnTo>
                  <a:lnTo>
                    <a:pt x="1336357" y="1257300"/>
                  </a:lnTo>
                  <a:lnTo>
                    <a:pt x="1336357" y="1267778"/>
                  </a:lnTo>
                  <a:lnTo>
                    <a:pt x="1339215" y="1272540"/>
                  </a:lnTo>
                  <a:lnTo>
                    <a:pt x="1340167" y="1276350"/>
                  </a:lnTo>
                  <a:lnTo>
                    <a:pt x="1340167" y="1280160"/>
                  </a:lnTo>
                  <a:lnTo>
                    <a:pt x="1336357" y="1288733"/>
                  </a:lnTo>
                  <a:lnTo>
                    <a:pt x="1332548" y="1292543"/>
                  </a:lnTo>
                  <a:lnTo>
                    <a:pt x="1328738" y="1294448"/>
                  </a:lnTo>
                  <a:lnTo>
                    <a:pt x="1311592" y="1299210"/>
                  </a:lnTo>
                  <a:lnTo>
                    <a:pt x="1308735" y="1300163"/>
                  </a:lnTo>
                  <a:lnTo>
                    <a:pt x="1306830" y="1303020"/>
                  </a:lnTo>
                  <a:lnTo>
                    <a:pt x="1305878" y="1306830"/>
                  </a:lnTo>
                  <a:lnTo>
                    <a:pt x="1305878" y="1311593"/>
                  </a:lnTo>
                  <a:lnTo>
                    <a:pt x="1306830" y="1319213"/>
                  </a:lnTo>
                  <a:lnTo>
                    <a:pt x="1314450" y="1349693"/>
                  </a:lnTo>
                  <a:lnTo>
                    <a:pt x="1312545" y="1354455"/>
                  </a:lnTo>
                  <a:lnTo>
                    <a:pt x="1309688" y="1358265"/>
                  </a:lnTo>
                  <a:lnTo>
                    <a:pt x="1307782" y="1361123"/>
                  </a:lnTo>
                  <a:lnTo>
                    <a:pt x="1307782" y="1366838"/>
                  </a:lnTo>
                  <a:lnTo>
                    <a:pt x="1309688" y="1373505"/>
                  </a:lnTo>
                  <a:lnTo>
                    <a:pt x="1340167" y="1423035"/>
                  </a:lnTo>
                  <a:lnTo>
                    <a:pt x="1341120" y="1428750"/>
                  </a:lnTo>
                  <a:lnTo>
                    <a:pt x="1340167" y="1433513"/>
                  </a:lnTo>
                  <a:lnTo>
                    <a:pt x="1337310" y="1438275"/>
                  </a:lnTo>
                  <a:lnTo>
                    <a:pt x="1324928" y="1451610"/>
                  </a:lnTo>
                  <a:lnTo>
                    <a:pt x="1321117" y="1454468"/>
                  </a:lnTo>
                  <a:lnTo>
                    <a:pt x="1306830" y="1462088"/>
                  </a:lnTo>
                  <a:lnTo>
                    <a:pt x="1304925" y="1463993"/>
                  </a:lnTo>
                  <a:lnTo>
                    <a:pt x="1302067" y="1467803"/>
                  </a:lnTo>
                  <a:lnTo>
                    <a:pt x="1298257" y="1476375"/>
                  </a:lnTo>
                  <a:lnTo>
                    <a:pt x="1289685" y="1487805"/>
                  </a:lnTo>
                  <a:lnTo>
                    <a:pt x="1285875" y="1491615"/>
                  </a:lnTo>
                  <a:lnTo>
                    <a:pt x="1283017" y="1493520"/>
                  </a:lnTo>
                  <a:lnTo>
                    <a:pt x="1275398" y="1496378"/>
                  </a:lnTo>
                  <a:lnTo>
                    <a:pt x="1272540" y="1497330"/>
                  </a:lnTo>
                  <a:lnTo>
                    <a:pt x="1266825" y="1503998"/>
                  </a:lnTo>
                  <a:lnTo>
                    <a:pt x="1263015" y="1506855"/>
                  </a:lnTo>
                  <a:lnTo>
                    <a:pt x="1245870" y="1514475"/>
                  </a:lnTo>
                  <a:lnTo>
                    <a:pt x="1226820" y="1528763"/>
                  </a:lnTo>
                  <a:lnTo>
                    <a:pt x="1222057" y="1529715"/>
                  </a:lnTo>
                  <a:lnTo>
                    <a:pt x="1217295" y="1528763"/>
                  </a:lnTo>
                  <a:lnTo>
                    <a:pt x="1214438" y="1529715"/>
                  </a:lnTo>
                  <a:lnTo>
                    <a:pt x="1211580" y="1531620"/>
                  </a:lnTo>
                  <a:lnTo>
                    <a:pt x="1208723" y="1537335"/>
                  </a:lnTo>
                  <a:lnTo>
                    <a:pt x="1205865" y="1540193"/>
                  </a:lnTo>
                  <a:lnTo>
                    <a:pt x="1202055" y="1542098"/>
                  </a:lnTo>
                  <a:lnTo>
                    <a:pt x="1195388" y="1541145"/>
                  </a:lnTo>
                  <a:lnTo>
                    <a:pt x="1192530" y="1541145"/>
                  </a:lnTo>
                  <a:lnTo>
                    <a:pt x="1190625" y="1542098"/>
                  </a:lnTo>
                  <a:lnTo>
                    <a:pt x="1185863" y="1544955"/>
                  </a:lnTo>
                  <a:lnTo>
                    <a:pt x="1184910" y="1547813"/>
                  </a:lnTo>
                  <a:lnTo>
                    <a:pt x="1183957" y="1551623"/>
                  </a:lnTo>
                  <a:lnTo>
                    <a:pt x="1185863" y="1558290"/>
                  </a:lnTo>
                  <a:lnTo>
                    <a:pt x="1186815" y="1562100"/>
                  </a:lnTo>
                  <a:lnTo>
                    <a:pt x="1189673" y="1567815"/>
                  </a:lnTo>
                  <a:lnTo>
                    <a:pt x="1190625" y="1572578"/>
                  </a:lnTo>
                  <a:lnTo>
                    <a:pt x="1189673" y="1578293"/>
                  </a:lnTo>
                  <a:lnTo>
                    <a:pt x="1187767" y="1588770"/>
                  </a:lnTo>
                  <a:lnTo>
                    <a:pt x="1184910" y="1598295"/>
                  </a:lnTo>
                  <a:lnTo>
                    <a:pt x="1181100" y="1605915"/>
                  </a:lnTo>
                  <a:lnTo>
                    <a:pt x="1178242" y="1610678"/>
                  </a:lnTo>
                  <a:lnTo>
                    <a:pt x="1174432" y="1615440"/>
                  </a:lnTo>
                  <a:lnTo>
                    <a:pt x="1174432" y="1619250"/>
                  </a:lnTo>
                  <a:lnTo>
                    <a:pt x="1181100" y="1620203"/>
                  </a:lnTo>
                  <a:lnTo>
                    <a:pt x="1187767" y="1620203"/>
                  </a:lnTo>
                  <a:lnTo>
                    <a:pt x="1200150" y="1618298"/>
                  </a:lnTo>
                  <a:lnTo>
                    <a:pt x="1205865" y="1618298"/>
                  </a:lnTo>
                  <a:lnTo>
                    <a:pt x="1206817" y="1620203"/>
                  </a:lnTo>
                  <a:lnTo>
                    <a:pt x="1207770" y="1623060"/>
                  </a:lnTo>
                  <a:lnTo>
                    <a:pt x="1207770" y="1627823"/>
                  </a:lnTo>
                  <a:lnTo>
                    <a:pt x="1207770" y="1634490"/>
                  </a:lnTo>
                  <a:lnTo>
                    <a:pt x="1206817" y="1638300"/>
                  </a:lnTo>
                  <a:lnTo>
                    <a:pt x="1204913" y="1642110"/>
                  </a:lnTo>
                  <a:lnTo>
                    <a:pt x="1203007" y="1645920"/>
                  </a:lnTo>
                  <a:lnTo>
                    <a:pt x="1195388" y="1649730"/>
                  </a:lnTo>
                  <a:lnTo>
                    <a:pt x="1190625" y="1653540"/>
                  </a:lnTo>
                  <a:lnTo>
                    <a:pt x="1188720" y="1665923"/>
                  </a:lnTo>
                  <a:lnTo>
                    <a:pt x="1176338" y="1664970"/>
                  </a:lnTo>
                  <a:lnTo>
                    <a:pt x="1170623" y="1667828"/>
                  </a:lnTo>
                  <a:lnTo>
                    <a:pt x="1166813" y="1672590"/>
                  </a:lnTo>
                  <a:lnTo>
                    <a:pt x="1149667" y="1688783"/>
                  </a:lnTo>
                  <a:lnTo>
                    <a:pt x="1144905" y="1691640"/>
                  </a:lnTo>
                  <a:lnTo>
                    <a:pt x="1140142" y="1693545"/>
                  </a:lnTo>
                  <a:lnTo>
                    <a:pt x="1130617" y="1692593"/>
                  </a:lnTo>
                  <a:lnTo>
                    <a:pt x="1108710" y="1695450"/>
                  </a:lnTo>
                  <a:lnTo>
                    <a:pt x="1102042" y="1697355"/>
                  </a:lnTo>
                  <a:lnTo>
                    <a:pt x="1098232" y="1700213"/>
                  </a:lnTo>
                  <a:lnTo>
                    <a:pt x="1096328" y="1706880"/>
                  </a:lnTo>
                  <a:lnTo>
                    <a:pt x="1096328" y="1714500"/>
                  </a:lnTo>
                  <a:lnTo>
                    <a:pt x="1095375" y="1718310"/>
                  </a:lnTo>
                  <a:lnTo>
                    <a:pt x="1092517" y="1719263"/>
                  </a:lnTo>
                  <a:lnTo>
                    <a:pt x="1089660" y="1719263"/>
                  </a:lnTo>
                  <a:lnTo>
                    <a:pt x="1079182" y="1718310"/>
                  </a:lnTo>
                  <a:lnTo>
                    <a:pt x="1022985" y="1722120"/>
                  </a:lnTo>
                  <a:lnTo>
                    <a:pt x="985838" y="1715453"/>
                  </a:lnTo>
                  <a:lnTo>
                    <a:pt x="965835" y="1717358"/>
                  </a:lnTo>
                  <a:lnTo>
                    <a:pt x="954405" y="1714500"/>
                  </a:lnTo>
                  <a:lnTo>
                    <a:pt x="949642" y="1712595"/>
                  </a:lnTo>
                  <a:lnTo>
                    <a:pt x="943928" y="1708785"/>
                  </a:lnTo>
                  <a:lnTo>
                    <a:pt x="942022" y="1704023"/>
                  </a:lnTo>
                  <a:lnTo>
                    <a:pt x="942975" y="1701165"/>
                  </a:lnTo>
                  <a:lnTo>
                    <a:pt x="943928" y="1699260"/>
                  </a:lnTo>
                  <a:lnTo>
                    <a:pt x="949642" y="1693545"/>
                  </a:lnTo>
                  <a:lnTo>
                    <a:pt x="951547" y="1687830"/>
                  </a:lnTo>
                  <a:lnTo>
                    <a:pt x="951547" y="1685925"/>
                  </a:lnTo>
                  <a:lnTo>
                    <a:pt x="950595" y="1683068"/>
                  </a:lnTo>
                  <a:lnTo>
                    <a:pt x="943928" y="1672590"/>
                  </a:lnTo>
                  <a:lnTo>
                    <a:pt x="942975" y="1669733"/>
                  </a:lnTo>
                  <a:lnTo>
                    <a:pt x="942022" y="1664018"/>
                  </a:lnTo>
                  <a:lnTo>
                    <a:pt x="941070" y="1660208"/>
                  </a:lnTo>
                  <a:lnTo>
                    <a:pt x="938213" y="1656398"/>
                  </a:lnTo>
                  <a:lnTo>
                    <a:pt x="928688" y="1648778"/>
                  </a:lnTo>
                  <a:lnTo>
                    <a:pt x="925830" y="1646873"/>
                  </a:lnTo>
                  <a:lnTo>
                    <a:pt x="925830" y="1643063"/>
                  </a:lnTo>
                  <a:lnTo>
                    <a:pt x="927735" y="1637348"/>
                  </a:lnTo>
                  <a:lnTo>
                    <a:pt x="930592" y="1632585"/>
                  </a:lnTo>
                  <a:lnTo>
                    <a:pt x="955357" y="1600200"/>
                  </a:lnTo>
                  <a:lnTo>
                    <a:pt x="955357" y="1597343"/>
                  </a:lnTo>
                  <a:lnTo>
                    <a:pt x="954405" y="1594485"/>
                  </a:lnTo>
                  <a:lnTo>
                    <a:pt x="939165" y="1583055"/>
                  </a:lnTo>
                  <a:lnTo>
                    <a:pt x="936307" y="1579245"/>
                  </a:lnTo>
                  <a:lnTo>
                    <a:pt x="931545" y="1572578"/>
                  </a:lnTo>
                  <a:lnTo>
                    <a:pt x="922972" y="1553528"/>
                  </a:lnTo>
                  <a:lnTo>
                    <a:pt x="922020" y="1549718"/>
                  </a:lnTo>
                  <a:lnTo>
                    <a:pt x="922020" y="1546860"/>
                  </a:lnTo>
                  <a:lnTo>
                    <a:pt x="922020" y="1540193"/>
                  </a:lnTo>
                  <a:lnTo>
                    <a:pt x="922020" y="1537335"/>
                  </a:lnTo>
                  <a:lnTo>
                    <a:pt x="920115" y="1528763"/>
                  </a:lnTo>
                  <a:lnTo>
                    <a:pt x="919163" y="1525905"/>
                  </a:lnTo>
                  <a:lnTo>
                    <a:pt x="921067" y="1518285"/>
                  </a:lnTo>
                  <a:lnTo>
                    <a:pt x="920115" y="1515428"/>
                  </a:lnTo>
                  <a:lnTo>
                    <a:pt x="917257" y="1510665"/>
                  </a:lnTo>
                  <a:lnTo>
                    <a:pt x="908685" y="1502093"/>
                  </a:lnTo>
                  <a:lnTo>
                    <a:pt x="905828" y="1497330"/>
                  </a:lnTo>
                  <a:lnTo>
                    <a:pt x="904875" y="1493520"/>
                  </a:lnTo>
                  <a:lnTo>
                    <a:pt x="906780" y="1487805"/>
                  </a:lnTo>
                  <a:lnTo>
                    <a:pt x="905828" y="1484948"/>
                  </a:lnTo>
                  <a:lnTo>
                    <a:pt x="902970" y="1483043"/>
                  </a:lnTo>
                  <a:lnTo>
                    <a:pt x="900113" y="1482090"/>
                  </a:lnTo>
                  <a:lnTo>
                    <a:pt x="866775" y="1477328"/>
                  </a:lnTo>
                  <a:lnTo>
                    <a:pt x="862965" y="1478280"/>
                  </a:lnTo>
                  <a:lnTo>
                    <a:pt x="860107" y="1480185"/>
                  </a:lnTo>
                  <a:lnTo>
                    <a:pt x="859155" y="1486853"/>
                  </a:lnTo>
                  <a:lnTo>
                    <a:pt x="856297" y="1492568"/>
                  </a:lnTo>
                  <a:lnTo>
                    <a:pt x="853440" y="1497330"/>
                  </a:lnTo>
                  <a:lnTo>
                    <a:pt x="849630" y="1501140"/>
                  </a:lnTo>
                  <a:lnTo>
                    <a:pt x="844867" y="1503998"/>
                  </a:lnTo>
                  <a:lnTo>
                    <a:pt x="832485" y="1508760"/>
                  </a:lnTo>
                  <a:lnTo>
                    <a:pt x="825817" y="1513523"/>
                  </a:lnTo>
                  <a:lnTo>
                    <a:pt x="822007" y="1517333"/>
                  </a:lnTo>
                  <a:lnTo>
                    <a:pt x="815340" y="1530668"/>
                  </a:lnTo>
                  <a:lnTo>
                    <a:pt x="811530" y="1542098"/>
                  </a:lnTo>
                  <a:lnTo>
                    <a:pt x="808672" y="1546860"/>
                  </a:lnTo>
                  <a:lnTo>
                    <a:pt x="805815" y="1548765"/>
                  </a:lnTo>
                  <a:lnTo>
                    <a:pt x="801053" y="1549718"/>
                  </a:lnTo>
                  <a:lnTo>
                    <a:pt x="761047" y="1543050"/>
                  </a:lnTo>
                  <a:lnTo>
                    <a:pt x="758190" y="1543050"/>
                  </a:lnTo>
                  <a:lnTo>
                    <a:pt x="755332" y="1544003"/>
                  </a:lnTo>
                  <a:lnTo>
                    <a:pt x="745807" y="1549718"/>
                  </a:lnTo>
                  <a:lnTo>
                    <a:pt x="738188" y="1552575"/>
                  </a:lnTo>
                  <a:lnTo>
                    <a:pt x="726757" y="1554480"/>
                  </a:lnTo>
                  <a:lnTo>
                    <a:pt x="724853" y="1553528"/>
                  </a:lnTo>
                  <a:lnTo>
                    <a:pt x="721042" y="1549718"/>
                  </a:lnTo>
                  <a:lnTo>
                    <a:pt x="718185" y="1546860"/>
                  </a:lnTo>
                  <a:lnTo>
                    <a:pt x="704850" y="1539240"/>
                  </a:lnTo>
                  <a:lnTo>
                    <a:pt x="700088" y="1538288"/>
                  </a:lnTo>
                  <a:lnTo>
                    <a:pt x="653415" y="1537335"/>
                  </a:lnTo>
                  <a:lnTo>
                    <a:pt x="647700" y="1538288"/>
                  </a:lnTo>
                  <a:lnTo>
                    <a:pt x="645795" y="1540193"/>
                  </a:lnTo>
                  <a:lnTo>
                    <a:pt x="636270" y="1558290"/>
                  </a:lnTo>
                  <a:lnTo>
                    <a:pt x="631507" y="1563053"/>
                  </a:lnTo>
                  <a:lnTo>
                    <a:pt x="622935" y="1565910"/>
                  </a:lnTo>
                  <a:lnTo>
                    <a:pt x="612457" y="1566863"/>
                  </a:lnTo>
                  <a:lnTo>
                    <a:pt x="606742" y="1566863"/>
                  </a:lnTo>
                  <a:lnTo>
                    <a:pt x="601980" y="1566863"/>
                  </a:lnTo>
                  <a:lnTo>
                    <a:pt x="577215" y="1554480"/>
                  </a:lnTo>
                  <a:lnTo>
                    <a:pt x="571500" y="1553528"/>
                  </a:lnTo>
                  <a:lnTo>
                    <a:pt x="566738" y="1553528"/>
                  </a:lnTo>
                  <a:lnTo>
                    <a:pt x="557213" y="1558290"/>
                  </a:lnTo>
                  <a:lnTo>
                    <a:pt x="552450" y="1560195"/>
                  </a:lnTo>
                  <a:lnTo>
                    <a:pt x="501015" y="1562100"/>
                  </a:lnTo>
                  <a:lnTo>
                    <a:pt x="456247" y="1574483"/>
                  </a:lnTo>
                  <a:lnTo>
                    <a:pt x="439103" y="1576388"/>
                  </a:lnTo>
                  <a:lnTo>
                    <a:pt x="402907" y="1570673"/>
                  </a:lnTo>
                  <a:lnTo>
                    <a:pt x="356235" y="1576388"/>
                  </a:lnTo>
                  <a:lnTo>
                    <a:pt x="246697" y="1544955"/>
                  </a:lnTo>
                  <a:lnTo>
                    <a:pt x="243840" y="1541145"/>
                  </a:lnTo>
                  <a:lnTo>
                    <a:pt x="240982" y="1536383"/>
                  </a:lnTo>
                  <a:lnTo>
                    <a:pt x="240030" y="1533525"/>
                  </a:lnTo>
                  <a:lnTo>
                    <a:pt x="239078" y="1527810"/>
                  </a:lnTo>
                  <a:lnTo>
                    <a:pt x="237172" y="1522095"/>
                  </a:lnTo>
                  <a:lnTo>
                    <a:pt x="231457" y="1513523"/>
                  </a:lnTo>
                  <a:lnTo>
                    <a:pt x="217170" y="1494473"/>
                  </a:lnTo>
                  <a:lnTo>
                    <a:pt x="214313" y="1489710"/>
                  </a:lnTo>
                  <a:lnTo>
                    <a:pt x="213360" y="1483995"/>
                  </a:lnTo>
                  <a:lnTo>
                    <a:pt x="215265" y="1475423"/>
                  </a:lnTo>
                  <a:lnTo>
                    <a:pt x="215265" y="1472565"/>
                  </a:lnTo>
                  <a:lnTo>
                    <a:pt x="213360" y="1467803"/>
                  </a:lnTo>
                  <a:lnTo>
                    <a:pt x="211455" y="1465898"/>
                  </a:lnTo>
                  <a:lnTo>
                    <a:pt x="208597" y="1463993"/>
                  </a:lnTo>
                  <a:lnTo>
                    <a:pt x="189547" y="1456373"/>
                  </a:lnTo>
                  <a:lnTo>
                    <a:pt x="185738" y="1453515"/>
                  </a:lnTo>
                  <a:lnTo>
                    <a:pt x="183832" y="1449705"/>
                  </a:lnTo>
                  <a:lnTo>
                    <a:pt x="185738" y="1431608"/>
                  </a:lnTo>
                  <a:lnTo>
                    <a:pt x="186690" y="1428750"/>
                  </a:lnTo>
                  <a:lnTo>
                    <a:pt x="187642" y="1426845"/>
                  </a:lnTo>
                  <a:lnTo>
                    <a:pt x="190500" y="1425893"/>
                  </a:lnTo>
                  <a:lnTo>
                    <a:pt x="200025" y="1424940"/>
                  </a:lnTo>
                  <a:lnTo>
                    <a:pt x="202882" y="1423988"/>
                  </a:lnTo>
                  <a:lnTo>
                    <a:pt x="204788" y="1422083"/>
                  </a:lnTo>
                  <a:lnTo>
                    <a:pt x="204788" y="1420178"/>
                  </a:lnTo>
                  <a:lnTo>
                    <a:pt x="203835" y="1414463"/>
                  </a:lnTo>
                  <a:lnTo>
                    <a:pt x="201930" y="1408748"/>
                  </a:lnTo>
                  <a:lnTo>
                    <a:pt x="186690" y="1382078"/>
                  </a:lnTo>
                  <a:lnTo>
                    <a:pt x="185738" y="1377315"/>
                  </a:lnTo>
                  <a:lnTo>
                    <a:pt x="185738" y="1374458"/>
                  </a:lnTo>
                  <a:lnTo>
                    <a:pt x="187642" y="1373505"/>
                  </a:lnTo>
                  <a:lnTo>
                    <a:pt x="213360" y="1378268"/>
                  </a:lnTo>
                  <a:lnTo>
                    <a:pt x="217170" y="1377315"/>
                  </a:lnTo>
                  <a:lnTo>
                    <a:pt x="222885" y="1376363"/>
                  </a:lnTo>
                  <a:lnTo>
                    <a:pt x="226695" y="1372553"/>
                  </a:lnTo>
                  <a:lnTo>
                    <a:pt x="229553" y="1368743"/>
                  </a:lnTo>
                  <a:lnTo>
                    <a:pt x="233363" y="1364933"/>
                  </a:lnTo>
                  <a:lnTo>
                    <a:pt x="236220" y="1363028"/>
                  </a:lnTo>
                  <a:lnTo>
                    <a:pt x="244792" y="1362075"/>
                  </a:lnTo>
                  <a:lnTo>
                    <a:pt x="246697" y="1360170"/>
                  </a:lnTo>
                  <a:lnTo>
                    <a:pt x="248603" y="1353503"/>
                  </a:lnTo>
                  <a:lnTo>
                    <a:pt x="249555" y="1343978"/>
                  </a:lnTo>
                  <a:lnTo>
                    <a:pt x="248603" y="1336358"/>
                  </a:lnTo>
                  <a:lnTo>
                    <a:pt x="246697" y="1332548"/>
                  </a:lnTo>
                  <a:lnTo>
                    <a:pt x="244792" y="1329690"/>
                  </a:lnTo>
                  <a:lnTo>
                    <a:pt x="242888" y="1328738"/>
                  </a:lnTo>
                  <a:lnTo>
                    <a:pt x="232410" y="1323975"/>
                  </a:lnTo>
                  <a:lnTo>
                    <a:pt x="228600" y="1321118"/>
                  </a:lnTo>
                  <a:lnTo>
                    <a:pt x="226695" y="1318260"/>
                  </a:lnTo>
                  <a:lnTo>
                    <a:pt x="225742" y="1315403"/>
                  </a:lnTo>
                  <a:lnTo>
                    <a:pt x="226695" y="1310640"/>
                  </a:lnTo>
                  <a:lnTo>
                    <a:pt x="229553" y="1302068"/>
                  </a:lnTo>
                  <a:lnTo>
                    <a:pt x="232410" y="1296353"/>
                  </a:lnTo>
                  <a:lnTo>
                    <a:pt x="239078" y="1287780"/>
                  </a:lnTo>
                  <a:lnTo>
                    <a:pt x="240030" y="1283970"/>
                  </a:lnTo>
                  <a:lnTo>
                    <a:pt x="239078" y="1282065"/>
                  </a:lnTo>
                  <a:lnTo>
                    <a:pt x="237172" y="1279208"/>
                  </a:lnTo>
                  <a:lnTo>
                    <a:pt x="230505" y="1273493"/>
                  </a:lnTo>
                  <a:lnTo>
                    <a:pt x="229553" y="1269683"/>
                  </a:lnTo>
                  <a:lnTo>
                    <a:pt x="229553" y="1266825"/>
                  </a:lnTo>
                  <a:lnTo>
                    <a:pt x="230505" y="1263968"/>
                  </a:lnTo>
                  <a:lnTo>
                    <a:pt x="232410" y="1263015"/>
                  </a:lnTo>
                  <a:lnTo>
                    <a:pt x="237172" y="1260158"/>
                  </a:lnTo>
                  <a:lnTo>
                    <a:pt x="240030" y="1258253"/>
                  </a:lnTo>
                  <a:lnTo>
                    <a:pt x="240982" y="1254443"/>
                  </a:lnTo>
                  <a:lnTo>
                    <a:pt x="240982" y="1247775"/>
                  </a:lnTo>
                  <a:lnTo>
                    <a:pt x="239078" y="1241108"/>
                  </a:lnTo>
                  <a:lnTo>
                    <a:pt x="233363" y="1232535"/>
                  </a:lnTo>
                  <a:lnTo>
                    <a:pt x="224790" y="1223010"/>
                  </a:lnTo>
                  <a:lnTo>
                    <a:pt x="220980" y="1217295"/>
                  </a:lnTo>
                  <a:lnTo>
                    <a:pt x="219075" y="1213485"/>
                  </a:lnTo>
                  <a:lnTo>
                    <a:pt x="218122" y="1210628"/>
                  </a:lnTo>
                  <a:lnTo>
                    <a:pt x="218122" y="1206818"/>
                  </a:lnTo>
                  <a:lnTo>
                    <a:pt x="220028" y="1187768"/>
                  </a:lnTo>
                  <a:lnTo>
                    <a:pt x="220028" y="1182053"/>
                  </a:lnTo>
                  <a:lnTo>
                    <a:pt x="219075" y="1175385"/>
                  </a:lnTo>
                  <a:lnTo>
                    <a:pt x="217170" y="1171575"/>
                  </a:lnTo>
                  <a:lnTo>
                    <a:pt x="214313" y="1168718"/>
                  </a:lnTo>
                  <a:lnTo>
                    <a:pt x="211455" y="1168718"/>
                  </a:lnTo>
                  <a:lnTo>
                    <a:pt x="207645" y="1168718"/>
                  </a:lnTo>
                  <a:lnTo>
                    <a:pt x="205740" y="1170623"/>
                  </a:lnTo>
                  <a:lnTo>
                    <a:pt x="201930" y="1178243"/>
                  </a:lnTo>
                  <a:lnTo>
                    <a:pt x="197167" y="1184910"/>
                  </a:lnTo>
                  <a:lnTo>
                    <a:pt x="193357" y="1194435"/>
                  </a:lnTo>
                  <a:lnTo>
                    <a:pt x="190500" y="1199198"/>
                  </a:lnTo>
                  <a:lnTo>
                    <a:pt x="188595" y="1200150"/>
                  </a:lnTo>
                  <a:lnTo>
                    <a:pt x="185738" y="1201103"/>
                  </a:lnTo>
                  <a:lnTo>
                    <a:pt x="161925" y="1198245"/>
                  </a:lnTo>
                  <a:lnTo>
                    <a:pt x="160020" y="1198245"/>
                  </a:lnTo>
                  <a:lnTo>
                    <a:pt x="156210" y="1196340"/>
                  </a:lnTo>
                  <a:lnTo>
                    <a:pt x="155257" y="1192530"/>
                  </a:lnTo>
                  <a:lnTo>
                    <a:pt x="154305" y="1182053"/>
                  </a:lnTo>
                  <a:lnTo>
                    <a:pt x="153353" y="1179195"/>
                  </a:lnTo>
                  <a:lnTo>
                    <a:pt x="152400" y="1176338"/>
                  </a:lnTo>
                  <a:lnTo>
                    <a:pt x="147638" y="1172528"/>
                  </a:lnTo>
                  <a:lnTo>
                    <a:pt x="137160" y="1169670"/>
                  </a:lnTo>
                  <a:lnTo>
                    <a:pt x="132397" y="1166813"/>
                  </a:lnTo>
                  <a:lnTo>
                    <a:pt x="129540" y="1163003"/>
                  </a:lnTo>
                  <a:lnTo>
                    <a:pt x="126682" y="1156335"/>
                  </a:lnTo>
                  <a:lnTo>
                    <a:pt x="123825" y="1154430"/>
                  </a:lnTo>
                  <a:lnTo>
                    <a:pt x="120967" y="1153478"/>
                  </a:lnTo>
                  <a:lnTo>
                    <a:pt x="115253" y="1154430"/>
                  </a:lnTo>
                  <a:lnTo>
                    <a:pt x="111442" y="1154430"/>
                  </a:lnTo>
                  <a:lnTo>
                    <a:pt x="109538" y="1152525"/>
                  </a:lnTo>
                  <a:lnTo>
                    <a:pt x="108585" y="1149668"/>
                  </a:lnTo>
                  <a:lnTo>
                    <a:pt x="109538" y="1146810"/>
                  </a:lnTo>
                  <a:lnTo>
                    <a:pt x="112395" y="1142048"/>
                  </a:lnTo>
                  <a:lnTo>
                    <a:pt x="114300" y="1139190"/>
                  </a:lnTo>
                  <a:lnTo>
                    <a:pt x="113347" y="1136333"/>
                  </a:lnTo>
                  <a:lnTo>
                    <a:pt x="111442" y="1134428"/>
                  </a:lnTo>
                  <a:lnTo>
                    <a:pt x="106680" y="1131570"/>
                  </a:lnTo>
                  <a:lnTo>
                    <a:pt x="89535" y="1118235"/>
                  </a:lnTo>
                  <a:lnTo>
                    <a:pt x="66675" y="1104900"/>
                  </a:lnTo>
                  <a:lnTo>
                    <a:pt x="60960" y="1100138"/>
                  </a:lnTo>
                  <a:lnTo>
                    <a:pt x="58103" y="1096328"/>
                  </a:lnTo>
                  <a:lnTo>
                    <a:pt x="56197" y="1092518"/>
                  </a:lnTo>
                  <a:lnTo>
                    <a:pt x="54292" y="1082993"/>
                  </a:lnTo>
                  <a:lnTo>
                    <a:pt x="52388" y="1079183"/>
                  </a:lnTo>
                  <a:lnTo>
                    <a:pt x="50482" y="1077278"/>
                  </a:lnTo>
                  <a:lnTo>
                    <a:pt x="45720" y="1074420"/>
                  </a:lnTo>
                  <a:lnTo>
                    <a:pt x="31432" y="1071563"/>
                  </a:lnTo>
                  <a:lnTo>
                    <a:pt x="27622" y="1070610"/>
                  </a:lnTo>
                  <a:lnTo>
                    <a:pt x="22860" y="1066800"/>
                  </a:lnTo>
                  <a:lnTo>
                    <a:pt x="20003" y="1064895"/>
                  </a:lnTo>
                  <a:lnTo>
                    <a:pt x="19050" y="1061085"/>
                  </a:lnTo>
                  <a:lnTo>
                    <a:pt x="19050" y="1054418"/>
                  </a:lnTo>
                  <a:lnTo>
                    <a:pt x="29528" y="1016318"/>
                  </a:lnTo>
                  <a:lnTo>
                    <a:pt x="32385" y="1010603"/>
                  </a:lnTo>
                  <a:lnTo>
                    <a:pt x="35242" y="1005840"/>
                  </a:lnTo>
                  <a:lnTo>
                    <a:pt x="39053" y="1002030"/>
                  </a:lnTo>
                  <a:lnTo>
                    <a:pt x="43815" y="999172"/>
                  </a:lnTo>
                  <a:lnTo>
                    <a:pt x="55245" y="992505"/>
                  </a:lnTo>
                  <a:lnTo>
                    <a:pt x="59055" y="988695"/>
                  </a:lnTo>
                  <a:lnTo>
                    <a:pt x="59055" y="985838"/>
                  </a:lnTo>
                  <a:lnTo>
                    <a:pt x="54292" y="982980"/>
                  </a:lnTo>
                  <a:lnTo>
                    <a:pt x="43815" y="980122"/>
                  </a:lnTo>
                  <a:lnTo>
                    <a:pt x="40005" y="979170"/>
                  </a:lnTo>
                  <a:lnTo>
                    <a:pt x="36195" y="975360"/>
                  </a:lnTo>
                  <a:lnTo>
                    <a:pt x="33338" y="971550"/>
                  </a:lnTo>
                  <a:lnTo>
                    <a:pt x="31432" y="966788"/>
                  </a:lnTo>
                  <a:lnTo>
                    <a:pt x="28575" y="959168"/>
                  </a:lnTo>
                  <a:lnTo>
                    <a:pt x="24765" y="956310"/>
                  </a:lnTo>
                  <a:lnTo>
                    <a:pt x="17145" y="950595"/>
                  </a:lnTo>
                  <a:lnTo>
                    <a:pt x="10478" y="940118"/>
                  </a:lnTo>
                  <a:lnTo>
                    <a:pt x="7620" y="937260"/>
                  </a:lnTo>
                  <a:lnTo>
                    <a:pt x="0" y="933450"/>
                  </a:lnTo>
                  <a:lnTo>
                    <a:pt x="19050" y="911543"/>
                  </a:lnTo>
                  <a:lnTo>
                    <a:pt x="22860" y="899160"/>
                  </a:lnTo>
                  <a:lnTo>
                    <a:pt x="21907" y="895350"/>
                  </a:lnTo>
                  <a:lnTo>
                    <a:pt x="18097" y="891540"/>
                  </a:lnTo>
                  <a:lnTo>
                    <a:pt x="7620" y="885825"/>
                  </a:lnTo>
                  <a:lnTo>
                    <a:pt x="4763" y="883920"/>
                  </a:lnTo>
                  <a:lnTo>
                    <a:pt x="2857" y="880110"/>
                  </a:lnTo>
                  <a:lnTo>
                    <a:pt x="0" y="873443"/>
                  </a:lnTo>
                  <a:lnTo>
                    <a:pt x="0" y="869633"/>
                  </a:lnTo>
                  <a:lnTo>
                    <a:pt x="1905" y="864870"/>
                  </a:lnTo>
                  <a:lnTo>
                    <a:pt x="4763" y="856297"/>
                  </a:lnTo>
                  <a:lnTo>
                    <a:pt x="10478" y="841058"/>
                  </a:lnTo>
                  <a:lnTo>
                    <a:pt x="12382" y="837247"/>
                  </a:lnTo>
                  <a:lnTo>
                    <a:pt x="22860" y="823913"/>
                  </a:lnTo>
                  <a:lnTo>
                    <a:pt x="26670" y="816293"/>
                  </a:lnTo>
                  <a:lnTo>
                    <a:pt x="39053" y="784860"/>
                  </a:lnTo>
                  <a:lnTo>
                    <a:pt x="40957" y="776288"/>
                  </a:lnTo>
                  <a:lnTo>
                    <a:pt x="41910" y="770572"/>
                  </a:lnTo>
                  <a:lnTo>
                    <a:pt x="40005" y="762000"/>
                  </a:lnTo>
                  <a:lnTo>
                    <a:pt x="36195" y="754380"/>
                  </a:lnTo>
                  <a:lnTo>
                    <a:pt x="25717" y="738188"/>
                  </a:lnTo>
                  <a:lnTo>
                    <a:pt x="20955" y="728663"/>
                  </a:lnTo>
                  <a:lnTo>
                    <a:pt x="18097" y="721995"/>
                  </a:lnTo>
                  <a:lnTo>
                    <a:pt x="17145" y="717233"/>
                  </a:lnTo>
                  <a:lnTo>
                    <a:pt x="16192" y="707708"/>
                  </a:lnTo>
                  <a:lnTo>
                    <a:pt x="16192" y="701993"/>
                  </a:lnTo>
                  <a:lnTo>
                    <a:pt x="17145" y="697230"/>
                  </a:lnTo>
                  <a:lnTo>
                    <a:pt x="24765" y="657225"/>
                  </a:lnTo>
                  <a:lnTo>
                    <a:pt x="25717" y="648653"/>
                  </a:lnTo>
                  <a:lnTo>
                    <a:pt x="24765" y="642938"/>
                  </a:lnTo>
                  <a:lnTo>
                    <a:pt x="22860" y="637222"/>
                  </a:lnTo>
                  <a:lnTo>
                    <a:pt x="16192" y="628650"/>
                  </a:lnTo>
                  <a:lnTo>
                    <a:pt x="14288" y="625793"/>
                  </a:lnTo>
                  <a:lnTo>
                    <a:pt x="12382" y="621030"/>
                  </a:lnTo>
                  <a:lnTo>
                    <a:pt x="13335" y="618172"/>
                  </a:lnTo>
                  <a:lnTo>
                    <a:pt x="19050" y="616268"/>
                  </a:lnTo>
                  <a:lnTo>
                    <a:pt x="20955" y="613410"/>
                  </a:lnTo>
                  <a:lnTo>
                    <a:pt x="23813" y="608647"/>
                  </a:lnTo>
                  <a:lnTo>
                    <a:pt x="22860" y="605790"/>
                  </a:lnTo>
                  <a:lnTo>
                    <a:pt x="21907" y="602933"/>
                  </a:lnTo>
                  <a:lnTo>
                    <a:pt x="18097" y="599122"/>
                  </a:lnTo>
                  <a:lnTo>
                    <a:pt x="16192" y="596265"/>
                  </a:lnTo>
                  <a:lnTo>
                    <a:pt x="14288" y="592455"/>
                  </a:lnTo>
                  <a:lnTo>
                    <a:pt x="13335" y="584835"/>
                  </a:lnTo>
                  <a:lnTo>
                    <a:pt x="13335" y="580073"/>
                  </a:lnTo>
                  <a:lnTo>
                    <a:pt x="12382" y="576263"/>
                  </a:lnTo>
                  <a:lnTo>
                    <a:pt x="6667" y="565785"/>
                  </a:lnTo>
                  <a:lnTo>
                    <a:pt x="2857" y="558165"/>
                  </a:lnTo>
                  <a:lnTo>
                    <a:pt x="3810" y="554355"/>
                  </a:lnTo>
                  <a:lnTo>
                    <a:pt x="7620" y="550545"/>
                  </a:lnTo>
                  <a:lnTo>
                    <a:pt x="12382" y="533400"/>
                  </a:lnTo>
                  <a:lnTo>
                    <a:pt x="14288" y="529590"/>
                  </a:lnTo>
                  <a:lnTo>
                    <a:pt x="16192" y="527685"/>
                  </a:lnTo>
                  <a:lnTo>
                    <a:pt x="20955" y="524828"/>
                  </a:lnTo>
                  <a:lnTo>
                    <a:pt x="41910" y="520065"/>
                  </a:lnTo>
                  <a:lnTo>
                    <a:pt x="54292" y="514350"/>
                  </a:lnTo>
                  <a:lnTo>
                    <a:pt x="56197" y="511492"/>
                  </a:lnTo>
                  <a:lnTo>
                    <a:pt x="59055" y="506730"/>
                  </a:lnTo>
                  <a:lnTo>
                    <a:pt x="65722" y="491490"/>
                  </a:lnTo>
                  <a:lnTo>
                    <a:pt x="67628" y="487680"/>
                  </a:lnTo>
                  <a:lnTo>
                    <a:pt x="69532" y="485775"/>
                  </a:lnTo>
                  <a:lnTo>
                    <a:pt x="75247" y="480060"/>
                  </a:lnTo>
                  <a:lnTo>
                    <a:pt x="80010" y="473392"/>
                  </a:lnTo>
                  <a:lnTo>
                    <a:pt x="82867" y="466725"/>
                  </a:lnTo>
                  <a:lnTo>
                    <a:pt x="84772" y="461010"/>
                  </a:lnTo>
                  <a:lnTo>
                    <a:pt x="85725" y="441960"/>
                  </a:lnTo>
                  <a:lnTo>
                    <a:pt x="86678" y="436245"/>
                  </a:lnTo>
                  <a:lnTo>
                    <a:pt x="87630" y="431483"/>
                  </a:lnTo>
                  <a:lnTo>
                    <a:pt x="88582" y="428625"/>
                  </a:lnTo>
                  <a:lnTo>
                    <a:pt x="93345" y="422910"/>
                  </a:lnTo>
                  <a:lnTo>
                    <a:pt x="97155" y="419100"/>
                  </a:lnTo>
                  <a:lnTo>
                    <a:pt x="99060" y="415290"/>
                  </a:lnTo>
                  <a:lnTo>
                    <a:pt x="101917" y="410528"/>
                  </a:lnTo>
                  <a:lnTo>
                    <a:pt x="108585" y="389573"/>
                  </a:lnTo>
                  <a:lnTo>
                    <a:pt x="111442" y="384810"/>
                  </a:lnTo>
                  <a:lnTo>
                    <a:pt x="113347" y="382905"/>
                  </a:lnTo>
                  <a:lnTo>
                    <a:pt x="125730" y="375285"/>
                  </a:lnTo>
                  <a:lnTo>
                    <a:pt x="128588" y="372428"/>
                  </a:lnTo>
                  <a:lnTo>
                    <a:pt x="131445" y="368617"/>
                  </a:lnTo>
                  <a:lnTo>
                    <a:pt x="135255" y="359092"/>
                  </a:lnTo>
                  <a:lnTo>
                    <a:pt x="137160" y="353378"/>
                  </a:lnTo>
                  <a:lnTo>
                    <a:pt x="138113" y="348615"/>
                  </a:lnTo>
                  <a:lnTo>
                    <a:pt x="138113" y="344805"/>
                  </a:lnTo>
                  <a:lnTo>
                    <a:pt x="137160" y="340042"/>
                  </a:lnTo>
                  <a:lnTo>
                    <a:pt x="136207" y="336233"/>
                  </a:lnTo>
                  <a:lnTo>
                    <a:pt x="119063" y="300038"/>
                  </a:lnTo>
                  <a:lnTo>
                    <a:pt x="118110" y="296228"/>
                  </a:lnTo>
                  <a:lnTo>
                    <a:pt x="119063" y="294323"/>
                  </a:lnTo>
                  <a:lnTo>
                    <a:pt x="120967" y="292417"/>
                  </a:lnTo>
                  <a:lnTo>
                    <a:pt x="150495" y="285750"/>
                  </a:lnTo>
                  <a:lnTo>
                    <a:pt x="155257" y="282892"/>
                  </a:lnTo>
                  <a:lnTo>
                    <a:pt x="160972" y="277178"/>
                  </a:lnTo>
                  <a:lnTo>
                    <a:pt x="163830" y="270510"/>
                  </a:lnTo>
                  <a:lnTo>
                    <a:pt x="167640" y="262890"/>
                  </a:lnTo>
                  <a:lnTo>
                    <a:pt x="168592" y="258127"/>
                  </a:lnTo>
                  <a:lnTo>
                    <a:pt x="168592" y="254317"/>
                  </a:lnTo>
                  <a:lnTo>
                    <a:pt x="165735" y="249555"/>
                  </a:lnTo>
                  <a:lnTo>
                    <a:pt x="157163" y="241935"/>
                  </a:lnTo>
                  <a:lnTo>
                    <a:pt x="156210" y="234315"/>
                  </a:lnTo>
                  <a:lnTo>
                    <a:pt x="156210" y="223838"/>
                  </a:lnTo>
                  <a:lnTo>
                    <a:pt x="161925" y="186690"/>
                  </a:lnTo>
                  <a:lnTo>
                    <a:pt x="163830" y="180023"/>
                  </a:lnTo>
                  <a:lnTo>
                    <a:pt x="164782" y="178117"/>
                  </a:lnTo>
                  <a:lnTo>
                    <a:pt x="167640" y="177165"/>
                  </a:lnTo>
                  <a:lnTo>
                    <a:pt x="170497" y="178117"/>
                  </a:lnTo>
                  <a:lnTo>
                    <a:pt x="172403" y="179070"/>
                  </a:lnTo>
                  <a:lnTo>
                    <a:pt x="176213" y="182880"/>
                  </a:lnTo>
                  <a:lnTo>
                    <a:pt x="179070" y="187642"/>
                  </a:lnTo>
                  <a:lnTo>
                    <a:pt x="181928" y="196215"/>
                  </a:lnTo>
                  <a:lnTo>
                    <a:pt x="185738" y="200977"/>
                  </a:lnTo>
                  <a:lnTo>
                    <a:pt x="206692" y="219075"/>
                  </a:lnTo>
                  <a:lnTo>
                    <a:pt x="208597" y="220980"/>
                  </a:lnTo>
                  <a:lnTo>
                    <a:pt x="211455" y="220980"/>
                  </a:lnTo>
                  <a:lnTo>
                    <a:pt x="215265" y="220980"/>
                  </a:lnTo>
                  <a:lnTo>
                    <a:pt x="216217" y="218123"/>
                  </a:lnTo>
                  <a:lnTo>
                    <a:pt x="217170" y="215265"/>
                  </a:lnTo>
                  <a:lnTo>
                    <a:pt x="217170" y="211455"/>
                  </a:lnTo>
                  <a:lnTo>
                    <a:pt x="215265" y="206692"/>
                  </a:lnTo>
                  <a:lnTo>
                    <a:pt x="212407" y="201930"/>
                  </a:lnTo>
                  <a:lnTo>
                    <a:pt x="203835" y="193358"/>
                  </a:lnTo>
                  <a:lnTo>
                    <a:pt x="202882" y="188595"/>
                  </a:lnTo>
                  <a:lnTo>
                    <a:pt x="201930" y="181927"/>
                  </a:lnTo>
                  <a:lnTo>
                    <a:pt x="203835" y="165735"/>
                  </a:lnTo>
                  <a:lnTo>
                    <a:pt x="205740" y="158115"/>
                  </a:lnTo>
                  <a:lnTo>
                    <a:pt x="207645" y="152400"/>
                  </a:lnTo>
                  <a:lnTo>
                    <a:pt x="209550" y="151448"/>
                  </a:lnTo>
                  <a:lnTo>
                    <a:pt x="214313" y="148590"/>
                  </a:lnTo>
                  <a:lnTo>
                    <a:pt x="220028" y="146685"/>
                  </a:lnTo>
                  <a:lnTo>
                    <a:pt x="232410" y="140017"/>
                  </a:lnTo>
                  <a:lnTo>
                    <a:pt x="249555" y="137160"/>
                  </a:lnTo>
                  <a:lnTo>
                    <a:pt x="252413" y="141923"/>
                  </a:lnTo>
                  <a:lnTo>
                    <a:pt x="259080" y="149542"/>
                  </a:lnTo>
                  <a:lnTo>
                    <a:pt x="267653" y="157163"/>
                  </a:lnTo>
                  <a:lnTo>
                    <a:pt x="275272" y="160020"/>
                  </a:lnTo>
                  <a:lnTo>
                    <a:pt x="283845" y="159067"/>
                  </a:lnTo>
                  <a:lnTo>
                    <a:pt x="289560" y="153352"/>
                  </a:lnTo>
                  <a:lnTo>
                    <a:pt x="313372" y="120015"/>
                  </a:lnTo>
                  <a:lnTo>
                    <a:pt x="316230" y="114300"/>
                  </a:lnTo>
                  <a:lnTo>
                    <a:pt x="319088" y="102870"/>
                  </a:lnTo>
                  <a:lnTo>
                    <a:pt x="318135" y="94298"/>
                  </a:lnTo>
                  <a:lnTo>
                    <a:pt x="317182" y="84773"/>
                  </a:lnTo>
                  <a:lnTo>
                    <a:pt x="317182" y="74295"/>
                  </a:lnTo>
                  <a:lnTo>
                    <a:pt x="320040" y="57150"/>
                  </a:lnTo>
                  <a:lnTo>
                    <a:pt x="326707" y="42863"/>
                  </a:lnTo>
                  <a:lnTo>
                    <a:pt x="337185" y="33338"/>
                  </a:lnTo>
                  <a:lnTo>
                    <a:pt x="348615" y="31433"/>
                  </a:lnTo>
                  <a:lnTo>
                    <a:pt x="360045" y="37148"/>
                  </a:lnTo>
                  <a:lnTo>
                    <a:pt x="392430" y="72390"/>
                  </a:lnTo>
                  <a:lnTo>
                    <a:pt x="401955" y="78105"/>
                  </a:lnTo>
                  <a:lnTo>
                    <a:pt x="411480" y="80010"/>
                  </a:lnTo>
                  <a:lnTo>
                    <a:pt x="462915" y="80010"/>
                  </a:lnTo>
                  <a:lnTo>
                    <a:pt x="473392" y="76200"/>
                  </a:lnTo>
                  <a:lnTo>
                    <a:pt x="485775" y="64770"/>
                  </a:lnTo>
                  <a:lnTo>
                    <a:pt x="502920" y="32385"/>
                  </a:lnTo>
                  <a:lnTo>
                    <a:pt x="513397" y="16192"/>
                  </a:lnTo>
                  <a:lnTo>
                    <a:pt x="524828" y="5715"/>
                  </a:lnTo>
                  <a:lnTo>
                    <a:pt x="536257" y="0"/>
                  </a:lnTo>
                  <a:lnTo>
                    <a:pt x="547688" y="952"/>
                  </a:lnTo>
                  <a:lnTo>
                    <a:pt x="555307" y="9525"/>
                  </a:lnTo>
                  <a:lnTo>
                    <a:pt x="557213" y="18098"/>
                  </a:lnTo>
                  <a:lnTo>
                    <a:pt x="557213" y="25717"/>
                  </a:lnTo>
                  <a:lnTo>
                    <a:pt x="557213" y="33338"/>
                  </a:lnTo>
                  <a:lnTo>
                    <a:pt x="561975" y="42863"/>
                  </a:lnTo>
                  <a:lnTo>
                    <a:pt x="568642" y="49530"/>
                  </a:lnTo>
                  <a:lnTo>
                    <a:pt x="582930" y="59055"/>
                  </a:lnTo>
                  <a:lnTo>
                    <a:pt x="589597" y="65723"/>
                  </a:lnTo>
                  <a:lnTo>
                    <a:pt x="593407" y="75248"/>
                  </a:lnTo>
                  <a:lnTo>
                    <a:pt x="599122" y="98108"/>
                  </a:lnTo>
                  <a:lnTo>
                    <a:pt x="601980" y="104775"/>
                  </a:lnTo>
                  <a:lnTo>
                    <a:pt x="608647" y="107633"/>
                  </a:lnTo>
                  <a:lnTo>
                    <a:pt x="615315" y="104775"/>
                  </a:lnTo>
                  <a:lnTo>
                    <a:pt x="629603" y="91440"/>
                  </a:lnTo>
                  <a:lnTo>
                    <a:pt x="655320" y="73342"/>
                  </a:lnTo>
                  <a:lnTo>
                    <a:pt x="669607" y="68580"/>
                  </a:lnTo>
                  <a:lnTo>
                    <a:pt x="683895" y="68580"/>
                  </a:lnTo>
                  <a:lnTo>
                    <a:pt x="730567" y="78105"/>
                  </a:lnTo>
                  <a:lnTo>
                    <a:pt x="744855" y="83820"/>
                  </a:lnTo>
                  <a:lnTo>
                    <a:pt x="748665" y="95250"/>
                  </a:lnTo>
                  <a:lnTo>
                    <a:pt x="750570" y="112395"/>
                  </a:lnTo>
                  <a:lnTo>
                    <a:pt x="758190" y="160020"/>
                  </a:lnTo>
                  <a:lnTo>
                    <a:pt x="762000" y="171450"/>
                  </a:lnTo>
                  <a:lnTo>
                    <a:pt x="766763" y="180975"/>
                  </a:lnTo>
                  <a:lnTo>
                    <a:pt x="776288" y="184785"/>
                  </a:lnTo>
                  <a:lnTo>
                    <a:pt x="783907" y="181927"/>
                  </a:lnTo>
                  <a:lnTo>
                    <a:pt x="790575" y="177165"/>
                  </a:lnTo>
                  <a:lnTo>
                    <a:pt x="797242" y="178117"/>
                  </a:lnTo>
                  <a:lnTo>
                    <a:pt x="801053" y="188595"/>
                  </a:lnTo>
                  <a:lnTo>
                    <a:pt x="804863" y="203835"/>
                  </a:lnTo>
                  <a:lnTo>
                    <a:pt x="810578" y="212408"/>
                  </a:lnTo>
                  <a:lnTo>
                    <a:pt x="820103" y="201930"/>
                  </a:lnTo>
                  <a:lnTo>
                    <a:pt x="822007" y="189548"/>
                  </a:lnTo>
                  <a:lnTo>
                    <a:pt x="821055" y="157163"/>
                  </a:lnTo>
                  <a:lnTo>
                    <a:pt x="822960" y="142875"/>
                  </a:lnTo>
                  <a:lnTo>
                    <a:pt x="833438" y="120015"/>
                  </a:lnTo>
                  <a:lnTo>
                    <a:pt x="847725" y="101917"/>
                  </a:lnTo>
                  <a:lnTo>
                    <a:pt x="864870" y="88583"/>
                  </a:lnTo>
                  <a:lnTo>
                    <a:pt x="881063" y="79058"/>
                  </a:lnTo>
                  <a:lnTo>
                    <a:pt x="897255" y="76200"/>
                  </a:lnTo>
                  <a:lnTo>
                    <a:pt x="929640" y="75248"/>
                  </a:lnTo>
                  <a:lnTo>
                    <a:pt x="942975" y="70485"/>
                  </a:lnTo>
                  <a:lnTo>
                    <a:pt x="953453" y="59055"/>
                  </a:lnTo>
                  <a:lnTo>
                    <a:pt x="965835" y="32385"/>
                  </a:lnTo>
                  <a:lnTo>
                    <a:pt x="976313" y="21908"/>
                  </a:lnTo>
                  <a:lnTo>
                    <a:pt x="986790" y="18098"/>
                  </a:lnTo>
                  <a:lnTo>
                    <a:pt x="997267" y="18098"/>
                  </a:lnTo>
                  <a:lnTo>
                    <a:pt x="1018222" y="22860"/>
                  </a:lnTo>
                  <a:lnTo>
                    <a:pt x="1031557" y="31433"/>
                  </a:lnTo>
                  <a:lnTo>
                    <a:pt x="1038225" y="41910"/>
                  </a:lnTo>
                  <a:lnTo>
                    <a:pt x="1048703" y="72390"/>
                  </a:lnTo>
                  <a:lnTo>
                    <a:pt x="1066800" y="99060"/>
                  </a:lnTo>
                  <a:lnTo>
                    <a:pt x="1072515" y="113348"/>
                  </a:lnTo>
                  <a:lnTo>
                    <a:pt x="1074420" y="135255"/>
                  </a:lnTo>
                  <a:lnTo>
                    <a:pt x="1069657" y="157163"/>
                  </a:lnTo>
                  <a:lnTo>
                    <a:pt x="1073467" y="166688"/>
                  </a:lnTo>
                  <a:lnTo>
                    <a:pt x="1082040" y="173355"/>
                  </a:lnTo>
                  <a:lnTo>
                    <a:pt x="1092517" y="185738"/>
                  </a:lnTo>
                  <a:lnTo>
                    <a:pt x="1099185" y="201930"/>
                  </a:lnTo>
                  <a:lnTo>
                    <a:pt x="1102995" y="220980"/>
                  </a:lnTo>
                  <a:lnTo>
                    <a:pt x="1109663" y="236220"/>
                  </a:lnTo>
                  <a:lnTo>
                    <a:pt x="1122045" y="242888"/>
                  </a:lnTo>
                  <a:lnTo>
                    <a:pt x="1132523" y="239077"/>
                  </a:lnTo>
                  <a:lnTo>
                    <a:pt x="1139190" y="23336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0" name="Полилиния: фигура 20">
              <a:extLst>
                <a:ext uri="{FF2B5EF4-FFF2-40B4-BE49-F238E27FC236}">
                  <a16:creationId xmlns:a16="http://schemas.microsoft.com/office/drawing/2014/main" id="{238F0A25-02A5-65F3-82AF-1701E2B9F085}"/>
                </a:ext>
              </a:extLst>
            </p:cNvPr>
            <p:cNvSpPr/>
            <p:nvPr/>
          </p:nvSpPr>
          <p:spPr>
            <a:xfrm>
              <a:off x="7041832" y="254318"/>
              <a:ext cx="1447800" cy="1895475"/>
            </a:xfrm>
            <a:custGeom>
              <a:avLst/>
              <a:gdLst>
                <a:gd name="connsiteX0" fmla="*/ 1451610 w 1447800"/>
                <a:gd name="connsiteY0" fmla="*/ 1704023 h 1895475"/>
                <a:gd name="connsiteX1" fmla="*/ 1450657 w 1447800"/>
                <a:gd name="connsiteY1" fmla="*/ 1708785 h 1895475"/>
                <a:gd name="connsiteX2" fmla="*/ 1448753 w 1447800"/>
                <a:gd name="connsiteY2" fmla="*/ 1715453 h 1895475"/>
                <a:gd name="connsiteX3" fmla="*/ 1445895 w 1447800"/>
                <a:gd name="connsiteY3" fmla="*/ 1721168 h 1895475"/>
                <a:gd name="connsiteX4" fmla="*/ 1443990 w 1447800"/>
                <a:gd name="connsiteY4" fmla="*/ 1723073 h 1895475"/>
                <a:gd name="connsiteX5" fmla="*/ 1440180 w 1447800"/>
                <a:gd name="connsiteY5" fmla="*/ 1724025 h 1895475"/>
                <a:gd name="connsiteX6" fmla="*/ 1435418 w 1447800"/>
                <a:gd name="connsiteY6" fmla="*/ 1724978 h 1895475"/>
                <a:gd name="connsiteX7" fmla="*/ 1426845 w 1447800"/>
                <a:gd name="connsiteY7" fmla="*/ 1725930 h 1895475"/>
                <a:gd name="connsiteX8" fmla="*/ 1417320 w 1447800"/>
                <a:gd name="connsiteY8" fmla="*/ 1724025 h 1895475"/>
                <a:gd name="connsiteX9" fmla="*/ 1400175 w 1447800"/>
                <a:gd name="connsiteY9" fmla="*/ 1719263 h 1895475"/>
                <a:gd name="connsiteX10" fmla="*/ 1396365 w 1447800"/>
                <a:gd name="connsiteY10" fmla="*/ 1720215 h 1895475"/>
                <a:gd name="connsiteX11" fmla="*/ 1390650 w 1447800"/>
                <a:gd name="connsiteY11" fmla="*/ 1721168 h 1895475"/>
                <a:gd name="connsiteX12" fmla="*/ 1383030 w 1447800"/>
                <a:gd name="connsiteY12" fmla="*/ 1724978 h 1895475"/>
                <a:gd name="connsiteX13" fmla="*/ 1366838 w 1447800"/>
                <a:gd name="connsiteY13" fmla="*/ 1726883 h 1895475"/>
                <a:gd name="connsiteX14" fmla="*/ 1350645 w 1447800"/>
                <a:gd name="connsiteY14" fmla="*/ 1723073 h 1895475"/>
                <a:gd name="connsiteX15" fmla="*/ 1347788 w 1447800"/>
                <a:gd name="connsiteY15" fmla="*/ 1724978 h 1895475"/>
                <a:gd name="connsiteX16" fmla="*/ 1347788 w 1447800"/>
                <a:gd name="connsiteY16" fmla="*/ 1728788 h 1895475"/>
                <a:gd name="connsiteX17" fmla="*/ 1348740 w 1447800"/>
                <a:gd name="connsiteY17" fmla="*/ 1730693 h 1895475"/>
                <a:gd name="connsiteX18" fmla="*/ 1352550 w 1447800"/>
                <a:gd name="connsiteY18" fmla="*/ 1735455 h 1895475"/>
                <a:gd name="connsiteX19" fmla="*/ 1354455 w 1447800"/>
                <a:gd name="connsiteY19" fmla="*/ 1737360 h 1895475"/>
                <a:gd name="connsiteX20" fmla="*/ 1353503 w 1447800"/>
                <a:gd name="connsiteY20" fmla="*/ 1739265 h 1895475"/>
                <a:gd name="connsiteX21" fmla="*/ 1351598 w 1447800"/>
                <a:gd name="connsiteY21" fmla="*/ 1740218 h 1895475"/>
                <a:gd name="connsiteX22" fmla="*/ 1346835 w 1447800"/>
                <a:gd name="connsiteY22" fmla="*/ 1739265 h 1895475"/>
                <a:gd name="connsiteX23" fmla="*/ 1310640 w 1447800"/>
                <a:gd name="connsiteY23" fmla="*/ 1716405 h 1895475"/>
                <a:gd name="connsiteX24" fmla="*/ 1304925 w 1447800"/>
                <a:gd name="connsiteY24" fmla="*/ 1713548 h 1895475"/>
                <a:gd name="connsiteX25" fmla="*/ 1302068 w 1447800"/>
                <a:gd name="connsiteY25" fmla="*/ 1712595 h 1895475"/>
                <a:gd name="connsiteX26" fmla="*/ 1299210 w 1447800"/>
                <a:gd name="connsiteY26" fmla="*/ 1712595 h 1895475"/>
                <a:gd name="connsiteX27" fmla="*/ 1296353 w 1447800"/>
                <a:gd name="connsiteY27" fmla="*/ 1714500 h 1895475"/>
                <a:gd name="connsiteX28" fmla="*/ 1293495 w 1447800"/>
                <a:gd name="connsiteY28" fmla="*/ 1716405 h 1895475"/>
                <a:gd name="connsiteX29" fmla="*/ 1292543 w 1447800"/>
                <a:gd name="connsiteY29" fmla="*/ 1721168 h 1895475"/>
                <a:gd name="connsiteX30" fmla="*/ 1292543 w 1447800"/>
                <a:gd name="connsiteY30" fmla="*/ 1724978 h 1895475"/>
                <a:gd name="connsiteX31" fmla="*/ 1292543 w 1447800"/>
                <a:gd name="connsiteY31" fmla="*/ 1737360 h 1895475"/>
                <a:gd name="connsiteX32" fmla="*/ 1292543 w 1447800"/>
                <a:gd name="connsiteY32" fmla="*/ 1741170 h 1895475"/>
                <a:gd name="connsiteX33" fmla="*/ 1291590 w 1447800"/>
                <a:gd name="connsiteY33" fmla="*/ 1744028 h 1895475"/>
                <a:gd name="connsiteX34" fmla="*/ 1289685 w 1447800"/>
                <a:gd name="connsiteY34" fmla="*/ 1745933 h 1895475"/>
                <a:gd name="connsiteX35" fmla="*/ 1286828 w 1447800"/>
                <a:gd name="connsiteY35" fmla="*/ 1746885 h 1895475"/>
                <a:gd name="connsiteX36" fmla="*/ 1283018 w 1447800"/>
                <a:gd name="connsiteY36" fmla="*/ 1746885 h 1895475"/>
                <a:gd name="connsiteX37" fmla="*/ 1279207 w 1447800"/>
                <a:gd name="connsiteY37" fmla="*/ 1744980 h 1895475"/>
                <a:gd name="connsiteX38" fmla="*/ 1266825 w 1447800"/>
                <a:gd name="connsiteY38" fmla="*/ 1737360 h 1895475"/>
                <a:gd name="connsiteX39" fmla="*/ 1263968 w 1447800"/>
                <a:gd name="connsiteY39" fmla="*/ 1736408 h 1895475"/>
                <a:gd name="connsiteX40" fmla="*/ 1260157 w 1447800"/>
                <a:gd name="connsiteY40" fmla="*/ 1737360 h 1895475"/>
                <a:gd name="connsiteX41" fmla="*/ 1255395 w 1447800"/>
                <a:gd name="connsiteY41" fmla="*/ 1739265 h 1895475"/>
                <a:gd name="connsiteX42" fmla="*/ 1248728 w 1447800"/>
                <a:gd name="connsiteY42" fmla="*/ 1745933 h 1895475"/>
                <a:gd name="connsiteX43" fmla="*/ 1247775 w 1447800"/>
                <a:gd name="connsiteY43" fmla="*/ 1749743 h 1895475"/>
                <a:gd name="connsiteX44" fmla="*/ 1247775 w 1447800"/>
                <a:gd name="connsiteY44" fmla="*/ 1752600 h 1895475"/>
                <a:gd name="connsiteX45" fmla="*/ 1250632 w 1447800"/>
                <a:gd name="connsiteY45" fmla="*/ 1756410 h 1895475"/>
                <a:gd name="connsiteX46" fmla="*/ 1250632 w 1447800"/>
                <a:gd name="connsiteY46" fmla="*/ 1758315 h 1895475"/>
                <a:gd name="connsiteX47" fmla="*/ 1249680 w 1447800"/>
                <a:gd name="connsiteY47" fmla="*/ 1760220 h 1895475"/>
                <a:gd name="connsiteX48" fmla="*/ 1246823 w 1447800"/>
                <a:gd name="connsiteY48" fmla="*/ 1762125 h 1895475"/>
                <a:gd name="connsiteX49" fmla="*/ 1243965 w 1447800"/>
                <a:gd name="connsiteY49" fmla="*/ 1762125 h 1895475"/>
                <a:gd name="connsiteX50" fmla="*/ 1227773 w 1447800"/>
                <a:gd name="connsiteY50" fmla="*/ 1758315 h 1895475"/>
                <a:gd name="connsiteX51" fmla="*/ 1225868 w 1447800"/>
                <a:gd name="connsiteY51" fmla="*/ 1759268 h 1895475"/>
                <a:gd name="connsiteX52" fmla="*/ 1223010 w 1447800"/>
                <a:gd name="connsiteY52" fmla="*/ 1761173 h 1895475"/>
                <a:gd name="connsiteX53" fmla="*/ 1219200 w 1447800"/>
                <a:gd name="connsiteY53" fmla="*/ 1766888 h 1895475"/>
                <a:gd name="connsiteX54" fmla="*/ 1218248 w 1447800"/>
                <a:gd name="connsiteY54" fmla="*/ 1769745 h 1895475"/>
                <a:gd name="connsiteX55" fmla="*/ 1217295 w 1447800"/>
                <a:gd name="connsiteY55" fmla="*/ 1773555 h 1895475"/>
                <a:gd name="connsiteX56" fmla="*/ 1220153 w 1447800"/>
                <a:gd name="connsiteY56" fmla="*/ 1781175 h 1895475"/>
                <a:gd name="connsiteX57" fmla="*/ 1221105 w 1447800"/>
                <a:gd name="connsiteY57" fmla="*/ 1786890 h 1895475"/>
                <a:gd name="connsiteX58" fmla="*/ 1220153 w 1447800"/>
                <a:gd name="connsiteY58" fmla="*/ 1789748 h 1895475"/>
                <a:gd name="connsiteX59" fmla="*/ 1218248 w 1447800"/>
                <a:gd name="connsiteY59" fmla="*/ 1791653 h 1895475"/>
                <a:gd name="connsiteX60" fmla="*/ 1213485 w 1447800"/>
                <a:gd name="connsiteY60" fmla="*/ 1793558 h 1895475"/>
                <a:gd name="connsiteX61" fmla="*/ 1195388 w 1447800"/>
                <a:gd name="connsiteY61" fmla="*/ 1797368 h 1895475"/>
                <a:gd name="connsiteX62" fmla="*/ 1188720 w 1447800"/>
                <a:gd name="connsiteY62" fmla="*/ 1796415 h 1895475"/>
                <a:gd name="connsiteX63" fmla="*/ 1184910 w 1447800"/>
                <a:gd name="connsiteY63" fmla="*/ 1795463 h 1895475"/>
                <a:gd name="connsiteX64" fmla="*/ 1182053 w 1447800"/>
                <a:gd name="connsiteY64" fmla="*/ 1793558 h 1895475"/>
                <a:gd name="connsiteX65" fmla="*/ 1171575 w 1447800"/>
                <a:gd name="connsiteY65" fmla="*/ 1787843 h 1895475"/>
                <a:gd name="connsiteX66" fmla="*/ 1164907 w 1447800"/>
                <a:gd name="connsiteY66" fmla="*/ 1786890 h 1895475"/>
                <a:gd name="connsiteX67" fmla="*/ 1158240 w 1447800"/>
                <a:gd name="connsiteY67" fmla="*/ 1785938 h 1895475"/>
                <a:gd name="connsiteX68" fmla="*/ 1153478 w 1447800"/>
                <a:gd name="connsiteY68" fmla="*/ 1787843 h 1895475"/>
                <a:gd name="connsiteX69" fmla="*/ 1149668 w 1447800"/>
                <a:gd name="connsiteY69" fmla="*/ 1790700 h 1895475"/>
                <a:gd name="connsiteX70" fmla="*/ 1143953 w 1447800"/>
                <a:gd name="connsiteY70" fmla="*/ 1798320 h 1895475"/>
                <a:gd name="connsiteX71" fmla="*/ 1141095 w 1447800"/>
                <a:gd name="connsiteY71" fmla="*/ 1803083 h 1895475"/>
                <a:gd name="connsiteX72" fmla="*/ 1139190 w 1447800"/>
                <a:gd name="connsiteY72" fmla="*/ 1806893 h 1895475"/>
                <a:gd name="connsiteX73" fmla="*/ 1137285 w 1447800"/>
                <a:gd name="connsiteY73" fmla="*/ 1814513 h 1895475"/>
                <a:gd name="connsiteX74" fmla="*/ 1135380 w 1447800"/>
                <a:gd name="connsiteY74" fmla="*/ 1816418 h 1895475"/>
                <a:gd name="connsiteX75" fmla="*/ 1133475 w 1447800"/>
                <a:gd name="connsiteY75" fmla="*/ 1817370 h 1895475"/>
                <a:gd name="connsiteX76" fmla="*/ 1129665 w 1447800"/>
                <a:gd name="connsiteY76" fmla="*/ 1816418 h 1895475"/>
                <a:gd name="connsiteX77" fmla="*/ 1122045 w 1447800"/>
                <a:gd name="connsiteY77" fmla="*/ 1810703 h 1895475"/>
                <a:gd name="connsiteX78" fmla="*/ 1118235 w 1447800"/>
                <a:gd name="connsiteY78" fmla="*/ 1811655 h 1895475"/>
                <a:gd name="connsiteX79" fmla="*/ 1113473 w 1447800"/>
                <a:gd name="connsiteY79" fmla="*/ 1815465 h 1895475"/>
                <a:gd name="connsiteX80" fmla="*/ 1105853 w 1447800"/>
                <a:gd name="connsiteY80" fmla="*/ 1824990 h 1895475"/>
                <a:gd name="connsiteX81" fmla="*/ 1104900 w 1447800"/>
                <a:gd name="connsiteY81" fmla="*/ 1829753 h 1895475"/>
                <a:gd name="connsiteX82" fmla="*/ 1104900 w 1447800"/>
                <a:gd name="connsiteY82" fmla="*/ 1833563 h 1895475"/>
                <a:gd name="connsiteX83" fmla="*/ 1105853 w 1447800"/>
                <a:gd name="connsiteY83" fmla="*/ 1838325 h 1895475"/>
                <a:gd name="connsiteX84" fmla="*/ 1103948 w 1447800"/>
                <a:gd name="connsiteY84" fmla="*/ 1844040 h 1895475"/>
                <a:gd name="connsiteX85" fmla="*/ 1102043 w 1447800"/>
                <a:gd name="connsiteY85" fmla="*/ 1846898 h 1895475"/>
                <a:gd name="connsiteX86" fmla="*/ 1099185 w 1447800"/>
                <a:gd name="connsiteY86" fmla="*/ 1847850 h 1895475"/>
                <a:gd name="connsiteX87" fmla="*/ 1094423 w 1447800"/>
                <a:gd name="connsiteY87" fmla="*/ 1845945 h 1895475"/>
                <a:gd name="connsiteX88" fmla="*/ 1088707 w 1447800"/>
                <a:gd name="connsiteY88" fmla="*/ 1843088 h 1895475"/>
                <a:gd name="connsiteX89" fmla="*/ 1082040 w 1447800"/>
                <a:gd name="connsiteY89" fmla="*/ 1837373 h 1895475"/>
                <a:gd name="connsiteX90" fmla="*/ 1078230 w 1447800"/>
                <a:gd name="connsiteY90" fmla="*/ 1833563 h 1895475"/>
                <a:gd name="connsiteX91" fmla="*/ 1075373 w 1447800"/>
                <a:gd name="connsiteY91" fmla="*/ 1829753 h 1895475"/>
                <a:gd name="connsiteX92" fmla="*/ 1073468 w 1447800"/>
                <a:gd name="connsiteY92" fmla="*/ 1829753 h 1895475"/>
                <a:gd name="connsiteX93" fmla="*/ 1070610 w 1447800"/>
                <a:gd name="connsiteY93" fmla="*/ 1831658 h 1895475"/>
                <a:gd name="connsiteX94" fmla="*/ 1065848 w 1447800"/>
                <a:gd name="connsiteY94" fmla="*/ 1843088 h 1895475"/>
                <a:gd name="connsiteX95" fmla="*/ 1063943 w 1447800"/>
                <a:gd name="connsiteY95" fmla="*/ 1850708 h 1895475"/>
                <a:gd name="connsiteX96" fmla="*/ 1057275 w 1447800"/>
                <a:gd name="connsiteY96" fmla="*/ 1857375 h 1895475"/>
                <a:gd name="connsiteX97" fmla="*/ 1038225 w 1447800"/>
                <a:gd name="connsiteY97" fmla="*/ 1867853 h 1895475"/>
                <a:gd name="connsiteX98" fmla="*/ 988695 w 1447800"/>
                <a:gd name="connsiteY98" fmla="*/ 1856423 h 1895475"/>
                <a:gd name="connsiteX99" fmla="*/ 974407 w 1447800"/>
                <a:gd name="connsiteY99" fmla="*/ 1858328 h 1895475"/>
                <a:gd name="connsiteX100" fmla="*/ 961073 w 1447800"/>
                <a:gd name="connsiteY100" fmla="*/ 1869758 h 1895475"/>
                <a:gd name="connsiteX101" fmla="*/ 951548 w 1447800"/>
                <a:gd name="connsiteY101" fmla="*/ 1874520 h 1895475"/>
                <a:gd name="connsiteX102" fmla="*/ 948690 w 1447800"/>
                <a:gd name="connsiteY102" fmla="*/ 1874520 h 1895475"/>
                <a:gd name="connsiteX103" fmla="*/ 944880 w 1447800"/>
                <a:gd name="connsiteY103" fmla="*/ 1872615 h 1895475"/>
                <a:gd name="connsiteX104" fmla="*/ 937260 w 1447800"/>
                <a:gd name="connsiteY104" fmla="*/ 1865948 h 1895475"/>
                <a:gd name="connsiteX105" fmla="*/ 933450 w 1447800"/>
                <a:gd name="connsiteY105" fmla="*/ 1864043 h 1895475"/>
                <a:gd name="connsiteX106" fmla="*/ 930593 w 1447800"/>
                <a:gd name="connsiteY106" fmla="*/ 1864043 h 1895475"/>
                <a:gd name="connsiteX107" fmla="*/ 926782 w 1447800"/>
                <a:gd name="connsiteY107" fmla="*/ 1865948 h 1895475"/>
                <a:gd name="connsiteX108" fmla="*/ 924878 w 1447800"/>
                <a:gd name="connsiteY108" fmla="*/ 1868805 h 1895475"/>
                <a:gd name="connsiteX109" fmla="*/ 922973 w 1447800"/>
                <a:gd name="connsiteY109" fmla="*/ 1871663 h 1895475"/>
                <a:gd name="connsiteX110" fmla="*/ 922020 w 1447800"/>
                <a:gd name="connsiteY110" fmla="*/ 1879283 h 1895475"/>
                <a:gd name="connsiteX111" fmla="*/ 920115 w 1447800"/>
                <a:gd name="connsiteY111" fmla="*/ 1884998 h 1895475"/>
                <a:gd name="connsiteX112" fmla="*/ 918210 w 1447800"/>
                <a:gd name="connsiteY112" fmla="*/ 1887855 h 1895475"/>
                <a:gd name="connsiteX113" fmla="*/ 914400 w 1447800"/>
                <a:gd name="connsiteY113" fmla="*/ 1891665 h 1895475"/>
                <a:gd name="connsiteX114" fmla="*/ 912495 w 1447800"/>
                <a:gd name="connsiteY114" fmla="*/ 1892618 h 1895475"/>
                <a:gd name="connsiteX115" fmla="*/ 893445 w 1447800"/>
                <a:gd name="connsiteY115" fmla="*/ 1893570 h 1895475"/>
                <a:gd name="connsiteX116" fmla="*/ 842010 w 1447800"/>
                <a:gd name="connsiteY116" fmla="*/ 1885950 h 1895475"/>
                <a:gd name="connsiteX117" fmla="*/ 833438 w 1447800"/>
                <a:gd name="connsiteY117" fmla="*/ 1886903 h 1895475"/>
                <a:gd name="connsiteX118" fmla="*/ 823913 w 1447800"/>
                <a:gd name="connsiteY118" fmla="*/ 1890713 h 1895475"/>
                <a:gd name="connsiteX119" fmla="*/ 821055 w 1447800"/>
                <a:gd name="connsiteY119" fmla="*/ 1892618 h 1895475"/>
                <a:gd name="connsiteX120" fmla="*/ 813435 w 1447800"/>
                <a:gd name="connsiteY120" fmla="*/ 1899285 h 1895475"/>
                <a:gd name="connsiteX121" fmla="*/ 811530 w 1447800"/>
                <a:gd name="connsiteY121" fmla="*/ 1899285 h 1895475"/>
                <a:gd name="connsiteX122" fmla="*/ 808673 w 1447800"/>
                <a:gd name="connsiteY122" fmla="*/ 1899285 h 1895475"/>
                <a:gd name="connsiteX123" fmla="*/ 807720 w 1447800"/>
                <a:gd name="connsiteY123" fmla="*/ 1894523 h 1895475"/>
                <a:gd name="connsiteX124" fmla="*/ 807720 w 1447800"/>
                <a:gd name="connsiteY124" fmla="*/ 1887855 h 1895475"/>
                <a:gd name="connsiteX125" fmla="*/ 807720 w 1447800"/>
                <a:gd name="connsiteY125" fmla="*/ 1884045 h 1895475"/>
                <a:gd name="connsiteX126" fmla="*/ 805815 w 1447800"/>
                <a:gd name="connsiteY126" fmla="*/ 1881188 h 1895475"/>
                <a:gd name="connsiteX127" fmla="*/ 801053 w 1447800"/>
                <a:gd name="connsiteY127" fmla="*/ 1875473 h 1895475"/>
                <a:gd name="connsiteX128" fmla="*/ 800100 w 1447800"/>
                <a:gd name="connsiteY128" fmla="*/ 1870710 h 1895475"/>
                <a:gd name="connsiteX129" fmla="*/ 800100 w 1447800"/>
                <a:gd name="connsiteY129" fmla="*/ 1866900 h 1895475"/>
                <a:gd name="connsiteX130" fmla="*/ 801053 w 1447800"/>
                <a:gd name="connsiteY130" fmla="*/ 1856423 h 1895475"/>
                <a:gd name="connsiteX131" fmla="*/ 802957 w 1447800"/>
                <a:gd name="connsiteY131" fmla="*/ 1853565 h 1895475"/>
                <a:gd name="connsiteX132" fmla="*/ 804863 w 1447800"/>
                <a:gd name="connsiteY132" fmla="*/ 1852613 h 1895475"/>
                <a:gd name="connsiteX133" fmla="*/ 816293 w 1447800"/>
                <a:gd name="connsiteY133" fmla="*/ 1850708 h 1895475"/>
                <a:gd name="connsiteX134" fmla="*/ 821055 w 1447800"/>
                <a:gd name="connsiteY134" fmla="*/ 1848803 h 1895475"/>
                <a:gd name="connsiteX135" fmla="*/ 824865 w 1447800"/>
                <a:gd name="connsiteY135" fmla="*/ 1844040 h 1895475"/>
                <a:gd name="connsiteX136" fmla="*/ 826770 w 1447800"/>
                <a:gd name="connsiteY136" fmla="*/ 1837373 h 1895475"/>
                <a:gd name="connsiteX137" fmla="*/ 826770 w 1447800"/>
                <a:gd name="connsiteY137" fmla="*/ 1830705 h 1895475"/>
                <a:gd name="connsiteX138" fmla="*/ 825818 w 1447800"/>
                <a:gd name="connsiteY138" fmla="*/ 1824990 h 1895475"/>
                <a:gd name="connsiteX139" fmla="*/ 823913 w 1447800"/>
                <a:gd name="connsiteY139" fmla="*/ 1820228 h 1895475"/>
                <a:gd name="connsiteX140" fmla="*/ 820103 w 1447800"/>
                <a:gd name="connsiteY140" fmla="*/ 1816418 h 1895475"/>
                <a:gd name="connsiteX141" fmla="*/ 801053 w 1447800"/>
                <a:gd name="connsiteY141" fmla="*/ 1802130 h 1895475"/>
                <a:gd name="connsiteX142" fmla="*/ 798195 w 1447800"/>
                <a:gd name="connsiteY142" fmla="*/ 1797368 h 1895475"/>
                <a:gd name="connsiteX143" fmla="*/ 796290 w 1447800"/>
                <a:gd name="connsiteY143" fmla="*/ 1793558 h 1895475"/>
                <a:gd name="connsiteX144" fmla="*/ 796290 w 1447800"/>
                <a:gd name="connsiteY144" fmla="*/ 1790700 h 1895475"/>
                <a:gd name="connsiteX145" fmla="*/ 794385 w 1447800"/>
                <a:gd name="connsiteY145" fmla="*/ 1787843 h 1895475"/>
                <a:gd name="connsiteX146" fmla="*/ 789623 w 1447800"/>
                <a:gd name="connsiteY146" fmla="*/ 1783080 h 1895475"/>
                <a:gd name="connsiteX147" fmla="*/ 787718 w 1447800"/>
                <a:gd name="connsiteY147" fmla="*/ 1780223 h 1895475"/>
                <a:gd name="connsiteX148" fmla="*/ 787718 w 1447800"/>
                <a:gd name="connsiteY148" fmla="*/ 1777365 h 1895475"/>
                <a:gd name="connsiteX149" fmla="*/ 786765 w 1447800"/>
                <a:gd name="connsiteY149" fmla="*/ 1771650 h 1895475"/>
                <a:gd name="connsiteX150" fmla="*/ 786765 w 1447800"/>
                <a:gd name="connsiteY150" fmla="*/ 1768793 h 1895475"/>
                <a:gd name="connsiteX151" fmla="*/ 783907 w 1447800"/>
                <a:gd name="connsiteY151" fmla="*/ 1764030 h 1895475"/>
                <a:gd name="connsiteX152" fmla="*/ 781050 w 1447800"/>
                <a:gd name="connsiteY152" fmla="*/ 1762125 h 1895475"/>
                <a:gd name="connsiteX153" fmla="*/ 777240 w 1447800"/>
                <a:gd name="connsiteY153" fmla="*/ 1761173 h 1895475"/>
                <a:gd name="connsiteX154" fmla="*/ 771525 w 1447800"/>
                <a:gd name="connsiteY154" fmla="*/ 1763078 h 1895475"/>
                <a:gd name="connsiteX155" fmla="*/ 768668 w 1447800"/>
                <a:gd name="connsiteY155" fmla="*/ 1764983 h 1895475"/>
                <a:gd name="connsiteX156" fmla="*/ 764857 w 1447800"/>
                <a:gd name="connsiteY156" fmla="*/ 1770698 h 1895475"/>
                <a:gd name="connsiteX157" fmla="*/ 762953 w 1447800"/>
                <a:gd name="connsiteY157" fmla="*/ 1771650 h 1895475"/>
                <a:gd name="connsiteX158" fmla="*/ 760095 w 1447800"/>
                <a:gd name="connsiteY158" fmla="*/ 1770698 h 1895475"/>
                <a:gd name="connsiteX159" fmla="*/ 756285 w 1447800"/>
                <a:gd name="connsiteY159" fmla="*/ 1766888 h 1895475"/>
                <a:gd name="connsiteX160" fmla="*/ 753428 w 1447800"/>
                <a:gd name="connsiteY160" fmla="*/ 1763078 h 1895475"/>
                <a:gd name="connsiteX161" fmla="*/ 752475 w 1447800"/>
                <a:gd name="connsiteY161" fmla="*/ 1760220 h 1895475"/>
                <a:gd name="connsiteX162" fmla="*/ 751523 w 1447800"/>
                <a:gd name="connsiteY162" fmla="*/ 1754505 h 1895475"/>
                <a:gd name="connsiteX163" fmla="*/ 749618 w 1447800"/>
                <a:gd name="connsiteY163" fmla="*/ 1732598 h 1895475"/>
                <a:gd name="connsiteX164" fmla="*/ 750570 w 1447800"/>
                <a:gd name="connsiteY164" fmla="*/ 1726883 h 1895475"/>
                <a:gd name="connsiteX165" fmla="*/ 752475 w 1447800"/>
                <a:gd name="connsiteY165" fmla="*/ 1720215 h 1895475"/>
                <a:gd name="connsiteX166" fmla="*/ 757238 w 1447800"/>
                <a:gd name="connsiteY166" fmla="*/ 1711643 h 1895475"/>
                <a:gd name="connsiteX167" fmla="*/ 758190 w 1447800"/>
                <a:gd name="connsiteY167" fmla="*/ 1705928 h 1895475"/>
                <a:gd name="connsiteX168" fmla="*/ 757238 w 1447800"/>
                <a:gd name="connsiteY168" fmla="*/ 1700213 h 1895475"/>
                <a:gd name="connsiteX169" fmla="*/ 755332 w 1447800"/>
                <a:gd name="connsiteY169" fmla="*/ 1695450 h 1895475"/>
                <a:gd name="connsiteX170" fmla="*/ 752475 w 1447800"/>
                <a:gd name="connsiteY170" fmla="*/ 1690688 h 1895475"/>
                <a:gd name="connsiteX171" fmla="*/ 748665 w 1447800"/>
                <a:gd name="connsiteY171" fmla="*/ 1686878 h 1895475"/>
                <a:gd name="connsiteX172" fmla="*/ 725805 w 1447800"/>
                <a:gd name="connsiteY172" fmla="*/ 1666875 h 1895475"/>
                <a:gd name="connsiteX173" fmla="*/ 707707 w 1447800"/>
                <a:gd name="connsiteY173" fmla="*/ 1645920 h 1895475"/>
                <a:gd name="connsiteX174" fmla="*/ 695325 w 1447800"/>
                <a:gd name="connsiteY174" fmla="*/ 1628775 h 1895475"/>
                <a:gd name="connsiteX175" fmla="*/ 693420 w 1447800"/>
                <a:gd name="connsiteY175" fmla="*/ 1623060 h 1895475"/>
                <a:gd name="connsiteX176" fmla="*/ 691515 w 1447800"/>
                <a:gd name="connsiteY176" fmla="*/ 1618298 h 1895475"/>
                <a:gd name="connsiteX177" fmla="*/ 691515 w 1447800"/>
                <a:gd name="connsiteY177" fmla="*/ 1612583 h 1895475"/>
                <a:gd name="connsiteX178" fmla="*/ 690563 w 1447800"/>
                <a:gd name="connsiteY178" fmla="*/ 1570673 h 1895475"/>
                <a:gd name="connsiteX179" fmla="*/ 692468 w 1447800"/>
                <a:gd name="connsiteY179" fmla="*/ 1553528 h 1895475"/>
                <a:gd name="connsiteX180" fmla="*/ 692468 w 1447800"/>
                <a:gd name="connsiteY180" fmla="*/ 1550670 h 1895475"/>
                <a:gd name="connsiteX181" fmla="*/ 690563 w 1447800"/>
                <a:gd name="connsiteY181" fmla="*/ 1548765 h 1895475"/>
                <a:gd name="connsiteX182" fmla="*/ 688657 w 1447800"/>
                <a:gd name="connsiteY182" fmla="*/ 1546860 h 1895475"/>
                <a:gd name="connsiteX183" fmla="*/ 671513 w 1447800"/>
                <a:gd name="connsiteY183" fmla="*/ 1540193 h 1895475"/>
                <a:gd name="connsiteX184" fmla="*/ 667703 w 1447800"/>
                <a:gd name="connsiteY184" fmla="*/ 1540193 h 1895475"/>
                <a:gd name="connsiteX185" fmla="*/ 665798 w 1447800"/>
                <a:gd name="connsiteY185" fmla="*/ 1543050 h 1895475"/>
                <a:gd name="connsiteX186" fmla="*/ 664845 w 1447800"/>
                <a:gd name="connsiteY186" fmla="*/ 1546860 h 1895475"/>
                <a:gd name="connsiteX187" fmla="*/ 661988 w 1447800"/>
                <a:gd name="connsiteY187" fmla="*/ 1549718 h 1895475"/>
                <a:gd name="connsiteX188" fmla="*/ 657225 w 1447800"/>
                <a:gd name="connsiteY188" fmla="*/ 1552575 h 1895475"/>
                <a:gd name="connsiteX189" fmla="*/ 645795 w 1447800"/>
                <a:gd name="connsiteY189" fmla="*/ 1554480 h 1895475"/>
                <a:gd name="connsiteX190" fmla="*/ 641032 w 1447800"/>
                <a:gd name="connsiteY190" fmla="*/ 1557338 h 1895475"/>
                <a:gd name="connsiteX191" fmla="*/ 638175 w 1447800"/>
                <a:gd name="connsiteY191" fmla="*/ 1560195 h 1895475"/>
                <a:gd name="connsiteX192" fmla="*/ 634365 w 1447800"/>
                <a:gd name="connsiteY192" fmla="*/ 1561148 h 1895475"/>
                <a:gd name="connsiteX193" fmla="*/ 622935 w 1447800"/>
                <a:gd name="connsiteY193" fmla="*/ 1564005 h 1895475"/>
                <a:gd name="connsiteX194" fmla="*/ 621030 w 1447800"/>
                <a:gd name="connsiteY194" fmla="*/ 1565910 h 1895475"/>
                <a:gd name="connsiteX195" fmla="*/ 620078 w 1447800"/>
                <a:gd name="connsiteY195" fmla="*/ 1568768 h 1895475"/>
                <a:gd name="connsiteX196" fmla="*/ 621030 w 1447800"/>
                <a:gd name="connsiteY196" fmla="*/ 1574483 h 1895475"/>
                <a:gd name="connsiteX197" fmla="*/ 621030 w 1447800"/>
                <a:gd name="connsiteY197" fmla="*/ 1578293 h 1895475"/>
                <a:gd name="connsiteX198" fmla="*/ 619125 w 1447800"/>
                <a:gd name="connsiteY198" fmla="*/ 1580198 h 1895475"/>
                <a:gd name="connsiteX199" fmla="*/ 616268 w 1447800"/>
                <a:gd name="connsiteY199" fmla="*/ 1581150 h 1895475"/>
                <a:gd name="connsiteX200" fmla="*/ 604838 w 1447800"/>
                <a:gd name="connsiteY200" fmla="*/ 1578293 h 1895475"/>
                <a:gd name="connsiteX201" fmla="*/ 601028 w 1447800"/>
                <a:gd name="connsiteY201" fmla="*/ 1577340 h 1895475"/>
                <a:gd name="connsiteX202" fmla="*/ 596265 w 1447800"/>
                <a:gd name="connsiteY202" fmla="*/ 1579245 h 1895475"/>
                <a:gd name="connsiteX203" fmla="*/ 593407 w 1447800"/>
                <a:gd name="connsiteY203" fmla="*/ 1582103 h 1895475"/>
                <a:gd name="connsiteX204" fmla="*/ 591503 w 1447800"/>
                <a:gd name="connsiteY204" fmla="*/ 1584008 h 1895475"/>
                <a:gd name="connsiteX205" fmla="*/ 590550 w 1447800"/>
                <a:gd name="connsiteY205" fmla="*/ 1586865 h 1895475"/>
                <a:gd name="connsiteX206" fmla="*/ 591503 w 1447800"/>
                <a:gd name="connsiteY206" fmla="*/ 1595438 h 1895475"/>
                <a:gd name="connsiteX207" fmla="*/ 590550 w 1447800"/>
                <a:gd name="connsiteY207" fmla="*/ 1598295 h 1895475"/>
                <a:gd name="connsiteX208" fmla="*/ 587693 w 1447800"/>
                <a:gd name="connsiteY208" fmla="*/ 1599248 h 1895475"/>
                <a:gd name="connsiteX209" fmla="*/ 583882 w 1447800"/>
                <a:gd name="connsiteY209" fmla="*/ 1599248 h 1895475"/>
                <a:gd name="connsiteX210" fmla="*/ 543878 w 1447800"/>
                <a:gd name="connsiteY210" fmla="*/ 1581150 h 1895475"/>
                <a:gd name="connsiteX211" fmla="*/ 526732 w 1447800"/>
                <a:gd name="connsiteY211" fmla="*/ 1566863 h 1895475"/>
                <a:gd name="connsiteX212" fmla="*/ 519113 w 1447800"/>
                <a:gd name="connsiteY212" fmla="*/ 1559243 h 1895475"/>
                <a:gd name="connsiteX213" fmla="*/ 513398 w 1447800"/>
                <a:gd name="connsiteY213" fmla="*/ 1549718 h 1895475"/>
                <a:gd name="connsiteX214" fmla="*/ 510540 w 1447800"/>
                <a:gd name="connsiteY214" fmla="*/ 1548765 h 1895475"/>
                <a:gd name="connsiteX215" fmla="*/ 505778 w 1447800"/>
                <a:gd name="connsiteY215" fmla="*/ 1547813 h 1895475"/>
                <a:gd name="connsiteX216" fmla="*/ 487680 w 1447800"/>
                <a:gd name="connsiteY216" fmla="*/ 1552575 h 1895475"/>
                <a:gd name="connsiteX217" fmla="*/ 460057 w 1447800"/>
                <a:gd name="connsiteY217" fmla="*/ 1564958 h 1895475"/>
                <a:gd name="connsiteX218" fmla="*/ 457200 w 1447800"/>
                <a:gd name="connsiteY218" fmla="*/ 1568768 h 1895475"/>
                <a:gd name="connsiteX219" fmla="*/ 456248 w 1447800"/>
                <a:gd name="connsiteY219" fmla="*/ 1571625 h 1895475"/>
                <a:gd name="connsiteX220" fmla="*/ 457200 w 1447800"/>
                <a:gd name="connsiteY220" fmla="*/ 1575435 h 1895475"/>
                <a:gd name="connsiteX221" fmla="*/ 473393 w 1447800"/>
                <a:gd name="connsiteY221" fmla="*/ 1584960 h 1895475"/>
                <a:gd name="connsiteX222" fmla="*/ 475298 w 1447800"/>
                <a:gd name="connsiteY222" fmla="*/ 1586865 h 1895475"/>
                <a:gd name="connsiteX223" fmla="*/ 475298 w 1447800"/>
                <a:gd name="connsiteY223" fmla="*/ 1589723 h 1895475"/>
                <a:gd name="connsiteX224" fmla="*/ 470535 w 1447800"/>
                <a:gd name="connsiteY224" fmla="*/ 1592580 h 1895475"/>
                <a:gd name="connsiteX225" fmla="*/ 462915 w 1447800"/>
                <a:gd name="connsiteY225" fmla="*/ 1595438 h 1895475"/>
                <a:gd name="connsiteX226" fmla="*/ 441007 w 1447800"/>
                <a:gd name="connsiteY226" fmla="*/ 1596390 h 1895475"/>
                <a:gd name="connsiteX227" fmla="*/ 425768 w 1447800"/>
                <a:gd name="connsiteY227" fmla="*/ 1600200 h 1895475"/>
                <a:gd name="connsiteX228" fmla="*/ 421005 w 1447800"/>
                <a:gd name="connsiteY228" fmla="*/ 1606868 h 1895475"/>
                <a:gd name="connsiteX229" fmla="*/ 417195 w 1447800"/>
                <a:gd name="connsiteY229" fmla="*/ 1606868 h 1895475"/>
                <a:gd name="connsiteX230" fmla="*/ 411480 w 1447800"/>
                <a:gd name="connsiteY230" fmla="*/ 1605915 h 1895475"/>
                <a:gd name="connsiteX231" fmla="*/ 371475 w 1447800"/>
                <a:gd name="connsiteY231" fmla="*/ 1587818 h 1895475"/>
                <a:gd name="connsiteX232" fmla="*/ 211455 w 1447800"/>
                <a:gd name="connsiteY232" fmla="*/ 1554480 h 1895475"/>
                <a:gd name="connsiteX233" fmla="*/ 207645 w 1447800"/>
                <a:gd name="connsiteY233" fmla="*/ 1552575 h 1895475"/>
                <a:gd name="connsiteX234" fmla="*/ 193357 w 1447800"/>
                <a:gd name="connsiteY234" fmla="*/ 1545908 h 1895475"/>
                <a:gd name="connsiteX235" fmla="*/ 188595 w 1447800"/>
                <a:gd name="connsiteY235" fmla="*/ 1543050 h 1895475"/>
                <a:gd name="connsiteX236" fmla="*/ 183832 w 1447800"/>
                <a:gd name="connsiteY236" fmla="*/ 1539240 h 1895475"/>
                <a:gd name="connsiteX237" fmla="*/ 181928 w 1447800"/>
                <a:gd name="connsiteY237" fmla="*/ 1537335 h 1895475"/>
                <a:gd name="connsiteX238" fmla="*/ 177165 w 1447800"/>
                <a:gd name="connsiteY238" fmla="*/ 1536383 h 1895475"/>
                <a:gd name="connsiteX239" fmla="*/ 169545 w 1447800"/>
                <a:gd name="connsiteY239" fmla="*/ 1537335 h 1895475"/>
                <a:gd name="connsiteX240" fmla="*/ 155257 w 1447800"/>
                <a:gd name="connsiteY240" fmla="*/ 1542098 h 1895475"/>
                <a:gd name="connsiteX241" fmla="*/ 149543 w 1447800"/>
                <a:gd name="connsiteY241" fmla="*/ 1545908 h 1895475"/>
                <a:gd name="connsiteX242" fmla="*/ 145732 w 1447800"/>
                <a:gd name="connsiteY242" fmla="*/ 1549718 h 1895475"/>
                <a:gd name="connsiteX243" fmla="*/ 144780 w 1447800"/>
                <a:gd name="connsiteY243" fmla="*/ 1552575 h 1895475"/>
                <a:gd name="connsiteX244" fmla="*/ 141923 w 1447800"/>
                <a:gd name="connsiteY244" fmla="*/ 1558290 h 1895475"/>
                <a:gd name="connsiteX245" fmla="*/ 140018 w 1447800"/>
                <a:gd name="connsiteY245" fmla="*/ 1560195 h 1895475"/>
                <a:gd name="connsiteX246" fmla="*/ 134303 w 1447800"/>
                <a:gd name="connsiteY246" fmla="*/ 1561148 h 1895475"/>
                <a:gd name="connsiteX247" fmla="*/ 83820 w 1447800"/>
                <a:gd name="connsiteY247" fmla="*/ 1554480 h 1895475"/>
                <a:gd name="connsiteX248" fmla="*/ 63818 w 1447800"/>
                <a:gd name="connsiteY248" fmla="*/ 1543050 h 1895475"/>
                <a:gd name="connsiteX249" fmla="*/ 81915 w 1447800"/>
                <a:gd name="connsiteY249" fmla="*/ 1490663 h 1895475"/>
                <a:gd name="connsiteX250" fmla="*/ 86678 w 1447800"/>
                <a:gd name="connsiteY250" fmla="*/ 1471613 h 1895475"/>
                <a:gd name="connsiteX251" fmla="*/ 87630 w 1447800"/>
                <a:gd name="connsiteY251" fmla="*/ 1461135 h 1895475"/>
                <a:gd name="connsiteX252" fmla="*/ 87630 w 1447800"/>
                <a:gd name="connsiteY252" fmla="*/ 1457325 h 1895475"/>
                <a:gd name="connsiteX253" fmla="*/ 85725 w 1447800"/>
                <a:gd name="connsiteY253" fmla="*/ 1447800 h 1895475"/>
                <a:gd name="connsiteX254" fmla="*/ 84773 w 1447800"/>
                <a:gd name="connsiteY254" fmla="*/ 1442085 h 1895475"/>
                <a:gd name="connsiteX255" fmla="*/ 85725 w 1447800"/>
                <a:gd name="connsiteY255" fmla="*/ 1439228 h 1895475"/>
                <a:gd name="connsiteX256" fmla="*/ 87630 w 1447800"/>
                <a:gd name="connsiteY256" fmla="*/ 1436370 h 1895475"/>
                <a:gd name="connsiteX257" fmla="*/ 93345 w 1447800"/>
                <a:gd name="connsiteY257" fmla="*/ 1433513 h 1895475"/>
                <a:gd name="connsiteX258" fmla="*/ 97155 w 1447800"/>
                <a:gd name="connsiteY258" fmla="*/ 1429703 h 1895475"/>
                <a:gd name="connsiteX259" fmla="*/ 98107 w 1447800"/>
                <a:gd name="connsiteY259" fmla="*/ 1425893 h 1895475"/>
                <a:gd name="connsiteX260" fmla="*/ 99060 w 1447800"/>
                <a:gd name="connsiteY260" fmla="*/ 1423035 h 1895475"/>
                <a:gd name="connsiteX261" fmla="*/ 99060 w 1447800"/>
                <a:gd name="connsiteY261" fmla="*/ 1409700 h 1895475"/>
                <a:gd name="connsiteX262" fmla="*/ 100965 w 1447800"/>
                <a:gd name="connsiteY262" fmla="*/ 1401128 h 1895475"/>
                <a:gd name="connsiteX263" fmla="*/ 102870 w 1447800"/>
                <a:gd name="connsiteY263" fmla="*/ 1395413 h 1895475"/>
                <a:gd name="connsiteX264" fmla="*/ 105728 w 1447800"/>
                <a:gd name="connsiteY264" fmla="*/ 1391603 h 1895475"/>
                <a:gd name="connsiteX265" fmla="*/ 109538 w 1447800"/>
                <a:gd name="connsiteY265" fmla="*/ 1388745 h 1895475"/>
                <a:gd name="connsiteX266" fmla="*/ 114300 w 1447800"/>
                <a:gd name="connsiteY266" fmla="*/ 1384935 h 1895475"/>
                <a:gd name="connsiteX267" fmla="*/ 118110 w 1447800"/>
                <a:gd name="connsiteY267" fmla="*/ 1379220 h 1895475"/>
                <a:gd name="connsiteX268" fmla="*/ 120015 w 1447800"/>
                <a:gd name="connsiteY268" fmla="*/ 1373505 h 1895475"/>
                <a:gd name="connsiteX269" fmla="*/ 120015 w 1447800"/>
                <a:gd name="connsiteY269" fmla="*/ 1367790 h 1895475"/>
                <a:gd name="connsiteX270" fmla="*/ 118110 w 1447800"/>
                <a:gd name="connsiteY270" fmla="*/ 1363980 h 1895475"/>
                <a:gd name="connsiteX271" fmla="*/ 115253 w 1447800"/>
                <a:gd name="connsiteY271" fmla="*/ 1362075 h 1895475"/>
                <a:gd name="connsiteX272" fmla="*/ 111443 w 1447800"/>
                <a:gd name="connsiteY272" fmla="*/ 1360170 h 1895475"/>
                <a:gd name="connsiteX273" fmla="*/ 104775 w 1447800"/>
                <a:gd name="connsiteY273" fmla="*/ 1354455 h 1895475"/>
                <a:gd name="connsiteX274" fmla="*/ 99060 w 1447800"/>
                <a:gd name="connsiteY274" fmla="*/ 1348740 h 1895475"/>
                <a:gd name="connsiteX275" fmla="*/ 98107 w 1447800"/>
                <a:gd name="connsiteY275" fmla="*/ 1344930 h 1895475"/>
                <a:gd name="connsiteX276" fmla="*/ 96203 w 1447800"/>
                <a:gd name="connsiteY276" fmla="*/ 1338263 h 1895475"/>
                <a:gd name="connsiteX277" fmla="*/ 96203 w 1447800"/>
                <a:gd name="connsiteY277" fmla="*/ 1329690 h 1895475"/>
                <a:gd name="connsiteX278" fmla="*/ 96203 w 1447800"/>
                <a:gd name="connsiteY278" fmla="*/ 1314450 h 1895475"/>
                <a:gd name="connsiteX279" fmla="*/ 97155 w 1447800"/>
                <a:gd name="connsiteY279" fmla="*/ 1305878 h 1895475"/>
                <a:gd name="connsiteX280" fmla="*/ 109538 w 1447800"/>
                <a:gd name="connsiteY280" fmla="*/ 1258253 h 1895475"/>
                <a:gd name="connsiteX281" fmla="*/ 111443 w 1447800"/>
                <a:gd name="connsiteY281" fmla="*/ 1253490 h 1895475"/>
                <a:gd name="connsiteX282" fmla="*/ 113348 w 1447800"/>
                <a:gd name="connsiteY282" fmla="*/ 1250633 h 1895475"/>
                <a:gd name="connsiteX283" fmla="*/ 115253 w 1447800"/>
                <a:gd name="connsiteY283" fmla="*/ 1249680 h 1895475"/>
                <a:gd name="connsiteX284" fmla="*/ 118110 w 1447800"/>
                <a:gd name="connsiteY284" fmla="*/ 1247775 h 1895475"/>
                <a:gd name="connsiteX285" fmla="*/ 121920 w 1447800"/>
                <a:gd name="connsiteY285" fmla="*/ 1245870 h 1895475"/>
                <a:gd name="connsiteX286" fmla="*/ 126682 w 1447800"/>
                <a:gd name="connsiteY286" fmla="*/ 1238250 h 1895475"/>
                <a:gd name="connsiteX287" fmla="*/ 127635 w 1447800"/>
                <a:gd name="connsiteY287" fmla="*/ 1232535 h 1895475"/>
                <a:gd name="connsiteX288" fmla="*/ 128588 w 1447800"/>
                <a:gd name="connsiteY288" fmla="*/ 1227773 h 1895475"/>
                <a:gd name="connsiteX289" fmla="*/ 128588 w 1447800"/>
                <a:gd name="connsiteY289" fmla="*/ 1218248 h 1895475"/>
                <a:gd name="connsiteX290" fmla="*/ 128588 w 1447800"/>
                <a:gd name="connsiteY290" fmla="*/ 1199198 h 1895475"/>
                <a:gd name="connsiteX291" fmla="*/ 130493 w 1447800"/>
                <a:gd name="connsiteY291" fmla="*/ 1190625 h 1895475"/>
                <a:gd name="connsiteX292" fmla="*/ 129540 w 1447800"/>
                <a:gd name="connsiteY292" fmla="*/ 1185863 h 1895475"/>
                <a:gd name="connsiteX293" fmla="*/ 127635 w 1447800"/>
                <a:gd name="connsiteY293" fmla="*/ 1183005 h 1895475"/>
                <a:gd name="connsiteX294" fmla="*/ 117157 w 1447800"/>
                <a:gd name="connsiteY294" fmla="*/ 1173480 h 1895475"/>
                <a:gd name="connsiteX295" fmla="*/ 115253 w 1447800"/>
                <a:gd name="connsiteY295" fmla="*/ 1170623 h 1895475"/>
                <a:gd name="connsiteX296" fmla="*/ 113348 w 1447800"/>
                <a:gd name="connsiteY296" fmla="*/ 1166813 h 1895475"/>
                <a:gd name="connsiteX297" fmla="*/ 113348 w 1447800"/>
                <a:gd name="connsiteY297" fmla="*/ 1160145 h 1895475"/>
                <a:gd name="connsiteX298" fmla="*/ 114300 w 1447800"/>
                <a:gd name="connsiteY298" fmla="*/ 1158240 h 1895475"/>
                <a:gd name="connsiteX299" fmla="*/ 122873 w 1447800"/>
                <a:gd name="connsiteY299" fmla="*/ 1148715 h 1895475"/>
                <a:gd name="connsiteX300" fmla="*/ 128588 w 1447800"/>
                <a:gd name="connsiteY300" fmla="*/ 1143000 h 1895475"/>
                <a:gd name="connsiteX301" fmla="*/ 136207 w 1447800"/>
                <a:gd name="connsiteY301" fmla="*/ 1127760 h 1895475"/>
                <a:gd name="connsiteX302" fmla="*/ 140970 w 1447800"/>
                <a:gd name="connsiteY302" fmla="*/ 1118235 h 1895475"/>
                <a:gd name="connsiteX303" fmla="*/ 140018 w 1447800"/>
                <a:gd name="connsiteY303" fmla="*/ 1114425 h 1895475"/>
                <a:gd name="connsiteX304" fmla="*/ 138113 w 1447800"/>
                <a:gd name="connsiteY304" fmla="*/ 1112520 h 1895475"/>
                <a:gd name="connsiteX305" fmla="*/ 132398 w 1447800"/>
                <a:gd name="connsiteY305" fmla="*/ 1109663 h 1895475"/>
                <a:gd name="connsiteX306" fmla="*/ 125730 w 1447800"/>
                <a:gd name="connsiteY306" fmla="*/ 1107758 h 1895475"/>
                <a:gd name="connsiteX307" fmla="*/ 122873 w 1447800"/>
                <a:gd name="connsiteY307" fmla="*/ 1107758 h 1895475"/>
                <a:gd name="connsiteX308" fmla="*/ 120968 w 1447800"/>
                <a:gd name="connsiteY308" fmla="*/ 1109663 h 1895475"/>
                <a:gd name="connsiteX309" fmla="*/ 110490 w 1447800"/>
                <a:gd name="connsiteY309" fmla="*/ 1133475 h 1895475"/>
                <a:gd name="connsiteX310" fmla="*/ 108585 w 1447800"/>
                <a:gd name="connsiteY310" fmla="*/ 1135380 h 1895475"/>
                <a:gd name="connsiteX311" fmla="*/ 106680 w 1447800"/>
                <a:gd name="connsiteY311" fmla="*/ 1137285 h 1895475"/>
                <a:gd name="connsiteX312" fmla="*/ 103823 w 1447800"/>
                <a:gd name="connsiteY312" fmla="*/ 1137285 h 1895475"/>
                <a:gd name="connsiteX313" fmla="*/ 76200 w 1447800"/>
                <a:gd name="connsiteY313" fmla="*/ 1131570 h 1895475"/>
                <a:gd name="connsiteX314" fmla="*/ 64770 w 1447800"/>
                <a:gd name="connsiteY314" fmla="*/ 1125855 h 1895475"/>
                <a:gd name="connsiteX315" fmla="*/ 60007 w 1447800"/>
                <a:gd name="connsiteY315" fmla="*/ 1122045 h 1895475"/>
                <a:gd name="connsiteX316" fmla="*/ 55245 w 1447800"/>
                <a:gd name="connsiteY316" fmla="*/ 1117283 h 1895475"/>
                <a:gd name="connsiteX317" fmla="*/ 54293 w 1447800"/>
                <a:gd name="connsiteY317" fmla="*/ 1114425 h 1895475"/>
                <a:gd name="connsiteX318" fmla="*/ 55245 w 1447800"/>
                <a:gd name="connsiteY318" fmla="*/ 1111568 h 1895475"/>
                <a:gd name="connsiteX319" fmla="*/ 62865 w 1447800"/>
                <a:gd name="connsiteY319" fmla="*/ 1106805 h 1895475"/>
                <a:gd name="connsiteX320" fmla="*/ 65723 w 1447800"/>
                <a:gd name="connsiteY320" fmla="*/ 1102995 h 1895475"/>
                <a:gd name="connsiteX321" fmla="*/ 66675 w 1447800"/>
                <a:gd name="connsiteY321" fmla="*/ 1099185 h 1895475"/>
                <a:gd name="connsiteX322" fmla="*/ 65723 w 1447800"/>
                <a:gd name="connsiteY322" fmla="*/ 1096328 h 1895475"/>
                <a:gd name="connsiteX323" fmla="*/ 64770 w 1447800"/>
                <a:gd name="connsiteY323" fmla="*/ 1094423 h 1895475"/>
                <a:gd name="connsiteX324" fmla="*/ 62865 w 1447800"/>
                <a:gd name="connsiteY324" fmla="*/ 1092518 h 1895475"/>
                <a:gd name="connsiteX325" fmla="*/ 60007 w 1447800"/>
                <a:gd name="connsiteY325" fmla="*/ 1092518 h 1895475"/>
                <a:gd name="connsiteX326" fmla="*/ 49530 w 1447800"/>
                <a:gd name="connsiteY326" fmla="*/ 1095375 h 1895475"/>
                <a:gd name="connsiteX327" fmla="*/ 42863 w 1447800"/>
                <a:gd name="connsiteY327" fmla="*/ 1094423 h 1895475"/>
                <a:gd name="connsiteX328" fmla="*/ 22860 w 1447800"/>
                <a:gd name="connsiteY328" fmla="*/ 1084898 h 1895475"/>
                <a:gd name="connsiteX329" fmla="*/ 2857 w 1447800"/>
                <a:gd name="connsiteY329" fmla="*/ 1079183 h 1895475"/>
                <a:gd name="connsiteX330" fmla="*/ 0 w 1447800"/>
                <a:gd name="connsiteY330" fmla="*/ 1076325 h 1895475"/>
                <a:gd name="connsiteX331" fmla="*/ 953 w 1447800"/>
                <a:gd name="connsiteY331" fmla="*/ 1071563 h 1895475"/>
                <a:gd name="connsiteX332" fmla="*/ 13335 w 1447800"/>
                <a:gd name="connsiteY332" fmla="*/ 1049655 h 1895475"/>
                <a:gd name="connsiteX333" fmla="*/ 14288 w 1447800"/>
                <a:gd name="connsiteY333" fmla="*/ 1046798 h 1895475"/>
                <a:gd name="connsiteX334" fmla="*/ 16193 w 1447800"/>
                <a:gd name="connsiteY334" fmla="*/ 1041083 h 1895475"/>
                <a:gd name="connsiteX335" fmla="*/ 15240 w 1447800"/>
                <a:gd name="connsiteY335" fmla="*/ 1037273 h 1895475"/>
                <a:gd name="connsiteX336" fmla="*/ 14288 w 1447800"/>
                <a:gd name="connsiteY336" fmla="*/ 1032510 h 1895475"/>
                <a:gd name="connsiteX337" fmla="*/ 11430 w 1447800"/>
                <a:gd name="connsiteY337" fmla="*/ 1024890 h 1895475"/>
                <a:gd name="connsiteX338" fmla="*/ 11430 w 1447800"/>
                <a:gd name="connsiteY338" fmla="*/ 1013460 h 1895475"/>
                <a:gd name="connsiteX339" fmla="*/ 12382 w 1447800"/>
                <a:gd name="connsiteY339" fmla="*/ 1008698 h 1895475"/>
                <a:gd name="connsiteX340" fmla="*/ 14288 w 1447800"/>
                <a:gd name="connsiteY340" fmla="*/ 1005840 h 1895475"/>
                <a:gd name="connsiteX341" fmla="*/ 41910 w 1447800"/>
                <a:gd name="connsiteY341" fmla="*/ 996315 h 1895475"/>
                <a:gd name="connsiteX342" fmla="*/ 46673 w 1447800"/>
                <a:gd name="connsiteY342" fmla="*/ 991553 h 1895475"/>
                <a:gd name="connsiteX343" fmla="*/ 47625 w 1447800"/>
                <a:gd name="connsiteY343" fmla="*/ 985838 h 1895475"/>
                <a:gd name="connsiteX344" fmla="*/ 48578 w 1447800"/>
                <a:gd name="connsiteY344" fmla="*/ 980123 h 1895475"/>
                <a:gd name="connsiteX345" fmla="*/ 47625 w 1447800"/>
                <a:gd name="connsiteY345" fmla="*/ 970598 h 1895475"/>
                <a:gd name="connsiteX346" fmla="*/ 47625 w 1447800"/>
                <a:gd name="connsiteY346" fmla="*/ 965835 h 1895475"/>
                <a:gd name="connsiteX347" fmla="*/ 49530 w 1447800"/>
                <a:gd name="connsiteY347" fmla="*/ 962025 h 1895475"/>
                <a:gd name="connsiteX348" fmla="*/ 63818 w 1447800"/>
                <a:gd name="connsiteY348" fmla="*/ 954405 h 1895475"/>
                <a:gd name="connsiteX349" fmla="*/ 66675 w 1447800"/>
                <a:gd name="connsiteY349" fmla="*/ 952500 h 1895475"/>
                <a:gd name="connsiteX350" fmla="*/ 68580 w 1447800"/>
                <a:gd name="connsiteY350" fmla="*/ 948690 h 1895475"/>
                <a:gd name="connsiteX351" fmla="*/ 69532 w 1447800"/>
                <a:gd name="connsiteY351" fmla="*/ 945833 h 1895475"/>
                <a:gd name="connsiteX352" fmla="*/ 68580 w 1447800"/>
                <a:gd name="connsiteY352" fmla="*/ 942975 h 1895475"/>
                <a:gd name="connsiteX353" fmla="*/ 65723 w 1447800"/>
                <a:gd name="connsiteY353" fmla="*/ 932498 h 1895475"/>
                <a:gd name="connsiteX354" fmla="*/ 65723 w 1447800"/>
                <a:gd name="connsiteY354" fmla="*/ 927735 h 1895475"/>
                <a:gd name="connsiteX355" fmla="*/ 67628 w 1447800"/>
                <a:gd name="connsiteY355" fmla="*/ 924878 h 1895475"/>
                <a:gd name="connsiteX356" fmla="*/ 70485 w 1447800"/>
                <a:gd name="connsiteY356" fmla="*/ 918210 h 1895475"/>
                <a:gd name="connsiteX357" fmla="*/ 70485 w 1447800"/>
                <a:gd name="connsiteY357" fmla="*/ 916305 h 1895475"/>
                <a:gd name="connsiteX358" fmla="*/ 68580 w 1447800"/>
                <a:gd name="connsiteY358" fmla="*/ 913448 h 1895475"/>
                <a:gd name="connsiteX359" fmla="*/ 61913 w 1447800"/>
                <a:gd name="connsiteY359" fmla="*/ 907733 h 1895475"/>
                <a:gd name="connsiteX360" fmla="*/ 60007 w 1447800"/>
                <a:gd name="connsiteY360" fmla="*/ 904875 h 1895475"/>
                <a:gd name="connsiteX361" fmla="*/ 58103 w 1447800"/>
                <a:gd name="connsiteY361" fmla="*/ 900113 h 1895475"/>
                <a:gd name="connsiteX362" fmla="*/ 58103 w 1447800"/>
                <a:gd name="connsiteY362" fmla="*/ 895350 h 1895475"/>
                <a:gd name="connsiteX363" fmla="*/ 59055 w 1447800"/>
                <a:gd name="connsiteY363" fmla="*/ 890588 h 1895475"/>
                <a:gd name="connsiteX364" fmla="*/ 60960 w 1447800"/>
                <a:gd name="connsiteY364" fmla="*/ 882968 h 1895475"/>
                <a:gd name="connsiteX365" fmla="*/ 60960 w 1447800"/>
                <a:gd name="connsiteY365" fmla="*/ 879158 h 1895475"/>
                <a:gd name="connsiteX366" fmla="*/ 60960 w 1447800"/>
                <a:gd name="connsiteY366" fmla="*/ 875348 h 1895475"/>
                <a:gd name="connsiteX367" fmla="*/ 59055 w 1447800"/>
                <a:gd name="connsiteY367" fmla="*/ 873443 h 1895475"/>
                <a:gd name="connsiteX368" fmla="*/ 57150 w 1447800"/>
                <a:gd name="connsiteY368" fmla="*/ 871538 h 1895475"/>
                <a:gd name="connsiteX369" fmla="*/ 55245 w 1447800"/>
                <a:gd name="connsiteY369" fmla="*/ 870585 h 1895475"/>
                <a:gd name="connsiteX370" fmla="*/ 48578 w 1447800"/>
                <a:gd name="connsiteY370" fmla="*/ 870585 h 1895475"/>
                <a:gd name="connsiteX371" fmla="*/ 45720 w 1447800"/>
                <a:gd name="connsiteY371" fmla="*/ 870585 h 1895475"/>
                <a:gd name="connsiteX372" fmla="*/ 43815 w 1447800"/>
                <a:gd name="connsiteY372" fmla="*/ 868680 h 1895475"/>
                <a:gd name="connsiteX373" fmla="*/ 41910 w 1447800"/>
                <a:gd name="connsiteY373" fmla="*/ 864870 h 1895475"/>
                <a:gd name="connsiteX374" fmla="*/ 40005 w 1447800"/>
                <a:gd name="connsiteY374" fmla="*/ 859155 h 1895475"/>
                <a:gd name="connsiteX375" fmla="*/ 35243 w 1447800"/>
                <a:gd name="connsiteY375" fmla="*/ 849630 h 1895475"/>
                <a:gd name="connsiteX376" fmla="*/ 32385 w 1447800"/>
                <a:gd name="connsiteY376" fmla="*/ 844868 h 1895475"/>
                <a:gd name="connsiteX377" fmla="*/ 32385 w 1447800"/>
                <a:gd name="connsiteY377" fmla="*/ 840105 h 1895475"/>
                <a:gd name="connsiteX378" fmla="*/ 32385 w 1447800"/>
                <a:gd name="connsiteY378" fmla="*/ 837248 h 1895475"/>
                <a:gd name="connsiteX379" fmla="*/ 36195 w 1447800"/>
                <a:gd name="connsiteY379" fmla="*/ 829628 h 1895475"/>
                <a:gd name="connsiteX380" fmla="*/ 40005 w 1447800"/>
                <a:gd name="connsiteY380" fmla="*/ 824865 h 1895475"/>
                <a:gd name="connsiteX381" fmla="*/ 42863 w 1447800"/>
                <a:gd name="connsiteY381" fmla="*/ 823913 h 1895475"/>
                <a:gd name="connsiteX382" fmla="*/ 48578 w 1447800"/>
                <a:gd name="connsiteY382" fmla="*/ 825818 h 1895475"/>
                <a:gd name="connsiteX383" fmla="*/ 50482 w 1447800"/>
                <a:gd name="connsiteY383" fmla="*/ 827723 h 1895475"/>
                <a:gd name="connsiteX384" fmla="*/ 52388 w 1447800"/>
                <a:gd name="connsiteY384" fmla="*/ 830580 h 1895475"/>
                <a:gd name="connsiteX385" fmla="*/ 56198 w 1447800"/>
                <a:gd name="connsiteY385" fmla="*/ 841058 h 1895475"/>
                <a:gd name="connsiteX386" fmla="*/ 59055 w 1447800"/>
                <a:gd name="connsiteY386" fmla="*/ 845820 h 1895475"/>
                <a:gd name="connsiteX387" fmla="*/ 60960 w 1447800"/>
                <a:gd name="connsiteY387" fmla="*/ 847725 h 1895475"/>
                <a:gd name="connsiteX388" fmla="*/ 67628 w 1447800"/>
                <a:gd name="connsiteY388" fmla="*/ 849630 h 1895475"/>
                <a:gd name="connsiteX389" fmla="*/ 74295 w 1447800"/>
                <a:gd name="connsiteY389" fmla="*/ 849630 h 1895475"/>
                <a:gd name="connsiteX390" fmla="*/ 84773 w 1447800"/>
                <a:gd name="connsiteY390" fmla="*/ 847725 h 1895475"/>
                <a:gd name="connsiteX391" fmla="*/ 90488 w 1447800"/>
                <a:gd name="connsiteY391" fmla="*/ 844868 h 1895475"/>
                <a:gd name="connsiteX392" fmla="*/ 92393 w 1447800"/>
                <a:gd name="connsiteY392" fmla="*/ 842963 h 1895475"/>
                <a:gd name="connsiteX393" fmla="*/ 94298 w 1447800"/>
                <a:gd name="connsiteY393" fmla="*/ 840105 h 1895475"/>
                <a:gd name="connsiteX394" fmla="*/ 96203 w 1447800"/>
                <a:gd name="connsiteY394" fmla="*/ 835343 h 1895475"/>
                <a:gd name="connsiteX395" fmla="*/ 96203 w 1447800"/>
                <a:gd name="connsiteY395" fmla="*/ 825818 h 1895475"/>
                <a:gd name="connsiteX396" fmla="*/ 95250 w 1447800"/>
                <a:gd name="connsiteY396" fmla="*/ 819150 h 1895475"/>
                <a:gd name="connsiteX397" fmla="*/ 95250 w 1447800"/>
                <a:gd name="connsiteY397" fmla="*/ 814388 h 1895475"/>
                <a:gd name="connsiteX398" fmla="*/ 96203 w 1447800"/>
                <a:gd name="connsiteY398" fmla="*/ 810578 h 1895475"/>
                <a:gd name="connsiteX399" fmla="*/ 100013 w 1447800"/>
                <a:gd name="connsiteY399" fmla="*/ 804863 h 1895475"/>
                <a:gd name="connsiteX400" fmla="*/ 100013 w 1447800"/>
                <a:gd name="connsiteY400" fmla="*/ 801053 h 1895475"/>
                <a:gd name="connsiteX401" fmla="*/ 96203 w 1447800"/>
                <a:gd name="connsiteY401" fmla="*/ 797243 h 1895475"/>
                <a:gd name="connsiteX402" fmla="*/ 93345 w 1447800"/>
                <a:gd name="connsiteY402" fmla="*/ 793433 h 1895475"/>
                <a:gd name="connsiteX403" fmla="*/ 91440 w 1447800"/>
                <a:gd name="connsiteY403" fmla="*/ 787718 h 1895475"/>
                <a:gd name="connsiteX404" fmla="*/ 88582 w 1447800"/>
                <a:gd name="connsiteY404" fmla="*/ 774383 h 1895475"/>
                <a:gd name="connsiteX405" fmla="*/ 89535 w 1447800"/>
                <a:gd name="connsiteY405" fmla="*/ 767715 h 1895475"/>
                <a:gd name="connsiteX406" fmla="*/ 90488 w 1447800"/>
                <a:gd name="connsiteY406" fmla="*/ 763905 h 1895475"/>
                <a:gd name="connsiteX407" fmla="*/ 95250 w 1447800"/>
                <a:gd name="connsiteY407" fmla="*/ 761048 h 1895475"/>
                <a:gd name="connsiteX408" fmla="*/ 98107 w 1447800"/>
                <a:gd name="connsiteY408" fmla="*/ 759143 h 1895475"/>
                <a:gd name="connsiteX409" fmla="*/ 100965 w 1447800"/>
                <a:gd name="connsiteY409" fmla="*/ 754380 h 1895475"/>
                <a:gd name="connsiteX410" fmla="*/ 100965 w 1447800"/>
                <a:gd name="connsiteY410" fmla="*/ 750570 h 1895475"/>
                <a:gd name="connsiteX411" fmla="*/ 100965 w 1447800"/>
                <a:gd name="connsiteY411" fmla="*/ 746760 h 1895475"/>
                <a:gd name="connsiteX412" fmla="*/ 96203 w 1447800"/>
                <a:gd name="connsiteY412" fmla="*/ 729615 h 1895475"/>
                <a:gd name="connsiteX413" fmla="*/ 96203 w 1447800"/>
                <a:gd name="connsiteY413" fmla="*/ 727710 h 1895475"/>
                <a:gd name="connsiteX414" fmla="*/ 98107 w 1447800"/>
                <a:gd name="connsiteY414" fmla="*/ 727710 h 1895475"/>
                <a:gd name="connsiteX415" fmla="*/ 114300 w 1447800"/>
                <a:gd name="connsiteY415" fmla="*/ 736283 h 1895475"/>
                <a:gd name="connsiteX416" fmla="*/ 119063 w 1447800"/>
                <a:gd name="connsiteY416" fmla="*/ 738188 h 1895475"/>
                <a:gd name="connsiteX417" fmla="*/ 120968 w 1447800"/>
                <a:gd name="connsiteY417" fmla="*/ 737235 h 1895475"/>
                <a:gd name="connsiteX418" fmla="*/ 128588 w 1447800"/>
                <a:gd name="connsiteY418" fmla="*/ 726758 h 1895475"/>
                <a:gd name="connsiteX419" fmla="*/ 130493 w 1447800"/>
                <a:gd name="connsiteY419" fmla="*/ 722948 h 1895475"/>
                <a:gd name="connsiteX420" fmla="*/ 128588 w 1447800"/>
                <a:gd name="connsiteY420" fmla="*/ 718185 h 1895475"/>
                <a:gd name="connsiteX421" fmla="*/ 126682 w 1447800"/>
                <a:gd name="connsiteY421" fmla="*/ 716280 h 1895475"/>
                <a:gd name="connsiteX422" fmla="*/ 116205 w 1447800"/>
                <a:gd name="connsiteY422" fmla="*/ 706755 h 1895475"/>
                <a:gd name="connsiteX423" fmla="*/ 113348 w 1447800"/>
                <a:gd name="connsiteY423" fmla="*/ 702945 h 1895475"/>
                <a:gd name="connsiteX424" fmla="*/ 112395 w 1447800"/>
                <a:gd name="connsiteY424" fmla="*/ 697230 h 1895475"/>
                <a:gd name="connsiteX425" fmla="*/ 111443 w 1447800"/>
                <a:gd name="connsiteY425" fmla="*/ 686753 h 1895475"/>
                <a:gd name="connsiteX426" fmla="*/ 112395 w 1447800"/>
                <a:gd name="connsiteY426" fmla="*/ 681990 h 1895475"/>
                <a:gd name="connsiteX427" fmla="*/ 115253 w 1447800"/>
                <a:gd name="connsiteY427" fmla="*/ 679133 h 1895475"/>
                <a:gd name="connsiteX428" fmla="*/ 123825 w 1447800"/>
                <a:gd name="connsiteY428" fmla="*/ 676275 h 1895475"/>
                <a:gd name="connsiteX429" fmla="*/ 126682 w 1447800"/>
                <a:gd name="connsiteY429" fmla="*/ 674370 h 1895475"/>
                <a:gd name="connsiteX430" fmla="*/ 127635 w 1447800"/>
                <a:gd name="connsiteY430" fmla="*/ 671513 h 1895475"/>
                <a:gd name="connsiteX431" fmla="*/ 127635 w 1447800"/>
                <a:gd name="connsiteY431" fmla="*/ 669608 h 1895475"/>
                <a:gd name="connsiteX432" fmla="*/ 125730 w 1447800"/>
                <a:gd name="connsiteY432" fmla="*/ 666750 h 1895475"/>
                <a:gd name="connsiteX433" fmla="*/ 121920 w 1447800"/>
                <a:gd name="connsiteY433" fmla="*/ 662940 h 1895475"/>
                <a:gd name="connsiteX434" fmla="*/ 119063 w 1447800"/>
                <a:gd name="connsiteY434" fmla="*/ 661035 h 1895475"/>
                <a:gd name="connsiteX435" fmla="*/ 117157 w 1447800"/>
                <a:gd name="connsiteY435" fmla="*/ 657225 h 1895475"/>
                <a:gd name="connsiteX436" fmla="*/ 115253 w 1447800"/>
                <a:gd name="connsiteY436" fmla="*/ 622935 h 1895475"/>
                <a:gd name="connsiteX437" fmla="*/ 114300 w 1447800"/>
                <a:gd name="connsiteY437" fmla="*/ 619125 h 1895475"/>
                <a:gd name="connsiteX438" fmla="*/ 112395 w 1447800"/>
                <a:gd name="connsiteY438" fmla="*/ 616268 h 1895475"/>
                <a:gd name="connsiteX439" fmla="*/ 109538 w 1447800"/>
                <a:gd name="connsiteY439" fmla="*/ 615315 h 1895475"/>
                <a:gd name="connsiteX440" fmla="*/ 106680 w 1447800"/>
                <a:gd name="connsiteY440" fmla="*/ 613410 h 1895475"/>
                <a:gd name="connsiteX441" fmla="*/ 104775 w 1447800"/>
                <a:gd name="connsiteY441" fmla="*/ 610553 h 1895475"/>
                <a:gd name="connsiteX442" fmla="*/ 102870 w 1447800"/>
                <a:gd name="connsiteY442" fmla="*/ 602933 h 1895475"/>
                <a:gd name="connsiteX443" fmla="*/ 103823 w 1447800"/>
                <a:gd name="connsiteY443" fmla="*/ 593408 h 1895475"/>
                <a:gd name="connsiteX444" fmla="*/ 112395 w 1447800"/>
                <a:gd name="connsiteY444" fmla="*/ 581978 h 1895475"/>
                <a:gd name="connsiteX445" fmla="*/ 112395 w 1447800"/>
                <a:gd name="connsiteY445" fmla="*/ 572453 h 1895475"/>
                <a:gd name="connsiteX446" fmla="*/ 83820 w 1447800"/>
                <a:gd name="connsiteY446" fmla="*/ 543878 h 1895475"/>
                <a:gd name="connsiteX447" fmla="*/ 80010 w 1447800"/>
                <a:gd name="connsiteY447" fmla="*/ 538163 h 1895475"/>
                <a:gd name="connsiteX448" fmla="*/ 76200 w 1447800"/>
                <a:gd name="connsiteY448" fmla="*/ 531495 h 1895475"/>
                <a:gd name="connsiteX449" fmla="*/ 70485 w 1447800"/>
                <a:gd name="connsiteY449" fmla="*/ 512445 h 1895475"/>
                <a:gd name="connsiteX450" fmla="*/ 67628 w 1447800"/>
                <a:gd name="connsiteY450" fmla="*/ 505778 h 1895475"/>
                <a:gd name="connsiteX451" fmla="*/ 64770 w 1447800"/>
                <a:gd name="connsiteY451" fmla="*/ 487680 h 1895475"/>
                <a:gd name="connsiteX452" fmla="*/ 69532 w 1447800"/>
                <a:gd name="connsiteY452" fmla="*/ 467678 h 1895475"/>
                <a:gd name="connsiteX453" fmla="*/ 79057 w 1447800"/>
                <a:gd name="connsiteY453" fmla="*/ 451485 h 1895475"/>
                <a:gd name="connsiteX454" fmla="*/ 85725 w 1447800"/>
                <a:gd name="connsiteY454" fmla="*/ 444818 h 1895475"/>
                <a:gd name="connsiteX455" fmla="*/ 96203 w 1447800"/>
                <a:gd name="connsiteY455" fmla="*/ 438150 h 1895475"/>
                <a:gd name="connsiteX456" fmla="*/ 100965 w 1447800"/>
                <a:gd name="connsiteY456" fmla="*/ 424815 h 1895475"/>
                <a:gd name="connsiteX457" fmla="*/ 106680 w 1447800"/>
                <a:gd name="connsiteY457" fmla="*/ 413385 h 1895475"/>
                <a:gd name="connsiteX458" fmla="*/ 120015 w 1447800"/>
                <a:gd name="connsiteY458" fmla="*/ 409575 h 1895475"/>
                <a:gd name="connsiteX459" fmla="*/ 120015 w 1447800"/>
                <a:gd name="connsiteY459" fmla="*/ 402908 h 1895475"/>
                <a:gd name="connsiteX460" fmla="*/ 116205 w 1447800"/>
                <a:gd name="connsiteY460" fmla="*/ 392430 h 1895475"/>
                <a:gd name="connsiteX461" fmla="*/ 126682 w 1447800"/>
                <a:gd name="connsiteY461" fmla="*/ 389573 h 1895475"/>
                <a:gd name="connsiteX462" fmla="*/ 150495 w 1447800"/>
                <a:gd name="connsiteY462" fmla="*/ 391478 h 1895475"/>
                <a:gd name="connsiteX463" fmla="*/ 156210 w 1447800"/>
                <a:gd name="connsiteY463" fmla="*/ 387668 h 1895475"/>
                <a:gd name="connsiteX464" fmla="*/ 175260 w 1447800"/>
                <a:gd name="connsiteY464" fmla="*/ 371475 h 1895475"/>
                <a:gd name="connsiteX465" fmla="*/ 182880 w 1447800"/>
                <a:gd name="connsiteY465" fmla="*/ 368618 h 1895475"/>
                <a:gd name="connsiteX466" fmla="*/ 195263 w 1447800"/>
                <a:gd name="connsiteY466" fmla="*/ 366713 h 1895475"/>
                <a:gd name="connsiteX467" fmla="*/ 224790 w 1447800"/>
                <a:gd name="connsiteY467" fmla="*/ 356235 h 1895475"/>
                <a:gd name="connsiteX468" fmla="*/ 230505 w 1447800"/>
                <a:gd name="connsiteY468" fmla="*/ 346710 h 1895475"/>
                <a:gd name="connsiteX469" fmla="*/ 229553 w 1447800"/>
                <a:gd name="connsiteY469" fmla="*/ 337185 h 1895475"/>
                <a:gd name="connsiteX470" fmla="*/ 220980 w 1447800"/>
                <a:gd name="connsiteY470" fmla="*/ 322898 h 1895475"/>
                <a:gd name="connsiteX471" fmla="*/ 218123 w 1447800"/>
                <a:gd name="connsiteY471" fmla="*/ 320993 h 1895475"/>
                <a:gd name="connsiteX472" fmla="*/ 218123 w 1447800"/>
                <a:gd name="connsiteY472" fmla="*/ 319088 h 1895475"/>
                <a:gd name="connsiteX473" fmla="*/ 224790 w 1447800"/>
                <a:gd name="connsiteY473" fmla="*/ 311468 h 1895475"/>
                <a:gd name="connsiteX474" fmla="*/ 227648 w 1447800"/>
                <a:gd name="connsiteY474" fmla="*/ 306705 h 1895475"/>
                <a:gd name="connsiteX475" fmla="*/ 228600 w 1447800"/>
                <a:gd name="connsiteY475" fmla="*/ 301943 h 1895475"/>
                <a:gd name="connsiteX476" fmla="*/ 228600 w 1447800"/>
                <a:gd name="connsiteY476" fmla="*/ 298133 h 1895475"/>
                <a:gd name="connsiteX477" fmla="*/ 228600 w 1447800"/>
                <a:gd name="connsiteY477" fmla="*/ 270510 h 1895475"/>
                <a:gd name="connsiteX478" fmla="*/ 229553 w 1447800"/>
                <a:gd name="connsiteY478" fmla="*/ 264795 h 1895475"/>
                <a:gd name="connsiteX479" fmla="*/ 231457 w 1447800"/>
                <a:gd name="connsiteY479" fmla="*/ 261938 h 1895475"/>
                <a:gd name="connsiteX480" fmla="*/ 234315 w 1447800"/>
                <a:gd name="connsiteY480" fmla="*/ 260985 h 1895475"/>
                <a:gd name="connsiteX481" fmla="*/ 236220 w 1447800"/>
                <a:gd name="connsiteY481" fmla="*/ 260985 h 1895475"/>
                <a:gd name="connsiteX482" fmla="*/ 239078 w 1447800"/>
                <a:gd name="connsiteY482" fmla="*/ 264795 h 1895475"/>
                <a:gd name="connsiteX483" fmla="*/ 241935 w 1447800"/>
                <a:gd name="connsiteY483" fmla="*/ 270510 h 1895475"/>
                <a:gd name="connsiteX484" fmla="*/ 243840 w 1447800"/>
                <a:gd name="connsiteY484" fmla="*/ 271463 h 1895475"/>
                <a:gd name="connsiteX485" fmla="*/ 246698 w 1447800"/>
                <a:gd name="connsiteY485" fmla="*/ 272415 h 1895475"/>
                <a:gd name="connsiteX486" fmla="*/ 253365 w 1447800"/>
                <a:gd name="connsiteY486" fmla="*/ 273368 h 1895475"/>
                <a:gd name="connsiteX487" fmla="*/ 265748 w 1447800"/>
                <a:gd name="connsiteY487" fmla="*/ 271463 h 1895475"/>
                <a:gd name="connsiteX488" fmla="*/ 277178 w 1447800"/>
                <a:gd name="connsiteY488" fmla="*/ 268605 h 1895475"/>
                <a:gd name="connsiteX489" fmla="*/ 280035 w 1447800"/>
                <a:gd name="connsiteY489" fmla="*/ 266700 h 1895475"/>
                <a:gd name="connsiteX490" fmla="*/ 282893 w 1447800"/>
                <a:gd name="connsiteY490" fmla="*/ 262890 h 1895475"/>
                <a:gd name="connsiteX491" fmla="*/ 286703 w 1447800"/>
                <a:gd name="connsiteY491" fmla="*/ 253365 h 1895475"/>
                <a:gd name="connsiteX492" fmla="*/ 287655 w 1447800"/>
                <a:gd name="connsiteY492" fmla="*/ 248603 h 1895475"/>
                <a:gd name="connsiteX493" fmla="*/ 288607 w 1447800"/>
                <a:gd name="connsiteY493" fmla="*/ 243840 h 1895475"/>
                <a:gd name="connsiteX494" fmla="*/ 288607 w 1447800"/>
                <a:gd name="connsiteY494" fmla="*/ 240030 h 1895475"/>
                <a:gd name="connsiteX495" fmla="*/ 287655 w 1447800"/>
                <a:gd name="connsiteY495" fmla="*/ 238125 h 1895475"/>
                <a:gd name="connsiteX496" fmla="*/ 284798 w 1447800"/>
                <a:gd name="connsiteY496" fmla="*/ 237173 h 1895475"/>
                <a:gd name="connsiteX497" fmla="*/ 268605 w 1447800"/>
                <a:gd name="connsiteY497" fmla="*/ 235268 h 1895475"/>
                <a:gd name="connsiteX498" fmla="*/ 265748 w 1447800"/>
                <a:gd name="connsiteY498" fmla="*/ 234315 h 1895475"/>
                <a:gd name="connsiteX499" fmla="*/ 263843 w 1447800"/>
                <a:gd name="connsiteY499" fmla="*/ 232410 h 1895475"/>
                <a:gd name="connsiteX500" fmla="*/ 260985 w 1447800"/>
                <a:gd name="connsiteY500" fmla="*/ 224790 h 1895475"/>
                <a:gd name="connsiteX501" fmla="*/ 259080 w 1447800"/>
                <a:gd name="connsiteY501" fmla="*/ 222885 h 1895475"/>
                <a:gd name="connsiteX502" fmla="*/ 253365 w 1447800"/>
                <a:gd name="connsiteY502" fmla="*/ 216218 h 1895475"/>
                <a:gd name="connsiteX503" fmla="*/ 243840 w 1447800"/>
                <a:gd name="connsiteY503" fmla="*/ 202883 h 1895475"/>
                <a:gd name="connsiteX504" fmla="*/ 231457 w 1447800"/>
                <a:gd name="connsiteY504" fmla="*/ 190500 h 1895475"/>
                <a:gd name="connsiteX505" fmla="*/ 228600 w 1447800"/>
                <a:gd name="connsiteY505" fmla="*/ 188595 h 1895475"/>
                <a:gd name="connsiteX506" fmla="*/ 205740 w 1447800"/>
                <a:gd name="connsiteY506" fmla="*/ 180975 h 1895475"/>
                <a:gd name="connsiteX507" fmla="*/ 203835 w 1447800"/>
                <a:gd name="connsiteY507" fmla="*/ 179070 h 1895475"/>
                <a:gd name="connsiteX508" fmla="*/ 201930 w 1447800"/>
                <a:gd name="connsiteY508" fmla="*/ 171450 h 1895475"/>
                <a:gd name="connsiteX509" fmla="*/ 199073 w 1447800"/>
                <a:gd name="connsiteY509" fmla="*/ 130492 h 1895475"/>
                <a:gd name="connsiteX510" fmla="*/ 201930 w 1447800"/>
                <a:gd name="connsiteY510" fmla="*/ 120015 h 1895475"/>
                <a:gd name="connsiteX511" fmla="*/ 216218 w 1447800"/>
                <a:gd name="connsiteY511" fmla="*/ 105728 h 1895475"/>
                <a:gd name="connsiteX512" fmla="*/ 220980 w 1447800"/>
                <a:gd name="connsiteY512" fmla="*/ 97155 h 1895475"/>
                <a:gd name="connsiteX513" fmla="*/ 222885 w 1447800"/>
                <a:gd name="connsiteY513" fmla="*/ 91440 h 1895475"/>
                <a:gd name="connsiteX514" fmla="*/ 223838 w 1447800"/>
                <a:gd name="connsiteY514" fmla="*/ 75248 h 1895475"/>
                <a:gd name="connsiteX515" fmla="*/ 224790 w 1447800"/>
                <a:gd name="connsiteY515" fmla="*/ 68580 h 1895475"/>
                <a:gd name="connsiteX516" fmla="*/ 227648 w 1447800"/>
                <a:gd name="connsiteY516" fmla="*/ 62865 h 1895475"/>
                <a:gd name="connsiteX517" fmla="*/ 234315 w 1447800"/>
                <a:gd name="connsiteY517" fmla="*/ 52387 h 1895475"/>
                <a:gd name="connsiteX518" fmla="*/ 235268 w 1447800"/>
                <a:gd name="connsiteY518" fmla="*/ 46673 h 1895475"/>
                <a:gd name="connsiteX519" fmla="*/ 237173 w 1447800"/>
                <a:gd name="connsiteY519" fmla="*/ 33337 h 1895475"/>
                <a:gd name="connsiteX520" fmla="*/ 240982 w 1447800"/>
                <a:gd name="connsiteY520" fmla="*/ 19050 h 1895475"/>
                <a:gd name="connsiteX521" fmla="*/ 242888 w 1447800"/>
                <a:gd name="connsiteY521" fmla="*/ 14288 h 1895475"/>
                <a:gd name="connsiteX522" fmla="*/ 244793 w 1447800"/>
                <a:gd name="connsiteY522" fmla="*/ 16193 h 1895475"/>
                <a:gd name="connsiteX523" fmla="*/ 252413 w 1447800"/>
                <a:gd name="connsiteY523" fmla="*/ 20003 h 1895475"/>
                <a:gd name="connsiteX524" fmla="*/ 261938 w 1447800"/>
                <a:gd name="connsiteY524" fmla="*/ 19050 h 1895475"/>
                <a:gd name="connsiteX525" fmla="*/ 269557 w 1447800"/>
                <a:gd name="connsiteY525" fmla="*/ 13335 h 1895475"/>
                <a:gd name="connsiteX526" fmla="*/ 277178 w 1447800"/>
                <a:gd name="connsiteY526" fmla="*/ 7620 h 1895475"/>
                <a:gd name="connsiteX527" fmla="*/ 284798 w 1447800"/>
                <a:gd name="connsiteY527" fmla="*/ 2857 h 1895475"/>
                <a:gd name="connsiteX528" fmla="*/ 295275 w 1447800"/>
                <a:gd name="connsiteY528" fmla="*/ 17145 h 1895475"/>
                <a:gd name="connsiteX529" fmla="*/ 291465 w 1447800"/>
                <a:gd name="connsiteY529" fmla="*/ 50483 h 1895475"/>
                <a:gd name="connsiteX530" fmla="*/ 300990 w 1447800"/>
                <a:gd name="connsiteY530" fmla="*/ 63817 h 1895475"/>
                <a:gd name="connsiteX531" fmla="*/ 312420 w 1447800"/>
                <a:gd name="connsiteY531" fmla="*/ 62865 h 1895475"/>
                <a:gd name="connsiteX532" fmla="*/ 348615 w 1447800"/>
                <a:gd name="connsiteY532" fmla="*/ 26670 h 1895475"/>
                <a:gd name="connsiteX533" fmla="*/ 394335 w 1447800"/>
                <a:gd name="connsiteY533" fmla="*/ 4763 h 1895475"/>
                <a:gd name="connsiteX534" fmla="*/ 418148 w 1447800"/>
                <a:gd name="connsiteY534" fmla="*/ 0 h 1895475"/>
                <a:gd name="connsiteX535" fmla="*/ 442913 w 1447800"/>
                <a:gd name="connsiteY535" fmla="*/ 952 h 1895475"/>
                <a:gd name="connsiteX536" fmla="*/ 455295 w 1447800"/>
                <a:gd name="connsiteY536" fmla="*/ 5715 h 1895475"/>
                <a:gd name="connsiteX537" fmla="*/ 461963 w 1447800"/>
                <a:gd name="connsiteY537" fmla="*/ 14288 h 1895475"/>
                <a:gd name="connsiteX538" fmla="*/ 465773 w 1447800"/>
                <a:gd name="connsiteY538" fmla="*/ 25718 h 1895475"/>
                <a:gd name="connsiteX539" fmla="*/ 474345 w 1447800"/>
                <a:gd name="connsiteY539" fmla="*/ 40958 h 1895475"/>
                <a:gd name="connsiteX540" fmla="*/ 484823 w 1447800"/>
                <a:gd name="connsiteY540" fmla="*/ 51435 h 1895475"/>
                <a:gd name="connsiteX541" fmla="*/ 506730 w 1447800"/>
                <a:gd name="connsiteY541" fmla="*/ 64770 h 1895475"/>
                <a:gd name="connsiteX542" fmla="*/ 516255 w 1447800"/>
                <a:gd name="connsiteY542" fmla="*/ 79058 h 1895475"/>
                <a:gd name="connsiteX543" fmla="*/ 529590 w 1447800"/>
                <a:gd name="connsiteY543" fmla="*/ 108585 h 1895475"/>
                <a:gd name="connsiteX544" fmla="*/ 537210 w 1447800"/>
                <a:gd name="connsiteY544" fmla="*/ 118110 h 1895475"/>
                <a:gd name="connsiteX545" fmla="*/ 570548 w 1447800"/>
                <a:gd name="connsiteY545" fmla="*/ 140970 h 1895475"/>
                <a:gd name="connsiteX546" fmla="*/ 579120 w 1447800"/>
                <a:gd name="connsiteY546" fmla="*/ 150495 h 1895475"/>
                <a:gd name="connsiteX547" fmla="*/ 588645 w 1447800"/>
                <a:gd name="connsiteY547" fmla="*/ 164783 h 1895475"/>
                <a:gd name="connsiteX548" fmla="*/ 593407 w 1447800"/>
                <a:gd name="connsiteY548" fmla="*/ 174308 h 1895475"/>
                <a:gd name="connsiteX549" fmla="*/ 596265 w 1447800"/>
                <a:gd name="connsiteY549" fmla="*/ 182880 h 1895475"/>
                <a:gd name="connsiteX550" fmla="*/ 598170 w 1447800"/>
                <a:gd name="connsiteY550" fmla="*/ 191453 h 1895475"/>
                <a:gd name="connsiteX551" fmla="*/ 598170 w 1447800"/>
                <a:gd name="connsiteY551" fmla="*/ 200978 h 1895475"/>
                <a:gd name="connsiteX552" fmla="*/ 588645 w 1447800"/>
                <a:gd name="connsiteY552" fmla="*/ 220028 h 1895475"/>
                <a:gd name="connsiteX553" fmla="*/ 588645 w 1447800"/>
                <a:gd name="connsiteY553" fmla="*/ 224790 h 1895475"/>
                <a:gd name="connsiteX554" fmla="*/ 590550 w 1447800"/>
                <a:gd name="connsiteY554" fmla="*/ 239078 h 1895475"/>
                <a:gd name="connsiteX555" fmla="*/ 592455 w 1447800"/>
                <a:gd name="connsiteY555" fmla="*/ 267653 h 1895475"/>
                <a:gd name="connsiteX556" fmla="*/ 595313 w 1447800"/>
                <a:gd name="connsiteY556" fmla="*/ 283845 h 1895475"/>
                <a:gd name="connsiteX557" fmla="*/ 601028 w 1447800"/>
                <a:gd name="connsiteY557" fmla="*/ 299085 h 1895475"/>
                <a:gd name="connsiteX558" fmla="*/ 612457 w 1447800"/>
                <a:gd name="connsiteY558" fmla="*/ 317183 h 1895475"/>
                <a:gd name="connsiteX559" fmla="*/ 614363 w 1447800"/>
                <a:gd name="connsiteY559" fmla="*/ 332423 h 1895475"/>
                <a:gd name="connsiteX560" fmla="*/ 609600 w 1447800"/>
                <a:gd name="connsiteY560" fmla="*/ 344805 h 1895475"/>
                <a:gd name="connsiteX561" fmla="*/ 609600 w 1447800"/>
                <a:gd name="connsiteY561" fmla="*/ 352425 h 1895475"/>
                <a:gd name="connsiteX562" fmla="*/ 636270 w 1447800"/>
                <a:gd name="connsiteY562" fmla="*/ 352425 h 1895475"/>
                <a:gd name="connsiteX563" fmla="*/ 646748 w 1447800"/>
                <a:gd name="connsiteY563" fmla="*/ 360045 h 1895475"/>
                <a:gd name="connsiteX564" fmla="*/ 666750 w 1447800"/>
                <a:gd name="connsiteY564" fmla="*/ 385763 h 1895475"/>
                <a:gd name="connsiteX565" fmla="*/ 669607 w 1447800"/>
                <a:gd name="connsiteY565" fmla="*/ 388620 h 1895475"/>
                <a:gd name="connsiteX566" fmla="*/ 676275 w 1447800"/>
                <a:gd name="connsiteY566" fmla="*/ 393383 h 1895475"/>
                <a:gd name="connsiteX567" fmla="*/ 679132 w 1447800"/>
                <a:gd name="connsiteY567" fmla="*/ 397193 h 1895475"/>
                <a:gd name="connsiteX568" fmla="*/ 681038 w 1447800"/>
                <a:gd name="connsiteY568" fmla="*/ 401003 h 1895475"/>
                <a:gd name="connsiteX569" fmla="*/ 682943 w 1447800"/>
                <a:gd name="connsiteY569" fmla="*/ 412433 h 1895475"/>
                <a:gd name="connsiteX570" fmla="*/ 682943 w 1447800"/>
                <a:gd name="connsiteY570" fmla="*/ 415290 h 1895475"/>
                <a:gd name="connsiteX571" fmla="*/ 688657 w 1447800"/>
                <a:gd name="connsiteY571" fmla="*/ 417195 h 1895475"/>
                <a:gd name="connsiteX572" fmla="*/ 699135 w 1447800"/>
                <a:gd name="connsiteY572" fmla="*/ 412433 h 1895475"/>
                <a:gd name="connsiteX573" fmla="*/ 704850 w 1447800"/>
                <a:gd name="connsiteY573" fmla="*/ 412433 h 1895475"/>
                <a:gd name="connsiteX574" fmla="*/ 714375 w 1447800"/>
                <a:gd name="connsiteY574" fmla="*/ 419100 h 1895475"/>
                <a:gd name="connsiteX575" fmla="*/ 731520 w 1447800"/>
                <a:gd name="connsiteY575" fmla="*/ 439103 h 1895475"/>
                <a:gd name="connsiteX576" fmla="*/ 741998 w 1447800"/>
                <a:gd name="connsiteY576" fmla="*/ 445770 h 1895475"/>
                <a:gd name="connsiteX577" fmla="*/ 762000 w 1447800"/>
                <a:gd name="connsiteY577" fmla="*/ 466725 h 1895475"/>
                <a:gd name="connsiteX578" fmla="*/ 776288 w 1447800"/>
                <a:gd name="connsiteY578" fmla="*/ 501015 h 1895475"/>
                <a:gd name="connsiteX579" fmla="*/ 777240 w 1447800"/>
                <a:gd name="connsiteY579" fmla="*/ 536258 h 1895475"/>
                <a:gd name="connsiteX580" fmla="*/ 757238 w 1447800"/>
                <a:gd name="connsiteY580" fmla="*/ 560070 h 1895475"/>
                <a:gd name="connsiteX581" fmla="*/ 747713 w 1447800"/>
                <a:gd name="connsiteY581" fmla="*/ 561975 h 1895475"/>
                <a:gd name="connsiteX582" fmla="*/ 716280 w 1447800"/>
                <a:gd name="connsiteY582" fmla="*/ 561975 h 1895475"/>
                <a:gd name="connsiteX583" fmla="*/ 626745 w 1447800"/>
                <a:gd name="connsiteY583" fmla="*/ 583883 h 1895475"/>
                <a:gd name="connsiteX584" fmla="*/ 605790 w 1447800"/>
                <a:gd name="connsiteY584" fmla="*/ 595313 h 1895475"/>
                <a:gd name="connsiteX585" fmla="*/ 601028 w 1447800"/>
                <a:gd name="connsiteY585" fmla="*/ 615315 h 1895475"/>
                <a:gd name="connsiteX586" fmla="*/ 606743 w 1447800"/>
                <a:gd name="connsiteY586" fmla="*/ 623888 h 1895475"/>
                <a:gd name="connsiteX587" fmla="*/ 625793 w 1447800"/>
                <a:gd name="connsiteY587" fmla="*/ 629603 h 1895475"/>
                <a:gd name="connsiteX588" fmla="*/ 632460 w 1447800"/>
                <a:gd name="connsiteY588" fmla="*/ 634365 h 1895475"/>
                <a:gd name="connsiteX589" fmla="*/ 635318 w 1447800"/>
                <a:gd name="connsiteY589" fmla="*/ 640080 h 1895475"/>
                <a:gd name="connsiteX590" fmla="*/ 637223 w 1447800"/>
                <a:gd name="connsiteY590" fmla="*/ 658178 h 1895475"/>
                <a:gd name="connsiteX591" fmla="*/ 640080 w 1447800"/>
                <a:gd name="connsiteY591" fmla="*/ 665798 h 1895475"/>
                <a:gd name="connsiteX592" fmla="*/ 643890 w 1447800"/>
                <a:gd name="connsiteY592" fmla="*/ 672465 h 1895475"/>
                <a:gd name="connsiteX593" fmla="*/ 665798 w 1447800"/>
                <a:gd name="connsiteY593" fmla="*/ 698183 h 1895475"/>
                <a:gd name="connsiteX594" fmla="*/ 672465 w 1447800"/>
                <a:gd name="connsiteY594" fmla="*/ 709613 h 1895475"/>
                <a:gd name="connsiteX595" fmla="*/ 677228 w 1447800"/>
                <a:gd name="connsiteY595" fmla="*/ 724853 h 1895475"/>
                <a:gd name="connsiteX596" fmla="*/ 678180 w 1447800"/>
                <a:gd name="connsiteY596" fmla="*/ 742950 h 1895475"/>
                <a:gd name="connsiteX597" fmla="*/ 677228 w 1447800"/>
                <a:gd name="connsiteY597" fmla="*/ 751523 h 1895475"/>
                <a:gd name="connsiteX598" fmla="*/ 672465 w 1447800"/>
                <a:gd name="connsiteY598" fmla="*/ 766763 h 1895475"/>
                <a:gd name="connsiteX599" fmla="*/ 670560 w 1447800"/>
                <a:gd name="connsiteY599" fmla="*/ 775335 h 1895475"/>
                <a:gd name="connsiteX600" fmla="*/ 671513 w 1447800"/>
                <a:gd name="connsiteY600" fmla="*/ 783908 h 1895475"/>
                <a:gd name="connsiteX601" fmla="*/ 673418 w 1447800"/>
                <a:gd name="connsiteY601" fmla="*/ 791528 h 1895475"/>
                <a:gd name="connsiteX602" fmla="*/ 675323 w 1447800"/>
                <a:gd name="connsiteY602" fmla="*/ 798195 h 1895475"/>
                <a:gd name="connsiteX603" fmla="*/ 673418 w 1447800"/>
                <a:gd name="connsiteY603" fmla="*/ 806768 h 1895475"/>
                <a:gd name="connsiteX604" fmla="*/ 669607 w 1447800"/>
                <a:gd name="connsiteY604" fmla="*/ 811530 h 1895475"/>
                <a:gd name="connsiteX605" fmla="*/ 657225 w 1447800"/>
                <a:gd name="connsiteY605" fmla="*/ 814388 h 1895475"/>
                <a:gd name="connsiteX606" fmla="*/ 655320 w 1447800"/>
                <a:gd name="connsiteY606" fmla="*/ 819150 h 1895475"/>
                <a:gd name="connsiteX607" fmla="*/ 657225 w 1447800"/>
                <a:gd name="connsiteY607" fmla="*/ 826770 h 1895475"/>
                <a:gd name="connsiteX608" fmla="*/ 661988 w 1447800"/>
                <a:gd name="connsiteY608" fmla="*/ 833438 h 1895475"/>
                <a:gd name="connsiteX609" fmla="*/ 672465 w 1447800"/>
                <a:gd name="connsiteY609" fmla="*/ 843915 h 1895475"/>
                <a:gd name="connsiteX610" fmla="*/ 681038 w 1447800"/>
                <a:gd name="connsiteY610" fmla="*/ 848678 h 1895475"/>
                <a:gd name="connsiteX611" fmla="*/ 689610 w 1447800"/>
                <a:gd name="connsiteY611" fmla="*/ 852488 h 1895475"/>
                <a:gd name="connsiteX612" fmla="*/ 698182 w 1447800"/>
                <a:gd name="connsiteY612" fmla="*/ 854393 h 1895475"/>
                <a:gd name="connsiteX613" fmla="*/ 706755 w 1447800"/>
                <a:gd name="connsiteY613" fmla="*/ 854393 h 1895475"/>
                <a:gd name="connsiteX614" fmla="*/ 717232 w 1447800"/>
                <a:gd name="connsiteY614" fmla="*/ 848678 h 1895475"/>
                <a:gd name="connsiteX615" fmla="*/ 721995 w 1447800"/>
                <a:gd name="connsiteY615" fmla="*/ 877253 h 1895475"/>
                <a:gd name="connsiteX616" fmla="*/ 708660 w 1447800"/>
                <a:gd name="connsiteY616" fmla="*/ 904875 h 1895475"/>
                <a:gd name="connsiteX617" fmla="*/ 687705 w 1447800"/>
                <a:gd name="connsiteY617" fmla="*/ 927735 h 1895475"/>
                <a:gd name="connsiteX618" fmla="*/ 657225 w 1447800"/>
                <a:gd name="connsiteY618" fmla="*/ 948690 h 1895475"/>
                <a:gd name="connsiteX619" fmla="*/ 695325 w 1447800"/>
                <a:gd name="connsiteY619" fmla="*/ 965835 h 1895475"/>
                <a:gd name="connsiteX620" fmla="*/ 707707 w 1447800"/>
                <a:gd name="connsiteY620" fmla="*/ 967740 h 1895475"/>
                <a:gd name="connsiteX621" fmla="*/ 717232 w 1447800"/>
                <a:gd name="connsiteY621" fmla="*/ 963930 h 1895475"/>
                <a:gd name="connsiteX622" fmla="*/ 736282 w 1447800"/>
                <a:gd name="connsiteY622" fmla="*/ 946785 h 1895475"/>
                <a:gd name="connsiteX623" fmla="*/ 755332 w 1447800"/>
                <a:gd name="connsiteY623" fmla="*/ 942023 h 1895475"/>
                <a:gd name="connsiteX624" fmla="*/ 774382 w 1447800"/>
                <a:gd name="connsiteY624" fmla="*/ 945833 h 1895475"/>
                <a:gd name="connsiteX625" fmla="*/ 812482 w 1447800"/>
                <a:gd name="connsiteY625" fmla="*/ 959168 h 1895475"/>
                <a:gd name="connsiteX626" fmla="*/ 829628 w 1447800"/>
                <a:gd name="connsiteY626" fmla="*/ 965835 h 1895475"/>
                <a:gd name="connsiteX627" fmla="*/ 863918 w 1447800"/>
                <a:gd name="connsiteY627" fmla="*/ 959168 h 1895475"/>
                <a:gd name="connsiteX628" fmla="*/ 880110 w 1447800"/>
                <a:gd name="connsiteY628" fmla="*/ 962025 h 1895475"/>
                <a:gd name="connsiteX629" fmla="*/ 887730 w 1447800"/>
                <a:gd name="connsiteY629" fmla="*/ 969645 h 1895475"/>
                <a:gd name="connsiteX630" fmla="*/ 890588 w 1447800"/>
                <a:gd name="connsiteY630" fmla="*/ 981075 h 1895475"/>
                <a:gd name="connsiteX631" fmla="*/ 892493 w 1447800"/>
                <a:gd name="connsiteY631" fmla="*/ 994410 h 1895475"/>
                <a:gd name="connsiteX632" fmla="*/ 898207 w 1447800"/>
                <a:gd name="connsiteY632" fmla="*/ 1006793 h 1895475"/>
                <a:gd name="connsiteX633" fmla="*/ 905828 w 1447800"/>
                <a:gd name="connsiteY633" fmla="*/ 1014413 h 1895475"/>
                <a:gd name="connsiteX634" fmla="*/ 915353 w 1447800"/>
                <a:gd name="connsiteY634" fmla="*/ 1017270 h 1895475"/>
                <a:gd name="connsiteX635" fmla="*/ 953453 w 1447800"/>
                <a:gd name="connsiteY635" fmla="*/ 1020128 h 1895475"/>
                <a:gd name="connsiteX636" fmla="*/ 990600 w 1447800"/>
                <a:gd name="connsiteY636" fmla="*/ 1011555 h 1895475"/>
                <a:gd name="connsiteX637" fmla="*/ 1033463 w 1447800"/>
                <a:gd name="connsiteY637" fmla="*/ 993458 h 1895475"/>
                <a:gd name="connsiteX638" fmla="*/ 1058228 w 1447800"/>
                <a:gd name="connsiteY638" fmla="*/ 978218 h 1895475"/>
                <a:gd name="connsiteX639" fmla="*/ 1065848 w 1447800"/>
                <a:gd name="connsiteY639" fmla="*/ 977265 h 1895475"/>
                <a:gd name="connsiteX640" fmla="*/ 1076325 w 1447800"/>
                <a:gd name="connsiteY640" fmla="*/ 982028 h 1895475"/>
                <a:gd name="connsiteX641" fmla="*/ 1085850 w 1447800"/>
                <a:gd name="connsiteY641" fmla="*/ 988695 h 1895475"/>
                <a:gd name="connsiteX642" fmla="*/ 1096328 w 1447800"/>
                <a:gd name="connsiteY642" fmla="*/ 986790 h 1895475"/>
                <a:gd name="connsiteX643" fmla="*/ 1106805 w 1447800"/>
                <a:gd name="connsiteY643" fmla="*/ 982028 h 1895475"/>
                <a:gd name="connsiteX644" fmla="*/ 1117282 w 1447800"/>
                <a:gd name="connsiteY644" fmla="*/ 980123 h 1895475"/>
                <a:gd name="connsiteX645" fmla="*/ 1127760 w 1447800"/>
                <a:gd name="connsiteY645" fmla="*/ 983933 h 1895475"/>
                <a:gd name="connsiteX646" fmla="*/ 1134428 w 1447800"/>
                <a:gd name="connsiteY646" fmla="*/ 992505 h 1895475"/>
                <a:gd name="connsiteX647" fmla="*/ 1138238 w 1447800"/>
                <a:gd name="connsiteY647" fmla="*/ 1004888 h 1895475"/>
                <a:gd name="connsiteX648" fmla="*/ 1151573 w 1447800"/>
                <a:gd name="connsiteY648" fmla="*/ 1082040 h 1895475"/>
                <a:gd name="connsiteX649" fmla="*/ 1162050 w 1447800"/>
                <a:gd name="connsiteY649" fmla="*/ 1109663 h 1895475"/>
                <a:gd name="connsiteX650" fmla="*/ 1177290 w 1447800"/>
                <a:gd name="connsiteY650" fmla="*/ 1123950 h 1895475"/>
                <a:gd name="connsiteX651" fmla="*/ 1195388 w 1447800"/>
                <a:gd name="connsiteY651" fmla="*/ 1125855 h 1895475"/>
                <a:gd name="connsiteX652" fmla="*/ 1230630 w 1447800"/>
                <a:gd name="connsiteY652" fmla="*/ 1117283 h 1895475"/>
                <a:gd name="connsiteX653" fmla="*/ 1248728 w 1447800"/>
                <a:gd name="connsiteY653" fmla="*/ 1118235 h 1895475"/>
                <a:gd name="connsiteX654" fmla="*/ 1259205 w 1447800"/>
                <a:gd name="connsiteY654" fmla="*/ 1122045 h 1895475"/>
                <a:gd name="connsiteX655" fmla="*/ 1268730 w 1447800"/>
                <a:gd name="connsiteY655" fmla="*/ 1127760 h 1895475"/>
                <a:gd name="connsiteX656" fmla="*/ 1273493 w 1447800"/>
                <a:gd name="connsiteY656" fmla="*/ 1137285 h 1895475"/>
                <a:gd name="connsiteX657" fmla="*/ 1269682 w 1447800"/>
                <a:gd name="connsiteY657" fmla="*/ 1151573 h 1895475"/>
                <a:gd name="connsiteX658" fmla="*/ 1262063 w 1447800"/>
                <a:gd name="connsiteY658" fmla="*/ 1158240 h 1895475"/>
                <a:gd name="connsiteX659" fmla="*/ 1233488 w 1447800"/>
                <a:gd name="connsiteY659" fmla="*/ 1164908 h 1895475"/>
                <a:gd name="connsiteX660" fmla="*/ 1235393 w 1447800"/>
                <a:gd name="connsiteY660" fmla="*/ 1173480 h 1895475"/>
                <a:gd name="connsiteX661" fmla="*/ 1235393 w 1447800"/>
                <a:gd name="connsiteY661" fmla="*/ 1196340 h 1895475"/>
                <a:gd name="connsiteX662" fmla="*/ 1236345 w 1447800"/>
                <a:gd name="connsiteY662" fmla="*/ 1204913 h 1895475"/>
                <a:gd name="connsiteX663" fmla="*/ 1241107 w 1447800"/>
                <a:gd name="connsiteY663" fmla="*/ 1210628 h 1895475"/>
                <a:gd name="connsiteX664" fmla="*/ 1253490 w 1447800"/>
                <a:gd name="connsiteY664" fmla="*/ 1213485 h 1895475"/>
                <a:gd name="connsiteX665" fmla="*/ 1260157 w 1447800"/>
                <a:gd name="connsiteY665" fmla="*/ 1218248 h 1895475"/>
                <a:gd name="connsiteX666" fmla="*/ 1266825 w 1447800"/>
                <a:gd name="connsiteY666" fmla="*/ 1228725 h 1895475"/>
                <a:gd name="connsiteX667" fmla="*/ 1266825 w 1447800"/>
                <a:gd name="connsiteY667" fmla="*/ 1238250 h 1895475"/>
                <a:gd name="connsiteX668" fmla="*/ 1265873 w 1447800"/>
                <a:gd name="connsiteY668" fmla="*/ 1248728 h 1895475"/>
                <a:gd name="connsiteX669" fmla="*/ 1266825 w 1447800"/>
                <a:gd name="connsiteY669" fmla="*/ 1262063 h 1895475"/>
                <a:gd name="connsiteX670" fmla="*/ 1270635 w 1447800"/>
                <a:gd name="connsiteY670" fmla="*/ 1272540 h 1895475"/>
                <a:gd name="connsiteX671" fmla="*/ 1281113 w 1447800"/>
                <a:gd name="connsiteY671" fmla="*/ 1286828 h 1895475"/>
                <a:gd name="connsiteX672" fmla="*/ 1285875 w 1447800"/>
                <a:gd name="connsiteY672" fmla="*/ 1297305 h 1895475"/>
                <a:gd name="connsiteX673" fmla="*/ 1286828 w 1447800"/>
                <a:gd name="connsiteY673" fmla="*/ 1309688 h 1895475"/>
                <a:gd name="connsiteX674" fmla="*/ 1284923 w 1447800"/>
                <a:gd name="connsiteY674" fmla="*/ 1319213 h 1895475"/>
                <a:gd name="connsiteX675" fmla="*/ 1285875 w 1447800"/>
                <a:gd name="connsiteY675" fmla="*/ 1327785 h 1895475"/>
                <a:gd name="connsiteX676" fmla="*/ 1293495 w 1447800"/>
                <a:gd name="connsiteY676" fmla="*/ 1335405 h 1895475"/>
                <a:gd name="connsiteX677" fmla="*/ 1306830 w 1447800"/>
                <a:gd name="connsiteY677" fmla="*/ 1343025 h 1895475"/>
                <a:gd name="connsiteX678" fmla="*/ 1312545 w 1447800"/>
                <a:gd name="connsiteY678" fmla="*/ 1348740 h 1895475"/>
                <a:gd name="connsiteX679" fmla="*/ 1317307 w 1447800"/>
                <a:gd name="connsiteY679" fmla="*/ 1357313 h 1895475"/>
                <a:gd name="connsiteX680" fmla="*/ 1322070 w 1447800"/>
                <a:gd name="connsiteY680" fmla="*/ 1380173 h 1895475"/>
                <a:gd name="connsiteX681" fmla="*/ 1320165 w 1447800"/>
                <a:gd name="connsiteY681" fmla="*/ 1401128 h 1895475"/>
                <a:gd name="connsiteX682" fmla="*/ 1321118 w 1447800"/>
                <a:gd name="connsiteY682" fmla="*/ 1419225 h 1895475"/>
                <a:gd name="connsiteX683" fmla="*/ 1333500 w 1447800"/>
                <a:gd name="connsiteY683" fmla="*/ 1435418 h 1895475"/>
                <a:gd name="connsiteX684" fmla="*/ 1292543 w 1447800"/>
                <a:gd name="connsiteY684" fmla="*/ 1453515 h 1895475"/>
                <a:gd name="connsiteX685" fmla="*/ 1284923 w 1447800"/>
                <a:gd name="connsiteY685" fmla="*/ 1463993 h 1895475"/>
                <a:gd name="connsiteX686" fmla="*/ 1285875 w 1447800"/>
                <a:gd name="connsiteY686" fmla="*/ 1474470 h 1895475"/>
                <a:gd name="connsiteX687" fmla="*/ 1310640 w 1447800"/>
                <a:gd name="connsiteY687" fmla="*/ 1574483 h 1895475"/>
                <a:gd name="connsiteX688" fmla="*/ 1322070 w 1447800"/>
                <a:gd name="connsiteY688" fmla="*/ 1595438 h 1895475"/>
                <a:gd name="connsiteX689" fmla="*/ 1339215 w 1447800"/>
                <a:gd name="connsiteY689" fmla="*/ 1603058 h 1895475"/>
                <a:gd name="connsiteX690" fmla="*/ 1350645 w 1447800"/>
                <a:gd name="connsiteY690" fmla="*/ 1604963 h 1895475"/>
                <a:gd name="connsiteX691" fmla="*/ 1362075 w 1447800"/>
                <a:gd name="connsiteY691" fmla="*/ 1608773 h 1895475"/>
                <a:gd name="connsiteX692" fmla="*/ 1371600 w 1447800"/>
                <a:gd name="connsiteY692" fmla="*/ 1616393 h 1895475"/>
                <a:gd name="connsiteX693" fmla="*/ 1379220 w 1447800"/>
                <a:gd name="connsiteY693" fmla="*/ 1630680 h 1895475"/>
                <a:gd name="connsiteX694" fmla="*/ 1383030 w 1447800"/>
                <a:gd name="connsiteY694" fmla="*/ 1649730 h 1895475"/>
                <a:gd name="connsiteX695" fmla="*/ 1383982 w 1447800"/>
                <a:gd name="connsiteY695" fmla="*/ 1664970 h 1895475"/>
                <a:gd name="connsiteX696" fmla="*/ 1386840 w 1447800"/>
                <a:gd name="connsiteY696" fmla="*/ 1677353 h 1895475"/>
                <a:gd name="connsiteX697" fmla="*/ 1398270 w 1447800"/>
                <a:gd name="connsiteY697" fmla="*/ 1690688 h 1895475"/>
                <a:gd name="connsiteX698" fmla="*/ 1408748 w 1447800"/>
                <a:gd name="connsiteY698" fmla="*/ 1698308 h 1895475"/>
                <a:gd name="connsiteX699" fmla="*/ 1419225 w 1447800"/>
                <a:gd name="connsiteY699" fmla="*/ 1704023 h 1895475"/>
                <a:gd name="connsiteX700" fmla="*/ 1430655 w 1447800"/>
                <a:gd name="connsiteY700" fmla="*/ 1706880 h 1895475"/>
                <a:gd name="connsiteX701" fmla="*/ 1441132 w 1447800"/>
                <a:gd name="connsiteY701" fmla="*/ 1707833 h 1895475"/>
                <a:gd name="connsiteX702" fmla="*/ 1451610 w 1447800"/>
                <a:gd name="connsiteY702" fmla="*/ 1704023 h 189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</a:cxnLst>
              <a:rect l="l" t="t" r="r" b="b"/>
              <a:pathLst>
                <a:path w="1447800" h="1895475">
                  <a:moveTo>
                    <a:pt x="1451610" y="1704023"/>
                  </a:moveTo>
                  <a:lnTo>
                    <a:pt x="1450657" y="1708785"/>
                  </a:lnTo>
                  <a:lnTo>
                    <a:pt x="1448753" y="1715453"/>
                  </a:lnTo>
                  <a:lnTo>
                    <a:pt x="1445895" y="1721168"/>
                  </a:lnTo>
                  <a:lnTo>
                    <a:pt x="1443990" y="1723073"/>
                  </a:lnTo>
                  <a:lnTo>
                    <a:pt x="1440180" y="1724025"/>
                  </a:lnTo>
                  <a:lnTo>
                    <a:pt x="1435418" y="1724978"/>
                  </a:lnTo>
                  <a:lnTo>
                    <a:pt x="1426845" y="1725930"/>
                  </a:lnTo>
                  <a:lnTo>
                    <a:pt x="1417320" y="1724025"/>
                  </a:lnTo>
                  <a:lnTo>
                    <a:pt x="1400175" y="1719263"/>
                  </a:lnTo>
                  <a:lnTo>
                    <a:pt x="1396365" y="1720215"/>
                  </a:lnTo>
                  <a:lnTo>
                    <a:pt x="1390650" y="1721168"/>
                  </a:lnTo>
                  <a:lnTo>
                    <a:pt x="1383030" y="1724978"/>
                  </a:lnTo>
                  <a:lnTo>
                    <a:pt x="1366838" y="1726883"/>
                  </a:lnTo>
                  <a:lnTo>
                    <a:pt x="1350645" y="1723073"/>
                  </a:lnTo>
                  <a:lnTo>
                    <a:pt x="1347788" y="1724978"/>
                  </a:lnTo>
                  <a:lnTo>
                    <a:pt x="1347788" y="1728788"/>
                  </a:lnTo>
                  <a:lnTo>
                    <a:pt x="1348740" y="1730693"/>
                  </a:lnTo>
                  <a:lnTo>
                    <a:pt x="1352550" y="1735455"/>
                  </a:lnTo>
                  <a:lnTo>
                    <a:pt x="1354455" y="1737360"/>
                  </a:lnTo>
                  <a:lnTo>
                    <a:pt x="1353503" y="1739265"/>
                  </a:lnTo>
                  <a:lnTo>
                    <a:pt x="1351598" y="1740218"/>
                  </a:lnTo>
                  <a:lnTo>
                    <a:pt x="1346835" y="1739265"/>
                  </a:lnTo>
                  <a:lnTo>
                    <a:pt x="1310640" y="1716405"/>
                  </a:lnTo>
                  <a:lnTo>
                    <a:pt x="1304925" y="1713548"/>
                  </a:lnTo>
                  <a:lnTo>
                    <a:pt x="1302068" y="1712595"/>
                  </a:lnTo>
                  <a:lnTo>
                    <a:pt x="1299210" y="1712595"/>
                  </a:lnTo>
                  <a:lnTo>
                    <a:pt x="1296353" y="1714500"/>
                  </a:lnTo>
                  <a:lnTo>
                    <a:pt x="1293495" y="1716405"/>
                  </a:lnTo>
                  <a:lnTo>
                    <a:pt x="1292543" y="1721168"/>
                  </a:lnTo>
                  <a:lnTo>
                    <a:pt x="1292543" y="1724978"/>
                  </a:lnTo>
                  <a:lnTo>
                    <a:pt x="1292543" y="1737360"/>
                  </a:lnTo>
                  <a:lnTo>
                    <a:pt x="1292543" y="1741170"/>
                  </a:lnTo>
                  <a:lnTo>
                    <a:pt x="1291590" y="1744028"/>
                  </a:lnTo>
                  <a:lnTo>
                    <a:pt x="1289685" y="1745933"/>
                  </a:lnTo>
                  <a:lnTo>
                    <a:pt x="1286828" y="1746885"/>
                  </a:lnTo>
                  <a:lnTo>
                    <a:pt x="1283018" y="1746885"/>
                  </a:lnTo>
                  <a:lnTo>
                    <a:pt x="1279207" y="1744980"/>
                  </a:lnTo>
                  <a:lnTo>
                    <a:pt x="1266825" y="1737360"/>
                  </a:lnTo>
                  <a:lnTo>
                    <a:pt x="1263968" y="1736408"/>
                  </a:lnTo>
                  <a:lnTo>
                    <a:pt x="1260157" y="1737360"/>
                  </a:lnTo>
                  <a:lnTo>
                    <a:pt x="1255395" y="1739265"/>
                  </a:lnTo>
                  <a:lnTo>
                    <a:pt x="1248728" y="1745933"/>
                  </a:lnTo>
                  <a:lnTo>
                    <a:pt x="1247775" y="1749743"/>
                  </a:lnTo>
                  <a:lnTo>
                    <a:pt x="1247775" y="1752600"/>
                  </a:lnTo>
                  <a:lnTo>
                    <a:pt x="1250632" y="1756410"/>
                  </a:lnTo>
                  <a:lnTo>
                    <a:pt x="1250632" y="1758315"/>
                  </a:lnTo>
                  <a:lnTo>
                    <a:pt x="1249680" y="1760220"/>
                  </a:lnTo>
                  <a:lnTo>
                    <a:pt x="1246823" y="1762125"/>
                  </a:lnTo>
                  <a:lnTo>
                    <a:pt x="1243965" y="1762125"/>
                  </a:lnTo>
                  <a:lnTo>
                    <a:pt x="1227773" y="1758315"/>
                  </a:lnTo>
                  <a:lnTo>
                    <a:pt x="1225868" y="1759268"/>
                  </a:lnTo>
                  <a:lnTo>
                    <a:pt x="1223010" y="1761173"/>
                  </a:lnTo>
                  <a:lnTo>
                    <a:pt x="1219200" y="1766888"/>
                  </a:lnTo>
                  <a:lnTo>
                    <a:pt x="1218248" y="1769745"/>
                  </a:lnTo>
                  <a:lnTo>
                    <a:pt x="1217295" y="1773555"/>
                  </a:lnTo>
                  <a:lnTo>
                    <a:pt x="1220153" y="1781175"/>
                  </a:lnTo>
                  <a:lnTo>
                    <a:pt x="1221105" y="1786890"/>
                  </a:lnTo>
                  <a:lnTo>
                    <a:pt x="1220153" y="1789748"/>
                  </a:lnTo>
                  <a:lnTo>
                    <a:pt x="1218248" y="1791653"/>
                  </a:lnTo>
                  <a:lnTo>
                    <a:pt x="1213485" y="1793558"/>
                  </a:lnTo>
                  <a:lnTo>
                    <a:pt x="1195388" y="1797368"/>
                  </a:lnTo>
                  <a:lnTo>
                    <a:pt x="1188720" y="1796415"/>
                  </a:lnTo>
                  <a:lnTo>
                    <a:pt x="1184910" y="1795463"/>
                  </a:lnTo>
                  <a:lnTo>
                    <a:pt x="1182053" y="1793558"/>
                  </a:lnTo>
                  <a:lnTo>
                    <a:pt x="1171575" y="1787843"/>
                  </a:lnTo>
                  <a:lnTo>
                    <a:pt x="1164907" y="1786890"/>
                  </a:lnTo>
                  <a:lnTo>
                    <a:pt x="1158240" y="1785938"/>
                  </a:lnTo>
                  <a:lnTo>
                    <a:pt x="1153478" y="1787843"/>
                  </a:lnTo>
                  <a:lnTo>
                    <a:pt x="1149668" y="1790700"/>
                  </a:lnTo>
                  <a:lnTo>
                    <a:pt x="1143953" y="1798320"/>
                  </a:lnTo>
                  <a:lnTo>
                    <a:pt x="1141095" y="1803083"/>
                  </a:lnTo>
                  <a:lnTo>
                    <a:pt x="1139190" y="1806893"/>
                  </a:lnTo>
                  <a:lnTo>
                    <a:pt x="1137285" y="1814513"/>
                  </a:lnTo>
                  <a:lnTo>
                    <a:pt x="1135380" y="1816418"/>
                  </a:lnTo>
                  <a:lnTo>
                    <a:pt x="1133475" y="1817370"/>
                  </a:lnTo>
                  <a:lnTo>
                    <a:pt x="1129665" y="1816418"/>
                  </a:lnTo>
                  <a:lnTo>
                    <a:pt x="1122045" y="1810703"/>
                  </a:lnTo>
                  <a:lnTo>
                    <a:pt x="1118235" y="1811655"/>
                  </a:lnTo>
                  <a:lnTo>
                    <a:pt x="1113473" y="1815465"/>
                  </a:lnTo>
                  <a:lnTo>
                    <a:pt x="1105853" y="1824990"/>
                  </a:lnTo>
                  <a:lnTo>
                    <a:pt x="1104900" y="1829753"/>
                  </a:lnTo>
                  <a:lnTo>
                    <a:pt x="1104900" y="1833563"/>
                  </a:lnTo>
                  <a:lnTo>
                    <a:pt x="1105853" y="1838325"/>
                  </a:lnTo>
                  <a:lnTo>
                    <a:pt x="1103948" y="1844040"/>
                  </a:lnTo>
                  <a:lnTo>
                    <a:pt x="1102043" y="1846898"/>
                  </a:lnTo>
                  <a:lnTo>
                    <a:pt x="1099185" y="1847850"/>
                  </a:lnTo>
                  <a:lnTo>
                    <a:pt x="1094423" y="1845945"/>
                  </a:lnTo>
                  <a:lnTo>
                    <a:pt x="1088707" y="1843088"/>
                  </a:lnTo>
                  <a:lnTo>
                    <a:pt x="1082040" y="1837373"/>
                  </a:lnTo>
                  <a:lnTo>
                    <a:pt x="1078230" y="1833563"/>
                  </a:lnTo>
                  <a:lnTo>
                    <a:pt x="1075373" y="1829753"/>
                  </a:lnTo>
                  <a:lnTo>
                    <a:pt x="1073468" y="1829753"/>
                  </a:lnTo>
                  <a:lnTo>
                    <a:pt x="1070610" y="1831658"/>
                  </a:lnTo>
                  <a:lnTo>
                    <a:pt x="1065848" y="1843088"/>
                  </a:lnTo>
                  <a:lnTo>
                    <a:pt x="1063943" y="1850708"/>
                  </a:lnTo>
                  <a:lnTo>
                    <a:pt x="1057275" y="1857375"/>
                  </a:lnTo>
                  <a:lnTo>
                    <a:pt x="1038225" y="1867853"/>
                  </a:lnTo>
                  <a:lnTo>
                    <a:pt x="988695" y="1856423"/>
                  </a:lnTo>
                  <a:lnTo>
                    <a:pt x="974407" y="1858328"/>
                  </a:lnTo>
                  <a:lnTo>
                    <a:pt x="961073" y="1869758"/>
                  </a:lnTo>
                  <a:lnTo>
                    <a:pt x="951548" y="1874520"/>
                  </a:lnTo>
                  <a:lnTo>
                    <a:pt x="948690" y="1874520"/>
                  </a:lnTo>
                  <a:lnTo>
                    <a:pt x="944880" y="1872615"/>
                  </a:lnTo>
                  <a:lnTo>
                    <a:pt x="937260" y="1865948"/>
                  </a:lnTo>
                  <a:lnTo>
                    <a:pt x="933450" y="1864043"/>
                  </a:lnTo>
                  <a:lnTo>
                    <a:pt x="930593" y="1864043"/>
                  </a:lnTo>
                  <a:lnTo>
                    <a:pt x="926782" y="1865948"/>
                  </a:lnTo>
                  <a:lnTo>
                    <a:pt x="924878" y="1868805"/>
                  </a:lnTo>
                  <a:lnTo>
                    <a:pt x="922973" y="1871663"/>
                  </a:lnTo>
                  <a:lnTo>
                    <a:pt x="922020" y="1879283"/>
                  </a:lnTo>
                  <a:lnTo>
                    <a:pt x="920115" y="1884998"/>
                  </a:lnTo>
                  <a:lnTo>
                    <a:pt x="918210" y="1887855"/>
                  </a:lnTo>
                  <a:lnTo>
                    <a:pt x="914400" y="1891665"/>
                  </a:lnTo>
                  <a:lnTo>
                    <a:pt x="912495" y="1892618"/>
                  </a:lnTo>
                  <a:lnTo>
                    <a:pt x="893445" y="1893570"/>
                  </a:lnTo>
                  <a:lnTo>
                    <a:pt x="842010" y="1885950"/>
                  </a:lnTo>
                  <a:lnTo>
                    <a:pt x="833438" y="1886903"/>
                  </a:lnTo>
                  <a:lnTo>
                    <a:pt x="823913" y="1890713"/>
                  </a:lnTo>
                  <a:lnTo>
                    <a:pt x="821055" y="1892618"/>
                  </a:lnTo>
                  <a:lnTo>
                    <a:pt x="813435" y="1899285"/>
                  </a:lnTo>
                  <a:lnTo>
                    <a:pt x="811530" y="1899285"/>
                  </a:lnTo>
                  <a:lnTo>
                    <a:pt x="808673" y="1899285"/>
                  </a:lnTo>
                  <a:lnTo>
                    <a:pt x="807720" y="1894523"/>
                  </a:lnTo>
                  <a:lnTo>
                    <a:pt x="807720" y="1887855"/>
                  </a:lnTo>
                  <a:lnTo>
                    <a:pt x="807720" y="1884045"/>
                  </a:lnTo>
                  <a:lnTo>
                    <a:pt x="805815" y="1881188"/>
                  </a:lnTo>
                  <a:lnTo>
                    <a:pt x="801053" y="1875473"/>
                  </a:lnTo>
                  <a:lnTo>
                    <a:pt x="800100" y="1870710"/>
                  </a:lnTo>
                  <a:lnTo>
                    <a:pt x="800100" y="1866900"/>
                  </a:lnTo>
                  <a:lnTo>
                    <a:pt x="801053" y="1856423"/>
                  </a:lnTo>
                  <a:lnTo>
                    <a:pt x="802957" y="1853565"/>
                  </a:lnTo>
                  <a:lnTo>
                    <a:pt x="804863" y="1852613"/>
                  </a:lnTo>
                  <a:lnTo>
                    <a:pt x="816293" y="1850708"/>
                  </a:lnTo>
                  <a:lnTo>
                    <a:pt x="821055" y="1848803"/>
                  </a:lnTo>
                  <a:lnTo>
                    <a:pt x="824865" y="1844040"/>
                  </a:lnTo>
                  <a:lnTo>
                    <a:pt x="826770" y="1837373"/>
                  </a:lnTo>
                  <a:lnTo>
                    <a:pt x="826770" y="1830705"/>
                  </a:lnTo>
                  <a:lnTo>
                    <a:pt x="825818" y="1824990"/>
                  </a:lnTo>
                  <a:lnTo>
                    <a:pt x="823913" y="1820228"/>
                  </a:lnTo>
                  <a:lnTo>
                    <a:pt x="820103" y="1816418"/>
                  </a:lnTo>
                  <a:lnTo>
                    <a:pt x="801053" y="1802130"/>
                  </a:lnTo>
                  <a:lnTo>
                    <a:pt x="798195" y="1797368"/>
                  </a:lnTo>
                  <a:lnTo>
                    <a:pt x="796290" y="1793558"/>
                  </a:lnTo>
                  <a:lnTo>
                    <a:pt x="796290" y="1790700"/>
                  </a:lnTo>
                  <a:lnTo>
                    <a:pt x="794385" y="1787843"/>
                  </a:lnTo>
                  <a:lnTo>
                    <a:pt x="789623" y="1783080"/>
                  </a:lnTo>
                  <a:lnTo>
                    <a:pt x="787718" y="1780223"/>
                  </a:lnTo>
                  <a:lnTo>
                    <a:pt x="787718" y="1777365"/>
                  </a:lnTo>
                  <a:lnTo>
                    <a:pt x="786765" y="1771650"/>
                  </a:lnTo>
                  <a:lnTo>
                    <a:pt x="786765" y="1768793"/>
                  </a:lnTo>
                  <a:lnTo>
                    <a:pt x="783907" y="1764030"/>
                  </a:lnTo>
                  <a:lnTo>
                    <a:pt x="781050" y="1762125"/>
                  </a:lnTo>
                  <a:lnTo>
                    <a:pt x="777240" y="1761173"/>
                  </a:lnTo>
                  <a:lnTo>
                    <a:pt x="771525" y="1763078"/>
                  </a:lnTo>
                  <a:lnTo>
                    <a:pt x="768668" y="1764983"/>
                  </a:lnTo>
                  <a:lnTo>
                    <a:pt x="764857" y="1770698"/>
                  </a:lnTo>
                  <a:lnTo>
                    <a:pt x="762953" y="1771650"/>
                  </a:lnTo>
                  <a:lnTo>
                    <a:pt x="760095" y="1770698"/>
                  </a:lnTo>
                  <a:lnTo>
                    <a:pt x="756285" y="1766888"/>
                  </a:lnTo>
                  <a:lnTo>
                    <a:pt x="753428" y="1763078"/>
                  </a:lnTo>
                  <a:lnTo>
                    <a:pt x="752475" y="1760220"/>
                  </a:lnTo>
                  <a:lnTo>
                    <a:pt x="751523" y="1754505"/>
                  </a:lnTo>
                  <a:lnTo>
                    <a:pt x="749618" y="1732598"/>
                  </a:lnTo>
                  <a:lnTo>
                    <a:pt x="750570" y="1726883"/>
                  </a:lnTo>
                  <a:lnTo>
                    <a:pt x="752475" y="1720215"/>
                  </a:lnTo>
                  <a:lnTo>
                    <a:pt x="757238" y="1711643"/>
                  </a:lnTo>
                  <a:lnTo>
                    <a:pt x="758190" y="1705928"/>
                  </a:lnTo>
                  <a:lnTo>
                    <a:pt x="757238" y="1700213"/>
                  </a:lnTo>
                  <a:lnTo>
                    <a:pt x="755332" y="1695450"/>
                  </a:lnTo>
                  <a:lnTo>
                    <a:pt x="752475" y="1690688"/>
                  </a:lnTo>
                  <a:lnTo>
                    <a:pt x="748665" y="1686878"/>
                  </a:lnTo>
                  <a:lnTo>
                    <a:pt x="725805" y="1666875"/>
                  </a:lnTo>
                  <a:lnTo>
                    <a:pt x="707707" y="1645920"/>
                  </a:lnTo>
                  <a:lnTo>
                    <a:pt x="695325" y="1628775"/>
                  </a:lnTo>
                  <a:lnTo>
                    <a:pt x="693420" y="1623060"/>
                  </a:lnTo>
                  <a:lnTo>
                    <a:pt x="691515" y="1618298"/>
                  </a:lnTo>
                  <a:lnTo>
                    <a:pt x="691515" y="1612583"/>
                  </a:lnTo>
                  <a:lnTo>
                    <a:pt x="690563" y="1570673"/>
                  </a:lnTo>
                  <a:lnTo>
                    <a:pt x="692468" y="1553528"/>
                  </a:lnTo>
                  <a:lnTo>
                    <a:pt x="692468" y="1550670"/>
                  </a:lnTo>
                  <a:lnTo>
                    <a:pt x="690563" y="1548765"/>
                  </a:lnTo>
                  <a:lnTo>
                    <a:pt x="688657" y="1546860"/>
                  </a:lnTo>
                  <a:lnTo>
                    <a:pt x="671513" y="1540193"/>
                  </a:lnTo>
                  <a:lnTo>
                    <a:pt x="667703" y="1540193"/>
                  </a:lnTo>
                  <a:lnTo>
                    <a:pt x="665798" y="1543050"/>
                  </a:lnTo>
                  <a:lnTo>
                    <a:pt x="664845" y="1546860"/>
                  </a:lnTo>
                  <a:lnTo>
                    <a:pt x="661988" y="1549718"/>
                  </a:lnTo>
                  <a:lnTo>
                    <a:pt x="657225" y="1552575"/>
                  </a:lnTo>
                  <a:lnTo>
                    <a:pt x="645795" y="1554480"/>
                  </a:lnTo>
                  <a:lnTo>
                    <a:pt x="641032" y="1557338"/>
                  </a:lnTo>
                  <a:lnTo>
                    <a:pt x="638175" y="1560195"/>
                  </a:lnTo>
                  <a:lnTo>
                    <a:pt x="634365" y="1561148"/>
                  </a:lnTo>
                  <a:lnTo>
                    <a:pt x="622935" y="1564005"/>
                  </a:lnTo>
                  <a:lnTo>
                    <a:pt x="621030" y="1565910"/>
                  </a:lnTo>
                  <a:lnTo>
                    <a:pt x="620078" y="1568768"/>
                  </a:lnTo>
                  <a:lnTo>
                    <a:pt x="621030" y="1574483"/>
                  </a:lnTo>
                  <a:lnTo>
                    <a:pt x="621030" y="1578293"/>
                  </a:lnTo>
                  <a:lnTo>
                    <a:pt x="619125" y="1580198"/>
                  </a:lnTo>
                  <a:lnTo>
                    <a:pt x="616268" y="1581150"/>
                  </a:lnTo>
                  <a:lnTo>
                    <a:pt x="604838" y="1578293"/>
                  </a:lnTo>
                  <a:lnTo>
                    <a:pt x="601028" y="1577340"/>
                  </a:lnTo>
                  <a:lnTo>
                    <a:pt x="596265" y="1579245"/>
                  </a:lnTo>
                  <a:lnTo>
                    <a:pt x="593407" y="1582103"/>
                  </a:lnTo>
                  <a:lnTo>
                    <a:pt x="591503" y="1584008"/>
                  </a:lnTo>
                  <a:lnTo>
                    <a:pt x="590550" y="1586865"/>
                  </a:lnTo>
                  <a:lnTo>
                    <a:pt x="591503" y="1595438"/>
                  </a:lnTo>
                  <a:lnTo>
                    <a:pt x="590550" y="1598295"/>
                  </a:lnTo>
                  <a:lnTo>
                    <a:pt x="587693" y="1599248"/>
                  </a:lnTo>
                  <a:lnTo>
                    <a:pt x="583882" y="1599248"/>
                  </a:lnTo>
                  <a:lnTo>
                    <a:pt x="543878" y="1581150"/>
                  </a:lnTo>
                  <a:lnTo>
                    <a:pt x="526732" y="1566863"/>
                  </a:lnTo>
                  <a:lnTo>
                    <a:pt x="519113" y="1559243"/>
                  </a:lnTo>
                  <a:lnTo>
                    <a:pt x="513398" y="1549718"/>
                  </a:lnTo>
                  <a:lnTo>
                    <a:pt x="510540" y="1548765"/>
                  </a:lnTo>
                  <a:lnTo>
                    <a:pt x="505778" y="1547813"/>
                  </a:lnTo>
                  <a:lnTo>
                    <a:pt x="487680" y="1552575"/>
                  </a:lnTo>
                  <a:lnTo>
                    <a:pt x="460057" y="1564958"/>
                  </a:lnTo>
                  <a:lnTo>
                    <a:pt x="457200" y="1568768"/>
                  </a:lnTo>
                  <a:lnTo>
                    <a:pt x="456248" y="1571625"/>
                  </a:lnTo>
                  <a:lnTo>
                    <a:pt x="457200" y="1575435"/>
                  </a:lnTo>
                  <a:lnTo>
                    <a:pt x="473393" y="1584960"/>
                  </a:lnTo>
                  <a:lnTo>
                    <a:pt x="475298" y="1586865"/>
                  </a:lnTo>
                  <a:lnTo>
                    <a:pt x="475298" y="1589723"/>
                  </a:lnTo>
                  <a:lnTo>
                    <a:pt x="470535" y="1592580"/>
                  </a:lnTo>
                  <a:lnTo>
                    <a:pt x="462915" y="1595438"/>
                  </a:lnTo>
                  <a:lnTo>
                    <a:pt x="441007" y="1596390"/>
                  </a:lnTo>
                  <a:lnTo>
                    <a:pt x="425768" y="1600200"/>
                  </a:lnTo>
                  <a:lnTo>
                    <a:pt x="421005" y="1606868"/>
                  </a:lnTo>
                  <a:lnTo>
                    <a:pt x="417195" y="1606868"/>
                  </a:lnTo>
                  <a:lnTo>
                    <a:pt x="411480" y="1605915"/>
                  </a:lnTo>
                  <a:lnTo>
                    <a:pt x="371475" y="1587818"/>
                  </a:lnTo>
                  <a:lnTo>
                    <a:pt x="211455" y="1554480"/>
                  </a:lnTo>
                  <a:lnTo>
                    <a:pt x="207645" y="1552575"/>
                  </a:lnTo>
                  <a:lnTo>
                    <a:pt x="193357" y="1545908"/>
                  </a:lnTo>
                  <a:lnTo>
                    <a:pt x="188595" y="1543050"/>
                  </a:lnTo>
                  <a:lnTo>
                    <a:pt x="183832" y="1539240"/>
                  </a:lnTo>
                  <a:lnTo>
                    <a:pt x="181928" y="1537335"/>
                  </a:lnTo>
                  <a:lnTo>
                    <a:pt x="177165" y="1536383"/>
                  </a:lnTo>
                  <a:lnTo>
                    <a:pt x="169545" y="1537335"/>
                  </a:lnTo>
                  <a:lnTo>
                    <a:pt x="155257" y="1542098"/>
                  </a:lnTo>
                  <a:lnTo>
                    <a:pt x="149543" y="1545908"/>
                  </a:lnTo>
                  <a:lnTo>
                    <a:pt x="145732" y="1549718"/>
                  </a:lnTo>
                  <a:lnTo>
                    <a:pt x="144780" y="1552575"/>
                  </a:lnTo>
                  <a:lnTo>
                    <a:pt x="141923" y="1558290"/>
                  </a:lnTo>
                  <a:lnTo>
                    <a:pt x="140018" y="1560195"/>
                  </a:lnTo>
                  <a:lnTo>
                    <a:pt x="134303" y="1561148"/>
                  </a:lnTo>
                  <a:lnTo>
                    <a:pt x="83820" y="1554480"/>
                  </a:lnTo>
                  <a:lnTo>
                    <a:pt x="63818" y="1543050"/>
                  </a:lnTo>
                  <a:lnTo>
                    <a:pt x="81915" y="1490663"/>
                  </a:lnTo>
                  <a:lnTo>
                    <a:pt x="86678" y="1471613"/>
                  </a:lnTo>
                  <a:lnTo>
                    <a:pt x="87630" y="1461135"/>
                  </a:lnTo>
                  <a:lnTo>
                    <a:pt x="87630" y="1457325"/>
                  </a:lnTo>
                  <a:lnTo>
                    <a:pt x="85725" y="1447800"/>
                  </a:lnTo>
                  <a:lnTo>
                    <a:pt x="84773" y="1442085"/>
                  </a:lnTo>
                  <a:lnTo>
                    <a:pt x="85725" y="1439228"/>
                  </a:lnTo>
                  <a:lnTo>
                    <a:pt x="87630" y="1436370"/>
                  </a:lnTo>
                  <a:lnTo>
                    <a:pt x="93345" y="1433513"/>
                  </a:lnTo>
                  <a:lnTo>
                    <a:pt x="97155" y="1429703"/>
                  </a:lnTo>
                  <a:lnTo>
                    <a:pt x="98107" y="1425893"/>
                  </a:lnTo>
                  <a:lnTo>
                    <a:pt x="99060" y="1423035"/>
                  </a:lnTo>
                  <a:lnTo>
                    <a:pt x="99060" y="1409700"/>
                  </a:lnTo>
                  <a:lnTo>
                    <a:pt x="100965" y="1401128"/>
                  </a:lnTo>
                  <a:lnTo>
                    <a:pt x="102870" y="1395413"/>
                  </a:lnTo>
                  <a:lnTo>
                    <a:pt x="105728" y="1391603"/>
                  </a:lnTo>
                  <a:lnTo>
                    <a:pt x="109538" y="1388745"/>
                  </a:lnTo>
                  <a:lnTo>
                    <a:pt x="114300" y="1384935"/>
                  </a:lnTo>
                  <a:lnTo>
                    <a:pt x="118110" y="1379220"/>
                  </a:lnTo>
                  <a:lnTo>
                    <a:pt x="120015" y="1373505"/>
                  </a:lnTo>
                  <a:lnTo>
                    <a:pt x="120015" y="1367790"/>
                  </a:lnTo>
                  <a:lnTo>
                    <a:pt x="118110" y="1363980"/>
                  </a:lnTo>
                  <a:lnTo>
                    <a:pt x="115253" y="1362075"/>
                  </a:lnTo>
                  <a:lnTo>
                    <a:pt x="111443" y="1360170"/>
                  </a:lnTo>
                  <a:lnTo>
                    <a:pt x="104775" y="1354455"/>
                  </a:lnTo>
                  <a:lnTo>
                    <a:pt x="99060" y="1348740"/>
                  </a:lnTo>
                  <a:lnTo>
                    <a:pt x="98107" y="1344930"/>
                  </a:lnTo>
                  <a:lnTo>
                    <a:pt x="96203" y="1338263"/>
                  </a:lnTo>
                  <a:lnTo>
                    <a:pt x="96203" y="1329690"/>
                  </a:lnTo>
                  <a:lnTo>
                    <a:pt x="96203" y="1314450"/>
                  </a:lnTo>
                  <a:lnTo>
                    <a:pt x="97155" y="1305878"/>
                  </a:lnTo>
                  <a:lnTo>
                    <a:pt x="109538" y="1258253"/>
                  </a:lnTo>
                  <a:lnTo>
                    <a:pt x="111443" y="1253490"/>
                  </a:lnTo>
                  <a:lnTo>
                    <a:pt x="113348" y="1250633"/>
                  </a:lnTo>
                  <a:lnTo>
                    <a:pt x="115253" y="1249680"/>
                  </a:lnTo>
                  <a:lnTo>
                    <a:pt x="118110" y="1247775"/>
                  </a:lnTo>
                  <a:lnTo>
                    <a:pt x="121920" y="1245870"/>
                  </a:lnTo>
                  <a:lnTo>
                    <a:pt x="126682" y="1238250"/>
                  </a:lnTo>
                  <a:lnTo>
                    <a:pt x="127635" y="1232535"/>
                  </a:lnTo>
                  <a:lnTo>
                    <a:pt x="128588" y="1227773"/>
                  </a:lnTo>
                  <a:lnTo>
                    <a:pt x="128588" y="1218248"/>
                  </a:lnTo>
                  <a:lnTo>
                    <a:pt x="128588" y="1199198"/>
                  </a:lnTo>
                  <a:lnTo>
                    <a:pt x="130493" y="1190625"/>
                  </a:lnTo>
                  <a:lnTo>
                    <a:pt x="129540" y="1185863"/>
                  </a:lnTo>
                  <a:lnTo>
                    <a:pt x="127635" y="1183005"/>
                  </a:lnTo>
                  <a:lnTo>
                    <a:pt x="117157" y="1173480"/>
                  </a:lnTo>
                  <a:lnTo>
                    <a:pt x="115253" y="1170623"/>
                  </a:lnTo>
                  <a:lnTo>
                    <a:pt x="113348" y="1166813"/>
                  </a:lnTo>
                  <a:lnTo>
                    <a:pt x="113348" y="1160145"/>
                  </a:lnTo>
                  <a:lnTo>
                    <a:pt x="114300" y="1158240"/>
                  </a:lnTo>
                  <a:lnTo>
                    <a:pt x="122873" y="1148715"/>
                  </a:lnTo>
                  <a:lnTo>
                    <a:pt x="128588" y="1143000"/>
                  </a:lnTo>
                  <a:lnTo>
                    <a:pt x="136207" y="1127760"/>
                  </a:lnTo>
                  <a:lnTo>
                    <a:pt x="140970" y="1118235"/>
                  </a:lnTo>
                  <a:lnTo>
                    <a:pt x="140018" y="1114425"/>
                  </a:lnTo>
                  <a:lnTo>
                    <a:pt x="138113" y="1112520"/>
                  </a:lnTo>
                  <a:lnTo>
                    <a:pt x="132398" y="1109663"/>
                  </a:lnTo>
                  <a:lnTo>
                    <a:pt x="125730" y="1107758"/>
                  </a:lnTo>
                  <a:lnTo>
                    <a:pt x="122873" y="1107758"/>
                  </a:lnTo>
                  <a:lnTo>
                    <a:pt x="120968" y="1109663"/>
                  </a:lnTo>
                  <a:lnTo>
                    <a:pt x="110490" y="1133475"/>
                  </a:lnTo>
                  <a:lnTo>
                    <a:pt x="108585" y="1135380"/>
                  </a:lnTo>
                  <a:lnTo>
                    <a:pt x="106680" y="1137285"/>
                  </a:lnTo>
                  <a:lnTo>
                    <a:pt x="103823" y="1137285"/>
                  </a:lnTo>
                  <a:lnTo>
                    <a:pt x="76200" y="1131570"/>
                  </a:lnTo>
                  <a:lnTo>
                    <a:pt x="64770" y="1125855"/>
                  </a:lnTo>
                  <a:lnTo>
                    <a:pt x="60007" y="1122045"/>
                  </a:lnTo>
                  <a:lnTo>
                    <a:pt x="55245" y="1117283"/>
                  </a:lnTo>
                  <a:lnTo>
                    <a:pt x="54293" y="1114425"/>
                  </a:lnTo>
                  <a:lnTo>
                    <a:pt x="55245" y="1111568"/>
                  </a:lnTo>
                  <a:lnTo>
                    <a:pt x="62865" y="1106805"/>
                  </a:lnTo>
                  <a:lnTo>
                    <a:pt x="65723" y="1102995"/>
                  </a:lnTo>
                  <a:lnTo>
                    <a:pt x="66675" y="1099185"/>
                  </a:lnTo>
                  <a:lnTo>
                    <a:pt x="65723" y="1096328"/>
                  </a:lnTo>
                  <a:lnTo>
                    <a:pt x="64770" y="1094423"/>
                  </a:lnTo>
                  <a:lnTo>
                    <a:pt x="62865" y="1092518"/>
                  </a:lnTo>
                  <a:lnTo>
                    <a:pt x="60007" y="1092518"/>
                  </a:lnTo>
                  <a:lnTo>
                    <a:pt x="49530" y="1095375"/>
                  </a:lnTo>
                  <a:lnTo>
                    <a:pt x="42863" y="1094423"/>
                  </a:lnTo>
                  <a:lnTo>
                    <a:pt x="22860" y="1084898"/>
                  </a:lnTo>
                  <a:lnTo>
                    <a:pt x="2857" y="1079183"/>
                  </a:lnTo>
                  <a:lnTo>
                    <a:pt x="0" y="1076325"/>
                  </a:lnTo>
                  <a:lnTo>
                    <a:pt x="953" y="1071563"/>
                  </a:lnTo>
                  <a:lnTo>
                    <a:pt x="13335" y="1049655"/>
                  </a:lnTo>
                  <a:lnTo>
                    <a:pt x="14288" y="1046798"/>
                  </a:lnTo>
                  <a:lnTo>
                    <a:pt x="16193" y="1041083"/>
                  </a:lnTo>
                  <a:lnTo>
                    <a:pt x="15240" y="1037273"/>
                  </a:lnTo>
                  <a:lnTo>
                    <a:pt x="14288" y="1032510"/>
                  </a:lnTo>
                  <a:lnTo>
                    <a:pt x="11430" y="1024890"/>
                  </a:lnTo>
                  <a:lnTo>
                    <a:pt x="11430" y="1013460"/>
                  </a:lnTo>
                  <a:lnTo>
                    <a:pt x="12382" y="1008698"/>
                  </a:lnTo>
                  <a:lnTo>
                    <a:pt x="14288" y="1005840"/>
                  </a:lnTo>
                  <a:lnTo>
                    <a:pt x="41910" y="996315"/>
                  </a:lnTo>
                  <a:lnTo>
                    <a:pt x="46673" y="991553"/>
                  </a:lnTo>
                  <a:lnTo>
                    <a:pt x="47625" y="985838"/>
                  </a:lnTo>
                  <a:lnTo>
                    <a:pt x="48578" y="980123"/>
                  </a:lnTo>
                  <a:lnTo>
                    <a:pt x="47625" y="970598"/>
                  </a:lnTo>
                  <a:lnTo>
                    <a:pt x="47625" y="965835"/>
                  </a:lnTo>
                  <a:lnTo>
                    <a:pt x="49530" y="962025"/>
                  </a:lnTo>
                  <a:lnTo>
                    <a:pt x="63818" y="954405"/>
                  </a:lnTo>
                  <a:lnTo>
                    <a:pt x="66675" y="952500"/>
                  </a:lnTo>
                  <a:lnTo>
                    <a:pt x="68580" y="948690"/>
                  </a:lnTo>
                  <a:lnTo>
                    <a:pt x="69532" y="945833"/>
                  </a:lnTo>
                  <a:lnTo>
                    <a:pt x="68580" y="942975"/>
                  </a:lnTo>
                  <a:lnTo>
                    <a:pt x="65723" y="932498"/>
                  </a:lnTo>
                  <a:lnTo>
                    <a:pt x="65723" y="927735"/>
                  </a:lnTo>
                  <a:lnTo>
                    <a:pt x="67628" y="924878"/>
                  </a:lnTo>
                  <a:lnTo>
                    <a:pt x="70485" y="918210"/>
                  </a:lnTo>
                  <a:lnTo>
                    <a:pt x="70485" y="916305"/>
                  </a:lnTo>
                  <a:lnTo>
                    <a:pt x="68580" y="913448"/>
                  </a:lnTo>
                  <a:lnTo>
                    <a:pt x="61913" y="907733"/>
                  </a:lnTo>
                  <a:lnTo>
                    <a:pt x="60007" y="904875"/>
                  </a:lnTo>
                  <a:lnTo>
                    <a:pt x="58103" y="900113"/>
                  </a:lnTo>
                  <a:lnTo>
                    <a:pt x="58103" y="895350"/>
                  </a:lnTo>
                  <a:lnTo>
                    <a:pt x="59055" y="890588"/>
                  </a:lnTo>
                  <a:lnTo>
                    <a:pt x="60960" y="882968"/>
                  </a:lnTo>
                  <a:lnTo>
                    <a:pt x="60960" y="879158"/>
                  </a:lnTo>
                  <a:lnTo>
                    <a:pt x="60960" y="875348"/>
                  </a:lnTo>
                  <a:lnTo>
                    <a:pt x="59055" y="873443"/>
                  </a:lnTo>
                  <a:lnTo>
                    <a:pt x="57150" y="871538"/>
                  </a:lnTo>
                  <a:lnTo>
                    <a:pt x="55245" y="870585"/>
                  </a:lnTo>
                  <a:lnTo>
                    <a:pt x="48578" y="870585"/>
                  </a:lnTo>
                  <a:lnTo>
                    <a:pt x="45720" y="870585"/>
                  </a:lnTo>
                  <a:lnTo>
                    <a:pt x="43815" y="868680"/>
                  </a:lnTo>
                  <a:lnTo>
                    <a:pt x="41910" y="864870"/>
                  </a:lnTo>
                  <a:lnTo>
                    <a:pt x="40005" y="859155"/>
                  </a:lnTo>
                  <a:lnTo>
                    <a:pt x="35243" y="849630"/>
                  </a:lnTo>
                  <a:lnTo>
                    <a:pt x="32385" y="844868"/>
                  </a:lnTo>
                  <a:lnTo>
                    <a:pt x="32385" y="840105"/>
                  </a:lnTo>
                  <a:lnTo>
                    <a:pt x="32385" y="837248"/>
                  </a:lnTo>
                  <a:lnTo>
                    <a:pt x="36195" y="829628"/>
                  </a:lnTo>
                  <a:lnTo>
                    <a:pt x="40005" y="824865"/>
                  </a:lnTo>
                  <a:lnTo>
                    <a:pt x="42863" y="823913"/>
                  </a:lnTo>
                  <a:lnTo>
                    <a:pt x="48578" y="825818"/>
                  </a:lnTo>
                  <a:lnTo>
                    <a:pt x="50482" y="827723"/>
                  </a:lnTo>
                  <a:lnTo>
                    <a:pt x="52388" y="830580"/>
                  </a:lnTo>
                  <a:lnTo>
                    <a:pt x="56198" y="841058"/>
                  </a:lnTo>
                  <a:lnTo>
                    <a:pt x="59055" y="845820"/>
                  </a:lnTo>
                  <a:lnTo>
                    <a:pt x="60960" y="847725"/>
                  </a:lnTo>
                  <a:lnTo>
                    <a:pt x="67628" y="849630"/>
                  </a:lnTo>
                  <a:lnTo>
                    <a:pt x="74295" y="849630"/>
                  </a:lnTo>
                  <a:lnTo>
                    <a:pt x="84773" y="847725"/>
                  </a:lnTo>
                  <a:lnTo>
                    <a:pt x="90488" y="844868"/>
                  </a:lnTo>
                  <a:lnTo>
                    <a:pt x="92393" y="842963"/>
                  </a:lnTo>
                  <a:lnTo>
                    <a:pt x="94298" y="840105"/>
                  </a:lnTo>
                  <a:lnTo>
                    <a:pt x="96203" y="835343"/>
                  </a:lnTo>
                  <a:lnTo>
                    <a:pt x="96203" y="825818"/>
                  </a:lnTo>
                  <a:lnTo>
                    <a:pt x="95250" y="819150"/>
                  </a:lnTo>
                  <a:lnTo>
                    <a:pt x="95250" y="814388"/>
                  </a:lnTo>
                  <a:lnTo>
                    <a:pt x="96203" y="810578"/>
                  </a:lnTo>
                  <a:lnTo>
                    <a:pt x="100013" y="804863"/>
                  </a:lnTo>
                  <a:lnTo>
                    <a:pt x="100013" y="801053"/>
                  </a:lnTo>
                  <a:lnTo>
                    <a:pt x="96203" y="797243"/>
                  </a:lnTo>
                  <a:lnTo>
                    <a:pt x="93345" y="793433"/>
                  </a:lnTo>
                  <a:lnTo>
                    <a:pt x="91440" y="787718"/>
                  </a:lnTo>
                  <a:lnTo>
                    <a:pt x="88582" y="774383"/>
                  </a:lnTo>
                  <a:lnTo>
                    <a:pt x="89535" y="767715"/>
                  </a:lnTo>
                  <a:lnTo>
                    <a:pt x="90488" y="763905"/>
                  </a:lnTo>
                  <a:lnTo>
                    <a:pt x="95250" y="761048"/>
                  </a:lnTo>
                  <a:lnTo>
                    <a:pt x="98107" y="759143"/>
                  </a:lnTo>
                  <a:lnTo>
                    <a:pt x="100965" y="754380"/>
                  </a:lnTo>
                  <a:lnTo>
                    <a:pt x="100965" y="750570"/>
                  </a:lnTo>
                  <a:lnTo>
                    <a:pt x="100965" y="746760"/>
                  </a:lnTo>
                  <a:lnTo>
                    <a:pt x="96203" y="729615"/>
                  </a:lnTo>
                  <a:lnTo>
                    <a:pt x="96203" y="727710"/>
                  </a:lnTo>
                  <a:lnTo>
                    <a:pt x="98107" y="727710"/>
                  </a:lnTo>
                  <a:lnTo>
                    <a:pt x="114300" y="736283"/>
                  </a:lnTo>
                  <a:lnTo>
                    <a:pt x="119063" y="738188"/>
                  </a:lnTo>
                  <a:lnTo>
                    <a:pt x="120968" y="737235"/>
                  </a:lnTo>
                  <a:lnTo>
                    <a:pt x="128588" y="726758"/>
                  </a:lnTo>
                  <a:lnTo>
                    <a:pt x="130493" y="722948"/>
                  </a:lnTo>
                  <a:lnTo>
                    <a:pt x="128588" y="718185"/>
                  </a:lnTo>
                  <a:lnTo>
                    <a:pt x="126682" y="716280"/>
                  </a:lnTo>
                  <a:lnTo>
                    <a:pt x="116205" y="706755"/>
                  </a:lnTo>
                  <a:lnTo>
                    <a:pt x="113348" y="702945"/>
                  </a:lnTo>
                  <a:lnTo>
                    <a:pt x="112395" y="697230"/>
                  </a:lnTo>
                  <a:lnTo>
                    <a:pt x="111443" y="686753"/>
                  </a:lnTo>
                  <a:lnTo>
                    <a:pt x="112395" y="681990"/>
                  </a:lnTo>
                  <a:lnTo>
                    <a:pt x="115253" y="679133"/>
                  </a:lnTo>
                  <a:lnTo>
                    <a:pt x="123825" y="676275"/>
                  </a:lnTo>
                  <a:lnTo>
                    <a:pt x="126682" y="674370"/>
                  </a:lnTo>
                  <a:lnTo>
                    <a:pt x="127635" y="671513"/>
                  </a:lnTo>
                  <a:lnTo>
                    <a:pt x="127635" y="669608"/>
                  </a:lnTo>
                  <a:lnTo>
                    <a:pt x="125730" y="666750"/>
                  </a:lnTo>
                  <a:lnTo>
                    <a:pt x="121920" y="662940"/>
                  </a:lnTo>
                  <a:lnTo>
                    <a:pt x="119063" y="661035"/>
                  </a:lnTo>
                  <a:lnTo>
                    <a:pt x="117157" y="657225"/>
                  </a:lnTo>
                  <a:lnTo>
                    <a:pt x="115253" y="622935"/>
                  </a:lnTo>
                  <a:lnTo>
                    <a:pt x="114300" y="619125"/>
                  </a:lnTo>
                  <a:lnTo>
                    <a:pt x="112395" y="616268"/>
                  </a:lnTo>
                  <a:lnTo>
                    <a:pt x="109538" y="615315"/>
                  </a:lnTo>
                  <a:lnTo>
                    <a:pt x="106680" y="613410"/>
                  </a:lnTo>
                  <a:lnTo>
                    <a:pt x="104775" y="610553"/>
                  </a:lnTo>
                  <a:lnTo>
                    <a:pt x="102870" y="602933"/>
                  </a:lnTo>
                  <a:lnTo>
                    <a:pt x="103823" y="593408"/>
                  </a:lnTo>
                  <a:lnTo>
                    <a:pt x="112395" y="581978"/>
                  </a:lnTo>
                  <a:lnTo>
                    <a:pt x="112395" y="572453"/>
                  </a:lnTo>
                  <a:lnTo>
                    <a:pt x="83820" y="543878"/>
                  </a:lnTo>
                  <a:lnTo>
                    <a:pt x="80010" y="538163"/>
                  </a:lnTo>
                  <a:lnTo>
                    <a:pt x="76200" y="531495"/>
                  </a:lnTo>
                  <a:lnTo>
                    <a:pt x="70485" y="512445"/>
                  </a:lnTo>
                  <a:lnTo>
                    <a:pt x="67628" y="505778"/>
                  </a:lnTo>
                  <a:lnTo>
                    <a:pt x="64770" y="487680"/>
                  </a:lnTo>
                  <a:lnTo>
                    <a:pt x="69532" y="467678"/>
                  </a:lnTo>
                  <a:lnTo>
                    <a:pt x="79057" y="451485"/>
                  </a:lnTo>
                  <a:lnTo>
                    <a:pt x="85725" y="444818"/>
                  </a:lnTo>
                  <a:lnTo>
                    <a:pt x="96203" y="438150"/>
                  </a:lnTo>
                  <a:lnTo>
                    <a:pt x="100965" y="424815"/>
                  </a:lnTo>
                  <a:lnTo>
                    <a:pt x="106680" y="413385"/>
                  </a:lnTo>
                  <a:lnTo>
                    <a:pt x="120015" y="409575"/>
                  </a:lnTo>
                  <a:lnTo>
                    <a:pt x="120015" y="402908"/>
                  </a:lnTo>
                  <a:lnTo>
                    <a:pt x="116205" y="392430"/>
                  </a:lnTo>
                  <a:lnTo>
                    <a:pt x="126682" y="389573"/>
                  </a:lnTo>
                  <a:lnTo>
                    <a:pt x="150495" y="391478"/>
                  </a:lnTo>
                  <a:lnTo>
                    <a:pt x="156210" y="387668"/>
                  </a:lnTo>
                  <a:lnTo>
                    <a:pt x="175260" y="371475"/>
                  </a:lnTo>
                  <a:lnTo>
                    <a:pt x="182880" y="368618"/>
                  </a:lnTo>
                  <a:lnTo>
                    <a:pt x="195263" y="366713"/>
                  </a:lnTo>
                  <a:lnTo>
                    <a:pt x="224790" y="356235"/>
                  </a:lnTo>
                  <a:lnTo>
                    <a:pt x="230505" y="346710"/>
                  </a:lnTo>
                  <a:lnTo>
                    <a:pt x="229553" y="337185"/>
                  </a:lnTo>
                  <a:lnTo>
                    <a:pt x="220980" y="322898"/>
                  </a:lnTo>
                  <a:lnTo>
                    <a:pt x="218123" y="320993"/>
                  </a:lnTo>
                  <a:lnTo>
                    <a:pt x="218123" y="319088"/>
                  </a:lnTo>
                  <a:lnTo>
                    <a:pt x="224790" y="311468"/>
                  </a:lnTo>
                  <a:lnTo>
                    <a:pt x="227648" y="306705"/>
                  </a:lnTo>
                  <a:lnTo>
                    <a:pt x="228600" y="301943"/>
                  </a:lnTo>
                  <a:lnTo>
                    <a:pt x="228600" y="298133"/>
                  </a:lnTo>
                  <a:lnTo>
                    <a:pt x="228600" y="270510"/>
                  </a:lnTo>
                  <a:lnTo>
                    <a:pt x="229553" y="264795"/>
                  </a:lnTo>
                  <a:lnTo>
                    <a:pt x="231457" y="261938"/>
                  </a:lnTo>
                  <a:lnTo>
                    <a:pt x="234315" y="260985"/>
                  </a:lnTo>
                  <a:lnTo>
                    <a:pt x="236220" y="260985"/>
                  </a:lnTo>
                  <a:lnTo>
                    <a:pt x="239078" y="264795"/>
                  </a:lnTo>
                  <a:lnTo>
                    <a:pt x="241935" y="270510"/>
                  </a:lnTo>
                  <a:lnTo>
                    <a:pt x="243840" y="271463"/>
                  </a:lnTo>
                  <a:lnTo>
                    <a:pt x="246698" y="272415"/>
                  </a:lnTo>
                  <a:lnTo>
                    <a:pt x="253365" y="273368"/>
                  </a:lnTo>
                  <a:lnTo>
                    <a:pt x="265748" y="271463"/>
                  </a:lnTo>
                  <a:lnTo>
                    <a:pt x="277178" y="268605"/>
                  </a:lnTo>
                  <a:lnTo>
                    <a:pt x="280035" y="266700"/>
                  </a:lnTo>
                  <a:lnTo>
                    <a:pt x="282893" y="262890"/>
                  </a:lnTo>
                  <a:lnTo>
                    <a:pt x="286703" y="253365"/>
                  </a:lnTo>
                  <a:lnTo>
                    <a:pt x="287655" y="248603"/>
                  </a:lnTo>
                  <a:lnTo>
                    <a:pt x="288607" y="243840"/>
                  </a:lnTo>
                  <a:lnTo>
                    <a:pt x="288607" y="240030"/>
                  </a:lnTo>
                  <a:lnTo>
                    <a:pt x="287655" y="238125"/>
                  </a:lnTo>
                  <a:lnTo>
                    <a:pt x="284798" y="237173"/>
                  </a:lnTo>
                  <a:lnTo>
                    <a:pt x="268605" y="235268"/>
                  </a:lnTo>
                  <a:lnTo>
                    <a:pt x="265748" y="234315"/>
                  </a:lnTo>
                  <a:lnTo>
                    <a:pt x="263843" y="232410"/>
                  </a:lnTo>
                  <a:lnTo>
                    <a:pt x="260985" y="224790"/>
                  </a:lnTo>
                  <a:lnTo>
                    <a:pt x="259080" y="222885"/>
                  </a:lnTo>
                  <a:lnTo>
                    <a:pt x="253365" y="216218"/>
                  </a:lnTo>
                  <a:lnTo>
                    <a:pt x="243840" y="202883"/>
                  </a:lnTo>
                  <a:lnTo>
                    <a:pt x="231457" y="190500"/>
                  </a:lnTo>
                  <a:lnTo>
                    <a:pt x="228600" y="188595"/>
                  </a:lnTo>
                  <a:lnTo>
                    <a:pt x="205740" y="180975"/>
                  </a:lnTo>
                  <a:lnTo>
                    <a:pt x="203835" y="179070"/>
                  </a:lnTo>
                  <a:lnTo>
                    <a:pt x="201930" y="171450"/>
                  </a:lnTo>
                  <a:lnTo>
                    <a:pt x="199073" y="130492"/>
                  </a:lnTo>
                  <a:lnTo>
                    <a:pt x="201930" y="120015"/>
                  </a:lnTo>
                  <a:lnTo>
                    <a:pt x="216218" y="105728"/>
                  </a:lnTo>
                  <a:lnTo>
                    <a:pt x="220980" y="97155"/>
                  </a:lnTo>
                  <a:lnTo>
                    <a:pt x="222885" y="91440"/>
                  </a:lnTo>
                  <a:lnTo>
                    <a:pt x="223838" y="75248"/>
                  </a:lnTo>
                  <a:lnTo>
                    <a:pt x="224790" y="68580"/>
                  </a:lnTo>
                  <a:lnTo>
                    <a:pt x="227648" y="62865"/>
                  </a:lnTo>
                  <a:lnTo>
                    <a:pt x="234315" y="52387"/>
                  </a:lnTo>
                  <a:lnTo>
                    <a:pt x="235268" y="46673"/>
                  </a:lnTo>
                  <a:lnTo>
                    <a:pt x="237173" y="33337"/>
                  </a:lnTo>
                  <a:lnTo>
                    <a:pt x="240982" y="19050"/>
                  </a:lnTo>
                  <a:lnTo>
                    <a:pt x="242888" y="14288"/>
                  </a:lnTo>
                  <a:lnTo>
                    <a:pt x="244793" y="16193"/>
                  </a:lnTo>
                  <a:lnTo>
                    <a:pt x="252413" y="20003"/>
                  </a:lnTo>
                  <a:lnTo>
                    <a:pt x="261938" y="19050"/>
                  </a:lnTo>
                  <a:lnTo>
                    <a:pt x="269557" y="13335"/>
                  </a:lnTo>
                  <a:lnTo>
                    <a:pt x="277178" y="7620"/>
                  </a:lnTo>
                  <a:lnTo>
                    <a:pt x="284798" y="2857"/>
                  </a:lnTo>
                  <a:lnTo>
                    <a:pt x="295275" y="17145"/>
                  </a:lnTo>
                  <a:lnTo>
                    <a:pt x="291465" y="50483"/>
                  </a:lnTo>
                  <a:lnTo>
                    <a:pt x="300990" y="63817"/>
                  </a:lnTo>
                  <a:lnTo>
                    <a:pt x="312420" y="62865"/>
                  </a:lnTo>
                  <a:lnTo>
                    <a:pt x="348615" y="26670"/>
                  </a:lnTo>
                  <a:lnTo>
                    <a:pt x="394335" y="4763"/>
                  </a:lnTo>
                  <a:lnTo>
                    <a:pt x="418148" y="0"/>
                  </a:lnTo>
                  <a:lnTo>
                    <a:pt x="442913" y="952"/>
                  </a:lnTo>
                  <a:lnTo>
                    <a:pt x="455295" y="5715"/>
                  </a:lnTo>
                  <a:lnTo>
                    <a:pt x="461963" y="14288"/>
                  </a:lnTo>
                  <a:lnTo>
                    <a:pt x="465773" y="25718"/>
                  </a:lnTo>
                  <a:lnTo>
                    <a:pt x="474345" y="40958"/>
                  </a:lnTo>
                  <a:lnTo>
                    <a:pt x="484823" y="51435"/>
                  </a:lnTo>
                  <a:lnTo>
                    <a:pt x="506730" y="64770"/>
                  </a:lnTo>
                  <a:lnTo>
                    <a:pt x="516255" y="79058"/>
                  </a:lnTo>
                  <a:lnTo>
                    <a:pt x="529590" y="108585"/>
                  </a:lnTo>
                  <a:lnTo>
                    <a:pt x="537210" y="118110"/>
                  </a:lnTo>
                  <a:lnTo>
                    <a:pt x="570548" y="140970"/>
                  </a:lnTo>
                  <a:lnTo>
                    <a:pt x="579120" y="150495"/>
                  </a:lnTo>
                  <a:lnTo>
                    <a:pt x="588645" y="164783"/>
                  </a:lnTo>
                  <a:lnTo>
                    <a:pt x="593407" y="174308"/>
                  </a:lnTo>
                  <a:lnTo>
                    <a:pt x="596265" y="182880"/>
                  </a:lnTo>
                  <a:lnTo>
                    <a:pt x="598170" y="191453"/>
                  </a:lnTo>
                  <a:lnTo>
                    <a:pt x="598170" y="200978"/>
                  </a:lnTo>
                  <a:lnTo>
                    <a:pt x="588645" y="220028"/>
                  </a:lnTo>
                  <a:lnTo>
                    <a:pt x="588645" y="224790"/>
                  </a:lnTo>
                  <a:lnTo>
                    <a:pt x="590550" y="239078"/>
                  </a:lnTo>
                  <a:lnTo>
                    <a:pt x="592455" y="267653"/>
                  </a:lnTo>
                  <a:lnTo>
                    <a:pt x="595313" y="283845"/>
                  </a:lnTo>
                  <a:lnTo>
                    <a:pt x="601028" y="299085"/>
                  </a:lnTo>
                  <a:lnTo>
                    <a:pt x="612457" y="317183"/>
                  </a:lnTo>
                  <a:lnTo>
                    <a:pt x="614363" y="332423"/>
                  </a:lnTo>
                  <a:lnTo>
                    <a:pt x="609600" y="344805"/>
                  </a:lnTo>
                  <a:lnTo>
                    <a:pt x="609600" y="352425"/>
                  </a:lnTo>
                  <a:lnTo>
                    <a:pt x="636270" y="352425"/>
                  </a:lnTo>
                  <a:lnTo>
                    <a:pt x="646748" y="360045"/>
                  </a:lnTo>
                  <a:lnTo>
                    <a:pt x="666750" y="385763"/>
                  </a:lnTo>
                  <a:lnTo>
                    <a:pt x="669607" y="388620"/>
                  </a:lnTo>
                  <a:lnTo>
                    <a:pt x="676275" y="393383"/>
                  </a:lnTo>
                  <a:lnTo>
                    <a:pt x="679132" y="397193"/>
                  </a:lnTo>
                  <a:lnTo>
                    <a:pt x="681038" y="401003"/>
                  </a:lnTo>
                  <a:lnTo>
                    <a:pt x="682943" y="412433"/>
                  </a:lnTo>
                  <a:lnTo>
                    <a:pt x="682943" y="415290"/>
                  </a:lnTo>
                  <a:lnTo>
                    <a:pt x="688657" y="417195"/>
                  </a:lnTo>
                  <a:lnTo>
                    <a:pt x="699135" y="412433"/>
                  </a:lnTo>
                  <a:lnTo>
                    <a:pt x="704850" y="412433"/>
                  </a:lnTo>
                  <a:lnTo>
                    <a:pt x="714375" y="419100"/>
                  </a:lnTo>
                  <a:lnTo>
                    <a:pt x="731520" y="439103"/>
                  </a:lnTo>
                  <a:lnTo>
                    <a:pt x="741998" y="445770"/>
                  </a:lnTo>
                  <a:lnTo>
                    <a:pt x="762000" y="466725"/>
                  </a:lnTo>
                  <a:lnTo>
                    <a:pt x="776288" y="501015"/>
                  </a:lnTo>
                  <a:lnTo>
                    <a:pt x="777240" y="536258"/>
                  </a:lnTo>
                  <a:lnTo>
                    <a:pt x="757238" y="560070"/>
                  </a:lnTo>
                  <a:lnTo>
                    <a:pt x="747713" y="561975"/>
                  </a:lnTo>
                  <a:lnTo>
                    <a:pt x="716280" y="561975"/>
                  </a:lnTo>
                  <a:lnTo>
                    <a:pt x="626745" y="583883"/>
                  </a:lnTo>
                  <a:lnTo>
                    <a:pt x="605790" y="595313"/>
                  </a:lnTo>
                  <a:lnTo>
                    <a:pt x="601028" y="615315"/>
                  </a:lnTo>
                  <a:lnTo>
                    <a:pt x="606743" y="623888"/>
                  </a:lnTo>
                  <a:lnTo>
                    <a:pt x="625793" y="629603"/>
                  </a:lnTo>
                  <a:lnTo>
                    <a:pt x="632460" y="634365"/>
                  </a:lnTo>
                  <a:lnTo>
                    <a:pt x="635318" y="640080"/>
                  </a:lnTo>
                  <a:lnTo>
                    <a:pt x="637223" y="658178"/>
                  </a:lnTo>
                  <a:lnTo>
                    <a:pt x="640080" y="665798"/>
                  </a:lnTo>
                  <a:lnTo>
                    <a:pt x="643890" y="672465"/>
                  </a:lnTo>
                  <a:lnTo>
                    <a:pt x="665798" y="698183"/>
                  </a:lnTo>
                  <a:lnTo>
                    <a:pt x="672465" y="709613"/>
                  </a:lnTo>
                  <a:lnTo>
                    <a:pt x="677228" y="724853"/>
                  </a:lnTo>
                  <a:lnTo>
                    <a:pt x="678180" y="742950"/>
                  </a:lnTo>
                  <a:lnTo>
                    <a:pt x="677228" y="751523"/>
                  </a:lnTo>
                  <a:lnTo>
                    <a:pt x="672465" y="766763"/>
                  </a:lnTo>
                  <a:lnTo>
                    <a:pt x="670560" y="775335"/>
                  </a:lnTo>
                  <a:lnTo>
                    <a:pt x="671513" y="783908"/>
                  </a:lnTo>
                  <a:lnTo>
                    <a:pt x="673418" y="791528"/>
                  </a:lnTo>
                  <a:lnTo>
                    <a:pt x="675323" y="798195"/>
                  </a:lnTo>
                  <a:lnTo>
                    <a:pt x="673418" y="806768"/>
                  </a:lnTo>
                  <a:lnTo>
                    <a:pt x="669607" y="811530"/>
                  </a:lnTo>
                  <a:lnTo>
                    <a:pt x="657225" y="814388"/>
                  </a:lnTo>
                  <a:lnTo>
                    <a:pt x="655320" y="819150"/>
                  </a:lnTo>
                  <a:lnTo>
                    <a:pt x="657225" y="826770"/>
                  </a:lnTo>
                  <a:lnTo>
                    <a:pt x="661988" y="833438"/>
                  </a:lnTo>
                  <a:lnTo>
                    <a:pt x="672465" y="843915"/>
                  </a:lnTo>
                  <a:lnTo>
                    <a:pt x="681038" y="848678"/>
                  </a:lnTo>
                  <a:lnTo>
                    <a:pt x="689610" y="852488"/>
                  </a:lnTo>
                  <a:lnTo>
                    <a:pt x="698182" y="854393"/>
                  </a:lnTo>
                  <a:lnTo>
                    <a:pt x="706755" y="854393"/>
                  </a:lnTo>
                  <a:lnTo>
                    <a:pt x="717232" y="848678"/>
                  </a:lnTo>
                  <a:lnTo>
                    <a:pt x="721995" y="877253"/>
                  </a:lnTo>
                  <a:lnTo>
                    <a:pt x="708660" y="904875"/>
                  </a:lnTo>
                  <a:lnTo>
                    <a:pt x="687705" y="927735"/>
                  </a:lnTo>
                  <a:lnTo>
                    <a:pt x="657225" y="948690"/>
                  </a:lnTo>
                  <a:lnTo>
                    <a:pt x="695325" y="965835"/>
                  </a:lnTo>
                  <a:lnTo>
                    <a:pt x="707707" y="967740"/>
                  </a:lnTo>
                  <a:lnTo>
                    <a:pt x="717232" y="963930"/>
                  </a:lnTo>
                  <a:lnTo>
                    <a:pt x="736282" y="946785"/>
                  </a:lnTo>
                  <a:lnTo>
                    <a:pt x="755332" y="942023"/>
                  </a:lnTo>
                  <a:lnTo>
                    <a:pt x="774382" y="945833"/>
                  </a:lnTo>
                  <a:lnTo>
                    <a:pt x="812482" y="959168"/>
                  </a:lnTo>
                  <a:lnTo>
                    <a:pt x="829628" y="965835"/>
                  </a:lnTo>
                  <a:lnTo>
                    <a:pt x="863918" y="959168"/>
                  </a:lnTo>
                  <a:lnTo>
                    <a:pt x="880110" y="962025"/>
                  </a:lnTo>
                  <a:lnTo>
                    <a:pt x="887730" y="969645"/>
                  </a:lnTo>
                  <a:lnTo>
                    <a:pt x="890588" y="981075"/>
                  </a:lnTo>
                  <a:lnTo>
                    <a:pt x="892493" y="994410"/>
                  </a:lnTo>
                  <a:lnTo>
                    <a:pt x="898207" y="1006793"/>
                  </a:lnTo>
                  <a:lnTo>
                    <a:pt x="905828" y="1014413"/>
                  </a:lnTo>
                  <a:lnTo>
                    <a:pt x="915353" y="1017270"/>
                  </a:lnTo>
                  <a:lnTo>
                    <a:pt x="953453" y="1020128"/>
                  </a:lnTo>
                  <a:lnTo>
                    <a:pt x="990600" y="1011555"/>
                  </a:lnTo>
                  <a:lnTo>
                    <a:pt x="1033463" y="993458"/>
                  </a:lnTo>
                  <a:lnTo>
                    <a:pt x="1058228" y="978218"/>
                  </a:lnTo>
                  <a:lnTo>
                    <a:pt x="1065848" y="977265"/>
                  </a:lnTo>
                  <a:lnTo>
                    <a:pt x="1076325" y="982028"/>
                  </a:lnTo>
                  <a:lnTo>
                    <a:pt x="1085850" y="988695"/>
                  </a:lnTo>
                  <a:lnTo>
                    <a:pt x="1096328" y="986790"/>
                  </a:lnTo>
                  <a:lnTo>
                    <a:pt x="1106805" y="982028"/>
                  </a:lnTo>
                  <a:lnTo>
                    <a:pt x="1117282" y="980123"/>
                  </a:lnTo>
                  <a:lnTo>
                    <a:pt x="1127760" y="983933"/>
                  </a:lnTo>
                  <a:lnTo>
                    <a:pt x="1134428" y="992505"/>
                  </a:lnTo>
                  <a:lnTo>
                    <a:pt x="1138238" y="1004888"/>
                  </a:lnTo>
                  <a:lnTo>
                    <a:pt x="1151573" y="1082040"/>
                  </a:lnTo>
                  <a:lnTo>
                    <a:pt x="1162050" y="1109663"/>
                  </a:lnTo>
                  <a:lnTo>
                    <a:pt x="1177290" y="1123950"/>
                  </a:lnTo>
                  <a:lnTo>
                    <a:pt x="1195388" y="1125855"/>
                  </a:lnTo>
                  <a:lnTo>
                    <a:pt x="1230630" y="1117283"/>
                  </a:lnTo>
                  <a:lnTo>
                    <a:pt x="1248728" y="1118235"/>
                  </a:lnTo>
                  <a:lnTo>
                    <a:pt x="1259205" y="1122045"/>
                  </a:lnTo>
                  <a:lnTo>
                    <a:pt x="1268730" y="1127760"/>
                  </a:lnTo>
                  <a:lnTo>
                    <a:pt x="1273493" y="1137285"/>
                  </a:lnTo>
                  <a:lnTo>
                    <a:pt x="1269682" y="1151573"/>
                  </a:lnTo>
                  <a:lnTo>
                    <a:pt x="1262063" y="1158240"/>
                  </a:lnTo>
                  <a:lnTo>
                    <a:pt x="1233488" y="1164908"/>
                  </a:lnTo>
                  <a:lnTo>
                    <a:pt x="1235393" y="1173480"/>
                  </a:lnTo>
                  <a:lnTo>
                    <a:pt x="1235393" y="1196340"/>
                  </a:lnTo>
                  <a:lnTo>
                    <a:pt x="1236345" y="1204913"/>
                  </a:lnTo>
                  <a:lnTo>
                    <a:pt x="1241107" y="1210628"/>
                  </a:lnTo>
                  <a:lnTo>
                    <a:pt x="1253490" y="1213485"/>
                  </a:lnTo>
                  <a:lnTo>
                    <a:pt x="1260157" y="1218248"/>
                  </a:lnTo>
                  <a:lnTo>
                    <a:pt x="1266825" y="1228725"/>
                  </a:lnTo>
                  <a:lnTo>
                    <a:pt x="1266825" y="1238250"/>
                  </a:lnTo>
                  <a:lnTo>
                    <a:pt x="1265873" y="1248728"/>
                  </a:lnTo>
                  <a:lnTo>
                    <a:pt x="1266825" y="1262063"/>
                  </a:lnTo>
                  <a:lnTo>
                    <a:pt x="1270635" y="1272540"/>
                  </a:lnTo>
                  <a:lnTo>
                    <a:pt x="1281113" y="1286828"/>
                  </a:lnTo>
                  <a:lnTo>
                    <a:pt x="1285875" y="1297305"/>
                  </a:lnTo>
                  <a:lnTo>
                    <a:pt x="1286828" y="1309688"/>
                  </a:lnTo>
                  <a:lnTo>
                    <a:pt x="1284923" y="1319213"/>
                  </a:lnTo>
                  <a:lnTo>
                    <a:pt x="1285875" y="1327785"/>
                  </a:lnTo>
                  <a:lnTo>
                    <a:pt x="1293495" y="1335405"/>
                  </a:lnTo>
                  <a:lnTo>
                    <a:pt x="1306830" y="1343025"/>
                  </a:lnTo>
                  <a:lnTo>
                    <a:pt x="1312545" y="1348740"/>
                  </a:lnTo>
                  <a:lnTo>
                    <a:pt x="1317307" y="1357313"/>
                  </a:lnTo>
                  <a:lnTo>
                    <a:pt x="1322070" y="1380173"/>
                  </a:lnTo>
                  <a:lnTo>
                    <a:pt x="1320165" y="1401128"/>
                  </a:lnTo>
                  <a:lnTo>
                    <a:pt x="1321118" y="1419225"/>
                  </a:lnTo>
                  <a:lnTo>
                    <a:pt x="1333500" y="1435418"/>
                  </a:lnTo>
                  <a:lnTo>
                    <a:pt x="1292543" y="1453515"/>
                  </a:lnTo>
                  <a:lnTo>
                    <a:pt x="1284923" y="1463993"/>
                  </a:lnTo>
                  <a:lnTo>
                    <a:pt x="1285875" y="1474470"/>
                  </a:lnTo>
                  <a:lnTo>
                    <a:pt x="1310640" y="1574483"/>
                  </a:lnTo>
                  <a:lnTo>
                    <a:pt x="1322070" y="1595438"/>
                  </a:lnTo>
                  <a:lnTo>
                    <a:pt x="1339215" y="1603058"/>
                  </a:lnTo>
                  <a:lnTo>
                    <a:pt x="1350645" y="1604963"/>
                  </a:lnTo>
                  <a:lnTo>
                    <a:pt x="1362075" y="1608773"/>
                  </a:lnTo>
                  <a:lnTo>
                    <a:pt x="1371600" y="1616393"/>
                  </a:lnTo>
                  <a:lnTo>
                    <a:pt x="1379220" y="1630680"/>
                  </a:lnTo>
                  <a:lnTo>
                    <a:pt x="1383030" y="1649730"/>
                  </a:lnTo>
                  <a:lnTo>
                    <a:pt x="1383982" y="1664970"/>
                  </a:lnTo>
                  <a:lnTo>
                    <a:pt x="1386840" y="1677353"/>
                  </a:lnTo>
                  <a:lnTo>
                    <a:pt x="1398270" y="1690688"/>
                  </a:lnTo>
                  <a:lnTo>
                    <a:pt x="1408748" y="1698308"/>
                  </a:lnTo>
                  <a:lnTo>
                    <a:pt x="1419225" y="1704023"/>
                  </a:lnTo>
                  <a:lnTo>
                    <a:pt x="1430655" y="1706880"/>
                  </a:lnTo>
                  <a:lnTo>
                    <a:pt x="1441132" y="1707833"/>
                  </a:lnTo>
                  <a:lnTo>
                    <a:pt x="1451610" y="170402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1" name="Полилиния: фигура 21">
              <a:extLst>
                <a:ext uri="{FF2B5EF4-FFF2-40B4-BE49-F238E27FC236}">
                  <a16:creationId xmlns:a16="http://schemas.microsoft.com/office/drawing/2014/main" id="{A01F7250-1922-0783-5D36-36A631B95E1B}"/>
                </a:ext>
              </a:extLst>
            </p:cNvPr>
            <p:cNvSpPr/>
            <p:nvPr/>
          </p:nvSpPr>
          <p:spPr>
            <a:xfrm>
              <a:off x="7064693" y="2907030"/>
              <a:ext cx="2076450" cy="1352550"/>
            </a:xfrm>
            <a:custGeom>
              <a:avLst/>
              <a:gdLst>
                <a:gd name="connsiteX0" fmla="*/ 1055370 w 2076450"/>
                <a:gd name="connsiteY0" fmla="*/ 15240 h 1352550"/>
                <a:gd name="connsiteX1" fmla="*/ 1073468 w 2076450"/>
                <a:gd name="connsiteY1" fmla="*/ 19050 h 1352550"/>
                <a:gd name="connsiteX2" fmla="*/ 1080135 w 2076450"/>
                <a:gd name="connsiteY2" fmla="*/ 17145 h 1352550"/>
                <a:gd name="connsiteX3" fmla="*/ 1082040 w 2076450"/>
                <a:gd name="connsiteY3" fmla="*/ 16192 h 1352550"/>
                <a:gd name="connsiteX4" fmla="*/ 1084897 w 2076450"/>
                <a:gd name="connsiteY4" fmla="*/ 16192 h 1352550"/>
                <a:gd name="connsiteX5" fmla="*/ 1088707 w 2076450"/>
                <a:gd name="connsiteY5" fmla="*/ 17145 h 1352550"/>
                <a:gd name="connsiteX6" fmla="*/ 1093470 w 2076450"/>
                <a:gd name="connsiteY6" fmla="*/ 20955 h 1352550"/>
                <a:gd name="connsiteX7" fmla="*/ 1097280 w 2076450"/>
                <a:gd name="connsiteY7" fmla="*/ 22860 h 1352550"/>
                <a:gd name="connsiteX8" fmla="*/ 1102995 w 2076450"/>
                <a:gd name="connsiteY8" fmla="*/ 23813 h 1352550"/>
                <a:gd name="connsiteX9" fmla="*/ 1114425 w 2076450"/>
                <a:gd name="connsiteY9" fmla="*/ 20955 h 1352550"/>
                <a:gd name="connsiteX10" fmla="*/ 1118235 w 2076450"/>
                <a:gd name="connsiteY10" fmla="*/ 20955 h 1352550"/>
                <a:gd name="connsiteX11" fmla="*/ 1131570 w 2076450"/>
                <a:gd name="connsiteY11" fmla="*/ 23813 h 1352550"/>
                <a:gd name="connsiteX12" fmla="*/ 1141095 w 2076450"/>
                <a:gd name="connsiteY12" fmla="*/ 23813 h 1352550"/>
                <a:gd name="connsiteX13" fmla="*/ 1143952 w 2076450"/>
                <a:gd name="connsiteY13" fmla="*/ 24765 h 1352550"/>
                <a:gd name="connsiteX14" fmla="*/ 1153477 w 2076450"/>
                <a:gd name="connsiteY14" fmla="*/ 28575 h 1352550"/>
                <a:gd name="connsiteX15" fmla="*/ 1168718 w 2076450"/>
                <a:gd name="connsiteY15" fmla="*/ 40005 h 1352550"/>
                <a:gd name="connsiteX16" fmla="*/ 1172527 w 2076450"/>
                <a:gd name="connsiteY16" fmla="*/ 43815 h 1352550"/>
                <a:gd name="connsiteX17" fmla="*/ 1175385 w 2076450"/>
                <a:gd name="connsiteY17" fmla="*/ 47625 h 1352550"/>
                <a:gd name="connsiteX18" fmla="*/ 1177290 w 2076450"/>
                <a:gd name="connsiteY18" fmla="*/ 55245 h 1352550"/>
                <a:gd name="connsiteX19" fmla="*/ 1179195 w 2076450"/>
                <a:gd name="connsiteY19" fmla="*/ 58102 h 1352550"/>
                <a:gd name="connsiteX20" fmla="*/ 1213485 w 2076450"/>
                <a:gd name="connsiteY20" fmla="*/ 85725 h 1352550"/>
                <a:gd name="connsiteX21" fmla="*/ 1216343 w 2076450"/>
                <a:gd name="connsiteY21" fmla="*/ 90488 h 1352550"/>
                <a:gd name="connsiteX22" fmla="*/ 1218247 w 2076450"/>
                <a:gd name="connsiteY22" fmla="*/ 94297 h 1352550"/>
                <a:gd name="connsiteX23" fmla="*/ 1221105 w 2076450"/>
                <a:gd name="connsiteY23" fmla="*/ 97155 h 1352550"/>
                <a:gd name="connsiteX24" fmla="*/ 1235393 w 2076450"/>
                <a:gd name="connsiteY24" fmla="*/ 106680 h 1352550"/>
                <a:gd name="connsiteX25" fmla="*/ 1237297 w 2076450"/>
                <a:gd name="connsiteY25" fmla="*/ 109538 h 1352550"/>
                <a:gd name="connsiteX26" fmla="*/ 1246822 w 2076450"/>
                <a:gd name="connsiteY26" fmla="*/ 121920 h 1352550"/>
                <a:gd name="connsiteX27" fmla="*/ 1254443 w 2076450"/>
                <a:gd name="connsiteY27" fmla="*/ 129540 h 1352550"/>
                <a:gd name="connsiteX28" fmla="*/ 1284922 w 2076450"/>
                <a:gd name="connsiteY28" fmla="*/ 147638 h 1352550"/>
                <a:gd name="connsiteX29" fmla="*/ 1293495 w 2076450"/>
                <a:gd name="connsiteY29" fmla="*/ 154305 h 1352550"/>
                <a:gd name="connsiteX30" fmla="*/ 1303972 w 2076450"/>
                <a:gd name="connsiteY30" fmla="*/ 166688 h 1352550"/>
                <a:gd name="connsiteX31" fmla="*/ 1307782 w 2076450"/>
                <a:gd name="connsiteY31" fmla="*/ 167640 h 1352550"/>
                <a:gd name="connsiteX32" fmla="*/ 1311593 w 2076450"/>
                <a:gd name="connsiteY32" fmla="*/ 168592 h 1352550"/>
                <a:gd name="connsiteX33" fmla="*/ 1318260 w 2076450"/>
                <a:gd name="connsiteY33" fmla="*/ 168592 h 1352550"/>
                <a:gd name="connsiteX34" fmla="*/ 1328738 w 2076450"/>
                <a:gd name="connsiteY34" fmla="*/ 165735 h 1352550"/>
                <a:gd name="connsiteX35" fmla="*/ 1331595 w 2076450"/>
                <a:gd name="connsiteY35" fmla="*/ 165735 h 1352550"/>
                <a:gd name="connsiteX36" fmla="*/ 1358265 w 2076450"/>
                <a:gd name="connsiteY36" fmla="*/ 170497 h 1352550"/>
                <a:gd name="connsiteX37" fmla="*/ 1361122 w 2076450"/>
                <a:gd name="connsiteY37" fmla="*/ 169545 h 1352550"/>
                <a:gd name="connsiteX38" fmla="*/ 1365885 w 2076450"/>
                <a:gd name="connsiteY38" fmla="*/ 167640 h 1352550"/>
                <a:gd name="connsiteX39" fmla="*/ 1368743 w 2076450"/>
                <a:gd name="connsiteY39" fmla="*/ 166688 h 1352550"/>
                <a:gd name="connsiteX40" fmla="*/ 1372552 w 2076450"/>
                <a:gd name="connsiteY40" fmla="*/ 167640 h 1352550"/>
                <a:gd name="connsiteX41" fmla="*/ 1381125 w 2076450"/>
                <a:gd name="connsiteY41" fmla="*/ 175260 h 1352550"/>
                <a:gd name="connsiteX42" fmla="*/ 1383982 w 2076450"/>
                <a:gd name="connsiteY42" fmla="*/ 178117 h 1352550"/>
                <a:gd name="connsiteX43" fmla="*/ 1386840 w 2076450"/>
                <a:gd name="connsiteY43" fmla="*/ 180022 h 1352550"/>
                <a:gd name="connsiteX44" fmla="*/ 1389697 w 2076450"/>
                <a:gd name="connsiteY44" fmla="*/ 180975 h 1352550"/>
                <a:gd name="connsiteX45" fmla="*/ 1405890 w 2076450"/>
                <a:gd name="connsiteY45" fmla="*/ 180022 h 1352550"/>
                <a:gd name="connsiteX46" fmla="*/ 1409700 w 2076450"/>
                <a:gd name="connsiteY46" fmla="*/ 180975 h 1352550"/>
                <a:gd name="connsiteX47" fmla="*/ 1413510 w 2076450"/>
                <a:gd name="connsiteY47" fmla="*/ 182880 h 1352550"/>
                <a:gd name="connsiteX48" fmla="*/ 1418272 w 2076450"/>
                <a:gd name="connsiteY48" fmla="*/ 187642 h 1352550"/>
                <a:gd name="connsiteX49" fmla="*/ 1422082 w 2076450"/>
                <a:gd name="connsiteY49" fmla="*/ 189547 h 1352550"/>
                <a:gd name="connsiteX50" fmla="*/ 1426845 w 2076450"/>
                <a:gd name="connsiteY50" fmla="*/ 189547 h 1352550"/>
                <a:gd name="connsiteX51" fmla="*/ 1429702 w 2076450"/>
                <a:gd name="connsiteY51" fmla="*/ 187642 h 1352550"/>
                <a:gd name="connsiteX52" fmla="*/ 1434465 w 2076450"/>
                <a:gd name="connsiteY52" fmla="*/ 184785 h 1352550"/>
                <a:gd name="connsiteX53" fmla="*/ 1438275 w 2076450"/>
                <a:gd name="connsiteY53" fmla="*/ 184785 h 1352550"/>
                <a:gd name="connsiteX54" fmla="*/ 1460182 w 2076450"/>
                <a:gd name="connsiteY54" fmla="*/ 191452 h 1352550"/>
                <a:gd name="connsiteX55" fmla="*/ 1471613 w 2076450"/>
                <a:gd name="connsiteY55" fmla="*/ 196215 h 1352550"/>
                <a:gd name="connsiteX56" fmla="*/ 1476375 w 2076450"/>
                <a:gd name="connsiteY56" fmla="*/ 200025 h 1352550"/>
                <a:gd name="connsiteX57" fmla="*/ 1482090 w 2076450"/>
                <a:gd name="connsiteY57" fmla="*/ 200025 h 1352550"/>
                <a:gd name="connsiteX58" fmla="*/ 1485900 w 2076450"/>
                <a:gd name="connsiteY58" fmla="*/ 200025 h 1352550"/>
                <a:gd name="connsiteX59" fmla="*/ 1490663 w 2076450"/>
                <a:gd name="connsiteY59" fmla="*/ 196215 h 1352550"/>
                <a:gd name="connsiteX60" fmla="*/ 1495425 w 2076450"/>
                <a:gd name="connsiteY60" fmla="*/ 194310 h 1352550"/>
                <a:gd name="connsiteX61" fmla="*/ 1498282 w 2076450"/>
                <a:gd name="connsiteY61" fmla="*/ 194310 h 1352550"/>
                <a:gd name="connsiteX62" fmla="*/ 1503045 w 2076450"/>
                <a:gd name="connsiteY62" fmla="*/ 192405 h 1352550"/>
                <a:gd name="connsiteX63" fmla="*/ 1504950 w 2076450"/>
                <a:gd name="connsiteY63" fmla="*/ 191452 h 1352550"/>
                <a:gd name="connsiteX64" fmla="*/ 1513522 w 2076450"/>
                <a:gd name="connsiteY64" fmla="*/ 184785 h 1352550"/>
                <a:gd name="connsiteX65" fmla="*/ 1523047 w 2076450"/>
                <a:gd name="connsiteY65" fmla="*/ 180022 h 1352550"/>
                <a:gd name="connsiteX66" fmla="*/ 1547813 w 2076450"/>
                <a:gd name="connsiteY66" fmla="*/ 170497 h 1352550"/>
                <a:gd name="connsiteX67" fmla="*/ 1554480 w 2076450"/>
                <a:gd name="connsiteY67" fmla="*/ 166688 h 1352550"/>
                <a:gd name="connsiteX68" fmla="*/ 1559243 w 2076450"/>
                <a:gd name="connsiteY68" fmla="*/ 167640 h 1352550"/>
                <a:gd name="connsiteX69" fmla="*/ 1565910 w 2076450"/>
                <a:gd name="connsiteY69" fmla="*/ 172402 h 1352550"/>
                <a:gd name="connsiteX70" fmla="*/ 1580197 w 2076450"/>
                <a:gd name="connsiteY70" fmla="*/ 185738 h 1352550"/>
                <a:gd name="connsiteX71" fmla="*/ 1584960 w 2076450"/>
                <a:gd name="connsiteY71" fmla="*/ 192405 h 1352550"/>
                <a:gd name="connsiteX72" fmla="*/ 1586865 w 2076450"/>
                <a:gd name="connsiteY72" fmla="*/ 198120 h 1352550"/>
                <a:gd name="connsiteX73" fmla="*/ 1586865 w 2076450"/>
                <a:gd name="connsiteY73" fmla="*/ 204788 h 1352550"/>
                <a:gd name="connsiteX74" fmla="*/ 1586865 w 2076450"/>
                <a:gd name="connsiteY74" fmla="*/ 207645 h 1352550"/>
                <a:gd name="connsiteX75" fmla="*/ 1590675 w 2076450"/>
                <a:gd name="connsiteY75" fmla="*/ 212407 h 1352550"/>
                <a:gd name="connsiteX76" fmla="*/ 1600200 w 2076450"/>
                <a:gd name="connsiteY76" fmla="*/ 223838 h 1352550"/>
                <a:gd name="connsiteX77" fmla="*/ 1602105 w 2076450"/>
                <a:gd name="connsiteY77" fmla="*/ 227647 h 1352550"/>
                <a:gd name="connsiteX78" fmla="*/ 1600200 w 2076450"/>
                <a:gd name="connsiteY78" fmla="*/ 232410 h 1352550"/>
                <a:gd name="connsiteX79" fmla="*/ 1594485 w 2076450"/>
                <a:gd name="connsiteY79" fmla="*/ 242888 h 1352550"/>
                <a:gd name="connsiteX80" fmla="*/ 1590675 w 2076450"/>
                <a:gd name="connsiteY80" fmla="*/ 246697 h 1352550"/>
                <a:gd name="connsiteX81" fmla="*/ 1577340 w 2076450"/>
                <a:gd name="connsiteY81" fmla="*/ 254317 h 1352550"/>
                <a:gd name="connsiteX82" fmla="*/ 1571625 w 2076450"/>
                <a:gd name="connsiteY82" fmla="*/ 260032 h 1352550"/>
                <a:gd name="connsiteX83" fmla="*/ 1570672 w 2076450"/>
                <a:gd name="connsiteY83" fmla="*/ 261938 h 1352550"/>
                <a:gd name="connsiteX84" fmla="*/ 1570672 w 2076450"/>
                <a:gd name="connsiteY84" fmla="*/ 263842 h 1352550"/>
                <a:gd name="connsiteX85" fmla="*/ 1573530 w 2076450"/>
                <a:gd name="connsiteY85" fmla="*/ 265747 h 1352550"/>
                <a:gd name="connsiteX86" fmla="*/ 1590675 w 2076450"/>
                <a:gd name="connsiteY86" fmla="*/ 264795 h 1352550"/>
                <a:gd name="connsiteX87" fmla="*/ 1593532 w 2076450"/>
                <a:gd name="connsiteY87" fmla="*/ 264795 h 1352550"/>
                <a:gd name="connsiteX88" fmla="*/ 1597343 w 2076450"/>
                <a:gd name="connsiteY88" fmla="*/ 267652 h 1352550"/>
                <a:gd name="connsiteX89" fmla="*/ 1605915 w 2076450"/>
                <a:gd name="connsiteY89" fmla="*/ 275272 h 1352550"/>
                <a:gd name="connsiteX90" fmla="*/ 1610677 w 2076450"/>
                <a:gd name="connsiteY90" fmla="*/ 278130 h 1352550"/>
                <a:gd name="connsiteX91" fmla="*/ 1624013 w 2076450"/>
                <a:gd name="connsiteY91" fmla="*/ 281940 h 1352550"/>
                <a:gd name="connsiteX92" fmla="*/ 1628775 w 2076450"/>
                <a:gd name="connsiteY92" fmla="*/ 284797 h 1352550"/>
                <a:gd name="connsiteX93" fmla="*/ 1630680 w 2076450"/>
                <a:gd name="connsiteY93" fmla="*/ 288607 h 1352550"/>
                <a:gd name="connsiteX94" fmla="*/ 1630680 w 2076450"/>
                <a:gd name="connsiteY94" fmla="*/ 292417 h 1352550"/>
                <a:gd name="connsiteX95" fmla="*/ 1632585 w 2076450"/>
                <a:gd name="connsiteY95" fmla="*/ 296227 h 1352550"/>
                <a:gd name="connsiteX96" fmla="*/ 1637347 w 2076450"/>
                <a:gd name="connsiteY96" fmla="*/ 300038 h 1352550"/>
                <a:gd name="connsiteX97" fmla="*/ 1648777 w 2076450"/>
                <a:gd name="connsiteY97" fmla="*/ 306705 h 1352550"/>
                <a:gd name="connsiteX98" fmla="*/ 1653540 w 2076450"/>
                <a:gd name="connsiteY98" fmla="*/ 310515 h 1352550"/>
                <a:gd name="connsiteX99" fmla="*/ 1657350 w 2076450"/>
                <a:gd name="connsiteY99" fmla="*/ 314325 h 1352550"/>
                <a:gd name="connsiteX100" fmla="*/ 1660207 w 2076450"/>
                <a:gd name="connsiteY100" fmla="*/ 320992 h 1352550"/>
                <a:gd name="connsiteX101" fmla="*/ 1663065 w 2076450"/>
                <a:gd name="connsiteY101" fmla="*/ 323850 h 1352550"/>
                <a:gd name="connsiteX102" fmla="*/ 1677352 w 2076450"/>
                <a:gd name="connsiteY102" fmla="*/ 334327 h 1352550"/>
                <a:gd name="connsiteX103" fmla="*/ 1680210 w 2076450"/>
                <a:gd name="connsiteY103" fmla="*/ 338138 h 1352550"/>
                <a:gd name="connsiteX104" fmla="*/ 1681163 w 2076450"/>
                <a:gd name="connsiteY104" fmla="*/ 341947 h 1352550"/>
                <a:gd name="connsiteX105" fmla="*/ 1678305 w 2076450"/>
                <a:gd name="connsiteY105" fmla="*/ 345757 h 1352550"/>
                <a:gd name="connsiteX106" fmla="*/ 1675447 w 2076450"/>
                <a:gd name="connsiteY106" fmla="*/ 348615 h 1352550"/>
                <a:gd name="connsiteX107" fmla="*/ 1664970 w 2076450"/>
                <a:gd name="connsiteY107" fmla="*/ 356235 h 1352550"/>
                <a:gd name="connsiteX108" fmla="*/ 1663065 w 2076450"/>
                <a:gd name="connsiteY108" fmla="*/ 358140 h 1352550"/>
                <a:gd name="connsiteX109" fmla="*/ 1661160 w 2076450"/>
                <a:gd name="connsiteY109" fmla="*/ 363855 h 1352550"/>
                <a:gd name="connsiteX110" fmla="*/ 1660207 w 2076450"/>
                <a:gd name="connsiteY110" fmla="*/ 366713 h 1352550"/>
                <a:gd name="connsiteX111" fmla="*/ 1661160 w 2076450"/>
                <a:gd name="connsiteY111" fmla="*/ 369570 h 1352550"/>
                <a:gd name="connsiteX112" fmla="*/ 1663065 w 2076450"/>
                <a:gd name="connsiteY112" fmla="*/ 371475 h 1352550"/>
                <a:gd name="connsiteX113" fmla="*/ 1683068 w 2076450"/>
                <a:gd name="connsiteY113" fmla="*/ 385763 h 1352550"/>
                <a:gd name="connsiteX114" fmla="*/ 1696402 w 2076450"/>
                <a:gd name="connsiteY114" fmla="*/ 399097 h 1352550"/>
                <a:gd name="connsiteX115" fmla="*/ 1733550 w 2076450"/>
                <a:gd name="connsiteY115" fmla="*/ 430530 h 1352550"/>
                <a:gd name="connsiteX116" fmla="*/ 1740218 w 2076450"/>
                <a:gd name="connsiteY116" fmla="*/ 438150 h 1352550"/>
                <a:gd name="connsiteX117" fmla="*/ 1742122 w 2076450"/>
                <a:gd name="connsiteY117" fmla="*/ 442913 h 1352550"/>
                <a:gd name="connsiteX118" fmla="*/ 1740218 w 2076450"/>
                <a:gd name="connsiteY118" fmla="*/ 448627 h 1352550"/>
                <a:gd name="connsiteX119" fmla="*/ 1733550 w 2076450"/>
                <a:gd name="connsiteY119" fmla="*/ 461963 h 1352550"/>
                <a:gd name="connsiteX120" fmla="*/ 1731645 w 2076450"/>
                <a:gd name="connsiteY120" fmla="*/ 466725 h 1352550"/>
                <a:gd name="connsiteX121" fmla="*/ 1731645 w 2076450"/>
                <a:gd name="connsiteY121" fmla="*/ 469582 h 1352550"/>
                <a:gd name="connsiteX122" fmla="*/ 1733550 w 2076450"/>
                <a:gd name="connsiteY122" fmla="*/ 471488 h 1352550"/>
                <a:gd name="connsiteX123" fmla="*/ 1742122 w 2076450"/>
                <a:gd name="connsiteY123" fmla="*/ 478155 h 1352550"/>
                <a:gd name="connsiteX124" fmla="*/ 1750695 w 2076450"/>
                <a:gd name="connsiteY124" fmla="*/ 487680 h 1352550"/>
                <a:gd name="connsiteX125" fmla="*/ 1752600 w 2076450"/>
                <a:gd name="connsiteY125" fmla="*/ 491490 h 1352550"/>
                <a:gd name="connsiteX126" fmla="*/ 1750695 w 2076450"/>
                <a:gd name="connsiteY126" fmla="*/ 496252 h 1352550"/>
                <a:gd name="connsiteX127" fmla="*/ 1736407 w 2076450"/>
                <a:gd name="connsiteY127" fmla="*/ 512445 h 1352550"/>
                <a:gd name="connsiteX128" fmla="*/ 1734502 w 2076450"/>
                <a:gd name="connsiteY128" fmla="*/ 517207 h 1352550"/>
                <a:gd name="connsiteX129" fmla="*/ 1735455 w 2076450"/>
                <a:gd name="connsiteY129" fmla="*/ 519113 h 1352550"/>
                <a:gd name="connsiteX130" fmla="*/ 1741170 w 2076450"/>
                <a:gd name="connsiteY130" fmla="*/ 524827 h 1352550"/>
                <a:gd name="connsiteX131" fmla="*/ 1743075 w 2076450"/>
                <a:gd name="connsiteY131" fmla="*/ 525780 h 1352550"/>
                <a:gd name="connsiteX132" fmla="*/ 1745932 w 2076450"/>
                <a:gd name="connsiteY132" fmla="*/ 525780 h 1352550"/>
                <a:gd name="connsiteX133" fmla="*/ 1750695 w 2076450"/>
                <a:gd name="connsiteY133" fmla="*/ 521970 h 1352550"/>
                <a:gd name="connsiteX134" fmla="*/ 1755457 w 2076450"/>
                <a:gd name="connsiteY134" fmla="*/ 517207 h 1352550"/>
                <a:gd name="connsiteX135" fmla="*/ 1757363 w 2076450"/>
                <a:gd name="connsiteY135" fmla="*/ 515302 h 1352550"/>
                <a:gd name="connsiteX136" fmla="*/ 1759268 w 2076450"/>
                <a:gd name="connsiteY136" fmla="*/ 514350 h 1352550"/>
                <a:gd name="connsiteX137" fmla="*/ 1764982 w 2076450"/>
                <a:gd name="connsiteY137" fmla="*/ 517207 h 1352550"/>
                <a:gd name="connsiteX138" fmla="*/ 1768793 w 2076450"/>
                <a:gd name="connsiteY138" fmla="*/ 521017 h 1352550"/>
                <a:gd name="connsiteX139" fmla="*/ 1771650 w 2076450"/>
                <a:gd name="connsiteY139" fmla="*/ 522922 h 1352550"/>
                <a:gd name="connsiteX140" fmla="*/ 1775460 w 2076450"/>
                <a:gd name="connsiteY140" fmla="*/ 522922 h 1352550"/>
                <a:gd name="connsiteX141" fmla="*/ 1779270 w 2076450"/>
                <a:gd name="connsiteY141" fmla="*/ 521017 h 1352550"/>
                <a:gd name="connsiteX142" fmla="*/ 1788795 w 2076450"/>
                <a:gd name="connsiteY142" fmla="*/ 514350 h 1352550"/>
                <a:gd name="connsiteX143" fmla="*/ 1789747 w 2076450"/>
                <a:gd name="connsiteY143" fmla="*/ 511492 h 1352550"/>
                <a:gd name="connsiteX144" fmla="*/ 1789747 w 2076450"/>
                <a:gd name="connsiteY144" fmla="*/ 508635 h 1352550"/>
                <a:gd name="connsiteX145" fmla="*/ 1784985 w 2076450"/>
                <a:gd name="connsiteY145" fmla="*/ 504825 h 1352550"/>
                <a:gd name="connsiteX146" fmla="*/ 1784032 w 2076450"/>
                <a:gd name="connsiteY146" fmla="*/ 503872 h 1352550"/>
                <a:gd name="connsiteX147" fmla="*/ 1783080 w 2076450"/>
                <a:gd name="connsiteY147" fmla="*/ 501015 h 1352550"/>
                <a:gd name="connsiteX148" fmla="*/ 1784032 w 2076450"/>
                <a:gd name="connsiteY148" fmla="*/ 498157 h 1352550"/>
                <a:gd name="connsiteX149" fmla="*/ 1792605 w 2076450"/>
                <a:gd name="connsiteY149" fmla="*/ 483870 h 1352550"/>
                <a:gd name="connsiteX150" fmla="*/ 1830705 w 2076450"/>
                <a:gd name="connsiteY150" fmla="*/ 437197 h 1352550"/>
                <a:gd name="connsiteX151" fmla="*/ 1839277 w 2076450"/>
                <a:gd name="connsiteY151" fmla="*/ 431482 h 1352550"/>
                <a:gd name="connsiteX152" fmla="*/ 1842135 w 2076450"/>
                <a:gd name="connsiteY152" fmla="*/ 430530 h 1352550"/>
                <a:gd name="connsiteX153" fmla="*/ 1846897 w 2076450"/>
                <a:gd name="connsiteY153" fmla="*/ 430530 h 1352550"/>
                <a:gd name="connsiteX154" fmla="*/ 1855470 w 2076450"/>
                <a:gd name="connsiteY154" fmla="*/ 433388 h 1352550"/>
                <a:gd name="connsiteX155" fmla="*/ 1878330 w 2076450"/>
                <a:gd name="connsiteY155" fmla="*/ 446722 h 1352550"/>
                <a:gd name="connsiteX156" fmla="*/ 1886902 w 2076450"/>
                <a:gd name="connsiteY156" fmla="*/ 453390 h 1352550"/>
                <a:gd name="connsiteX157" fmla="*/ 1889760 w 2076450"/>
                <a:gd name="connsiteY157" fmla="*/ 457200 h 1352550"/>
                <a:gd name="connsiteX158" fmla="*/ 1892618 w 2076450"/>
                <a:gd name="connsiteY158" fmla="*/ 461963 h 1352550"/>
                <a:gd name="connsiteX159" fmla="*/ 1894522 w 2076450"/>
                <a:gd name="connsiteY159" fmla="*/ 463867 h 1352550"/>
                <a:gd name="connsiteX160" fmla="*/ 1898332 w 2076450"/>
                <a:gd name="connsiteY160" fmla="*/ 465772 h 1352550"/>
                <a:gd name="connsiteX161" fmla="*/ 1905000 w 2076450"/>
                <a:gd name="connsiteY161" fmla="*/ 466725 h 1352550"/>
                <a:gd name="connsiteX162" fmla="*/ 1924050 w 2076450"/>
                <a:gd name="connsiteY162" fmla="*/ 464820 h 1352550"/>
                <a:gd name="connsiteX163" fmla="*/ 1928813 w 2076450"/>
                <a:gd name="connsiteY163" fmla="*/ 462915 h 1352550"/>
                <a:gd name="connsiteX164" fmla="*/ 1932622 w 2076450"/>
                <a:gd name="connsiteY164" fmla="*/ 458152 h 1352550"/>
                <a:gd name="connsiteX165" fmla="*/ 1943100 w 2076450"/>
                <a:gd name="connsiteY165" fmla="*/ 451485 h 1352550"/>
                <a:gd name="connsiteX166" fmla="*/ 1973580 w 2076450"/>
                <a:gd name="connsiteY166" fmla="*/ 447675 h 1352550"/>
                <a:gd name="connsiteX167" fmla="*/ 1975485 w 2076450"/>
                <a:gd name="connsiteY167" fmla="*/ 454342 h 1352550"/>
                <a:gd name="connsiteX168" fmla="*/ 1976438 w 2076450"/>
                <a:gd name="connsiteY168" fmla="*/ 461010 h 1352550"/>
                <a:gd name="connsiteX169" fmla="*/ 1978343 w 2076450"/>
                <a:gd name="connsiteY169" fmla="*/ 464820 h 1352550"/>
                <a:gd name="connsiteX170" fmla="*/ 1980247 w 2076450"/>
                <a:gd name="connsiteY170" fmla="*/ 466725 h 1352550"/>
                <a:gd name="connsiteX171" fmla="*/ 1983105 w 2076450"/>
                <a:gd name="connsiteY171" fmla="*/ 466725 h 1352550"/>
                <a:gd name="connsiteX172" fmla="*/ 2001202 w 2076450"/>
                <a:gd name="connsiteY172" fmla="*/ 463867 h 1352550"/>
                <a:gd name="connsiteX173" fmla="*/ 2004060 w 2076450"/>
                <a:gd name="connsiteY173" fmla="*/ 463867 h 1352550"/>
                <a:gd name="connsiteX174" fmla="*/ 2005965 w 2076450"/>
                <a:gd name="connsiteY174" fmla="*/ 464820 h 1352550"/>
                <a:gd name="connsiteX175" fmla="*/ 2007870 w 2076450"/>
                <a:gd name="connsiteY175" fmla="*/ 466725 h 1352550"/>
                <a:gd name="connsiteX176" fmla="*/ 2006918 w 2076450"/>
                <a:gd name="connsiteY176" fmla="*/ 471488 h 1352550"/>
                <a:gd name="connsiteX177" fmla="*/ 2005013 w 2076450"/>
                <a:gd name="connsiteY177" fmla="*/ 474345 h 1352550"/>
                <a:gd name="connsiteX178" fmla="*/ 2000250 w 2076450"/>
                <a:gd name="connsiteY178" fmla="*/ 477202 h 1352550"/>
                <a:gd name="connsiteX179" fmla="*/ 1998345 w 2076450"/>
                <a:gd name="connsiteY179" fmla="*/ 479107 h 1352550"/>
                <a:gd name="connsiteX180" fmla="*/ 1992630 w 2076450"/>
                <a:gd name="connsiteY180" fmla="*/ 490538 h 1352550"/>
                <a:gd name="connsiteX181" fmla="*/ 1987868 w 2076450"/>
                <a:gd name="connsiteY181" fmla="*/ 494347 h 1352550"/>
                <a:gd name="connsiteX182" fmla="*/ 1985963 w 2076450"/>
                <a:gd name="connsiteY182" fmla="*/ 496252 h 1352550"/>
                <a:gd name="connsiteX183" fmla="*/ 1985010 w 2076450"/>
                <a:gd name="connsiteY183" fmla="*/ 501015 h 1352550"/>
                <a:gd name="connsiteX184" fmla="*/ 1985010 w 2076450"/>
                <a:gd name="connsiteY184" fmla="*/ 516255 h 1352550"/>
                <a:gd name="connsiteX185" fmla="*/ 1985010 w 2076450"/>
                <a:gd name="connsiteY185" fmla="*/ 521017 h 1352550"/>
                <a:gd name="connsiteX186" fmla="*/ 1985963 w 2076450"/>
                <a:gd name="connsiteY186" fmla="*/ 522922 h 1352550"/>
                <a:gd name="connsiteX187" fmla="*/ 1986915 w 2076450"/>
                <a:gd name="connsiteY187" fmla="*/ 523875 h 1352550"/>
                <a:gd name="connsiteX188" fmla="*/ 1988820 w 2076450"/>
                <a:gd name="connsiteY188" fmla="*/ 524827 h 1352550"/>
                <a:gd name="connsiteX189" fmla="*/ 2005965 w 2076450"/>
                <a:gd name="connsiteY189" fmla="*/ 522922 h 1352550"/>
                <a:gd name="connsiteX190" fmla="*/ 2007870 w 2076450"/>
                <a:gd name="connsiteY190" fmla="*/ 521970 h 1352550"/>
                <a:gd name="connsiteX191" fmla="*/ 2009775 w 2076450"/>
                <a:gd name="connsiteY191" fmla="*/ 520065 h 1352550"/>
                <a:gd name="connsiteX192" fmla="*/ 2012632 w 2076450"/>
                <a:gd name="connsiteY192" fmla="*/ 514350 h 1352550"/>
                <a:gd name="connsiteX193" fmla="*/ 2016443 w 2076450"/>
                <a:gd name="connsiteY193" fmla="*/ 496252 h 1352550"/>
                <a:gd name="connsiteX194" fmla="*/ 2017395 w 2076450"/>
                <a:gd name="connsiteY194" fmla="*/ 492442 h 1352550"/>
                <a:gd name="connsiteX195" fmla="*/ 2020252 w 2076450"/>
                <a:gd name="connsiteY195" fmla="*/ 487680 h 1352550"/>
                <a:gd name="connsiteX196" fmla="*/ 2023110 w 2076450"/>
                <a:gd name="connsiteY196" fmla="*/ 484822 h 1352550"/>
                <a:gd name="connsiteX197" fmla="*/ 2025968 w 2076450"/>
                <a:gd name="connsiteY197" fmla="*/ 483870 h 1352550"/>
                <a:gd name="connsiteX198" fmla="*/ 2048827 w 2076450"/>
                <a:gd name="connsiteY198" fmla="*/ 481965 h 1352550"/>
                <a:gd name="connsiteX199" fmla="*/ 2054543 w 2076450"/>
                <a:gd name="connsiteY199" fmla="*/ 482917 h 1352550"/>
                <a:gd name="connsiteX200" fmla="*/ 2056447 w 2076450"/>
                <a:gd name="connsiteY200" fmla="*/ 484822 h 1352550"/>
                <a:gd name="connsiteX201" fmla="*/ 2057400 w 2076450"/>
                <a:gd name="connsiteY201" fmla="*/ 486727 h 1352550"/>
                <a:gd name="connsiteX202" fmla="*/ 2059305 w 2076450"/>
                <a:gd name="connsiteY202" fmla="*/ 491490 h 1352550"/>
                <a:gd name="connsiteX203" fmla="*/ 2060257 w 2076450"/>
                <a:gd name="connsiteY203" fmla="*/ 500063 h 1352550"/>
                <a:gd name="connsiteX204" fmla="*/ 2061210 w 2076450"/>
                <a:gd name="connsiteY204" fmla="*/ 517207 h 1352550"/>
                <a:gd name="connsiteX205" fmla="*/ 2060257 w 2076450"/>
                <a:gd name="connsiteY205" fmla="*/ 521017 h 1352550"/>
                <a:gd name="connsiteX206" fmla="*/ 2059305 w 2076450"/>
                <a:gd name="connsiteY206" fmla="*/ 523875 h 1352550"/>
                <a:gd name="connsiteX207" fmla="*/ 2055495 w 2076450"/>
                <a:gd name="connsiteY207" fmla="*/ 526732 h 1352550"/>
                <a:gd name="connsiteX208" fmla="*/ 2049780 w 2076450"/>
                <a:gd name="connsiteY208" fmla="*/ 529590 h 1352550"/>
                <a:gd name="connsiteX209" fmla="*/ 2043113 w 2076450"/>
                <a:gd name="connsiteY209" fmla="*/ 532447 h 1352550"/>
                <a:gd name="connsiteX210" fmla="*/ 2041207 w 2076450"/>
                <a:gd name="connsiteY210" fmla="*/ 534352 h 1352550"/>
                <a:gd name="connsiteX211" fmla="*/ 2040255 w 2076450"/>
                <a:gd name="connsiteY211" fmla="*/ 537210 h 1352550"/>
                <a:gd name="connsiteX212" fmla="*/ 2042160 w 2076450"/>
                <a:gd name="connsiteY212" fmla="*/ 544830 h 1352550"/>
                <a:gd name="connsiteX213" fmla="*/ 2043113 w 2076450"/>
                <a:gd name="connsiteY213" fmla="*/ 551497 h 1352550"/>
                <a:gd name="connsiteX214" fmla="*/ 2043113 w 2076450"/>
                <a:gd name="connsiteY214" fmla="*/ 553402 h 1352550"/>
                <a:gd name="connsiteX215" fmla="*/ 2042160 w 2076450"/>
                <a:gd name="connsiteY215" fmla="*/ 556260 h 1352550"/>
                <a:gd name="connsiteX216" fmla="*/ 2040255 w 2076450"/>
                <a:gd name="connsiteY216" fmla="*/ 558165 h 1352550"/>
                <a:gd name="connsiteX217" fmla="*/ 2034540 w 2076450"/>
                <a:gd name="connsiteY217" fmla="*/ 561022 h 1352550"/>
                <a:gd name="connsiteX218" fmla="*/ 2032635 w 2076450"/>
                <a:gd name="connsiteY218" fmla="*/ 562927 h 1352550"/>
                <a:gd name="connsiteX219" fmla="*/ 2031682 w 2076450"/>
                <a:gd name="connsiteY219" fmla="*/ 566738 h 1352550"/>
                <a:gd name="connsiteX220" fmla="*/ 2030730 w 2076450"/>
                <a:gd name="connsiteY220" fmla="*/ 590550 h 1352550"/>
                <a:gd name="connsiteX221" fmla="*/ 2032635 w 2076450"/>
                <a:gd name="connsiteY221" fmla="*/ 594360 h 1352550"/>
                <a:gd name="connsiteX222" fmla="*/ 2037397 w 2076450"/>
                <a:gd name="connsiteY222" fmla="*/ 598170 h 1352550"/>
                <a:gd name="connsiteX223" fmla="*/ 2037397 w 2076450"/>
                <a:gd name="connsiteY223" fmla="*/ 600075 h 1352550"/>
                <a:gd name="connsiteX224" fmla="*/ 2035493 w 2076450"/>
                <a:gd name="connsiteY224" fmla="*/ 603885 h 1352550"/>
                <a:gd name="connsiteX225" fmla="*/ 2032635 w 2076450"/>
                <a:gd name="connsiteY225" fmla="*/ 605790 h 1352550"/>
                <a:gd name="connsiteX226" fmla="*/ 2020252 w 2076450"/>
                <a:gd name="connsiteY226" fmla="*/ 611505 h 1352550"/>
                <a:gd name="connsiteX227" fmla="*/ 2018347 w 2076450"/>
                <a:gd name="connsiteY227" fmla="*/ 613410 h 1352550"/>
                <a:gd name="connsiteX228" fmla="*/ 2017395 w 2076450"/>
                <a:gd name="connsiteY228" fmla="*/ 616267 h 1352550"/>
                <a:gd name="connsiteX229" fmla="*/ 2017395 w 2076450"/>
                <a:gd name="connsiteY229" fmla="*/ 622935 h 1352550"/>
                <a:gd name="connsiteX230" fmla="*/ 2018347 w 2076450"/>
                <a:gd name="connsiteY230" fmla="*/ 626745 h 1352550"/>
                <a:gd name="connsiteX231" fmla="*/ 2020252 w 2076450"/>
                <a:gd name="connsiteY231" fmla="*/ 638175 h 1352550"/>
                <a:gd name="connsiteX232" fmla="*/ 2023110 w 2076450"/>
                <a:gd name="connsiteY232" fmla="*/ 661035 h 1352550"/>
                <a:gd name="connsiteX233" fmla="*/ 2022157 w 2076450"/>
                <a:gd name="connsiteY233" fmla="*/ 664845 h 1352550"/>
                <a:gd name="connsiteX234" fmla="*/ 2019300 w 2076450"/>
                <a:gd name="connsiteY234" fmla="*/ 681990 h 1352550"/>
                <a:gd name="connsiteX235" fmla="*/ 2019300 w 2076450"/>
                <a:gd name="connsiteY235" fmla="*/ 685800 h 1352550"/>
                <a:gd name="connsiteX236" fmla="*/ 2020252 w 2076450"/>
                <a:gd name="connsiteY236" fmla="*/ 691515 h 1352550"/>
                <a:gd name="connsiteX237" fmla="*/ 2021205 w 2076450"/>
                <a:gd name="connsiteY237" fmla="*/ 693420 h 1352550"/>
                <a:gd name="connsiteX238" fmla="*/ 2023110 w 2076450"/>
                <a:gd name="connsiteY238" fmla="*/ 695325 h 1352550"/>
                <a:gd name="connsiteX239" fmla="*/ 2025968 w 2076450"/>
                <a:gd name="connsiteY239" fmla="*/ 695325 h 1352550"/>
                <a:gd name="connsiteX240" fmla="*/ 2032635 w 2076450"/>
                <a:gd name="connsiteY240" fmla="*/ 692467 h 1352550"/>
                <a:gd name="connsiteX241" fmla="*/ 2038350 w 2076450"/>
                <a:gd name="connsiteY241" fmla="*/ 691515 h 1352550"/>
                <a:gd name="connsiteX242" fmla="*/ 2043113 w 2076450"/>
                <a:gd name="connsiteY242" fmla="*/ 692467 h 1352550"/>
                <a:gd name="connsiteX243" fmla="*/ 2045970 w 2076450"/>
                <a:gd name="connsiteY243" fmla="*/ 693420 h 1352550"/>
                <a:gd name="connsiteX244" fmla="*/ 2046922 w 2076450"/>
                <a:gd name="connsiteY244" fmla="*/ 695325 h 1352550"/>
                <a:gd name="connsiteX245" fmla="*/ 2047875 w 2076450"/>
                <a:gd name="connsiteY245" fmla="*/ 700088 h 1352550"/>
                <a:gd name="connsiteX246" fmla="*/ 2049780 w 2076450"/>
                <a:gd name="connsiteY246" fmla="*/ 701992 h 1352550"/>
                <a:gd name="connsiteX247" fmla="*/ 2051685 w 2076450"/>
                <a:gd name="connsiteY247" fmla="*/ 702945 h 1352550"/>
                <a:gd name="connsiteX248" fmla="*/ 2063115 w 2076450"/>
                <a:gd name="connsiteY248" fmla="*/ 704850 h 1352550"/>
                <a:gd name="connsiteX249" fmla="*/ 2065972 w 2076450"/>
                <a:gd name="connsiteY249" fmla="*/ 706755 h 1352550"/>
                <a:gd name="connsiteX250" fmla="*/ 2067877 w 2076450"/>
                <a:gd name="connsiteY250" fmla="*/ 708660 h 1352550"/>
                <a:gd name="connsiteX251" fmla="*/ 2068830 w 2076450"/>
                <a:gd name="connsiteY251" fmla="*/ 710565 h 1352550"/>
                <a:gd name="connsiteX252" fmla="*/ 2068830 w 2076450"/>
                <a:gd name="connsiteY252" fmla="*/ 719138 h 1352550"/>
                <a:gd name="connsiteX253" fmla="*/ 2069782 w 2076450"/>
                <a:gd name="connsiteY253" fmla="*/ 724852 h 1352550"/>
                <a:gd name="connsiteX254" fmla="*/ 2072640 w 2076450"/>
                <a:gd name="connsiteY254" fmla="*/ 735330 h 1352550"/>
                <a:gd name="connsiteX255" fmla="*/ 2077402 w 2076450"/>
                <a:gd name="connsiteY255" fmla="*/ 765810 h 1352550"/>
                <a:gd name="connsiteX256" fmla="*/ 2078355 w 2076450"/>
                <a:gd name="connsiteY256" fmla="*/ 773430 h 1352550"/>
                <a:gd name="connsiteX257" fmla="*/ 2079307 w 2076450"/>
                <a:gd name="connsiteY257" fmla="*/ 782002 h 1352550"/>
                <a:gd name="connsiteX258" fmla="*/ 2079307 w 2076450"/>
                <a:gd name="connsiteY258" fmla="*/ 784860 h 1352550"/>
                <a:gd name="connsiteX259" fmla="*/ 2078355 w 2076450"/>
                <a:gd name="connsiteY259" fmla="*/ 788670 h 1352550"/>
                <a:gd name="connsiteX260" fmla="*/ 2075497 w 2076450"/>
                <a:gd name="connsiteY260" fmla="*/ 793432 h 1352550"/>
                <a:gd name="connsiteX261" fmla="*/ 2067877 w 2076450"/>
                <a:gd name="connsiteY261" fmla="*/ 801052 h 1352550"/>
                <a:gd name="connsiteX262" fmla="*/ 2064068 w 2076450"/>
                <a:gd name="connsiteY262" fmla="*/ 803910 h 1352550"/>
                <a:gd name="connsiteX263" fmla="*/ 2060257 w 2076450"/>
                <a:gd name="connsiteY263" fmla="*/ 805815 h 1352550"/>
                <a:gd name="connsiteX264" fmla="*/ 2054543 w 2076450"/>
                <a:gd name="connsiteY264" fmla="*/ 806767 h 1352550"/>
                <a:gd name="connsiteX265" fmla="*/ 2052638 w 2076450"/>
                <a:gd name="connsiteY265" fmla="*/ 808672 h 1352550"/>
                <a:gd name="connsiteX266" fmla="*/ 2050732 w 2076450"/>
                <a:gd name="connsiteY266" fmla="*/ 811530 h 1352550"/>
                <a:gd name="connsiteX267" fmla="*/ 2049780 w 2076450"/>
                <a:gd name="connsiteY267" fmla="*/ 816292 h 1352550"/>
                <a:gd name="connsiteX268" fmla="*/ 2049780 w 2076450"/>
                <a:gd name="connsiteY268" fmla="*/ 823913 h 1352550"/>
                <a:gd name="connsiteX269" fmla="*/ 2053590 w 2076450"/>
                <a:gd name="connsiteY269" fmla="*/ 844867 h 1352550"/>
                <a:gd name="connsiteX270" fmla="*/ 2054543 w 2076450"/>
                <a:gd name="connsiteY270" fmla="*/ 850582 h 1352550"/>
                <a:gd name="connsiteX271" fmla="*/ 2060257 w 2076450"/>
                <a:gd name="connsiteY271" fmla="*/ 864870 h 1352550"/>
                <a:gd name="connsiteX272" fmla="*/ 2061210 w 2076450"/>
                <a:gd name="connsiteY272" fmla="*/ 870585 h 1352550"/>
                <a:gd name="connsiteX273" fmla="*/ 2062163 w 2076450"/>
                <a:gd name="connsiteY273" fmla="*/ 881063 h 1352550"/>
                <a:gd name="connsiteX274" fmla="*/ 2062163 w 2076450"/>
                <a:gd name="connsiteY274" fmla="*/ 887730 h 1352550"/>
                <a:gd name="connsiteX275" fmla="*/ 2061210 w 2076450"/>
                <a:gd name="connsiteY275" fmla="*/ 890588 h 1352550"/>
                <a:gd name="connsiteX276" fmla="*/ 2058352 w 2076450"/>
                <a:gd name="connsiteY276" fmla="*/ 895350 h 1352550"/>
                <a:gd name="connsiteX277" fmla="*/ 2052638 w 2076450"/>
                <a:gd name="connsiteY277" fmla="*/ 901065 h 1352550"/>
                <a:gd name="connsiteX278" fmla="*/ 2039302 w 2076450"/>
                <a:gd name="connsiteY278" fmla="*/ 912495 h 1352550"/>
                <a:gd name="connsiteX279" fmla="*/ 2033588 w 2076450"/>
                <a:gd name="connsiteY279" fmla="*/ 916305 h 1352550"/>
                <a:gd name="connsiteX280" fmla="*/ 2027872 w 2076450"/>
                <a:gd name="connsiteY280" fmla="*/ 918210 h 1352550"/>
                <a:gd name="connsiteX281" fmla="*/ 2025015 w 2076450"/>
                <a:gd name="connsiteY281" fmla="*/ 917257 h 1352550"/>
                <a:gd name="connsiteX282" fmla="*/ 2006918 w 2076450"/>
                <a:gd name="connsiteY282" fmla="*/ 907732 h 1352550"/>
                <a:gd name="connsiteX283" fmla="*/ 1986915 w 2076450"/>
                <a:gd name="connsiteY283" fmla="*/ 902017 h 1352550"/>
                <a:gd name="connsiteX284" fmla="*/ 1982152 w 2076450"/>
                <a:gd name="connsiteY284" fmla="*/ 899160 h 1352550"/>
                <a:gd name="connsiteX285" fmla="*/ 1980247 w 2076450"/>
                <a:gd name="connsiteY285" fmla="*/ 897255 h 1352550"/>
                <a:gd name="connsiteX286" fmla="*/ 1978343 w 2076450"/>
                <a:gd name="connsiteY286" fmla="*/ 889635 h 1352550"/>
                <a:gd name="connsiteX287" fmla="*/ 1974532 w 2076450"/>
                <a:gd name="connsiteY287" fmla="*/ 885825 h 1352550"/>
                <a:gd name="connsiteX288" fmla="*/ 1972627 w 2076450"/>
                <a:gd name="connsiteY288" fmla="*/ 883920 h 1352550"/>
                <a:gd name="connsiteX289" fmla="*/ 1941195 w 2076450"/>
                <a:gd name="connsiteY289" fmla="*/ 874395 h 1352550"/>
                <a:gd name="connsiteX290" fmla="*/ 1935480 w 2076450"/>
                <a:gd name="connsiteY290" fmla="*/ 874395 h 1352550"/>
                <a:gd name="connsiteX291" fmla="*/ 1918335 w 2076450"/>
                <a:gd name="connsiteY291" fmla="*/ 879157 h 1352550"/>
                <a:gd name="connsiteX292" fmla="*/ 1908810 w 2076450"/>
                <a:gd name="connsiteY292" fmla="*/ 879157 h 1352550"/>
                <a:gd name="connsiteX293" fmla="*/ 1905952 w 2076450"/>
                <a:gd name="connsiteY293" fmla="*/ 879157 h 1352550"/>
                <a:gd name="connsiteX294" fmla="*/ 1901190 w 2076450"/>
                <a:gd name="connsiteY294" fmla="*/ 881063 h 1352550"/>
                <a:gd name="connsiteX295" fmla="*/ 1897380 w 2076450"/>
                <a:gd name="connsiteY295" fmla="*/ 885825 h 1352550"/>
                <a:gd name="connsiteX296" fmla="*/ 1895475 w 2076450"/>
                <a:gd name="connsiteY296" fmla="*/ 890588 h 1352550"/>
                <a:gd name="connsiteX297" fmla="*/ 1894522 w 2076450"/>
                <a:gd name="connsiteY297" fmla="*/ 898207 h 1352550"/>
                <a:gd name="connsiteX298" fmla="*/ 1891665 w 2076450"/>
                <a:gd name="connsiteY298" fmla="*/ 943927 h 1352550"/>
                <a:gd name="connsiteX299" fmla="*/ 1892618 w 2076450"/>
                <a:gd name="connsiteY299" fmla="*/ 947738 h 1352550"/>
                <a:gd name="connsiteX300" fmla="*/ 1894522 w 2076450"/>
                <a:gd name="connsiteY300" fmla="*/ 958215 h 1352550"/>
                <a:gd name="connsiteX301" fmla="*/ 1894522 w 2076450"/>
                <a:gd name="connsiteY301" fmla="*/ 966788 h 1352550"/>
                <a:gd name="connsiteX302" fmla="*/ 1897380 w 2076450"/>
                <a:gd name="connsiteY302" fmla="*/ 971550 h 1352550"/>
                <a:gd name="connsiteX303" fmla="*/ 1900238 w 2076450"/>
                <a:gd name="connsiteY303" fmla="*/ 973455 h 1352550"/>
                <a:gd name="connsiteX304" fmla="*/ 1909763 w 2076450"/>
                <a:gd name="connsiteY304" fmla="*/ 975360 h 1352550"/>
                <a:gd name="connsiteX305" fmla="*/ 1912620 w 2076450"/>
                <a:gd name="connsiteY305" fmla="*/ 976313 h 1352550"/>
                <a:gd name="connsiteX306" fmla="*/ 1914525 w 2076450"/>
                <a:gd name="connsiteY306" fmla="*/ 977265 h 1352550"/>
                <a:gd name="connsiteX307" fmla="*/ 1915477 w 2076450"/>
                <a:gd name="connsiteY307" fmla="*/ 980122 h 1352550"/>
                <a:gd name="connsiteX308" fmla="*/ 1921193 w 2076450"/>
                <a:gd name="connsiteY308" fmla="*/ 994410 h 1352550"/>
                <a:gd name="connsiteX309" fmla="*/ 1925002 w 2076450"/>
                <a:gd name="connsiteY309" fmla="*/ 1001077 h 1352550"/>
                <a:gd name="connsiteX310" fmla="*/ 1925002 w 2076450"/>
                <a:gd name="connsiteY310" fmla="*/ 1005840 h 1352550"/>
                <a:gd name="connsiteX311" fmla="*/ 1922145 w 2076450"/>
                <a:gd name="connsiteY311" fmla="*/ 1006792 h 1352550"/>
                <a:gd name="connsiteX312" fmla="*/ 1916430 w 2076450"/>
                <a:gd name="connsiteY312" fmla="*/ 1007745 h 1352550"/>
                <a:gd name="connsiteX313" fmla="*/ 1899285 w 2076450"/>
                <a:gd name="connsiteY313" fmla="*/ 1008697 h 1352550"/>
                <a:gd name="connsiteX314" fmla="*/ 1895475 w 2076450"/>
                <a:gd name="connsiteY314" fmla="*/ 1008697 h 1352550"/>
                <a:gd name="connsiteX315" fmla="*/ 1892618 w 2076450"/>
                <a:gd name="connsiteY315" fmla="*/ 1010602 h 1352550"/>
                <a:gd name="connsiteX316" fmla="*/ 1888807 w 2076450"/>
                <a:gd name="connsiteY316" fmla="*/ 1013460 h 1352550"/>
                <a:gd name="connsiteX317" fmla="*/ 1884997 w 2076450"/>
                <a:gd name="connsiteY317" fmla="*/ 1014413 h 1352550"/>
                <a:gd name="connsiteX318" fmla="*/ 1876425 w 2076450"/>
                <a:gd name="connsiteY318" fmla="*/ 1014413 h 1352550"/>
                <a:gd name="connsiteX319" fmla="*/ 1874520 w 2076450"/>
                <a:gd name="connsiteY319" fmla="*/ 1016317 h 1352550"/>
                <a:gd name="connsiteX320" fmla="*/ 1872615 w 2076450"/>
                <a:gd name="connsiteY320" fmla="*/ 1018222 h 1352550"/>
                <a:gd name="connsiteX321" fmla="*/ 1871663 w 2076450"/>
                <a:gd name="connsiteY321" fmla="*/ 1022985 h 1352550"/>
                <a:gd name="connsiteX322" fmla="*/ 1870710 w 2076450"/>
                <a:gd name="connsiteY322" fmla="*/ 1025842 h 1352550"/>
                <a:gd name="connsiteX323" fmla="*/ 1870710 w 2076450"/>
                <a:gd name="connsiteY323" fmla="*/ 1032510 h 1352550"/>
                <a:gd name="connsiteX324" fmla="*/ 1871663 w 2076450"/>
                <a:gd name="connsiteY324" fmla="*/ 1035367 h 1352550"/>
                <a:gd name="connsiteX325" fmla="*/ 1873568 w 2076450"/>
                <a:gd name="connsiteY325" fmla="*/ 1038225 h 1352550"/>
                <a:gd name="connsiteX326" fmla="*/ 1878330 w 2076450"/>
                <a:gd name="connsiteY326" fmla="*/ 1041082 h 1352550"/>
                <a:gd name="connsiteX327" fmla="*/ 1885950 w 2076450"/>
                <a:gd name="connsiteY327" fmla="*/ 1042988 h 1352550"/>
                <a:gd name="connsiteX328" fmla="*/ 1888807 w 2076450"/>
                <a:gd name="connsiteY328" fmla="*/ 1045845 h 1352550"/>
                <a:gd name="connsiteX329" fmla="*/ 1890713 w 2076450"/>
                <a:gd name="connsiteY329" fmla="*/ 1048702 h 1352550"/>
                <a:gd name="connsiteX330" fmla="*/ 1894522 w 2076450"/>
                <a:gd name="connsiteY330" fmla="*/ 1066800 h 1352550"/>
                <a:gd name="connsiteX331" fmla="*/ 1797368 w 2076450"/>
                <a:gd name="connsiteY331" fmla="*/ 1081088 h 1352550"/>
                <a:gd name="connsiteX332" fmla="*/ 1795463 w 2076450"/>
                <a:gd name="connsiteY332" fmla="*/ 1080135 h 1352550"/>
                <a:gd name="connsiteX333" fmla="*/ 1793557 w 2076450"/>
                <a:gd name="connsiteY333" fmla="*/ 1078230 h 1352550"/>
                <a:gd name="connsiteX334" fmla="*/ 1790700 w 2076450"/>
                <a:gd name="connsiteY334" fmla="*/ 1074420 h 1352550"/>
                <a:gd name="connsiteX335" fmla="*/ 1786890 w 2076450"/>
                <a:gd name="connsiteY335" fmla="*/ 1070610 h 1352550"/>
                <a:gd name="connsiteX336" fmla="*/ 1781175 w 2076450"/>
                <a:gd name="connsiteY336" fmla="*/ 1069657 h 1352550"/>
                <a:gd name="connsiteX337" fmla="*/ 1778318 w 2076450"/>
                <a:gd name="connsiteY337" fmla="*/ 1070610 h 1352550"/>
                <a:gd name="connsiteX338" fmla="*/ 1773555 w 2076450"/>
                <a:gd name="connsiteY338" fmla="*/ 1072515 h 1352550"/>
                <a:gd name="connsiteX339" fmla="*/ 1767840 w 2076450"/>
                <a:gd name="connsiteY339" fmla="*/ 1077277 h 1352550"/>
                <a:gd name="connsiteX340" fmla="*/ 1765935 w 2076450"/>
                <a:gd name="connsiteY340" fmla="*/ 1081088 h 1352550"/>
                <a:gd name="connsiteX341" fmla="*/ 1762125 w 2076450"/>
                <a:gd name="connsiteY341" fmla="*/ 1086802 h 1352550"/>
                <a:gd name="connsiteX342" fmla="*/ 1758315 w 2076450"/>
                <a:gd name="connsiteY342" fmla="*/ 1089660 h 1352550"/>
                <a:gd name="connsiteX343" fmla="*/ 1753552 w 2076450"/>
                <a:gd name="connsiteY343" fmla="*/ 1090613 h 1352550"/>
                <a:gd name="connsiteX344" fmla="*/ 1742122 w 2076450"/>
                <a:gd name="connsiteY344" fmla="*/ 1090613 h 1352550"/>
                <a:gd name="connsiteX345" fmla="*/ 1735455 w 2076450"/>
                <a:gd name="connsiteY345" fmla="*/ 1089660 h 1352550"/>
                <a:gd name="connsiteX346" fmla="*/ 1731645 w 2076450"/>
                <a:gd name="connsiteY346" fmla="*/ 1088707 h 1352550"/>
                <a:gd name="connsiteX347" fmla="*/ 1725930 w 2076450"/>
                <a:gd name="connsiteY347" fmla="*/ 1082992 h 1352550"/>
                <a:gd name="connsiteX348" fmla="*/ 1724025 w 2076450"/>
                <a:gd name="connsiteY348" fmla="*/ 1082040 h 1352550"/>
                <a:gd name="connsiteX349" fmla="*/ 1721168 w 2076450"/>
                <a:gd name="connsiteY349" fmla="*/ 1080135 h 1352550"/>
                <a:gd name="connsiteX350" fmla="*/ 1708785 w 2076450"/>
                <a:gd name="connsiteY350" fmla="*/ 1079182 h 1352550"/>
                <a:gd name="connsiteX351" fmla="*/ 1704022 w 2076450"/>
                <a:gd name="connsiteY351" fmla="*/ 1077277 h 1352550"/>
                <a:gd name="connsiteX352" fmla="*/ 1703070 w 2076450"/>
                <a:gd name="connsiteY352" fmla="*/ 1075373 h 1352550"/>
                <a:gd name="connsiteX353" fmla="*/ 1701165 w 2076450"/>
                <a:gd name="connsiteY353" fmla="*/ 1058227 h 1352550"/>
                <a:gd name="connsiteX354" fmla="*/ 1700213 w 2076450"/>
                <a:gd name="connsiteY354" fmla="*/ 1053465 h 1352550"/>
                <a:gd name="connsiteX355" fmla="*/ 1698307 w 2076450"/>
                <a:gd name="connsiteY355" fmla="*/ 1051560 h 1352550"/>
                <a:gd name="connsiteX356" fmla="*/ 1692593 w 2076450"/>
                <a:gd name="connsiteY356" fmla="*/ 1051560 h 1352550"/>
                <a:gd name="connsiteX357" fmla="*/ 1689735 w 2076450"/>
                <a:gd name="connsiteY357" fmla="*/ 1052513 h 1352550"/>
                <a:gd name="connsiteX358" fmla="*/ 1685925 w 2076450"/>
                <a:gd name="connsiteY358" fmla="*/ 1053465 h 1352550"/>
                <a:gd name="connsiteX359" fmla="*/ 1682115 w 2076450"/>
                <a:gd name="connsiteY359" fmla="*/ 1058227 h 1352550"/>
                <a:gd name="connsiteX360" fmla="*/ 1680210 w 2076450"/>
                <a:gd name="connsiteY360" fmla="*/ 1062038 h 1352550"/>
                <a:gd name="connsiteX361" fmla="*/ 1677352 w 2076450"/>
                <a:gd name="connsiteY361" fmla="*/ 1067752 h 1352550"/>
                <a:gd name="connsiteX362" fmla="*/ 1675447 w 2076450"/>
                <a:gd name="connsiteY362" fmla="*/ 1069657 h 1352550"/>
                <a:gd name="connsiteX363" fmla="*/ 1670685 w 2076450"/>
                <a:gd name="connsiteY363" fmla="*/ 1071563 h 1352550"/>
                <a:gd name="connsiteX364" fmla="*/ 1646872 w 2076450"/>
                <a:gd name="connsiteY364" fmla="*/ 1073467 h 1352550"/>
                <a:gd name="connsiteX365" fmla="*/ 1643063 w 2076450"/>
                <a:gd name="connsiteY365" fmla="*/ 1073467 h 1352550"/>
                <a:gd name="connsiteX366" fmla="*/ 1639252 w 2076450"/>
                <a:gd name="connsiteY366" fmla="*/ 1069657 h 1352550"/>
                <a:gd name="connsiteX367" fmla="*/ 1637347 w 2076450"/>
                <a:gd name="connsiteY367" fmla="*/ 1067752 h 1352550"/>
                <a:gd name="connsiteX368" fmla="*/ 1632585 w 2076450"/>
                <a:gd name="connsiteY368" fmla="*/ 1065848 h 1352550"/>
                <a:gd name="connsiteX369" fmla="*/ 1631632 w 2076450"/>
                <a:gd name="connsiteY369" fmla="*/ 1063942 h 1352550"/>
                <a:gd name="connsiteX370" fmla="*/ 1630680 w 2076450"/>
                <a:gd name="connsiteY370" fmla="*/ 1058227 h 1352550"/>
                <a:gd name="connsiteX371" fmla="*/ 1628775 w 2076450"/>
                <a:gd name="connsiteY371" fmla="*/ 1056323 h 1352550"/>
                <a:gd name="connsiteX372" fmla="*/ 1624013 w 2076450"/>
                <a:gd name="connsiteY372" fmla="*/ 1053465 h 1352550"/>
                <a:gd name="connsiteX373" fmla="*/ 1623060 w 2076450"/>
                <a:gd name="connsiteY373" fmla="*/ 1051560 h 1352550"/>
                <a:gd name="connsiteX374" fmla="*/ 1622107 w 2076450"/>
                <a:gd name="connsiteY374" fmla="*/ 1045845 h 1352550"/>
                <a:gd name="connsiteX375" fmla="*/ 1623060 w 2076450"/>
                <a:gd name="connsiteY375" fmla="*/ 1042988 h 1352550"/>
                <a:gd name="connsiteX376" fmla="*/ 1624013 w 2076450"/>
                <a:gd name="connsiteY376" fmla="*/ 1042035 h 1352550"/>
                <a:gd name="connsiteX377" fmla="*/ 1628775 w 2076450"/>
                <a:gd name="connsiteY377" fmla="*/ 1042035 h 1352550"/>
                <a:gd name="connsiteX378" fmla="*/ 1630680 w 2076450"/>
                <a:gd name="connsiteY378" fmla="*/ 1043940 h 1352550"/>
                <a:gd name="connsiteX379" fmla="*/ 1634490 w 2076450"/>
                <a:gd name="connsiteY379" fmla="*/ 1047750 h 1352550"/>
                <a:gd name="connsiteX380" fmla="*/ 1637347 w 2076450"/>
                <a:gd name="connsiteY380" fmla="*/ 1048702 h 1352550"/>
                <a:gd name="connsiteX381" fmla="*/ 1640205 w 2076450"/>
                <a:gd name="connsiteY381" fmla="*/ 1047750 h 1352550"/>
                <a:gd name="connsiteX382" fmla="*/ 1643063 w 2076450"/>
                <a:gd name="connsiteY382" fmla="*/ 1043940 h 1352550"/>
                <a:gd name="connsiteX383" fmla="*/ 1644015 w 2076450"/>
                <a:gd name="connsiteY383" fmla="*/ 1040130 h 1352550"/>
                <a:gd name="connsiteX384" fmla="*/ 1648777 w 2076450"/>
                <a:gd name="connsiteY384" fmla="*/ 1026795 h 1352550"/>
                <a:gd name="connsiteX385" fmla="*/ 1652588 w 2076450"/>
                <a:gd name="connsiteY385" fmla="*/ 1018222 h 1352550"/>
                <a:gd name="connsiteX386" fmla="*/ 1652588 w 2076450"/>
                <a:gd name="connsiteY386" fmla="*/ 1015365 h 1352550"/>
                <a:gd name="connsiteX387" fmla="*/ 1652588 w 2076450"/>
                <a:gd name="connsiteY387" fmla="*/ 1012507 h 1352550"/>
                <a:gd name="connsiteX388" fmla="*/ 1650682 w 2076450"/>
                <a:gd name="connsiteY388" fmla="*/ 1004888 h 1352550"/>
                <a:gd name="connsiteX389" fmla="*/ 1651635 w 2076450"/>
                <a:gd name="connsiteY389" fmla="*/ 999172 h 1352550"/>
                <a:gd name="connsiteX390" fmla="*/ 1652588 w 2076450"/>
                <a:gd name="connsiteY390" fmla="*/ 994410 h 1352550"/>
                <a:gd name="connsiteX391" fmla="*/ 1652588 w 2076450"/>
                <a:gd name="connsiteY391" fmla="*/ 991552 h 1352550"/>
                <a:gd name="connsiteX392" fmla="*/ 1651635 w 2076450"/>
                <a:gd name="connsiteY392" fmla="*/ 991552 h 1352550"/>
                <a:gd name="connsiteX393" fmla="*/ 1636395 w 2076450"/>
                <a:gd name="connsiteY393" fmla="*/ 992505 h 1352550"/>
                <a:gd name="connsiteX394" fmla="*/ 1632585 w 2076450"/>
                <a:gd name="connsiteY394" fmla="*/ 989647 h 1352550"/>
                <a:gd name="connsiteX395" fmla="*/ 1630680 w 2076450"/>
                <a:gd name="connsiteY395" fmla="*/ 986790 h 1352550"/>
                <a:gd name="connsiteX396" fmla="*/ 1628775 w 2076450"/>
                <a:gd name="connsiteY396" fmla="*/ 984885 h 1352550"/>
                <a:gd name="connsiteX397" fmla="*/ 1622107 w 2076450"/>
                <a:gd name="connsiteY397" fmla="*/ 982027 h 1352550"/>
                <a:gd name="connsiteX398" fmla="*/ 1621155 w 2076450"/>
                <a:gd name="connsiteY398" fmla="*/ 980122 h 1352550"/>
                <a:gd name="connsiteX399" fmla="*/ 1622107 w 2076450"/>
                <a:gd name="connsiteY399" fmla="*/ 971550 h 1352550"/>
                <a:gd name="connsiteX400" fmla="*/ 1622107 w 2076450"/>
                <a:gd name="connsiteY400" fmla="*/ 967740 h 1352550"/>
                <a:gd name="connsiteX401" fmla="*/ 1621155 w 2076450"/>
                <a:gd name="connsiteY401" fmla="*/ 957263 h 1352550"/>
                <a:gd name="connsiteX402" fmla="*/ 1620202 w 2076450"/>
                <a:gd name="connsiteY402" fmla="*/ 951547 h 1352550"/>
                <a:gd name="connsiteX403" fmla="*/ 1617345 w 2076450"/>
                <a:gd name="connsiteY403" fmla="*/ 946785 h 1352550"/>
                <a:gd name="connsiteX404" fmla="*/ 1615440 w 2076450"/>
                <a:gd name="connsiteY404" fmla="*/ 945832 h 1352550"/>
                <a:gd name="connsiteX405" fmla="*/ 1612582 w 2076450"/>
                <a:gd name="connsiteY405" fmla="*/ 944880 h 1352550"/>
                <a:gd name="connsiteX406" fmla="*/ 1604963 w 2076450"/>
                <a:gd name="connsiteY406" fmla="*/ 942975 h 1352550"/>
                <a:gd name="connsiteX407" fmla="*/ 1602105 w 2076450"/>
                <a:gd name="connsiteY407" fmla="*/ 940117 h 1352550"/>
                <a:gd name="connsiteX408" fmla="*/ 1602105 w 2076450"/>
                <a:gd name="connsiteY408" fmla="*/ 938213 h 1352550"/>
                <a:gd name="connsiteX409" fmla="*/ 1603057 w 2076450"/>
                <a:gd name="connsiteY409" fmla="*/ 935355 h 1352550"/>
                <a:gd name="connsiteX410" fmla="*/ 1605915 w 2076450"/>
                <a:gd name="connsiteY410" fmla="*/ 930592 h 1352550"/>
                <a:gd name="connsiteX411" fmla="*/ 1612582 w 2076450"/>
                <a:gd name="connsiteY411" fmla="*/ 922972 h 1352550"/>
                <a:gd name="connsiteX412" fmla="*/ 1615440 w 2076450"/>
                <a:gd name="connsiteY412" fmla="*/ 917257 h 1352550"/>
                <a:gd name="connsiteX413" fmla="*/ 1616393 w 2076450"/>
                <a:gd name="connsiteY413" fmla="*/ 914400 h 1352550"/>
                <a:gd name="connsiteX414" fmla="*/ 1614488 w 2076450"/>
                <a:gd name="connsiteY414" fmla="*/ 909638 h 1352550"/>
                <a:gd name="connsiteX415" fmla="*/ 1611630 w 2076450"/>
                <a:gd name="connsiteY415" fmla="*/ 908685 h 1352550"/>
                <a:gd name="connsiteX416" fmla="*/ 1607820 w 2076450"/>
                <a:gd name="connsiteY416" fmla="*/ 909638 h 1352550"/>
                <a:gd name="connsiteX417" fmla="*/ 1590675 w 2076450"/>
                <a:gd name="connsiteY417" fmla="*/ 922020 h 1352550"/>
                <a:gd name="connsiteX418" fmla="*/ 1585913 w 2076450"/>
                <a:gd name="connsiteY418" fmla="*/ 922972 h 1352550"/>
                <a:gd name="connsiteX419" fmla="*/ 1580197 w 2076450"/>
                <a:gd name="connsiteY419" fmla="*/ 922972 h 1352550"/>
                <a:gd name="connsiteX420" fmla="*/ 1577340 w 2076450"/>
                <a:gd name="connsiteY420" fmla="*/ 921067 h 1352550"/>
                <a:gd name="connsiteX421" fmla="*/ 1576388 w 2076450"/>
                <a:gd name="connsiteY421" fmla="*/ 919163 h 1352550"/>
                <a:gd name="connsiteX422" fmla="*/ 1576388 w 2076450"/>
                <a:gd name="connsiteY422" fmla="*/ 912495 h 1352550"/>
                <a:gd name="connsiteX423" fmla="*/ 1576388 w 2076450"/>
                <a:gd name="connsiteY423" fmla="*/ 909638 h 1352550"/>
                <a:gd name="connsiteX424" fmla="*/ 1573530 w 2076450"/>
                <a:gd name="connsiteY424" fmla="*/ 902970 h 1352550"/>
                <a:gd name="connsiteX425" fmla="*/ 1572577 w 2076450"/>
                <a:gd name="connsiteY425" fmla="*/ 897255 h 1352550"/>
                <a:gd name="connsiteX426" fmla="*/ 1573530 w 2076450"/>
                <a:gd name="connsiteY426" fmla="*/ 893445 h 1352550"/>
                <a:gd name="connsiteX427" fmla="*/ 1575435 w 2076450"/>
                <a:gd name="connsiteY427" fmla="*/ 882967 h 1352550"/>
                <a:gd name="connsiteX428" fmla="*/ 1575435 w 2076450"/>
                <a:gd name="connsiteY428" fmla="*/ 880110 h 1352550"/>
                <a:gd name="connsiteX429" fmla="*/ 1575435 w 2076450"/>
                <a:gd name="connsiteY429" fmla="*/ 877252 h 1352550"/>
                <a:gd name="connsiteX430" fmla="*/ 1573530 w 2076450"/>
                <a:gd name="connsiteY430" fmla="*/ 875347 h 1352550"/>
                <a:gd name="connsiteX431" fmla="*/ 1571625 w 2076450"/>
                <a:gd name="connsiteY431" fmla="*/ 873442 h 1352550"/>
                <a:gd name="connsiteX432" fmla="*/ 1569720 w 2076450"/>
                <a:gd name="connsiteY432" fmla="*/ 872490 h 1352550"/>
                <a:gd name="connsiteX433" fmla="*/ 1565910 w 2076450"/>
                <a:gd name="connsiteY433" fmla="*/ 871538 h 1352550"/>
                <a:gd name="connsiteX434" fmla="*/ 1560195 w 2076450"/>
                <a:gd name="connsiteY434" fmla="*/ 871538 h 1352550"/>
                <a:gd name="connsiteX435" fmla="*/ 1528763 w 2076450"/>
                <a:gd name="connsiteY435" fmla="*/ 879157 h 1352550"/>
                <a:gd name="connsiteX436" fmla="*/ 1500188 w 2076450"/>
                <a:gd name="connsiteY436" fmla="*/ 890588 h 1352550"/>
                <a:gd name="connsiteX437" fmla="*/ 1494472 w 2076450"/>
                <a:gd name="connsiteY437" fmla="*/ 891540 h 1352550"/>
                <a:gd name="connsiteX438" fmla="*/ 1489710 w 2076450"/>
                <a:gd name="connsiteY438" fmla="*/ 890588 h 1352550"/>
                <a:gd name="connsiteX439" fmla="*/ 1482090 w 2076450"/>
                <a:gd name="connsiteY439" fmla="*/ 878205 h 1352550"/>
                <a:gd name="connsiteX440" fmla="*/ 1478280 w 2076450"/>
                <a:gd name="connsiteY440" fmla="*/ 874395 h 1352550"/>
                <a:gd name="connsiteX441" fmla="*/ 1475422 w 2076450"/>
                <a:gd name="connsiteY441" fmla="*/ 873442 h 1352550"/>
                <a:gd name="connsiteX442" fmla="*/ 1449705 w 2076450"/>
                <a:gd name="connsiteY442" fmla="*/ 867727 h 1352550"/>
                <a:gd name="connsiteX443" fmla="*/ 1444943 w 2076450"/>
                <a:gd name="connsiteY443" fmla="*/ 864870 h 1352550"/>
                <a:gd name="connsiteX444" fmla="*/ 1438275 w 2076450"/>
                <a:gd name="connsiteY444" fmla="*/ 857250 h 1352550"/>
                <a:gd name="connsiteX445" fmla="*/ 1434465 w 2076450"/>
                <a:gd name="connsiteY445" fmla="*/ 850582 h 1352550"/>
                <a:gd name="connsiteX446" fmla="*/ 1430655 w 2076450"/>
                <a:gd name="connsiteY446" fmla="*/ 846772 h 1352550"/>
                <a:gd name="connsiteX447" fmla="*/ 1424940 w 2076450"/>
                <a:gd name="connsiteY447" fmla="*/ 844867 h 1352550"/>
                <a:gd name="connsiteX448" fmla="*/ 1419225 w 2076450"/>
                <a:gd name="connsiteY448" fmla="*/ 843915 h 1352550"/>
                <a:gd name="connsiteX449" fmla="*/ 1403985 w 2076450"/>
                <a:gd name="connsiteY449" fmla="*/ 845820 h 1352550"/>
                <a:gd name="connsiteX450" fmla="*/ 1382077 w 2076450"/>
                <a:gd name="connsiteY450" fmla="*/ 851535 h 1352550"/>
                <a:gd name="connsiteX451" fmla="*/ 1377315 w 2076450"/>
                <a:gd name="connsiteY451" fmla="*/ 854392 h 1352550"/>
                <a:gd name="connsiteX452" fmla="*/ 1368743 w 2076450"/>
                <a:gd name="connsiteY452" fmla="*/ 861060 h 1352550"/>
                <a:gd name="connsiteX453" fmla="*/ 1357313 w 2076450"/>
                <a:gd name="connsiteY453" fmla="*/ 873442 h 1352550"/>
                <a:gd name="connsiteX454" fmla="*/ 1351597 w 2076450"/>
                <a:gd name="connsiteY454" fmla="*/ 877252 h 1352550"/>
                <a:gd name="connsiteX455" fmla="*/ 1343025 w 2076450"/>
                <a:gd name="connsiteY455" fmla="*/ 880110 h 1352550"/>
                <a:gd name="connsiteX456" fmla="*/ 1338263 w 2076450"/>
                <a:gd name="connsiteY456" fmla="*/ 881063 h 1352550"/>
                <a:gd name="connsiteX457" fmla="*/ 1333500 w 2076450"/>
                <a:gd name="connsiteY457" fmla="*/ 881063 h 1352550"/>
                <a:gd name="connsiteX458" fmla="*/ 1325880 w 2076450"/>
                <a:gd name="connsiteY458" fmla="*/ 876300 h 1352550"/>
                <a:gd name="connsiteX459" fmla="*/ 1243013 w 2076450"/>
                <a:gd name="connsiteY459" fmla="*/ 862013 h 1352550"/>
                <a:gd name="connsiteX460" fmla="*/ 1208722 w 2076450"/>
                <a:gd name="connsiteY460" fmla="*/ 844867 h 1352550"/>
                <a:gd name="connsiteX461" fmla="*/ 1197293 w 2076450"/>
                <a:gd name="connsiteY461" fmla="*/ 841057 h 1352550"/>
                <a:gd name="connsiteX462" fmla="*/ 1192530 w 2076450"/>
                <a:gd name="connsiteY462" fmla="*/ 841057 h 1352550"/>
                <a:gd name="connsiteX463" fmla="*/ 1163955 w 2076450"/>
                <a:gd name="connsiteY463" fmla="*/ 845820 h 1352550"/>
                <a:gd name="connsiteX464" fmla="*/ 1155382 w 2076450"/>
                <a:gd name="connsiteY464" fmla="*/ 848677 h 1352550"/>
                <a:gd name="connsiteX465" fmla="*/ 1150620 w 2076450"/>
                <a:gd name="connsiteY465" fmla="*/ 849630 h 1352550"/>
                <a:gd name="connsiteX466" fmla="*/ 1145857 w 2076450"/>
                <a:gd name="connsiteY466" fmla="*/ 849630 h 1352550"/>
                <a:gd name="connsiteX467" fmla="*/ 1131570 w 2076450"/>
                <a:gd name="connsiteY467" fmla="*/ 842963 h 1352550"/>
                <a:gd name="connsiteX468" fmla="*/ 1125855 w 2076450"/>
                <a:gd name="connsiteY468" fmla="*/ 842010 h 1352550"/>
                <a:gd name="connsiteX469" fmla="*/ 1117282 w 2076450"/>
                <a:gd name="connsiteY469" fmla="*/ 842010 h 1352550"/>
                <a:gd name="connsiteX470" fmla="*/ 1105852 w 2076450"/>
                <a:gd name="connsiteY470" fmla="*/ 844867 h 1352550"/>
                <a:gd name="connsiteX471" fmla="*/ 1102995 w 2076450"/>
                <a:gd name="connsiteY471" fmla="*/ 846772 h 1352550"/>
                <a:gd name="connsiteX472" fmla="*/ 1098232 w 2076450"/>
                <a:gd name="connsiteY472" fmla="*/ 849630 h 1352550"/>
                <a:gd name="connsiteX473" fmla="*/ 1088707 w 2076450"/>
                <a:gd name="connsiteY473" fmla="*/ 850582 h 1352550"/>
                <a:gd name="connsiteX474" fmla="*/ 1083945 w 2076450"/>
                <a:gd name="connsiteY474" fmla="*/ 850582 h 1352550"/>
                <a:gd name="connsiteX475" fmla="*/ 1078230 w 2076450"/>
                <a:gd name="connsiteY475" fmla="*/ 849630 h 1352550"/>
                <a:gd name="connsiteX476" fmla="*/ 1072515 w 2076450"/>
                <a:gd name="connsiteY476" fmla="*/ 851535 h 1352550"/>
                <a:gd name="connsiteX477" fmla="*/ 1064895 w 2076450"/>
                <a:gd name="connsiteY477" fmla="*/ 856297 h 1352550"/>
                <a:gd name="connsiteX478" fmla="*/ 1046797 w 2076450"/>
                <a:gd name="connsiteY478" fmla="*/ 871538 h 1352550"/>
                <a:gd name="connsiteX479" fmla="*/ 1033463 w 2076450"/>
                <a:gd name="connsiteY479" fmla="*/ 880110 h 1352550"/>
                <a:gd name="connsiteX480" fmla="*/ 1002982 w 2076450"/>
                <a:gd name="connsiteY480" fmla="*/ 880110 h 1352550"/>
                <a:gd name="connsiteX481" fmla="*/ 1000125 w 2076450"/>
                <a:gd name="connsiteY481" fmla="*/ 879157 h 1352550"/>
                <a:gd name="connsiteX482" fmla="*/ 998220 w 2076450"/>
                <a:gd name="connsiteY482" fmla="*/ 877252 h 1352550"/>
                <a:gd name="connsiteX483" fmla="*/ 996315 w 2076450"/>
                <a:gd name="connsiteY483" fmla="*/ 872490 h 1352550"/>
                <a:gd name="connsiteX484" fmla="*/ 995363 w 2076450"/>
                <a:gd name="connsiteY484" fmla="*/ 866775 h 1352550"/>
                <a:gd name="connsiteX485" fmla="*/ 995363 w 2076450"/>
                <a:gd name="connsiteY485" fmla="*/ 861060 h 1352550"/>
                <a:gd name="connsiteX486" fmla="*/ 995363 w 2076450"/>
                <a:gd name="connsiteY486" fmla="*/ 851535 h 1352550"/>
                <a:gd name="connsiteX487" fmla="*/ 995363 w 2076450"/>
                <a:gd name="connsiteY487" fmla="*/ 849630 h 1352550"/>
                <a:gd name="connsiteX488" fmla="*/ 993457 w 2076450"/>
                <a:gd name="connsiteY488" fmla="*/ 847725 h 1352550"/>
                <a:gd name="connsiteX489" fmla="*/ 990600 w 2076450"/>
                <a:gd name="connsiteY489" fmla="*/ 846772 h 1352550"/>
                <a:gd name="connsiteX490" fmla="*/ 984885 w 2076450"/>
                <a:gd name="connsiteY490" fmla="*/ 846772 h 1352550"/>
                <a:gd name="connsiteX491" fmla="*/ 982027 w 2076450"/>
                <a:gd name="connsiteY491" fmla="*/ 848677 h 1352550"/>
                <a:gd name="connsiteX492" fmla="*/ 979170 w 2076450"/>
                <a:gd name="connsiteY492" fmla="*/ 850582 h 1352550"/>
                <a:gd name="connsiteX493" fmla="*/ 977265 w 2076450"/>
                <a:gd name="connsiteY493" fmla="*/ 858202 h 1352550"/>
                <a:gd name="connsiteX494" fmla="*/ 976313 w 2076450"/>
                <a:gd name="connsiteY494" fmla="*/ 862013 h 1352550"/>
                <a:gd name="connsiteX495" fmla="*/ 977265 w 2076450"/>
                <a:gd name="connsiteY495" fmla="*/ 865822 h 1352550"/>
                <a:gd name="connsiteX496" fmla="*/ 979170 w 2076450"/>
                <a:gd name="connsiteY496" fmla="*/ 873442 h 1352550"/>
                <a:gd name="connsiteX497" fmla="*/ 982027 w 2076450"/>
                <a:gd name="connsiteY497" fmla="*/ 880110 h 1352550"/>
                <a:gd name="connsiteX498" fmla="*/ 982980 w 2076450"/>
                <a:gd name="connsiteY498" fmla="*/ 882967 h 1352550"/>
                <a:gd name="connsiteX499" fmla="*/ 981075 w 2076450"/>
                <a:gd name="connsiteY499" fmla="*/ 887730 h 1352550"/>
                <a:gd name="connsiteX500" fmla="*/ 980122 w 2076450"/>
                <a:gd name="connsiteY500" fmla="*/ 892492 h 1352550"/>
                <a:gd name="connsiteX501" fmla="*/ 979170 w 2076450"/>
                <a:gd name="connsiteY501" fmla="*/ 911542 h 1352550"/>
                <a:gd name="connsiteX502" fmla="*/ 978218 w 2076450"/>
                <a:gd name="connsiteY502" fmla="*/ 913447 h 1352550"/>
                <a:gd name="connsiteX503" fmla="*/ 976313 w 2076450"/>
                <a:gd name="connsiteY503" fmla="*/ 916305 h 1352550"/>
                <a:gd name="connsiteX504" fmla="*/ 969645 w 2076450"/>
                <a:gd name="connsiteY504" fmla="*/ 921067 h 1352550"/>
                <a:gd name="connsiteX505" fmla="*/ 966788 w 2076450"/>
                <a:gd name="connsiteY505" fmla="*/ 922972 h 1352550"/>
                <a:gd name="connsiteX506" fmla="*/ 964882 w 2076450"/>
                <a:gd name="connsiteY506" fmla="*/ 927735 h 1352550"/>
                <a:gd name="connsiteX507" fmla="*/ 964882 w 2076450"/>
                <a:gd name="connsiteY507" fmla="*/ 931545 h 1352550"/>
                <a:gd name="connsiteX508" fmla="*/ 965835 w 2076450"/>
                <a:gd name="connsiteY508" fmla="*/ 934402 h 1352550"/>
                <a:gd name="connsiteX509" fmla="*/ 967740 w 2076450"/>
                <a:gd name="connsiteY509" fmla="*/ 935355 h 1352550"/>
                <a:gd name="connsiteX510" fmla="*/ 969645 w 2076450"/>
                <a:gd name="connsiteY510" fmla="*/ 936307 h 1352550"/>
                <a:gd name="connsiteX511" fmla="*/ 975360 w 2076450"/>
                <a:gd name="connsiteY511" fmla="*/ 936307 h 1352550"/>
                <a:gd name="connsiteX512" fmla="*/ 978218 w 2076450"/>
                <a:gd name="connsiteY512" fmla="*/ 937260 h 1352550"/>
                <a:gd name="connsiteX513" fmla="*/ 980122 w 2076450"/>
                <a:gd name="connsiteY513" fmla="*/ 938213 h 1352550"/>
                <a:gd name="connsiteX514" fmla="*/ 982027 w 2076450"/>
                <a:gd name="connsiteY514" fmla="*/ 942975 h 1352550"/>
                <a:gd name="connsiteX515" fmla="*/ 982027 w 2076450"/>
                <a:gd name="connsiteY515" fmla="*/ 949642 h 1352550"/>
                <a:gd name="connsiteX516" fmla="*/ 982027 w 2076450"/>
                <a:gd name="connsiteY516" fmla="*/ 952500 h 1352550"/>
                <a:gd name="connsiteX517" fmla="*/ 984885 w 2076450"/>
                <a:gd name="connsiteY517" fmla="*/ 957263 h 1352550"/>
                <a:gd name="connsiteX518" fmla="*/ 987743 w 2076450"/>
                <a:gd name="connsiteY518" fmla="*/ 961072 h 1352550"/>
                <a:gd name="connsiteX519" fmla="*/ 993457 w 2076450"/>
                <a:gd name="connsiteY519" fmla="*/ 963930 h 1352550"/>
                <a:gd name="connsiteX520" fmla="*/ 1012507 w 2076450"/>
                <a:gd name="connsiteY520" fmla="*/ 968692 h 1352550"/>
                <a:gd name="connsiteX521" fmla="*/ 1015365 w 2076450"/>
                <a:gd name="connsiteY521" fmla="*/ 969645 h 1352550"/>
                <a:gd name="connsiteX522" fmla="*/ 1018222 w 2076450"/>
                <a:gd name="connsiteY522" fmla="*/ 974407 h 1352550"/>
                <a:gd name="connsiteX523" fmla="*/ 1019175 w 2076450"/>
                <a:gd name="connsiteY523" fmla="*/ 979170 h 1352550"/>
                <a:gd name="connsiteX524" fmla="*/ 1020127 w 2076450"/>
                <a:gd name="connsiteY524" fmla="*/ 982027 h 1352550"/>
                <a:gd name="connsiteX525" fmla="*/ 1019175 w 2076450"/>
                <a:gd name="connsiteY525" fmla="*/ 988695 h 1352550"/>
                <a:gd name="connsiteX526" fmla="*/ 1017270 w 2076450"/>
                <a:gd name="connsiteY526" fmla="*/ 992505 h 1352550"/>
                <a:gd name="connsiteX527" fmla="*/ 1014413 w 2076450"/>
                <a:gd name="connsiteY527" fmla="*/ 995363 h 1352550"/>
                <a:gd name="connsiteX528" fmla="*/ 1008697 w 2076450"/>
                <a:gd name="connsiteY528" fmla="*/ 998220 h 1352550"/>
                <a:gd name="connsiteX529" fmla="*/ 985838 w 2076450"/>
                <a:gd name="connsiteY529" fmla="*/ 1002982 h 1352550"/>
                <a:gd name="connsiteX530" fmla="*/ 982980 w 2076450"/>
                <a:gd name="connsiteY530" fmla="*/ 1004888 h 1352550"/>
                <a:gd name="connsiteX531" fmla="*/ 968693 w 2076450"/>
                <a:gd name="connsiteY531" fmla="*/ 1017270 h 1352550"/>
                <a:gd name="connsiteX532" fmla="*/ 965835 w 2076450"/>
                <a:gd name="connsiteY532" fmla="*/ 1021080 h 1352550"/>
                <a:gd name="connsiteX533" fmla="*/ 963930 w 2076450"/>
                <a:gd name="connsiteY533" fmla="*/ 1026795 h 1352550"/>
                <a:gd name="connsiteX534" fmla="*/ 962025 w 2076450"/>
                <a:gd name="connsiteY534" fmla="*/ 1034415 h 1352550"/>
                <a:gd name="connsiteX535" fmla="*/ 962025 w 2076450"/>
                <a:gd name="connsiteY535" fmla="*/ 1040130 h 1352550"/>
                <a:gd name="connsiteX536" fmla="*/ 963930 w 2076450"/>
                <a:gd name="connsiteY536" fmla="*/ 1044892 h 1352550"/>
                <a:gd name="connsiteX537" fmla="*/ 967740 w 2076450"/>
                <a:gd name="connsiteY537" fmla="*/ 1048702 h 1352550"/>
                <a:gd name="connsiteX538" fmla="*/ 1008697 w 2076450"/>
                <a:gd name="connsiteY538" fmla="*/ 1073467 h 1352550"/>
                <a:gd name="connsiteX539" fmla="*/ 1011555 w 2076450"/>
                <a:gd name="connsiteY539" fmla="*/ 1077277 h 1352550"/>
                <a:gd name="connsiteX540" fmla="*/ 1012507 w 2076450"/>
                <a:gd name="connsiteY540" fmla="*/ 1080135 h 1352550"/>
                <a:gd name="connsiteX541" fmla="*/ 1012507 w 2076450"/>
                <a:gd name="connsiteY541" fmla="*/ 1084898 h 1352550"/>
                <a:gd name="connsiteX542" fmla="*/ 1010602 w 2076450"/>
                <a:gd name="connsiteY542" fmla="*/ 1088707 h 1352550"/>
                <a:gd name="connsiteX543" fmla="*/ 1005840 w 2076450"/>
                <a:gd name="connsiteY543" fmla="*/ 1097280 h 1352550"/>
                <a:gd name="connsiteX544" fmla="*/ 1003935 w 2076450"/>
                <a:gd name="connsiteY544" fmla="*/ 1102042 h 1352550"/>
                <a:gd name="connsiteX545" fmla="*/ 1003935 w 2076450"/>
                <a:gd name="connsiteY545" fmla="*/ 1105852 h 1352550"/>
                <a:gd name="connsiteX546" fmla="*/ 1003935 w 2076450"/>
                <a:gd name="connsiteY546" fmla="*/ 1108710 h 1352550"/>
                <a:gd name="connsiteX547" fmla="*/ 1005840 w 2076450"/>
                <a:gd name="connsiteY547" fmla="*/ 1116330 h 1352550"/>
                <a:gd name="connsiteX548" fmla="*/ 1005840 w 2076450"/>
                <a:gd name="connsiteY548" fmla="*/ 1119188 h 1352550"/>
                <a:gd name="connsiteX549" fmla="*/ 1003935 w 2076450"/>
                <a:gd name="connsiteY549" fmla="*/ 1129665 h 1352550"/>
                <a:gd name="connsiteX550" fmla="*/ 1003935 w 2076450"/>
                <a:gd name="connsiteY550" fmla="*/ 1132523 h 1352550"/>
                <a:gd name="connsiteX551" fmla="*/ 1004888 w 2076450"/>
                <a:gd name="connsiteY551" fmla="*/ 1134427 h 1352550"/>
                <a:gd name="connsiteX552" fmla="*/ 1007745 w 2076450"/>
                <a:gd name="connsiteY552" fmla="*/ 1136332 h 1352550"/>
                <a:gd name="connsiteX553" fmla="*/ 1017270 w 2076450"/>
                <a:gd name="connsiteY553" fmla="*/ 1138238 h 1352550"/>
                <a:gd name="connsiteX554" fmla="*/ 1029652 w 2076450"/>
                <a:gd name="connsiteY554" fmla="*/ 1140142 h 1352550"/>
                <a:gd name="connsiteX555" fmla="*/ 1032510 w 2076450"/>
                <a:gd name="connsiteY555" fmla="*/ 1142048 h 1352550"/>
                <a:gd name="connsiteX556" fmla="*/ 1034415 w 2076450"/>
                <a:gd name="connsiteY556" fmla="*/ 1143000 h 1352550"/>
                <a:gd name="connsiteX557" fmla="*/ 1034415 w 2076450"/>
                <a:gd name="connsiteY557" fmla="*/ 1148715 h 1352550"/>
                <a:gd name="connsiteX558" fmla="*/ 1028700 w 2076450"/>
                <a:gd name="connsiteY558" fmla="*/ 1185863 h 1352550"/>
                <a:gd name="connsiteX559" fmla="*/ 1024890 w 2076450"/>
                <a:gd name="connsiteY559" fmla="*/ 1198245 h 1352550"/>
                <a:gd name="connsiteX560" fmla="*/ 1021080 w 2076450"/>
                <a:gd name="connsiteY560" fmla="*/ 1221105 h 1352550"/>
                <a:gd name="connsiteX561" fmla="*/ 1017270 w 2076450"/>
                <a:gd name="connsiteY561" fmla="*/ 1234440 h 1352550"/>
                <a:gd name="connsiteX562" fmla="*/ 1009650 w 2076450"/>
                <a:gd name="connsiteY562" fmla="*/ 1254442 h 1352550"/>
                <a:gd name="connsiteX563" fmla="*/ 1008697 w 2076450"/>
                <a:gd name="connsiteY563" fmla="*/ 1260157 h 1352550"/>
                <a:gd name="connsiteX564" fmla="*/ 1008697 w 2076450"/>
                <a:gd name="connsiteY564" fmla="*/ 1262063 h 1352550"/>
                <a:gd name="connsiteX565" fmla="*/ 1010602 w 2076450"/>
                <a:gd name="connsiteY565" fmla="*/ 1263967 h 1352550"/>
                <a:gd name="connsiteX566" fmla="*/ 1021080 w 2076450"/>
                <a:gd name="connsiteY566" fmla="*/ 1272540 h 1352550"/>
                <a:gd name="connsiteX567" fmla="*/ 1023938 w 2076450"/>
                <a:gd name="connsiteY567" fmla="*/ 1276350 h 1352550"/>
                <a:gd name="connsiteX568" fmla="*/ 1026795 w 2076450"/>
                <a:gd name="connsiteY568" fmla="*/ 1281113 h 1352550"/>
                <a:gd name="connsiteX569" fmla="*/ 1026795 w 2076450"/>
                <a:gd name="connsiteY569" fmla="*/ 1286827 h 1352550"/>
                <a:gd name="connsiteX570" fmla="*/ 1022985 w 2076450"/>
                <a:gd name="connsiteY570" fmla="*/ 1303020 h 1352550"/>
                <a:gd name="connsiteX571" fmla="*/ 1022032 w 2076450"/>
                <a:gd name="connsiteY571" fmla="*/ 1305877 h 1352550"/>
                <a:gd name="connsiteX572" fmla="*/ 1019175 w 2076450"/>
                <a:gd name="connsiteY572" fmla="*/ 1311592 h 1352550"/>
                <a:gd name="connsiteX573" fmla="*/ 1014413 w 2076450"/>
                <a:gd name="connsiteY573" fmla="*/ 1317307 h 1352550"/>
                <a:gd name="connsiteX574" fmla="*/ 1009650 w 2076450"/>
                <a:gd name="connsiteY574" fmla="*/ 1318260 h 1352550"/>
                <a:gd name="connsiteX575" fmla="*/ 975360 w 2076450"/>
                <a:gd name="connsiteY575" fmla="*/ 1316355 h 1352550"/>
                <a:gd name="connsiteX576" fmla="*/ 921068 w 2076450"/>
                <a:gd name="connsiteY576" fmla="*/ 1305877 h 1352550"/>
                <a:gd name="connsiteX577" fmla="*/ 876300 w 2076450"/>
                <a:gd name="connsiteY577" fmla="*/ 1286827 h 1352550"/>
                <a:gd name="connsiteX578" fmla="*/ 849630 w 2076450"/>
                <a:gd name="connsiteY578" fmla="*/ 1282065 h 1352550"/>
                <a:gd name="connsiteX579" fmla="*/ 843915 w 2076450"/>
                <a:gd name="connsiteY579" fmla="*/ 1283970 h 1352550"/>
                <a:gd name="connsiteX580" fmla="*/ 771525 w 2076450"/>
                <a:gd name="connsiteY580" fmla="*/ 1318260 h 1352550"/>
                <a:gd name="connsiteX581" fmla="*/ 704850 w 2076450"/>
                <a:gd name="connsiteY581" fmla="*/ 1332548 h 1352550"/>
                <a:gd name="connsiteX582" fmla="*/ 643890 w 2076450"/>
                <a:gd name="connsiteY582" fmla="*/ 1352550 h 1352550"/>
                <a:gd name="connsiteX583" fmla="*/ 619125 w 2076450"/>
                <a:gd name="connsiteY583" fmla="*/ 1356360 h 1352550"/>
                <a:gd name="connsiteX584" fmla="*/ 566738 w 2076450"/>
                <a:gd name="connsiteY584" fmla="*/ 1351598 h 1352550"/>
                <a:gd name="connsiteX585" fmla="*/ 484822 w 2076450"/>
                <a:gd name="connsiteY585" fmla="*/ 1324927 h 1352550"/>
                <a:gd name="connsiteX586" fmla="*/ 472440 w 2076450"/>
                <a:gd name="connsiteY586" fmla="*/ 1324927 h 1352550"/>
                <a:gd name="connsiteX587" fmla="*/ 405765 w 2076450"/>
                <a:gd name="connsiteY587" fmla="*/ 1343025 h 1352550"/>
                <a:gd name="connsiteX588" fmla="*/ 354330 w 2076450"/>
                <a:gd name="connsiteY588" fmla="*/ 1346835 h 1352550"/>
                <a:gd name="connsiteX589" fmla="*/ 347663 w 2076450"/>
                <a:gd name="connsiteY589" fmla="*/ 1344930 h 1352550"/>
                <a:gd name="connsiteX590" fmla="*/ 346710 w 2076450"/>
                <a:gd name="connsiteY590" fmla="*/ 1343025 h 1352550"/>
                <a:gd name="connsiteX591" fmla="*/ 343852 w 2076450"/>
                <a:gd name="connsiteY591" fmla="*/ 1334452 h 1352550"/>
                <a:gd name="connsiteX592" fmla="*/ 340995 w 2076450"/>
                <a:gd name="connsiteY592" fmla="*/ 1329690 h 1352550"/>
                <a:gd name="connsiteX593" fmla="*/ 338138 w 2076450"/>
                <a:gd name="connsiteY593" fmla="*/ 1326832 h 1352550"/>
                <a:gd name="connsiteX594" fmla="*/ 334327 w 2076450"/>
                <a:gd name="connsiteY594" fmla="*/ 1326832 h 1352550"/>
                <a:gd name="connsiteX595" fmla="*/ 321945 w 2076450"/>
                <a:gd name="connsiteY595" fmla="*/ 1327785 h 1352550"/>
                <a:gd name="connsiteX596" fmla="*/ 319088 w 2076450"/>
                <a:gd name="connsiteY596" fmla="*/ 1326832 h 1352550"/>
                <a:gd name="connsiteX597" fmla="*/ 317182 w 2076450"/>
                <a:gd name="connsiteY597" fmla="*/ 1324927 h 1352550"/>
                <a:gd name="connsiteX598" fmla="*/ 314325 w 2076450"/>
                <a:gd name="connsiteY598" fmla="*/ 1314450 h 1352550"/>
                <a:gd name="connsiteX599" fmla="*/ 312420 w 2076450"/>
                <a:gd name="connsiteY599" fmla="*/ 1309688 h 1352550"/>
                <a:gd name="connsiteX600" fmla="*/ 312420 w 2076450"/>
                <a:gd name="connsiteY600" fmla="*/ 1306830 h 1352550"/>
                <a:gd name="connsiteX601" fmla="*/ 314325 w 2076450"/>
                <a:gd name="connsiteY601" fmla="*/ 1301115 h 1352550"/>
                <a:gd name="connsiteX602" fmla="*/ 319088 w 2076450"/>
                <a:gd name="connsiteY602" fmla="*/ 1291590 h 1352550"/>
                <a:gd name="connsiteX603" fmla="*/ 319088 w 2076450"/>
                <a:gd name="connsiteY603" fmla="*/ 1289685 h 1352550"/>
                <a:gd name="connsiteX604" fmla="*/ 318135 w 2076450"/>
                <a:gd name="connsiteY604" fmla="*/ 1285875 h 1352550"/>
                <a:gd name="connsiteX605" fmla="*/ 316230 w 2076450"/>
                <a:gd name="connsiteY605" fmla="*/ 1283017 h 1352550"/>
                <a:gd name="connsiteX606" fmla="*/ 312420 w 2076450"/>
                <a:gd name="connsiteY606" fmla="*/ 1279207 h 1352550"/>
                <a:gd name="connsiteX607" fmla="*/ 308610 w 2076450"/>
                <a:gd name="connsiteY607" fmla="*/ 1278255 h 1352550"/>
                <a:gd name="connsiteX608" fmla="*/ 305752 w 2076450"/>
                <a:gd name="connsiteY608" fmla="*/ 1277302 h 1352550"/>
                <a:gd name="connsiteX609" fmla="*/ 274320 w 2076450"/>
                <a:gd name="connsiteY609" fmla="*/ 1283970 h 1352550"/>
                <a:gd name="connsiteX610" fmla="*/ 269557 w 2076450"/>
                <a:gd name="connsiteY610" fmla="*/ 1285875 h 1352550"/>
                <a:gd name="connsiteX611" fmla="*/ 268605 w 2076450"/>
                <a:gd name="connsiteY611" fmla="*/ 1287780 h 1352550"/>
                <a:gd name="connsiteX612" fmla="*/ 267652 w 2076450"/>
                <a:gd name="connsiteY612" fmla="*/ 1290638 h 1352550"/>
                <a:gd name="connsiteX613" fmla="*/ 269557 w 2076450"/>
                <a:gd name="connsiteY613" fmla="*/ 1298257 h 1352550"/>
                <a:gd name="connsiteX614" fmla="*/ 269557 w 2076450"/>
                <a:gd name="connsiteY614" fmla="*/ 1303973 h 1352550"/>
                <a:gd name="connsiteX615" fmla="*/ 268605 w 2076450"/>
                <a:gd name="connsiteY615" fmla="*/ 1306830 h 1352550"/>
                <a:gd name="connsiteX616" fmla="*/ 264795 w 2076450"/>
                <a:gd name="connsiteY616" fmla="*/ 1310640 h 1352550"/>
                <a:gd name="connsiteX617" fmla="*/ 260032 w 2076450"/>
                <a:gd name="connsiteY617" fmla="*/ 1312545 h 1352550"/>
                <a:gd name="connsiteX618" fmla="*/ 203835 w 2076450"/>
                <a:gd name="connsiteY618" fmla="*/ 1323975 h 1352550"/>
                <a:gd name="connsiteX619" fmla="*/ 200025 w 2076450"/>
                <a:gd name="connsiteY619" fmla="*/ 1325880 h 1352550"/>
                <a:gd name="connsiteX620" fmla="*/ 197168 w 2076450"/>
                <a:gd name="connsiteY620" fmla="*/ 1330642 h 1352550"/>
                <a:gd name="connsiteX621" fmla="*/ 196215 w 2076450"/>
                <a:gd name="connsiteY621" fmla="*/ 1335405 h 1352550"/>
                <a:gd name="connsiteX622" fmla="*/ 194310 w 2076450"/>
                <a:gd name="connsiteY622" fmla="*/ 1337310 h 1352550"/>
                <a:gd name="connsiteX623" fmla="*/ 191452 w 2076450"/>
                <a:gd name="connsiteY623" fmla="*/ 1340167 h 1352550"/>
                <a:gd name="connsiteX624" fmla="*/ 187643 w 2076450"/>
                <a:gd name="connsiteY624" fmla="*/ 1340167 h 1352550"/>
                <a:gd name="connsiteX625" fmla="*/ 184785 w 2076450"/>
                <a:gd name="connsiteY625" fmla="*/ 1339215 h 1352550"/>
                <a:gd name="connsiteX626" fmla="*/ 179070 w 2076450"/>
                <a:gd name="connsiteY626" fmla="*/ 1336357 h 1352550"/>
                <a:gd name="connsiteX627" fmla="*/ 174307 w 2076450"/>
                <a:gd name="connsiteY627" fmla="*/ 1331595 h 1352550"/>
                <a:gd name="connsiteX628" fmla="*/ 170497 w 2076450"/>
                <a:gd name="connsiteY628" fmla="*/ 1327785 h 1352550"/>
                <a:gd name="connsiteX629" fmla="*/ 169545 w 2076450"/>
                <a:gd name="connsiteY629" fmla="*/ 1325880 h 1352550"/>
                <a:gd name="connsiteX630" fmla="*/ 167640 w 2076450"/>
                <a:gd name="connsiteY630" fmla="*/ 1321117 h 1352550"/>
                <a:gd name="connsiteX631" fmla="*/ 165735 w 2076450"/>
                <a:gd name="connsiteY631" fmla="*/ 1313498 h 1352550"/>
                <a:gd name="connsiteX632" fmla="*/ 163830 w 2076450"/>
                <a:gd name="connsiteY632" fmla="*/ 1308735 h 1352550"/>
                <a:gd name="connsiteX633" fmla="*/ 158115 w 2076450"/>
                <a:gd name="connsiteY633" fmla="*/ 1305877 h 1352550"/>
                <a:gd name="connsiteX634" fmla="*/ 149543 w 2076450"/>
                <a:gd name="connsiteY634" fmla="*/ 1302067 h 1352550"/>
                <a:gd name="connsiteX635" fmla="*/ 110490 w 2076450"/>
                <a:gd name="connsiteY635" fmla="*/ 1294448 h 1352550"/>
                <a:gd name="connsiteX636" fmla="*/ 106680 w 2076450"/>
                <a:gd name="connsiteY636" fmla="*/ 1290638 h 1352550"/>
                <a:gd name="connsiteX637" fmla="*/ 99060 w 2076450"/>
                <a:gd name="connsiteY637" fmla="*/ 1283970 h 1352550"/>
                <a:gd name="connsiteX638" fmla="*/ 96202 w 2076450"/>
                <a:gd name="connsiteY638" fmla="*/ 1283017 h 1352550"/>
                <a:gd name="connsiteX639" fmla="*/ 56197 w 2076450"/>
                <a:gd name="connsiteY639" fmla="*/ 1271588 h 1352550"/>
                <a:gd name="connsiteX640" fmla="*/ 11430 w 2076450"/>
                <a:gd name="connsiteY640" fmla="*/ 1264920 h 1352550"/>
                <a:gd name="connsiteX641" fmla="*/ 7620 w 2076450"/>
                <a:gd name="connsiteY641" fmla="*/ 1263015 h 1352550"/>
                <a:gd name="connsiteX642" fmla="*/ 5715 w 2076450"/>
                <a:gd name="connsiteY642" fmla="*/ 1261110 h 1352550"/>
                <a:gd name="connsiteX643" fmla="*/ 4763 w 2076450"/>
                <a:gd name="connsiteY643" fmla="*/ 1259205 h 1352550"/>
                <a:gd name="connsiteX644" fmla="*/ 4763 w 2076450"/>
                <a:gd name="connsiteY644" fmla="*/ 1255395 h 1352550"/>
                <a:gd name="connsiteX645" fmla="*/ 5715 w 2076450"/>
                <a:gd name="connsiteY645" fmla="*/ 1249680 h 1352550"/>
                <a:gd name="connsiteX646" fmla="*/ 9525 w 2076450"/>
                <a:gd name="connsiteY646" fmla="*/ 1243965 h 1352550"/>
                <a:gd name="connsiteX647" fmla="*/ 15240 w 2076450"/>
                <a:gd name="connsiteY647" fmla="*/ 1237298 h 1352550"/>
                <a:gd name="connsiteX648" fmla="*/ 18097 w 2076450"/>
                <a:gd name="connsiteY648" fmla="*/ 1233488 h 1352550"/>
                <a:gd name="connsiteX649" fmla="*/ 20002 w 2076450"/>
                <a:gd name="connsiteY649" fmla="*/ 1229677 h 1352550"/>
                <a:gd name="connsiteX650" fmla="*/ 20002 w 2076450"/>
                <a:gd name="connsiteY650" fmla="*/ 1224915 h 1352550"/>
                <a:gd name="connsiteX651" fmla="*/ 19050 w 2076450"/>
                <a:gd name="connsiteY651" fmla="*/ 1217295 h 1352550"/>
                <a:gd name="connsiteX652" fmla="*/ 16193 w 2076450"/>
                <a:gd name="connsiteY652" fmla="*/ 1208723 h 1352550"/>
                <a:gd name="connsiteX653" fmla="*/ 12382 w 2076450"/>
                <a:gd name="connsiteY653" fmla="*/ 1199198 h 1352550"/>
                <a:gd name="connsiteX654" fmla="*/ 3810 w 2076450"/>
                <a:gd name="connsiteY654" fmla="*/ 1183957 h 1352550"/>
                <a:gd name="connsiteX655" fmla="*/ 952 w 2076450"/>
                <a:gd name="connsiteY655" fmla="*/ 1176338 h 1352550"/>
                <a:gd name="connsiteX656" fmla="*/ 0 w 2076450"/>
                <a:gd name="connsiteY656" fmla="*/ 1171575 h 1352550"/>
                <a:gd name="connsiteX657" fmla="*/ 2857 w 2076450"/>
                <a:gd name="connsiteY657" fmla="*/ 1169670 h 1352550"/>
                <a:gd name="connsiteX658" fmla="*/ 6668 w 2076450"/>
                <a:gd name="connsiteY658" fmla="*/ 1165860 h 1352550"/>
                <a:gd name="connsiteX659" fmla="*/ 9525 w 2076450"/>
                <a:gd name="connsiteY659" fmla="*/ 1164907 h 1352550"/>
                <a:gd name="connsiteX660" fmla="*/ 29527 w 2076450"/>
                <a:gd name="connsiteY660" fmla="*/ 1159192 h 1352550"/>
                <a:gd name="connsiteX661" fmla="*/ 52388 w 2076450"/>
                <a:gd name="connsiteY661" fmla="*/ 1157288 h 1352550"/>
                <a:gd name="connsiteX662" fmla="*/ 54293 w 2076450"/>
                <a:gd name="connsiteY662" fmla="*/ 1154430 h 1352550"/>
                <a:gd name="connsiteX663" fmla="*/ 55245 w 2076450"/>
                <a:gd name="connsiteY663" fmla="*/ 1150620 h 1352550"/>
                <a:gd name="connsiteX664" fmla="*/ 52388 w 2076450"/>
                <a:gd name="connsiteY664" fmla="*/ 1140142 h 1352550"/>
                <a:gd name="connsiteX665" fmla="*/ 49530 w 2076450"/>
                <a:gd name="connsiteY665" fmla="*/ 1135380 h 1352550"/>
                <a:gd name="connsiteX666" fmla="*/ 46672 w 2076450"/>
                <a:gd name="connsiteY666" fmla="*/ 1132523 h 1352550"/>
                <a:gd name="connsiteX667" fmla="*/ 42863 w 2076450"/>
                <a:gd name="connsiteY667" fmla="*/ 1129665 h 1352550"/>
                <a:gd name="connsiteX668" fmla="*/ 40957 w 2076450"/>
                <a:gd name="connsiteY668" fmla="*/ 1125855 h 1352550"/>
                <a:gd name="connsiteX669" fmla="*/ 40957 w 2076450"/>
                <a:gd name="connsiteY669" fmla="*/ 1120140 h 1352550"/>
                <a:gd name="connsiteX670" fmla="*/ 40957 w 2076450"/>
                <a:gd name="connsiteY670" fmla="*/ 1077277 h 1352550"/>
                <a:gd name="connsiteX671" fmla="*/ 42863 w 2076450"/>
                <a:gd name="connsiteY671" fmla="*/ 1066800 h 1352550"/>
                <a:gd name="connsiteX672" fmla="*/ 44768 w 2076450"/>
                <a:gd name="connsiteY672" fmla="*/ 1062038 h 1352550"/>
                <a:gd name="connsiteX673" fmla="*/ 45720 w 2076450"/>
                <a:gd name="connsiteY673" fmla="*/ 1058227 h 1352550"/>
                <a:gd name="connsiteX674" fmla="*/ 46672 w 2076450"/>
                <a:gd name="connsiteY674" fmla="*/ 1040130 h 1352550"/>
                <a:gd name="connsiteX675" fmla="*/ 47625 w 2076450"/>
                <a:gd name="connsiteY675" fmla="*/ 1036320 h 1352550"/>
                <a:gd name="connsiteX676" fmla="*/ 48577 w 2076450"/>
                <a:gd name="connsiteY676" fmla="*/ 1033463 h 1352550"/>
                <a:gd name="connsiteX677" fmla="*/ 52388 w 2076450"/>
                <a:gd name="connsiteY677" fmla="*/ 1028700 h 1352550"/>
                <a:gd name="connsiteX678" fmla="*/ 52388 w 2076450"/>
                <a:gd name="connsiteY678" fmla="*/ 1025842 h 1352550"/>
                <a:gd name="connsiteX679" fmla="*/ 50482 w 2076450"/>
                <a:gd name="connsiteY679" fmla="*/ 1021080 h 1352550"/>
                <a:gd name="connsiteX680" fmla="*/ 45720 w 2076450"/>
                <a:gd name="connsiteY680" fmla="*/ 1013460 h 1352550"/>
                <a:gd name="connsiteX681" fmla="*/ 41910 w 2076450"/>
                <a:gd name="connsiteY681" fmla="*/ 1011555 h 1352550"/>
                <a:gd name="connsiteX682" fmla="*/ 38100 w 2076450"/>
                <a:gd name="connsiteY682" fmla="*/ 1010602 h 1352550"/>
                <a:gd name="connsiteX683" fmla="*/ 35243 w 2076450"/>
                <a:gd name="connsiteY683" fmla="*/ 1011555 h 1352550"/>
                <a:gd name="connsiteX684" fmla="*/ 29527 w 2076450"/>
                <a:gd name="connsiteY684" fmla="*/ 1011555 h 1352550"/>
                <a:gd name="connsiteX685" fmla="*/ 26670 w 2076450"/>
                <a:gd name="connsiteY685" fmla="*/ 1009650 h 1352550"/>
                <a:gd name="connsiteX686" fmla="*/ 25718 w 2076450"/>
                <a:gd name="connsiteY686" fmla="*/ 1006792 h 1352550"/>
                <a:gd name="connsiteX687" fmla="*/ 25718 w 2076450"/>
                <a:gd name="connsiteY687" fmla="*/ 1002030 h 1352550"/>
                <a:gd name="connsiteX688" fmla="*/ 29527 w 2076450"/>
                <a:gd name="connsiteY688" fmla="*/ 987742 h 1352550"/>
                <a:gd name="connsiteX689" fmla="*/ 32385 w 2076450"/>
                <a:gd name="connsiteY689" fmla="*/ 980122 h 1352550"/>
                <a:gd name="connsiteX690" fmla="*/ 33338 w 2076450"/>
                <a:gd name="connsiteY690" fmla="*/ 975360 h 1352550"/>
                <a:gd name="connsiteX691" fmla="*/ 27622 w 2076450"/>
                <a:gd name="connsiteY691" fmla="*/ 970597 h 1352550"/>
                <a:gd name="connsiteX692" fmla="*/ 33338 w 2076450"/>
                <a:gd name="connsiteY692" fmla="*/ 943927 h 1352550"/>
                <a:gd name="connsiteX693" fmla="*/ 39052 w 2076450"/>
                <a:gd name="connsiteY693" fmla="*/ 922972 h 1352550"/>
                <a:gd name="connsiteX694" fmla="*/ 40957 w 2076450"/>
                <a:gd name="connsiteY694" fmla="*/ 921067 h 1352550"/>
                <a:gd name="connsiteX695" fmla="*/ 44768 w 2076450"/>
                <a:gd name="connsiteY695" fmla="*/ 918210 h 1352550"/>
                <a:gd name="connsiteX696" fmla="*/ 49530 w 2076450"/>
                <a:gd name="connsiteY696" fmla="*/ 917257 h 1352550"/>
                <a:gd name="connsiteX697" fmla="*/ 55245 w 2076450"/>
                <a:gd name="connsiteY697" fmla="*/ 913447 h 1352550"/>
                <a:gd name="connsiteX698" fmla="*/ 59055 w 2076450"/>
                <a:gd name="connsiteY698" fmla="*/ 907732 h 1352550"/>
                <a:gd name="connsiteX699" fmla="*/ 63818 w 2076450"/>
                <a:gd name="connsiteY699" fmla="*/ 898207 h 1352550"/>
                <a:gd name="connsiteX700" fmla="*/ 67627 w 2076450"/>
                <a:gd name="connsiteY700" fmla="*/ 893445 h 1352550"/>
                <a:gd name="connsiteX701" fmla="*/ 72390 w 2076450"/>
                <a:gd name="connsiteY701" fmla="*/ 888682 h 1352550"/>
                <a:gd name="connsiteX702" fmla="*/ 80010 w 2076450"/>
                <a:gd name="connsiteY702" fmla="*/ 882967 h 1352550"/>
                <a:gd name="connsiteX703" fmla="*/ 83820 w 2076450"/>
                <a:gd name="connsiteY703" fmla="*/ 880110 h 1352550"/>
                <a:gd name="connsiteX704" fmla="*/ 87630 w 2076450"/>
                <a:gd name="connsiteY704" fmla="*/ 879157 h 1352550"/>
                <a:gd name="connsiteX705" fmla="*/ 107632 w 2076450"/>
                <a:gd name="connsiteY705" fmla="*/ 881063 h 1352550"/>
                <a:gd name="connsiteX706" fmla="*/ 120015 w 2076450"/>
                <a:gd name="connsiteY706" fmla="*/ 877252 h 1352550"/>
                <a:gd name="connsiteX707" fmla="*/ 123825 w 2076450"/>
                <a:gd name="connsiteY707" fmla="*/ 875347 h 1352550"/>
                <a:gd name="connsiteX708" fmla="*/ 125730 w 2076450"/>
                <a:gd name="connsiteY708" fmla="*/ 872490 h 1352550"/>
                <a:gd name="connsiteX709" fmla="*/ 128588 w 2076450"/>
                <a:gd name="connsiteY709" fmla="*/ 862965 h 1352550"/>
                <a:gd name="connsiteX710" fmla="*/ 129540 w 2076450"/>
                <a:gd name="connsiteY710" fmla="*/ 856297 h 1352550"/>
                <a:gd name="connsiteX711" fmla="*/ 128588 w 2076450"/>
                <a:gd name="connsiteY711" fmla="*/ 850582 h 1352550"/>
                <a:gd name="connsiteX712" fmla="*/ 128588 w 2076450"/>
                <a:gd name="connsiteY712" fmla="*/ 844867 h 1352550"/>
                <a:gd name="connsiteX713" fmla="*/ 127635 w 2076450"/>
                <a:gd name="connsiteY713" fmla="*/ 839152 h 1352550"/>
                <a:gd name="connsiteX714" fmla="*/ 129540 w 2076450"/>
                <a:gd name="connsiteY714" fmla="*/ 832485 h 1352550"/>
                <a:gd name="connsiteX715" fmla="*/ 131445 w 2076450"/>
                <a:gd name="connsiteY715" fmla="*/ 822960 h 1352550"/>
                <a:gd name="connsiteX716" fmla="*/ 134302 w 2076450"/>
                <a:gd name="connsiteY716" fmla="*/ 808672 h 1352550"/>
                <a:gd name="connsiteX717" fmla="*/ 136207 w 2076450"/>
                <a:gd name="connsiteY717" fmla="*/ 806767 h 1352550"/>
                <a:gd name="connsiteX718" fmla="*/ 139065 w 2076450"/>
                <a:gd name="connsiteY718" fmla="*/ 805815 h 1352550"/>
                <a:gd name="connsiteX719" fmla="*/ 140970 w 2076450"/>
                <a:gd name="connsiteY719" fmla="*/ 805815 h 1352550"/>
                <a:gd name="connsiteX720" fmla="*/ 142875 w 2076450"/>
                <a:gd name="connsiteY720" fmla="*/ 809625 h 1352550"/>
                <a:gd name="connsiteX721" fmla="*/ 146685 w 2076450"/>
                <a:gd name="connsiteY721" fmla="*/ 831532 h 1352550"/>
                <a:gd name="connsiteX722" fmla="*/ 146685 w 2076450"/>
                <a:gd name="connsiteY722" fmla="*/ 833438 h 1352550"/>
                <a:gd name="connsiteX723" fmla="*/ 143827 w 2076450"/>
                <a:gd name="connsiteY723" fmla="*/ 840105 h 1352550"/>
                <a:gd name="connsiteX724" fmla="*/ 142875 w 2076450"/>
                <a:gd name="connsiteY724" fmla="*/ 842963 h 1352550"/>
                <a:gd name="connsiteX725" fmla="*/ 142875 w 2076450"/>
                <a:gd name="connsiteY725" fmla="*/ 848677 h 1352550"/>
                <a:gd name="connsiteX726" fmla="*/ 144780 w 2076450"/>
                <a:gd name="connsiteY726" fmla="*/ 856297 h 1352550"/>
                <a:gd name="connsiteX727" fmla="*/ 145732 w 2076450"/>
                <a:gd name="connsiteY727" fmla="*/ 859155 h 1352550"/>
                <a:gd name="connsiteX728" fmla="*/ 147638 w 2076450"/>
                <a:gd name="connsiteY728" fmla="*/ 861060 h 1352550"/>
                <a:gd name="connsiteX729" fmla="*/ 150495 w 2076450"/>
                <a:gd name="connsiteY729" fmla="*/ 862965 h 1352550"/>
                <a:gd name="connsiteX730" fmla="*/ 152400 w 2076450"/>
                <a:gd name="connsiteY730" fmla="*/ 861060 h 1352550"/>
                <a:gd name="connsiteX731" fmla="*/ 154305 w 2076450"/>
                <a:gd name="connsiteY731" fmla="*/ 859155 h 1352550"/>
                <a:gd name="connsiteX732" fmla="*/ 158115 w 2076450"/>
                <a:gd name="connsiteY732" fmla="*/ 846772 h 1352550"/>
                <a:gd name="connsiteX733" fmla="*/ 162877 w 2076450"/>
                <a:gd name="connsiteY733" fmla="*/ 835342 h 1352550"/>
                <a:gd name="connsiteX734" fmla="*/ 163830 w 2076450"/>
                <a:gd name="connsiteY734" fmla="*/ 832485 h 1352550"/>
                <a:gd name="connsiteX735" fmla="*/ 185738 w 2076450"/>
                <a:gd name="connsiteY735" fmla="*/ 808672 h 1352550"/>
                <a:gd name="connsiteX736" fmla="*/ 188595 w 2076450"/>
                <a:gd name="connsiteY736" fmla="*/ 803910 h 1352550"/>
                <a:gd name="connsiteX737" fmla="*/ 190500 w 2076450"/>
                <a:gd name="connsiteY737" fmla="*/ 799147 h 1352550"/>
                <a:gd name="connsiteX738" fmla="*/ 192405 w 2076450"/>
                <a:gd name="connsiteY738" fmla="*/ 797242 h 1352550"/>
                <a:gd name="connsiteX739" fmla="*/ 195263 w 2076450"/>
                <a:gd name="connsiteY739" fmla="*/ 797242 h 1352550"/>
                <a:gd name="connsiteX740" fmla="*/ 197168 w 2076450"/>
                <a:gd name="connsiteY740" fmla="*/ 798195 h 1352550"/>
                <a:gd name="connsiteX741" fmla="*/ 201930 w 2076450"/>
                <a:gd name="connsiteY741" fmla="*/ 803910 h 1352550"/>
                <a:gd name="connsiteX742" fmla="*/ 205740 w 2076450"/>
                <a:gd name="connsiteY742" fmla="*/ 807720 h 1352550"/>
                <a:gd name="connsiteX743" fmla="*/ 211455 w 2076450"/>
                <a:gd name="connsiteY743" fmla="*/ 807720 h 1352550"/>
                <a:gd name="connsiteX744" fmla="*/ 218122 w 2076450"/>
                <a:gd name="connsiteY744" fmla="*/ 806767 h 1352550"/>
                <a:gd name="connsiteX745" fmla="*/ 220980 w 2076450"/>
                <a:gd name="connsiteY745" fmla="*/ 805815 h 1352550"/>
                <a:gd name="connsiteX746" fmla="*/ 223838 w 2076450"/>
                <a:gd name="connsiteY746" fmla="*/ 802957 h 1352550"/>
                <a:gd name="connsiteX747" fmla="*/ 228600 w 2076450"/>
                <a:gd name="connsiteY747" fmla="*/ 797242 h 1352550"/>
                <a:gd name="connsiteX748" fmla="*/ 249555 w 2076450"/>
                <a:gd name="connsiteY748" fmla="*/ 777240 h 1352550"/>
                <a:gd name="connsiteX749" fmla="*/ 251460 w 2076450"/>
                <a:gd name="connsiteY749" fmla="*/ 775335 h 1352550"/>
                <a:gd name="connsiteX750" fmla="*/ 257175 w 2076450"/>
                <a:gd name="connsiteY750" fmla="*/ 763905 h 1352550"/>
                <a:gd name="connsiteX751" fmla="*/ 260032 w 2076450"/>
                <a:gd name="connsiteY751" fmla="*/ 762000 h 1352550"/>
                <a:gd name="connsiteX752" fmla="*/ 262890 w 2076450"/>
                <a:gd name="connsiteY752" fmla="*/ 761047 h 1352550"/>
                <a:gd name="connsiteX753" fmla="*/ 266700 w 2076450"/>
                <a:gd name="connsiteY753" fmla="*/ 761047 h 1352550"/>
                <a:gd name="connsiteX754" fmla="*/ 270510 w 2076450"/>
                <a:gd name="connsiteY754" fmla="*/ 760095 h 1352550"/>
                <a:gd name="connsiteX755" fmla="*/ 277177 w 2076450"/>
                <a:gd name="connsiteY755" fmla="*/ 758190 h 1352550"/>
                <a:gd name="connsiteX756" fmla="*/ 280035 w 2076450"/>
                <a:gd name="connsiteY756" fmla="*/ 755332 h 1352550"/>
                <a:gd name="connsiteX757" fmla="*/ 280988 w 2076450"/>
                <a:gd name="connsiteY757" fmla="*/ 751522 h 1352550"/>
                <a:gd name="connsiteX758" fmla="*/ 286702 w 2076450"/>
                <a:gd name="connsiteY758" fmla="*/ 714375 h 1352550"/>
                <a:gd name="connsiteX759" fmla="*/ 285750 w 2076450"/>
                <a:gd name="connsiteY759" fmla="*/ 708660 h 1352550"/>
                <a:gd name="connsiteX760" fmla="*/ 284797 w 2076450"/>
                <a:gd name="connsiteY760" fmla="*/ 706755 h 1352550"/>
                <a:gd name="connsiteX761" fmla="*/ 282893 w 2076450"/>
                <a:gd name="connsiteY761" fmla="*/ 704850 h 1352550"/>
                <a:gd name="connsiteX762" fmla="*/ 276225 w 2076450"/>
                <a:gd name="connsiteY762" fmla="*/ 702945 h 1352550"/>
                <a:gd name="connsiteX763" fmla="*/ 274320 w 2076450"/>
                <a:gd name="connsiteY763" fmla="*/ 701040 h 1352550"/>
                <a:gd name="connsiteX764" fmla="*/ 272415 w 2076450"/>
                <a:gd name="connsiteY764" fmla="*/ 697230 h 1352550"/>
                <a:gd name="connsiteX765" fmla="*/ 271463 w 2076450"/>
                <a:gd name="connsiteY765" fmla="*/ 690563 h 1352550"/>
                <a:gd name="connsiteX766" fmla="*/ 270510 w 2076450"/>
                <a:gd name="connsiteY766" fmla="*/ 649605 h 1352550"/>
                <a:gd name="connsiteX767" fmla="*/ 266700 w 2076450"/>
                <a:gd name="connsiteY767" fmla="*/ 633413 h 1352550"/>
                <a:gd name="connsiteX768" fmla="*/ 266700 w 2076450"/>
                <a:gd name="connsiteY768" fmla="*/ 626745 h 1352550"/>
                <a:gd name="connsiteX769" fmla="*/ 265747 w 2076450"/>
                <a:gd name="connsiteY769" fmla="*/ 621982 h 1352550"/>
                <a:gd name="connsiteX770" fmla="*/ 260985 w 2076450"/>
                <a:gd name="connsiteY770" fmla="*/ 619125 h 1352550"/>
                <a:gd name="connsiteX771" fmla="*/ 259080 w 2076450"/>
                <a:gd name="connsiteY771" fmla="*/ 618172 h 1352550"/>
                <a:gd name="connsiteX772" fmla="*/ 258127 w 2076450"/>
                <a:gd name="connsiteY772" fmla="*/ 615315 h 1352550"/>
                <a:gd name="connsiteX773" fmla="*/ 257175 w 2076450"/>
                <a:gd name="connsiteY773" fmla="*/ 608647 h 1352550"/>
                <a:gd name="connsiteX774" fmla="*/ 258127 w 2076450"/>
                <a:gd name="connsiteY774" fmla="*/ 603885 h 1352550"/>
                <a:gd name="connsiteX775" fmla="*/ 260032 w 2076450"/>
                <a:gd name="connsiteY775" fmla="*/ 601027 h 1352550"/>
                <a:gd name="connsiteX776" fmla="*/ 263843 w 2076450"/>
                <a:gd name="connsiteY776" fmla="*/ 598170 h 1352550"/>
                <a:gd name="connsiteX777" fmla="*/ 264795 w 2076450"/>
                <a:gd name="connsiteY777" fmla="*/ 595313 h 1352550"/>
                <a:gd name="connsiteX778" fmla="*/ 264795 w 2076450"/>
                <a:gd name="connsiteY778" fmla="*/ 592455 h 1352550"/>
                <a:gd name="connsiteX779" fmla="*/ 253365 w 2076450"/>
                <a:gd name="connsiteY779" fmla="*/ 565785 h 1352550"/>
                <a:gd name="connsiteX780" fmla="*/ 251460 w 2076450"/>
                <a:gd name="connsiteY780" fmla="*/ 561022 h 1352550"/>
                <a:gd name="connsiteX781" fmla="*/ 251460 w 2076450"/>
                <a:gd name="connsiteY781" fmla="*/ 557213 h 1352550"/>
                <a:gd name="connsiteX782" fmla="*/ 252413 w 2076450"/>
                <a:gd name="connsiteY782" fmla="*/ 551497 h 1352550"/>
                <a:gd name="connsiteX783" fmla="*/ 252413 w 2076450"/>
                <a:gd name="connsiteY783" fmla="*/ 549592 h 1352550"/>
                <a:gd name="connsiteX784" fmla="*/ 250507 w 2076450"/>
                <a:gd name="connsiteY784" fmla="*/ 548640 h 1352550"/>
                <a:gd name="connsiteX785" fmla="*/ 245745 w 2076450"/>
                <a:gd name="connsiteY785" fmla="*/ 548640 h 1352550"/>
                <a:gd name="connsiteX786" fmla="*/ 243840 w 2076450"/>
                <a:gd name="connsiteY786" fmla="*/ 547688 h 1352550"/>
                <a:gd name="connsiteX787" fmla="*/ 242888 w 2076450"/>
                <a:gd name="connsiteY787" fmla="*/ 543877 h 1352550"/>
                <a:gd name="connsiteX788" fmla="*/ 241935 w 2076450"/>
                <a:gd name="connsiteY788" fmla="*/ 537210 h 1352550"/>
                <a:gd name="connsiteX789" fmla="*/ 241935 w 2076450"/>
                <a:gd name="connsiteY789" fmla="*/ 530542 h 1352550"/>
                <a:gd name="connsiteX790" fmla="*/ 243840 w 2076450"/>
                <a:gd name="connsiteY790" fmla="*/ 527685 h 1352550"/>
                <a:gd name="connsiteX791" fmla="*/ 245745 w 2076450"/>
                <a:gd name="connsiteY791" fmla="*/ 524827 h 1352550"/>
                <a:gd name="connsiteX792" fmla="*/ 260985 w 2076450"/>
                <a:gd name="connsiteY792" fmla="*/ 515302 h 1352550"/>
                <a:gd name="connsiteX793" fmla="*/ 305752 w 2076450"/>
                <a:gd name="connsiteY793" fmla="*/ 497205 h 1352550"/>
                <a:gd name="connsiteX794" fmla="*/ 307657 w 2076450"/>
                <a:gd name="connsiteY794" fmla="*/ 498157 h 1352550"/>
                <a:gd name="connsiteX795" fmla="*/ 308610 w 2076450"/>
                <a:gd name="connsiteY795" fmla="*/ 501967 h 1352550"/>
                <a:gd name="connsiteX796" fmla="*/ 311468 w 2076450"/>
                <a:gd name="connsiteY796" fmla="*/ 501967 h 1352550"/>
                <a:gd name="connsiteX797" fmla="*/ 315277 w 2076450"/>
                <a:gd name="connsiteY797" fmla="*/ 500063 h 1352550"/>
                <a:gd name="connsiteX798" fmla="*/ 329565 w 2076450"/>
                <a:gd name="connsiteY798" fmla="*/ 484822 h 1352550"/>
                <a:gd name="connsiteX799" fmla="*/ 334327 w 2076450"/>
                <a:gd name="connsiteY799" fmla="*/ 481965 h 1352550"/>
                <a:gd name="connsiteX800" fmla="*/ 389572 w 2076450"/>
                <a:gd name="connsiteY800" fmla="*/ 454342 h 1352550"/>
                <a:gd name="connsiteX801" fmla="*/ 394335 w 2076450"/>
                <a:gd name="connsiteY801" fmla="*/ 451485 h 1352550"/>
                <a:gd name="connsiteX802" fmla="*/ 413385 w 2076450"/>
                <a:gd name="connsiteY802" fmla="*/ 431482 h 1352550"/>
                <a:gd name="connsiteX803" fmla="*/ 416243 w 2076450"/>
                <a:gd name="connsiteY803" fmla="*/ 429577 h 1352550"/>
                <a:gd name="connsiteX804" fmla="*/ 421957 w 2076450"/>
                <a:gd name="connsiteY804" fmla="*/ 428625 h 1352550"/>
                <a:gd name="connsiteX805" fmla="*/ 425768 w 2076450"/>
                <a:gd name="connsiteY805" fmla="*/ 427672 h 1352550"/>
                <a:gd name="connsiteX806" fmla="*/ 430530 w 2076450"/>
                <a:gd name="connsiteY806" fmla="*/ 425767 h 1352550"/>
                <a:gd name="connsiteX807" fmla="*/ 437197 w 2076450"/>
                <a:gd name="connsiteY807" fmla="*/ 420052 h 1352550"/>
                <a:gd name="connsiteX808" fmla="*/ 441007 w 2076450"/>
                <a:gd name="connsiteY808" fmla="*/ 416242 h 1352550"/>
                <a:gd name="connsiteX809" fmla="*/ 441960 w 2076450"/>
                <a:gd name="connsiteY809" fmla="*/ 413385 h 1352550"/>
                <a:gd name="connsiteX810" fmla="*/ 441007 w 2076450"/>
                <a:gd name="connsiteY810" fmla="*/ 411480 h 1352550"/>
                <a:gd name="connsiteX811" fmla="*/ 438150 w 2076450"/>
                <a:gd name="connsiteY811" fmla="*/ 409575 h 1352550"/>
                <a:gd name="connsiteX812" fmla="*/ 417195 w 2076450"/>
                <a:gd name="connsiteY812" fmla="*/ 404813 h 1352550"/>
                <a:gd name="connsiteX813" fmla="*/ 414338 w 2076450"/>
                <a:gd name="connsiteY813" fmla="*/ 403860 h 1352550"/>
                <a:gd name="connsiteX814" fmla="*/ 413385 w 2076450"/>
                <a:gd name="connsiteY814" fmla="*/ 401955 h 1352550"/>
                <a:gd name="connsiteX815" fmla="*/ 412432 w 2076450"/>
                <a:gd name="connsiteY815" fmla="*/ 396240 h 1352550"/>
                <a:gd name="connsiteX816" fmla="*/ 409575 w 2076450"/>
                <a:gd name="connsiteY816" fmla="*/ 391477 h 1352550"/>
                <a:gd name="connsiteX817" fmla="*/ 407670 w 2076450"/>
                <a:gd name="connsiteY817" fmla="*/ 389572 h 1352550"/>
                <a:gd name="connsiteX818" fmla="*/ 376238 w 2076450"/>
                <a:gd name="connsiteY818" fmla="*/ 387667 h 1352550"/>
                <a:gd name="connsiteX819" fmla="*/ 370522 w 2076450"/>
                <a:gd name="connsiteY819" fmla="*/ 386715 h 1352550"/>
                <a:gd name="connsiteX820" fmla="*/ 359093 w 2076450"/>
                <a:gd name="connsiteY820" fmla="*/ 378142 h 1352550"/>
                <a:gd name="connsiteX821" fmla="*/ 356235 w 2076450"/>
                <a:gd name="connsiteY821" fmla="*/ 377190 h 1352550"/>
                <a:gd name="connsiteX822" fmla="*/ 326707 w 2076450"/>
                <a:gd name="connsiteY822" fmla="*/ 371475 h 1352550"/>
                <a:gd name="connsiteX823" fmla="*/ 324802 w 2076450"/>
                <a:gd name="connsiteY823" fmla="*/ 370522 h 1352550"/>
                <a:gd name="connsiteX824" fmla="*/ 320993 w 2076450"/>
                <a:gd name="connsiteY824" fmla="*/ 366713 h 1352550"/>
                <a:gd name="connsiteX825" fmla="*/ 318135 w 2076450"/>
                <a:gd name="connsiteY825" fmla="*/ 359092 h 1352550"/>
                <a:gd name="connsiteX826" fmla="*/ 316230 w 2076450"/>
                <a:gd name="connsiteY826" fmla="*/ 354330 h 1352550"/>
                <a:gd name="connsiteX827" fmla="*/ 314325 w 2076450"/>
                <a:gd name="connsiteY827" fmla="*/ 352425 h 1352550"/>
                <a:gd name="connsiteX828" fmla="*/ 309563 w 2076450"/>
                <a:gd name="connsiteY828" fmla="*/ 349567 h 1352550"/>
                <a:gd name="connsiteX829" fmla="*/ 307657 w 2076450"/>
                <a:gd name="connsiteY829" fmla="*/ 347663 h 1352550"/>
                <a:gd name="connsiteX830" fmla="*/ 304800 w 2076450"/>
                <a:gd name="connsiteY830" fmla="*/ 343852 h 1352550"/>
                <a:gd name="connsiteX831" fmla="*/ 301943 w 2076450"/>
                <a:gd name="connsiteY831" fmla="*/ 335280 h 1352550"/>
                <a:gd name="connsiteX832" fmla="*/ 302895 w 2076450"/>
                <a:gd name="connsiteY832" fmla="*/ 330517 h 1352550"/>
                <a:gd name="connsiteX833" fmla="*/ 310515 w 2076450"/>
                <a:gd name="connsiteY833" fmla="*/ 318135 h 1352550"/>
                <a:gd name="connsiteX834" fmla="*/ 314325 w 2076450"/>
                <a:gd name="connsiteY834" fmla="*/ 314325 h 1352550"/>
                <a:gd name="connsiteX835" fmla="*/ 317182 w 2076450"/>
                <a:gd name="connsiteY835" fmla="*/ 312420 h 1352550"/>
                <a:gd name="connsiteX836" fmla="*/ 320040 w 2076450"/>
                <a:gd name="connsiteY836" fmla="*/ 312420 h 1352550"/>
                <a:gd name="connsiteX837" fmla="*/ 321945 w 2076450"/>
                <a:gd name="connsiteY837" fmla="*/ 312420 h 1352550"/>
                <a:gd name="connsiteX838" fmla="*/ 323850 w 2076450"/>
                <a:gd name="connsiteY838" fmla="*/ 314325 h 1352550"/>
                <a:gd name="connsiteX839" fmla="*/ 326707 w 2076450"/>
                <a:gd name="connsiteY839" fmla="*/ 319088 h 1352550"/>
                <a:gd name="connsiteX840" fmla="*/ 328613 w 2076450"/>
                <a:gd name="connsiteY840" fmla="*/ 320992 h 1352550"/>
                <a:gd name="connsiteX841" fmla="*/ 332422 w 2076450"/>
                <a:gd name="connsiteY841" fmla="*/ 320992 h 1352550"/>
                <a:gd name="connsiteX842" fmla="*/ 335280 w 2076450"/>
                <a:gd name="connsiteY842" fmla="*/ 320992 h 1352550"/>
                <a:gd name="connsiteX843" fmla="*/ 356235 w 2076450"/>
                <a:gd name="connsiteY843" fmla="*/ 302895 h 1352550"/>
                <a:gd name="connsiteX844" fmla="*/ 359093 w 2076450"/>
                <a:gd name="connsiteY844" fmla="*/ 301942 h 1352550"/>
                <a:gd name="connsiteX845" fmla="*/ 362902 w 2076450"/>
                <a:gd name="connsiteY845" fmla="*/ 301942 h 1352550"/>
                <a:gd name="connsiteX846" fmla="*/ 368618 w 2076450"/>
                <a:gd name="connsiteY846" fmla="*/ 303847 h 1352550"/>
                <a:gd name="connsiteX847" fmla="*/ 370522 w 2076450"/>
                <a:gd name="connsiteY847" fmla="*/ 305752 h 1352550"/>
                <a:gd name="connsiteX848" fmla="*/ 372427 w 2076450"/>
                <a:gd name="connsiteY848" fmla="*/ 307657 h 1352550"/>
                <a:gd name="connsiteX849" fmla="*/ 374332 w 2076450"/>
                <a:gd name="connsiteY849" fmla="*/ 316230 h 1352550"/>
                <a:gd name="connsiteX850" fmla="*/ 375285 w 2076450"/>
                <a:gd name="connsiteY850" fmla="*/ 318135 h 1352550"/>
                <a:gd name="connsiteX851" fmla="*/ 377190 w 2076450"/>
                <a:gd name="connsiteY851" fmla="*/ 320040 h 1352550"/>
                <a:gd name="connsiteX852" fmla="*/ 380047 w 2076450"/>
                <a:gd name="connsiteY852" fmla="*/ 321945 h 1352550"/>
                <a:gd name="connsiteX853" fmla="*/ 382905 w 2076450"/>
                <a:gd name="connsiteY853" fmla="*/ 321945 h 1352550"/>
                <a:gd name="connsiteX854" fmla="*/ 385763 w 2076450"/>
                <a:gd name="connsiteY854" fmla="*/ 320992 h 1352550"/>
                <a:gd name="connsiteX855" fmla="*/ 389572 w 2076450"/>
                <a:gd name="connsiteY855" fmla="*/ 319088 h 1352550"/>
                <a:gd name="connsiteX856" fmla="*/ 399097 w 2076450"/>
                <a:gd name="connsiteY856" fmla="*/ 305752 h 1352550"/>
                <a:gd name="connsiteX857" fmla="*/ 403860 w 2076450"/>
                <a:gd name="connsiteY857" fmla="*/ 301942 h 1352550"/>
                <a:gd name="connsiteX858" fmla="*/ 406718 w 2076450"/>
                <a:gd name="connsiteY858" fmla="*/ 301942 h 1352550"/>
                <a:gd name="connsiteX859" fmla="*/ 413385 w 2076450"/>
                <a:gd name="connsiteY859" fmla="*/ 302895 h 1352550"/>
                <a:gd name="connsiteX860" fmla="*/ 415290 w 2076450"/>
                <a:gd name="connsiteY860" fmla="*/ 304800 h 1352550"/>
                <a:gd name="connsiteX861" fmla="*/ 417195 w 2076450"/>
                <a:gd name="connsiteY861" fmla="*/ 306705 h 1352550"/>
                <a:gd name="connsiteX862" fmla="*/ 417195 w 2076450"/>
                <a:gd name="connsiteY862" fmla="*/ 309563 h 1352550"/>
                <a:gd name="connsiteX863" fmla="*/ 415290 w 2076450"/>
                <a:gd name="connsiteY863" fmla="*/ 320040 h 1352550"/>
                <a:gd name="connsiteX864" fmla="*/ 416243 w 2076450"/>
                <a:gd name="connsiteY864" fmla="*/ 322897 h 1352550"/>
                <a:gd name="connsiteX865" fmla="*/ 417195 w 2076450"/>
                <a:gd name="connsiteY865" fmla="*/ 324802 h 1352550"/>
                <a:gd name="connsiteX866" fmla="*/ 421005 w 2076450"/>
                <a:gd name="connsiteY866" fmla="*/ 323850 h 1352550"/>
                <a:gd name="connsiteX867" fmla="*/ 423863 w 2076450"/>
                <a:gd name="connsiteY867" fmla="*/ 320040 h 1352550"/>
                <a:gd name="connsiteX868" fmla="*/ 427672 w 2076450"/>
                <a:gd name="connsiteY868" fmla="*/ 314325 h 1352550"/>
                <a:gd name="connsiteX869" fmla="*/ 429577 w 2076450"/>
                <a:gd name="connsiteY869" fmla="*/ 311467 h 1352550"/>
                <a:gd name="connsiteX870" fmla="*/ 431482 w 2076450"/>
                <a:gd name="connsiteY870" fmla="*/ 311467 h 1352550"/>
                <a:gd name="connsiteX871" fmla="*/ 432435 w 2076450"/>
                <a:gd name="connsiteY871" fmla="*/ 313372 h 1352550"/>
                <a:gd name="connsiteX872" fmla="*/ 433388 w 2076450"/>
                <a:gd name="connsiteY872" fmla="*/ 322897 h 1352550"/>
                <a:gd name="connsiteX873" fmla="*/ 433388 w 2076450"/>
                <a:gd name="connsiteY873" fmla="*/ 324802 h 1352550"/>
                <a:gd name="connsiteX874" fmla="*/ 436245 w 2076450"/>
                <a:gd name="connsiteY874" fmla="*/ 330517 h 1352550"/>
                <a:gd name="connsiteX875" fmla="*/ 436245 w 2076450"/>
                <a:gd name="connsiteY875" fmla="*/ 338138 h 1352550"/>
                <a:gd name="connsiteX876" fmla="*/ 441007 w 2076450"/>
                <a:gd name="connsiteY876" fmla="*/ 340995 h 1352550"/>
                <a:gd name="connsiteX877" fmla="*/ 443865 w 2076450"/>
                <a:gd name="connsiteY877" fmla="*/ 340042 h 1352550"/>
                <a:gd name="connsiteX878" fmla="*/ 446722 w 2076450"/>
                <a:gd name="connsiteY878" fmla="*/ 338138 h 1352550"/>
                <a:gd name="connsiteX879" fmla="*/ 449580 w 2076450"/>
                <a:gd name="connsiteY879" fmla="*/ 333375 h 1352550"/>
                <a:gd name="connsiteX880" fmla="*/ 453390 w 2076450"/>
                <a:gd name="connsiteY880" fmla="*/ 320040 h 1352550"/>
                <a:gd name="connsiteX881" fmla="*/ 457200 w 2076450"/>
                <a:gd name="connsiteY881" fmla="*/ 313372 h 1352550"/>
                <a:gd name="connsiteX882" fmla="*/ 461963 w 2076450"/>
                <a:gd name="connsiteY882" fmla="*/ 310515 h 1352550"/>
                <a:gd name="connsiteX883" fmla="*/ 464820 w 2076450"/>
                <a:gd name="connsiteY883" fmla="*/ 306705 h 1352550"/>
                <a:gd name="connsiteX884" fmla="*/ 468630 w 2076450"/>
                <a:gd name="connsiteY884" fmla="*/ 300038 h 1352550"/>
                <a:gd name="connsiteX885" fmla="*/ 473393 w 2076450"/>
                <a:gd name="connsiteY885" fmla="*/ 296227 h 1352550"/>
                <a:gd name="connsiteX886" fmla="*/ 475297 w 2076450"/>
                <a:gd name="connsiteY886" fmla="*/ 292417 h 1352550"/>
                <a:gd name="connsiteX887" fmla="*/ 476250 w 2076450"/>
                <a:gd name="connsiteY887" fmla="*/ 289560 h 1352550"/>
                <a:gd name="connsiteX888" fmla="*/ 477202 w 2076450"/>
                <a:gd name="connsiteY888" fmla="*/ 285750 h 1352550"/>
                <a:gd name="connsiteX889" fmla="*/ 480060 w 2076450"/>
                <a:gd name="connsiteY889" fmla="*/ 276225 h 1352550"/>
                <a:gd name="connsiteX890" fmla="*/ 493395 w 2076450"/>
                <a:gd name="connsiteY890" fmla="*/ 255270 h 1352550"/>
                <a:gd name="connsiteX891" fmla="*/ 498157 w 2076450"/>
                <a:gd name="connsiteY891" fmla="*/ 260032 h 1352550"/>
                <a:gd name="connsiteX892" fmla="*/ 557213 w 2076450"/>
                <a:gd name="connsiteY892" fmla="*/ 301942 h 1352550"/>
                <a:gd name="connsiteX893" fmla="*/ 561022 w 2076450"/>
                <a:gd name="connsiteY893" fmla="*/ 302895 h 1352550"/>
                <a:gd name="connsiteX894" fmla="*/ 568643 w 2076450"/>
                <a:gd name="connsiteY894" fmla="*/ 301942 h 1352550"/>
                <a:gd name="connsiteX895" fmla="*/ 572452 w 2076450"/>
                <a:gd name="connsiteY895" fmla="*/ 301942 h 1352550"/>
                <a:gd name="connsiteX896" fmla="*/ 575310 w 2076450"/>
                <a:gd name="connsiteY896" fmla="*/ 303847 h 1352550"/>
                <a:gd name="connsiteX897" fmla="*/ 581977 w 2076450"/>
                <a:gd name="connsiteY897" fmla="*/ 309563 h 1352550"/>
                <a:gd name="connsiteX898" fmla="*/ 584835 w 2076450"/>
                <a:gd name="connsiteY898" fmla="*/ 312420 h 1352550"/>
                <a:gd name="connsiteX899" fmla="*/ 594360 w 2076450"/>
                <a:gd name="connsiteY899" fmla="*/ 316230 h 1352550"/>
                <a:gd name="connsiteX900" fmla="*/ 621982 w 2076450"/>
                <a:gd name="connsiteY900" fmla="*/ 320992 h 1352550"/>
                <a:gd name="connsiteX901" fmla="*/ 638175 w 2076450"/>
                <a:gd name="connsiteY901" fmla="*/ 329565 h 1352550"/>
                <a:gd name="connsiteX902" fmla="*/ 654368 w 2076450"/>
                <a:gd name="connsiteY902" fmla="*/ 350520 h 1352550"/>
                <a:gd name="connsiteX903" fmla="*/ 661035 w 2076450"/>
                <a:gd name="connsiteY903" fmla="*/ 351472 h 1352550"/>
                <a:gd name="connsiteX904" fmla="*/ 676275 w 2076450"/>
                <a:gd name="connsiteY904" fmla="*/ 340995 h 1352550"/>
                <a:gd name="connsiteX905" fmla="*/ 687705 w 2076450"/>
                <a:gd name="connsiteY905" fmla="*/ 329565 h 1352550"/>
                <a:gd name="connsiteX906" fmla="*/ 691515 w 2076450"/>
                <a:gd name="connsiteY906" fmla="*/ 325755 h 1352550"/>
                <a:gd name="connsiteX907" fmla="*/ 692468 w 2076450"/>
                <a:gd name="connsiteY907" fmla="*/ 322897 h 1352550"/>
                <a:gd name="connsiteX908" fmla="*/ 691515 w 2076450"/>
                <a:gd name="connsiteY908" fmla="*/ 320992 h 1352550"/>
                <a:gd name="connsiteX909" fmla="*/ 690563 w 2076450"/>
                <a:gd name="connsiteY909" fmla="*/ 318135 h 1352550"/>
                <a:gd name="connsiteX910" fmla="*/ 683895 w 2076450"/>
                <a:gd name="connsiteY910" fmla="*/ 313372 h 1352550"/>
                <a:gd name="connsiteX911" fmla="*/ 681990 w 2076450"/>
                <a:gd name="connsiteY911" fmla="*/ 311467 h 1352550"/>
                <a:gd name="connsiteX912" fmla="*/ 681038 w 2076450"/>
                <a:gd name="connsiteY912" fmla="*/ 308610 h 1352550"/>
                <a:gd name="connsiteX913" fmla="*/ 681038 w 2076450"/>
                <a:gd name="connsiteY913" fmla="*/ 302895 h 1352550"/>
                <a:gd name="connsiteX914" fmla="*/ 681990 w 2076450"/>
                <a:gd name="connsiteY914" fmla="*/ 300038 h 1352550"/>
                <a:gd name="connsiteX915" fmla="*/ 682943 w 2076450"/>
                <a:gd name="connsiteY915" fmla="*/ 297180 h 1352550"/>
                <a:gd name="connsiteX916" fmla="*/ 693420 w 2076450"/>
                <a:gd name="connsiteY916" fmla="*/ 285750 h 1352550"/>
                <a:gd name="connsiteX917" fmla="*/ 699135 w 2076450"/>
                <a:gd name="connsiteY917" fmla="*/ 281940 h 1352550"/>
                <a:gd name="connsiteX918" fmla="*/ 701993 w 2076450"/>
                <a:gd name="connsiteY918" fmla="*/ 279082 h 1352550"/>
                <a:gd name="connsiteX919" fmla="*/ 702945 w 2076450"/>
                <a:gd name="connsiteY919" fmla="*/ 276225 h 1352550"/>
                <a:gd name="connsiteX920" fmla="*/ 701040 w 2076450"/>
                <a:gd name="connsiteY920" fmla="*/ 259080 h 1352550"/>
                <a:gd name="connsiteX921" fmla="*/ 699135 w 2076450"/>
                <a:gd name="connsiteY921" fmla="*/ 254317 h 1352550"/>
                <a:gd name="connsiteX922" fmla="*/ 697230 w 2076450"/>
                <a:gd name="connsiteY922" fmla="*/ 252413 h 1352550"/>
                <a:gd name="connsiteX923" fmla="*/ 681990 w 2076450"/>
                <a:gd name="connsiteY923" fmla="*/ 237172 h 1352550"/>
                <a:gd name="connsiteX924" fmla="*/ 680085 w 2076450"/>
                <a:gd name="connsiteY924" fmla="*/ 232410 h 1352550"/>
                <a:gd name="connsiteX925" fmla="*/ 680085 w 2076450"/>
                <a:gd name="connsiteY925" fmla="*/ 226695 h 1352550"/>
                <a:gd name="connsiteX926" fmla="*/ 681038 w 2076450"/>
                <a:gd name="connsiteY926" fmla="*/ 216217 h 1352550"/>
                <a:gd name="connsiteX927" fmla="*/ 682943 w 2076450"/>
                <a:gd name="connsiteY927" fmla="*/ 209550 h 1352550"/>
                <a:gd name="connsiteX928" fmla="*/ 687705 w 2076450"/>
                <a:gd name="connsiteY928" fmla="*/ 199072 h 1352550"/>
                <a:gd name="connsiteX929" fmla="*/ 695325 w 2076450"/>
                <a:gd name="connsiteY929" fmla="*/ 176213 h 1352550"/>
                <a:gd name="connsiteX930" fmla="*/ 699135 w 2076450"/>
                <a:gd name="connsiteY930" fmla="*/ 170497 h 1352550"/>
                <a:gd name="connsiteX931" fmla="*/ 701993 w 2076450"/>
                <a:gd name="connsiteY931" fmla="*/ 167640 h 1352550"/>
                <a:gd name="connsiteX932" fmla="*/ 707707 w 2076450"/>
                <a:gd name="connsiteY932" fmla="*/ 162877 h 1352550"/>
                <a:gd name="connsiteX933" fmla="*/ 717232 w 2076450"/>
                <a:gd name="connsiteY933" fmla="*/ 159067 h 1352550"/>
                <a:gd name="connsiteX934" fmla="*/ 723900 w 2076450"/>
                <a:gd name="connsiteY934" fmla="*/ 159067 h 1352550"/>
                <a:gd name="connsiteX935" fmla="*/ 727710 w 2076450"/>
                <a:gd name="connsiteY935" fmla="*/ 157163 h 1352550"/>
                <a:gd name="connsiteX936" fmla="*/ 730568 w 2076450"/>
                <a:gd name="connsiteY936" fmla="*/ 154305 h 1352550"/>
                <a:gd name="connsiteX937" fmla="*/ 730568 w 2076450"/>
                <a:gd name="connsiteY937" fmla="*/ 151447 h 1352550"/>
                <a:gd name="connsiteX938" fmla="*/ 729615 w 2076450"/>
                <a:gd name="connsiteY938" fmla="*/ 149542 h 1352550"/>
                <a:gd name="connsiteX939" fmla="*/ 727710 w 2076450"/>
                <a:gd name="connsiteY939" fmla="*/ 148590 h 1352550"/>
                <a:gd name="connsiteX940" fmla="*/ 721995 w 2076450"/>
                <a:gd name="connsiteY940" fmla="*/ 148590 h 1352550"/>
                <a:gd name="connsiteX941" fmla="*/ 718185 w 2076450"/>
                <a:gd name="connsiteY941" fmla="*/ 147638 h 1352550"/>
                <a:gd name="connsiteX942" fmla="*/ 717232 w 2076450"/>
                <a:gd name="connsiteY942" fmla="*/ 142875 h 1352550"/>
                <a:gd name="connsiteX943" fmla="*/ 719138 w 2076450"/>
                <a:gd name="connsiteY943" fmla="*/ 138113 h 1352550"/>
                <a:gd name="connsiteX944" fmla="*/ 721043 w 2076450"/>
                <a:gd name="connsiteY944" fmla="*/ 136207 h 1352550"/>
                <a:gd name="connsiteX945" fmla="*/ 734377 w 2076450"/>
                <a:gd name="connsiteY945" fmla="*/ 124777 h 1352550"/>
                <a:gd name="connsiteX946" fmla="*/ 741997 w 2076450"/>
                <a:gd name="connsiteY946" fmla="*/ 117157 h 1352550"/>
                <a:gd name="connsiteX947" fmla="*/ 748665 w 2076450"/>
                <a:gd name="connsiteY947" fmla="*/ 107632 h 1352550"/>
                <a:gd name="connsiteX948" fmla="*/ 749618 w 2076450"/>
                <a:gd name="connsiteY948" fmla="*/ 104775 h 1352550"/>
                <a:gd name="connsiteX949" fmla="*/ 750570 w 2076450"/>
                <a:gd name="connsiteY949" fmla="*/ 98107 h 1352550"/>
                <a:gd name="connsiteX950" fmla="*/ 749618 w 2076450"/>
                <a:gd name="connsiteY950" fmla="*/ 92392 h 1352550"/>
                <a:gd name="connsiteX951" fmla="*/ 749618 w 2076450"/>
                <a:gd name="connsiteY951" fmla="*/ 89535 h 1352550"/>
                <a:gd name="connsiteX952" fmla="*/ 751522 w 2076450"/>
                <a:gd name="connsiteY952" fmla="*/ 85725 h 1352550"/>
                <a:gd name="connsiteX953" fmla="*/ 754380 w 2076450"/>
                <a:gd name="connsiteY953" fmla="*/ 84772 h 1352550"/>
                <a:gd name="connsiteX954" fmla="*/ 757238 w 2076450"/>
                <a:gd name="connsiteY954" fmla="*/ 84772 h 1352550"/>
                <a:gd name="connsiteX955" fmla="*/ 762952 w 2076450"/>
                <a:gd name="connsiteY955" fmla="*/ 87630 h 1352550"/>
                <a:gd name="connsiteX956" fmla="*/ 858202 w 2076450"/>
                <a:gd name="connsiteY956" fmla="*/ 45720 h 1352550"/>
                <a:gd name="connsiteX957" fmla="*/ 876300 w 2076450"/>
                <a:gd name="connsiteY957" fmla="*/ 42863 h 1352550"/>
                <a:gd name="connsiteX958" fmla="*/ 919163 w 2076450"/>
                <a:gd name="connsiteY958" fmla="*/ 29527 h 1352550"/>
                <a:gd name="connsiteX959" fmla="*/ 923925 w 2076450"/>
                <a:gd name="connsiteY959" fmla="*/ 27622 h 1352550"/>
                <a:gd name="connsiteX960" fmla="*/ 927735 w 2076450"/>
                <a:gd name="connsiteY960" fmla="*/ 24765 h 1352550"/>
                <a:gd name="connsiteX961" fmla="*/ 932497 w 2076450"/>
                <a:gd name="connsiteY961" fmla="*/ 18097 h 1352550"/>
                <a:gd name="connsiteX962" fmla="*/ 938213 w 2076450"/>
                <a:gd name="connsiteY962" fmla="*/ 12382 h 1352550"/>
                <a:gd name="connsiteX963" fmla="*/ 942022 w 2076450"/>
                <a:gd name="connsiteY963" fmla="*/ 9525 h 1352550"/>
                <a:gd name="connsiteX964" fmla="*/ 946785 w 2076450"/>
                <a:gd name="connsiteY964" fmla="*/ 7620 h 1352550"/>
                <a:gd name="connsiteX965" fmla="*/ 949643 w 2076450"/>
                <a:gd name="connsiteY965" fmla="*/ 6667 h 1352550"/>
                <a:gd name="connsiteX966" fmla="*/ 962977 w 2076450"/>
                <a:gd name="connsiteY966" fmla="*/ 7620 h 1352550"/>
                <a:gd name="connsiteX967" fmla="*/ 966788 w 2076450"/>
                <a:gd name="connsiteY967" fmla="*/ 6667 h 1352550"/>
                <a:gd name="connsiteX968" fmla="*/ 971550 w 2076450"/>
                <a:gd name="connsiteY968" fmla="*/ 2857 h 1352550"/>
                <a:gd name="connsiteX969" fmla="*/ 974407 w 2076450"/>
                <a:gd name="connsiteY969" fmla="*/ 1905 h 1352550"/>
                <a:gd name="connsiteX970" fmla="*/ 977265 w 2076450"/>
                <a:gd name="connsiteY970" fmla="*/ 1905 h 1352550"/>
                <a:gd name="connsiteX971" fmla="*/ 992505 w 2076450"/>
                <a:gd name="connsiteY971" fmla="*/ 7620 h 1352550"/>
                <a:gd name="connsiteX972" fmla="*/ 994410 w 2076450"/>
                <a:gd name="connsiteY972" fmla="*/ 9525 h 1352550"/>
                <a:gd name="connsiteX973" fmla="*/ 995363 w 2076450"/>
                <a:gd name="connsiteY973" fmla="*/ 11430 h 1352550"/>
                <a:gd name="connsiteX974" fmla="*/ 995363 w 2076450"/>
                <a:gd name="connsiteY974" fmla="*/ 14288 h 1352550"/>
                <a:gd name="connsiteX975" fmla="*/ 994410 w 2076450"/>
                <a:gd name="connsiteY975" fmla="*/ 16192 h 1352550"/>
                <a:gd name="connsiteX976" fmla="*/ 990600 w 2076450"/>
                <a:gd name="connsiteY976" fmla="*/ 20002 h 1352550"/>
                <a:gd name="connsiteX977" fmla="*/ 988695 w 2076450"/>
                <a:gd name="connsiteY977" fmla="*/ 21907 h 1352550"/>
                <a:gd name="connsiteX978" fmla="*/ 987743 w 2076450"/>
                <a:gd name="connsiteY978" fmla="*/ 24765 h 1352550"/>
                <a:gd name="connsiteX979" fmla="*/ 988695 w 2076450"/>
                <a:gd name="connsiteY979" fmla="*/ 26670 h 1352550"/>
                <a:gd name="connsiteX980" fmla="*/ 990600 w 2076450"/>
                <a:gd name="connsiteY980" fmla="*/ 29527 h 1352550"/>
                <a:gd name="connsiteX981" fmla="*/ 993457 w 2076450"/>
                <a:gd name="connsiteY981" fmla="*/ 30480 h 1352550"/>
                <a:gd name="connsiteX982" fmla="*/ 1000125 w 2076450"/>
                <a:gd name="connsiteY982" fmla="*/ 31432 h 1352550"/>
                <a:gd name="connsiteX983" fmla="*/ 1002982 w 2076450"/>
                <a:gd name="connsiteY983" fmla="*/ 29527 h 1352550"/>
                <a:gd name="connsiteX984" fmla="*/ 1005840 w 2076450"/>
                <a:gd name="connsiteY984" fmla="*/ 28575 h 1352550"/>
                <a:gd name="connsiteX985" fmla="*/ 1008697 w 2076450"/>
                <a:gd name="connsiteY985" fmla="*/ 22860 h 1352550"/>
                <a:gd name="connsiteX986" fmla="*/ 1011555 w 2076450"/>
                <a:gd name="connsiteY986" fmla="*/ 12382 h 1352550"/>
                <a:gd name="connsiteX987" fmla="*/ 1013460 w 2076450"/>
                <a:gd name="connsiteY987" fmla="*/ 7620 h 1352550"/>
                <a:gd name="connsiteX988" fmla="*/ 1018222 w 2076450"/>
                <a:gd name="connsiteY988" fmla="*/ 2857 h 1352550"/>
                <a:gd name="connsiteX989" fmla="*/ 1021080 w 2076450"/>
                <a:gd name="connsiteY989" fmla="*/ 952 h 1352550"/>
                <a:gd name="connsiteX990" fmla="*/ 1024890 w 2076450"/>
                <a:gd name="connsiteY990" fmla="*/ 0 h 1352550"/>
                <a:gd name="connsiteX991" fmla="*/ 1027747 w 2076450"/>
                <a:gd name="connsiteY991" fmla="*/ 0 h 1352550"/>
                <a:gd name="connsiteX992" fmla="*/ 1033463 w 2076450"/>
                <a:gd name="connsiteY992" fmla="*/ 1905 h 1352550"/>
                <a:gd name="connsiteX993" fmla="*/ 1039177 w 2076450"/>
                <a:gd name="connsiteY993" fmla="*/ 4763 h 1352550"/>
                <a:gd name="connsiteX994" fmla="*/ 1055370 w 2076450"/>
                <a:gd name="connsiteY994" fmla="*/ 15240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</a:cxnLst>
              <a:rect l="l" t="t" r="r" b="b"/>
              <a:pathLst>
                <a:path w="2076450" h="1352550">
                  <a:moveTo>
                    <a:pt x="1055370" y="15240"/>
                  </a:moveTo>
                  <a:lnTo>
                    <a:pt x="1073468" y="19050"/>
                  </a:lnTo>
                  <a:lnTo>
                    <a:pt x="1080135" y="17145"/>
                  </a:lnTo>
                  <a:lnTo>
                    <a:pt x="1082040" y="16192"/>
                  </a:lnTo>
                  <a:lnTo>
                    <a:pt x="1084897" y="16192"/>
                  </a:lnTo>
                  <a:lnTo>
                    <a:pt x="1088707" y="17145"/>
                  </a:lnTo>
                  <a:lnTo>
                    <a:pt x="1093470" y="20955"/>
                  </a:lnTo>
                  <a:lnTo>
                    <a:pt x="1097280" y="22860"/>
                  </a:lnTo>
                  <a:lnTo>
                    <a:pt x="1102995" y="23813"/>
                  </a:lnTo>
                  <a:lnTo>
                    <a:pt x="1114425" y="20955"/>
                  </a:lnTo>
                  <a:lnTo>
                    <a:pt x="1118235" y="20955"/>
                  </a:lnTo>
                  <a:lnTo>
                    <a:pt x="1131570" y="23813"/>
                  </a:lnTo>
                  <a:lnTo>
                    <a:pt x="1141095" y="23813"/>
                  </a:lnTo>
                  <a:lnTo>
                    <a:pt x="1143952" y="24765"/>
                  </a:lnTo>
                  <a:lnTo>
                    <a:pt x="1153477" y="28575"/>
                  </a:lnTo>
                  <a:lnTo>
                    <a:pt x="1168718" y="40005"/>
                  </a:lnTo>
                  <a:lnTo>
                    <a:pt x="1172527" y="43815"/>
                  </a:lnTo>
                  <a:lnTo>
                    <a:pt x="1175385" y="47625"/>
                  </a:lnTo>
                  <a:lnTo>
                    <a:pt x="1177290" y="55245"/>
                  </a:lnTo>
                  <a:lnTo>
                    <a:pt x="1179195" y="58102"/>
                  </a:lnTo>
                  <a:lnTo>
                    <a:pt x="1213485" y="85725"/>
                  </a:lnTo>
                  <a:lnTo>
                    <a:pt x="1216343" y="90488"/>
                  </a:lnTo>
                  <a:lnTo>
                    <a:pt x="1218247" y="94297"/>
                  </a:lnTo>
                  <a:lnTo>
                    <a:pt x="1221105" y="97155"/>
                  </a:lnTo>
                  <a:lnTo>
                    <a:pt x="1235393" y="106680"/>
                  </a:lnTo>
                  <a:lnTo>
                    <a:pt x="1237297" y="109538"/>
                  </a:lnTo>
                  <a:lnTo>
                    <a:pt x="1246822" y="121920"/>
                  </a:lnTo>
                  <a:lnTo>
                    <a:pt x="1254443" y="129540"/>
                  </a:lnTo>
                  <a:lnTo>
                    <a:pt x="1284922" y="147638"/>
                  </a:lnTo>
                  <a:lnTo>
                    <a:pt x="1293495" y="154305"/>
                  </a:lnTo>
                  <a:lnTo>
                    <a:pt x="1303972" y="166688"/>
                  </a:lnTo>
                  <a:lnTo>
                    <a:pt x="1307782" y="167640"/>
                  </a:lnTo>
                  <a:lnTo>
                    <a:pt x="1311593" y="168592"/>
                  </a:lnTo>
                  <a:lnTo>
                    <a:pt x="1318260" y="168592"/>
                  </a:lnTo>
                  <a:lnTo>
                    <a:pt x="1328738" y="165735"/>
                  </a:lnTo>
                  <a:lnTo>
                    <a:pt x="1331595" y="165735"/>
                  </a:lnTo>
                  <a:lnTo>
                    <a:pt x="1358265" y="170497"/>
                  </a:lnTo>
                  <a:lnTo>
                    <a:pt x="1361122" y="169545"/>
                  </a:lnTo>
                  <a:lnTo>
                    <a:pt x="1365885" y="167640"/>
                  </a:lnTo>
                  <a:lnTo>
                    <a:pt x="1368743" y="166688"/>
                  </a:lnTo>
                  <a:lnTo>
                    <a:pt x="1372552" y="167640"/>
                  </a:lnTo>
                  <a:lnTo>
                    <a:pt x="1381125" y="175260"/>
                  </a:lnTo>
                  <a:lnTo>
                    <a:pt x="1383982" y="178117"/>
                  </a:lnTo>
                  <a:lnTo>
                    <a:pt x="1386840" y="180022"/>
                  </a:lnTo>
                  <a:lnTo>
                    <a:pt x="1389697" y="180975"/>
                  </a:lnTo>
                  <a:lnTo>
                    <a:pt x="1405890" y="180022"/>
                  </a:lnTo>
                  <a:lnTo>
                    <a:pt x="1409700" y="180975"/>
                  </a:lnTo>
                  <a:lnTo>
                    <a:pt x="1413510" y="182880"/>
                  </a:lnTo>
                  <a:lnTo>
                    <a:pt x="1418272" y="187642"/>
                  </a:lnTo>
                  <a:lnTo>
                    <a:pt x="1422082" y="189547"/>
                  </a:lnTo>
                  <a:lnTo>
                    <a:pt x="1426845" y="189547"/>
                  </a:lnTo>
                  <a:lnTo>
                    <a:pt x="1429702" y="187642"/>
                  </a:lnTo>
                  <a:lnTo>
                    <a:pt x="1434465" y="184785"/>
                  </a:lnTo>
                  <a:lnTo>
                    <a:pt x="1438275" y="184785"/>
                  </a:lnTo>
                  <a:lnTo>
                    <a:pt x="1460182" y="191452"/>
                  </a:lnTo>
                  <a:lnTo>
                    <a:pt x="1471613" y="196215"/>
                  </a:lnTo>
                  <a:lnTo>
                    <a:pt x="1476375" y="200025"/>
                  </a:lnTo>
                  <a:lnTo>
                    <a:pt x="1482090" y="200025"/>
                  </a:lnTo>
                  <a:lnTo>
                    <a:pt x="1485900" y="200025"/>
                  </a:lnTo>
                  <a:lnTo>
                    <a:pt x="1490663" y="196215"/>
                  </a:lnTo>
                  <a:lnTo>
                    <a:pt x="1495425" y="194310"/>
                  </a:lnTo>
                  <a:lnTo>
                    <a:pt x="1498282" y="194310"/>
                  </a:lnTo>
                  <a:lnTo>
                    <a:pt x="1503045" y="192405"/>
                  </a:lnTo>
                  <a:lnTo>
                    <a:pt x="1504950" y="191452"/>
                  </a:lnTo>
                  <a:lnTo>
                    <a:pt x="1513522" y="184785"/>
                  </a:lnTo>
                  <a:lnTo>
                    <a:pt x="1523047" y="180022"/>
                  </a:lnTo>
                  <a:lnTo>
                    <a:pt x="1547813" y="170497"/>
                  </a:lnTo>
                  <a:lnTo>
                    <a:pt x="1554480" y="166688"/>
                  </a:lnTo>
                  <a:lnTo>
                    <a:pt x="1559243" y="167640"/>
                  </a:lnTo>
                  <a:lnTo>
                    <a:pt x="1565910" y="172402"/>
                  </a:lnTo>
                  <a:lnTo>
                    <a:pt x="1580197" y="185738"/>
                  </a:lnTo>
                  <a:lnTo>
                    <a:pt x="1584960" y="192405"/>
                  </a:lnTo>
                  <a:lnTo>
                    <a:pt x="1586865" y="198120"/>
                  </a:lnTo>
                  <a:lnTo>
                    <a:pt x="1586865" y="204788"/>
                  </a:lnTo>
                  <a:lnTo>
                    <a:pt x="1586865" y="207645"/>
                  </a:lnTo>
                  <a:lnTo>
                    <a:pt x="1590675" y="212407"/>
                  </a:lnTo>
                  <a:lnTo>
                    <a:pt x="1600200" y="223838"/>
                  </a:lnTo>
                  <a:lnTo>
                    <a:pt x="1602105" y="227647"/>
                  </a:lnTo>
                  <a:lnTo>
                    <a:pt x="1600200" y="232410"/>
                  </a:lnTo>
                  <a:lnTo>
                    <a:pt x="1594485" y="242888"/>
                  </a:lnTo>
                  <a:lnTo>
                    <a:pt x="1590675" y="246697"/>
                  </a:lnTo>
                  <a:lnTo>
                    <a:pt x="1577340" y="254317"/>
                  </a:lnTo>
                  <a:lnTo>
                    <a:pt x="1571625" y="260032"/>
                  </a:lnTo>
                  <a:lnTo>
                    <a:pt x="1570672" y="261938"/>
                  </a:lnTo>
                  <a:lnTo>
                    <a:pt x="1570672" y="263842"/>
                  </a:lnTo>
                  <a:lnTo>
                    <a:pt x="1573530" y="265747"/>
                  </a:lnTo>
                  <a:lnTo>
                    <a:pt x="1590675" y="264795"/>
                  </a:lnTo>
                  <a:lnTo>
                    <a:pt x="1593532" y="264795"/>
                  </a:lnTo>
                  <a:lnTo>
                    <a:pt x="1597343" y="267652"/>
                  </a:lnTo>
                  <a:lnTo>
                    <a:pt x="1605915" y="275272"/>
                  </a:lnTo>
                  <a:lnTo>
                    <a:pt x="1610677" y="278130"/>
                  </a:lnTo>
                  <a:lnTo>
                    <a:pt x="1624013" y="281940"/>
                  </a:lnTo>
                  <a:lnTo>
                    <a:pt x="1628775" y="284797"/>
                  </a:lnTo>
                  <a:lnTo>
                    <a:pt x="1630680" y="288607"/>
                  </a:lnTo>
                  <a:lnTo>
                    <a:pt x="1630680" y="292417"/>
                  </a:lnTo>
                  <a:lnTo>
                    <a:pt x="1632585" y="296227"/>
                  </a:lnTo>
                  <a:lnTo>
                    <a:pt x="1637347" y="300038"/>
                  </a:lnTo>
                  <a:lnTo>
                    <a:pt x="1648777" y="306705"/>
                  </a:lnTo>
                  <a:lnTo>
                    <a:pt x="1653540" y="310515"/>
                  </a:lnTo>
                  <a:lnTo>
                    <a:pt x="1657350" y="314325"/>
                  </a:lnTo>
                  <a:lnTo>
                    <a:pt x="1660207" y="320992"/>
                  </a:lnTo>
                  <a:lnTo>
                    <a:pt x="1663065" y="323850"/>
                  </a:lnTo>
                  <a:lnTo>
                    <a:pt x="1677352" y="334327"/>
                  </a:lnTo>
                  <a:lnTo>
                    <a:pt x="1680210" y="338138"/>
                  </a:lnTo>
                  <a:lnTo>
                    <a:pt x="1681163" y="341947"/>
                  </a:lnTo>
                  <a:lnTo>
                    <a:pt x="1678305" y="345757"/>
                  </a:lnTo>
                  <a:lnTo>
                    <a:pt x="1675447" y="348615"/>
                  </a:lnTo>
                  <a:lnTo>
                    <a:pt x="1664970" y="356235"/>
                  </a:lnTo>
                  <a:lnTo>
                    <a:pt x="1663065" y="358140"/>
                  </a:lnTo>
                  <a:lnTo>
                    <a:pt x="1661160" y="363855"/>
                  </a:lnTo>
                  <a:lnTo>
                    <a:pt x="1660207" y="366713"/>
                  </a:lnTo>
                  <a:lnTo>
                    <a:pt x="1661160" y="369570"/>
                  </a:lnTo>
                  <a:lnTo>
                    <a:pt x="1663065" y="371475"/>
                  </a:lnTo>
                  <a:lnTo>
                    <a:pt x="1683068" y="385763"/>
                  </a:lnTo>
                  <a:lnTo>
                    <a:pt x="1696402" y="399097"/>
                  </a:lnTo>
                  <a:lnTo>
                    <a:pt x="1733550" y="430530"/>
                  </a:lnTo>
                  <a:lnTo>
                    <a:pt x="1740218" y="438150"/>
                  </a:lnTo>
                  <a:lnTo>
                    <a:pt x="1742122" y="442913"/>
                  </a:lnTo>
                  <a:lnTo>
                    <a:pt x="1740218" y="448627"/>
                  </a:lnTo>
                  <a:lnTo>
                    <a:pt x="1733550" y="461963"/>
                  </a:lnTo>
                  <a:lnTo>
                    <a:pt x="1731645" y="466725"/>
                  </a:lnTo>
                  <a:lnTo>
                    <a:pt x="1731645" y="469582"/>
                  </a:lnTo>
                  <a:lnTo>
                    <a:pt x="1733550" y="471488"/>
                  </a:lnTo>
                  <a:lnTo>
                    <a:pt x="1742122" y="478155"/>
                  </a:lnTo>
                  <a:lnTo>
                    <a:pt x="1750695" y="487680"/>
                  </a:lnTo>
                  <a:lnTo>
                    <a:pt x="1752600" y="491490"/>
                  </a:lnTo>
                  <a:lnTo>
                    <a:pt x="1750695" y="496252"/>
                  </a:lnTo>
                  <a:lnTo>
                    <a:pt x="1736407" y="512445"/>
                  </a:lnTo>
                  <a:lnTo>
                    <a:pt x="1734502" y="517207"/>
                  </a:lnTo>
                  <a:lnTo>
                    <a:pt x="1735455" y="519113"/>
                  </a:lnTo>
                  <a:lnTo>
                    <a:pt x="1741170" y="524827"/>
                  </a:lnTo>
                  <a:lnTo>
                    <a:pt x="1743075" y="525780"/>
                  </a:lnTo>
                  <a:lnTo>
                    <a:pt x="1745932" y="525780"/>
                  </a:lnTo>
                  <a:lnTo>
                    <a:pt x="1750695" y="521970"/>
                  </a:lnTo>
                  <a:lnTo>
                    <a:pt x="1755457" y="517207"/>
                  </a:lnTo>
                  <a:lnTo>
                    <a:pt x="1757363" y="515302"/>
                  </a:lnTo>
                  <a:lnTo>
                    <a:pt x="1759268" y="514350"/>
                  </a:lnTo>
                  <a:lnTo>
                    <a:pt x="1764982" y="517207"/>
                  </a:lnTo>
                  <a:lnTo>
                    <a:pt x="1768793" y="521017"/>
                  </a:lnTo>
                  <a:lnTo>
                    <a:pt x="1771650" y="522922"/>
                  </a:lnTo>
                  <a:lnTo>
                    <a:pt x="1775460" y="522922"/>
                  </a:lnTo>
                  <a:lnTo>
                    <a:pt x="1779270" y="521017"/>
                  </a:lnTo>
                  <a:lnTo>
                    <a:pt x="1788795" y="514350"/>
                  </a:lnTo>
                  <a:lnTo>
                    <a:pt x="1789747" y="511492"/>
                  </a:lnTo>
                  <a:lnTo>
                    <a:pt x="1789747" y="508635"/>
                  </a:lnTo>
                  <a:lnTo>
                    <a:pt x="1784985" y="504825"/>
                  </a:lnTo>
                  <a:lnTo>
                    <a:pt x="1784032" y="503872"/>
                  </a:lnTo>
                  <a:lnTo>
                    <a:pt x="1783080" y="501015"/>
                  </a:lnTo>
                  <a:lnTo>
                    <a:pt x="1784032" y="498157"/>
                  </a:lnTo>
                  <a:lnTo>
                    <a:pt x="1792605" y="483870"/>
                  </a:lnTo>
                  <a:lnTo>
                    <a:pt x="1830705" y="437197"/>
                  </a:lnTo>
                  <a:lnTo>
                    <a:pt x="1839277" y="431482"/>
                  </a:lnTo>
                  <a:lnTo>
                    <a:pt x="1842135" y="430530"/>
                  </a:lnTo>
                  <a:lnTo>
                    <a:pt x="1846897" y="430530"/>
                  </a:lnTo>
                  <a:lnTo>
                    <a:pt x="1855470" y="433388"/>
                  </a:lnTo>
                  <a:lnTo>
                    <a:pt x="1878330" y="446722"/>
                  </a:lnTo>
                  <a:lnTo>
                    <a:pt x="1886902" y="453390"/>
                  </a:lnTo>
                  <a:lnTo>
                    <a:pt x="1889760" y="457200"/>
                  </a:lnTo>
                  <a:lnTo>
                    <a:pt x="1892618" y="461963"/>
                  </a:lnTo>
                  <a:lnTo>
                    <a:pt x="1894522" y="463867"/>
                  </a:lnTo>
                  <a:lnTo>
                    <a:pt x="1898332" y="465772"/>
                  </a:lnTo>
                  <a:lnTo>
                    <a:pt x="1905000" y="466725"/>
                  </a:lnTo>
                  <a:lnTo>
                    <a:pt x="1924050" y="464820"/>
                  </a:lnTo>
                  <a:lnTo>
                    <a:pt x="1928813" y="462915"/>
                  </a:lnTo>
                  <a:lnTo>
                    <a:pt x="1932622" y="458152"/>
                  </a:lnTo>
                  <a:lnTo>
                    <a:pt x="1943100" y="451485"/>
                  </a:lnTo>
                  <a:lnTo>
                    <a:pt x="1973580" y="447675"/>
                  </a:lnTo>
                  <a:lnTo>
                    <a:pt x="1975485" y="454342"/>
                  </a:lnTo>
                  <a:lnTo>
                    <a:pt x="1976438" y="461010"/>
                  </a:lnTo>
                  <a:lnTo>
                    <a:pt x="1978343" y="464820"/>
                  </a:lnTo>
                  <a:lnTo>
                    <a:pt x="1980247" y="466725"/>
                  </a:lnTo>
                  <a:lnTo>
                    <a:pt x="1983105" y="466725"/>
                  </a:lnTo>
                  <a:lnTo>
                    <a:pt x="2001202" y="463867"/>
                  </a:lnTo>
                  <a:lnTo>
                    <a:pt x="2004060" y="463867"/>
                  </a:lnTo>
                  <a:lnTo>
                    <a:pt x="2005965" y="464820"/>
                  </a:lnTo>
                  <a:lnTo>
                    <a:pt x="2007870" y="466725"/>
                  </a:lnTo>
                  <a:lnTo>
                    <a:pt x="2006918" y="471488"/>
                  </a:lnTo>
                  <a:lnTo>
                    <a:pt x="2005013" y="474345"/>
                  </a:lnTo>
                  <a:lnTo>
                    <a:pt x="2000250" y="477202"/>
                  </a:lnTo>
                  <a:lnTo>
                    <a:pt x="1998345" y="479107"/>
                  </a:lnTo>
                  <a:lnTo>
                    <a:pt x="1992630" y="490538"/>
                  </a:lnTo>
                  <a:lnTo>
                    <a:pt x="1987868" y="494347"/>
                  </a:lnTo>
                  <a:lnTo>
                    <a:pt x="1985963" y="496252"/>
                  </a:lnTo>
                  <a:lnTo>
                    <a:pt x="1985010" y="501015"/>
                  </a:lnTo>
                  <a:lnTo>
                    <a:pt x="1985010" y="516255"/>
                  </a:lnTo>
                  <a:lnTo>
                    <a:pt x="1985010" y="521017"/>
                  </a:lnTo>
                  <a:lnTo>
                    <a:pt x="1985963" y="522922"/>
                  </a:lnTo>
                  <a:lnTo>
                    <a:pt x="1986915" y="523875"/>
                  </a:lnTo>
                  <a:lnTo>
                    <a:pt x="1988820" y="524827"/>
                  </a:lnTo>
                  <a:lnTo>
                    <a:pt x="2005965" y="522922"/>
                  </a:lnTo>
                  <a:lnTo>
                    <a:pt x="2007870" y="521970"/>
                  </a:lnTo>
                  <a:lnTo>
                    <a:pt x="2009775" y="520065"/>
                  </a:lnTo>
                  <a:lnTo>
                    <a:pt x="2012632" y="514350"/>
                  </a:lnTo>
                  <a:lnTo>
                    <a:pt x="2016443" y="496252"/>
                  </a:lnTo>
                  <a:lnTo>
                    <a:pt x="2017395" y="492442"/>
                  </a:lnTo>
                  <a:lnTo>
                    <a:pt x="2020252" y="487680"/>
                  </a:lnTo>
                  <a:lnTo>
                    <a:pt x="2023110" y="484822"/>
                  </a:lnTo>
                  <a:lnTo>
                    <a:pt x="2025968" y="483870"/>
                  </a:lnTo>
                  <a:lnTo>
                    <a:pt x="2048827" y="481965"/>
                  </a:lnTo>
                  <a:lnTo>
                    <a:pt x="2054543" y="482917"/>
                  </a:lnTo>
                  <a:lnTo>
                    <a:pt x="2056447" y="484822"/>
                  </a:lnTo>
                  <a:lnTo>
                    <a:pt x="2057400" y="486727"/>
                  </a:lnTo>
                  <a:lnTo>
                    <a:pt x="2059305" y="491490"/>
                  </a:lnTo>
                  <a:lnTo>
                    <a:pt x="2060257" y="500063"/>
                  </a:lnTo>
                  <a:lnTo>
                    <a:pt x="2061210" y="517207"/>
                  </a:lnTo>
                  <a:lnTo>
                    <a:pt x="2060257" y="521017"/>
                  </a:lnTo>
                  <a:lnTo>
                    <a:pt x="2059305" y="523875"/>
                  </a:lnTo>
                  <a:lnTo>
                    <a:pt x="2055495" y="526732"/>
                  </a:lnTo>
                  <a:lnTo>
                    <a:pt x="2049780" y="529590"/>
                  </a:lnTo>
                  <a:lnTo>
                    <a:pt x="2043113" y="532447"/>
                  </a:lnTo>
                  <a:lnTo>
                    <a:pt x="2041207" y="534352"/>
                  </a:lnTo>
                  <a:lnTo>
                    <a:pt x="2040255" y="537210"/>
                  </a:lnTo>
                  <a:lnTo>
                    <a:pt x="2042160" y="544830"/>
                  </a:lnTo>
                  <a:lnTo>
                    <a:pt x="2043113" y="551497"/>
                  </a:lnTo>
                  <a:lnTo>
                    <a:pt x="2043113" y="553402"/>
                  </a:lnTo>
                  <a:lnTo>
                    <a:pt x="2042160" y="556260"/>
                  </a:lnTo>
                  <a:lnTo>
                    <a:pt x="2040255" y="558165"/>
                  </a:lnTo>
                  <a:lnTo>
                    <a:pt x="2034540" y="561022"/>
                  </a:lnTo>
                  <a:lnTo>
                    <a:pt x="2032635" y="562927"/>
                  </a:lnTo>
                  <a:lnTo>
                    <a:pt x="2031682" y="566738"/>
                  </a:lnTo>
                  <a:lnTo>
                    <a:pt x="2030730" y="590550"/>
                  </a:lnTo>
                  <a:lnTo>
                    <a:pt x="2032635" y="594360"/>
                  </a:lnTo>
                  <a:lnTo>
                    <a:pt x="2037397" y="598170"/>
                  </a:lnTo>
                  <a:lnTo>
                    <a:pt x="2037397" y="600075"/>
                  </a:lnTo>
                  <a:lnTo>
                    <a:pt x="2035493" y="603885"/>
                  </a:lnTo>
                  <a:lnTo>
                    <a:pt x="2032635" y="605790"/>
                  </a:lnTo>
                  <a:lnTo>
                    <a:pt x="2020252" y="611505"/>
                  </a:lnTo>
                  <a:lnTo>
                    <a:pt x="2018347" y="613410"/>
                  </a:lnTo>
                  <a:lnTo>
                    <a:pt x="2017395" y="616267"/>
                  </a:lnTo>
                  <a:lnTo>
                    <a:pt x="2017395" y="622935"/>
                  </a:lnTo>
                  <a:lnTo>
                    <a:pt x="2018347" y="626745"/>
                  </a:lnTo>
                  <a:lnTo>
                    <a:pt x="2020252" y="638175"/>
                  </a:lnTo>
                  <a:lnTo>
                    <a:pt x="2023110" y="661035"/>
                  </a:lnTo>
                  <a:lnTo>
                    <a:pt x="2022157" y="664845"/>
                  </a:lnTo>
                  <a:lnTo>
                    <a:pt x="2019300" y="681990"/>
                  </a:lnTo>
                  <a:lnTo>
                    <a:pt x="2019300" y="685800"/>
                  </a:lnTo>
                  <a:lnTo>
                    <a:pt x="2020252" y="691515"/>
                  </a:lnTo>
                  <a:lnTo>
                    <a:pt x="2021205" y="693420"/>
                  </a:lnTo>
                  <a:lnTo>
                    <a:pt x="2023110" y="695325"/>
                  </a:lnTo>
                  <a:lnTo>
                    <a:pt x="2025968" y="695325"/>
                  </a:lnTo>
                  <a:lnTo>
                    <a:pt x="2032635" y="692467"/>
                  </a:lnTo>
                  <a:lnTo>
                    <a:pt x="2038350" y="691515"/>
                  </a:lnTo>
                  <a:lnTo>
                    <a:pt x="2043113" y="692467"/>
                  </a:lnTo>
                  <a:lnTo>
                    <a:pt x="2045970" y="693420"/>
                  </a:lnTo>
                  <a:lnTo>
                    <a:pt x="2046922" y="695325"/>
                  </a:lnTo>
                  <a:lnTo>
                    <a:pt x="2047875" y="700088"/>
                  </a:lnTo>
                  <a:lnTo>
                    <a:pt x="2049780" y="701992"/>
                  </a:lnTo>
                  <a:lnTo>
                    <a:pt x="2051685" y="702945"/>
                  </a:lnTo>
                  <a:lnTo>
                    <a:pt x="2063115" y="704850"/>
                  </a:lnTo>
                  <a:lnTo>
                    <a:pt x="2065972" y="706755"/>
                  </a:lnTo>
                  <a:lnTo>
                    <a:pt x="2067877" y="708660"/>
                  </a:lnTo>
                  <a:lnTo>
                    <a:pt x="2068830" y="710565"/>
                  </a:lnTo>
                  <a:lnTo>
                    <a:pt x="2068830" y="719138"/>
                  </a:lnTo>
                  <a:lnTo>
                    <a:pt x="2069782" y="724852"/>
                  </a:lnTo>
                  <a:lnTo>
                    <a:pt x="2072640" y="735330"/>
                  </a:lnTo>
                  <a:lnTo>
                    <a:pt x="2077402" y="765810"/>
                  </a:lnTo>
                  <a:lnTo>
                    <a:pt x="2078355" y="773430"/>
                  </a:lnTo>
                  <a:lnTo>
                    <a:pt x="2079307" y="782002"/>
                  </a:lnTo>
                  <a:lnTo>
                    <a:pt x="2079307" y="784860"/>
                  </a:lnTo>
                  <a:lnTo>
                    <a:pt x="2078355" y="788670"/>
                  </a:lnTo>
                  <a:lnTo>
                    <a:pt x="2075497" y="793432"/>
                  </a:lnTo>
                  <a:lnTo>
                    <a:pt x="2067877" y="801052"/>
                  </a:lnTo>
                  <a:lnTo>
                    <a:pt x="2064068" y="803910"/>
                  </a:lnTo>
                  <a:lnTo>
                    <a:pt x="2060257" y="805815"/>
                  </a:lnTo>
                  <a:lnTo>
                    <a:pt x="2054543" y="806767"/>
                  </a:lnTo>
                  <a:lnTo>
                    <a:pt x="2052638" y="808672"/>
                  </a:lnTo>
                  <a:lnTo>
                    <a:pt x="2050732" y="811530"/>
                  </a:lnTo>
                  <a:lnTo>
                    <a:pt x="2049780" y="816292"/>
                  </a:lnTo>
                  <a:lnTo>
                    <a:pt x="2049780" y="823913"/>
                  </a:lnTo>
                  <a:lnTo>
                    <a:pt x="2053590" y="844867"/>
                  </a:lnTo>
                  <a:lnTo>
                    <a:pt x="2054543" y="850582"/>
                  </a:lnTo>
                  <a:lnTo>
                    <a:pt x="2060257" y="864870"/>
                  </a:lnTo>
                  <a:lnTo>
                    <a:pt x="2061210" y="870585"/>
                  </a:lnTo>
                  <a:lnTo>
                    <a:pt x="2062163" y="881063"/>
                  </a:lnTo>
                  <a:lnTo>
                    <a:pt x="2062163" y="887730"/>
                  </a:lnTo>
                  <a:lnTo>
                    <a:pt x="2061210" y="890588"/>
                  </a:lnTo>
                  <a:lnTo>
                    <a:pt x="2058352" y="895350"/>
                  </a:lnTo>
                  <a:lnTo>
                    <a:pt x="2052638" y="901065"/>
                  </a:lnTo>
                  <a:lnTo>
                    <a:pt x="2039302" y="912495"/>
                  </a:lnTo>
                  <a:lnTo>
                    <a:pt x="2033588" y="916305"/>
                  </a:lnTo>
                  <a:lnTo>
                    <a:pt x="2027872" y="918210"/>
                  </a:lnTo>
                  <a:lnTo>
                    <a:pt x="2025015" y="917257"/>
                  </a:lnTo>
                  <a:lnTo>
                    <a:pt x="2006918" y="907732"/>
                  </a:lnTo>
                  <a:lnTo>
                    <a:pt x="1986915" y="902017"/>
                  </a:lnTo>
                  <a:lnTo>
                    <a:pt x="1982152" y="899160"/>
                  </a:lnTo>
                  <a:lnTo>
                    <a:pt x="1980247" y="897255"/>
                  </a:lnTo>
                  <a:lnTo>
                    <a:pt x="1978343" y="889635"/>
                  </a:lnTo>
                  <a:lnTo>
                    <a:pt x="1974532" y="885825"/>
                  </a:lnTo>
                  <a:lnTo>
                    <a:pt x="1972627" y="883920"/>
                  </a:lnTo>
                  <a:lnTo>
                    <a:pt x="1941195" y="874395"/>
                  </a:lnTo>
                  <a:lnTo>
                    <a:pt x="1935480" y="874395"/>
                  </a:lnTo>
                  <a:lnTo>
                    <a:pt x="1918335" y="879157"/>
                  </a:lnTo>
                  <a:lnTo>
                    <a:pt x="1908810" y="879157"/>
                  </a:lnTo>
                  <a:lnTo>
                    <a:pt x="1905952" y="879157"/>
                  </a:lnTo>
                  <a:lnTo>
                    <a:pt x="1901190" y="881063"/>
                  </a:lnTo>
                  <a:lnTo>
                    <a:pt x="1897380" y="885825"/>
                  </a:lnTo>
                  <a:lnTo>
                    <a:pt x="1895475" y="890588"/>
                  </a:lnTo>
                  <a:lnTo>
                    <a:pt x="1894522" y="898207"/>
                  </a:lnTo>
                  <a:lnTo>
                    <a:pt x="1891665" y="943927"/>
                  </a:lnTo>
                  <a:lnTo>
                    <a:pt x="1892618" y="947738"/>
                  </a:lnTo>
                  <a:lnTo>
                    <a:pt x="1894522" y="958215"/>
                  </a:lnTo>
                  <a:lnTo>
                    <a:pt x="1894522" y="966788"/>
                  </a:lnTo>
                  <a:lnTo>
                    <a:pt x="1897380" y="971550"/>
                  </a:lnTo>
                  <a:lnTo>
                    <a:pt x="1900238" y="973455"/>
                  </a:lnTo>
                  <a:lnTo>
                    <a:pt x="1909763" y="975360"/>
                  </a:lnTo>
                  <a:lnTo>
                    <a:pt x="1912620" y="976313"/>
                  </a:lnTo>
                  <a:lnTo>
                    <a:pt x="1914525" y="977265"/>
                  </a:lnTo>
                  <a:lnTo>
                    <a:pt x="1915477" y="980122"/>
                  </a:lnTo>
                  <a:lnTo>
                    <a:pt x="1921193" y="994410"/>
                  </a:lnTo>
                  <a:lnTo>
                    <a:pt x="1925002" y="1001077"/>
                  </a:lnTo>
                  <a:lnTo>
                    <a:pt x="1925002" y="1005840"/>
                  </a:lnTo>
                  <a:lnTo>
                    <a:pt x="1922145" y="1006792"/>
                  </a:lnTo>
                  <a:lnTo>
                    <a:pt x="1916430" y="1007745"/>
                  </a:lnTo>
                  <a:lnTo>
                    <a:pt x="1899285" y="1008697"/>
                  </a:lnTo>
                  <a:lnTo>
                    <a:pt x="1895475" y="1008697"/>
                  </a:lnTo>
                  <a:lnTo>
                    <a:pt x="1892618" y="1010602"/>
                  </a:lnTo>
                  <a:lnTo>
                    <a:pt x="1888807" y="1013460"/>
                  </a:lnTo>
                  <a:lnTo>
                    <a:pt x="1884997" y="1014413"/>
                  </a:lnTo>
                  <a:lnTo>
                    <a:pt x="1876425" y="1014413"/>
                  </a:lnTo>
                  <a:lnTo>
                    <a:pt x="1874520" y="1016317"/>
                  </a:lnTo>
                  <a:lnTo>
                    <a:pt x="1872615" y="1018222"/>
                  </a:lnTo>
                  <a:lnTo>
                    <a:pt x="1871663" y="1022985"/>
                  </a:lnTo>
                  <a:lnTo>
                    <a:pt x="1870710" y="1025842"/>
                  </a:lnTo>
                  <a:lnTo>
                    <a:pt x="1870710" y="1032510"/>
                  </a:lnTo>
                  <a:lnTo>
                    <a:pt x="1871663" y="1035367"/>
                  </a:lnTo>
                  <a:lnTo>
                    <a:pt x="1873568" y="1038225"/>
                  </a:lnTo>
                  <a:lnTo>
                    <a:pt x="1878330" y="1041082"/>
                  </a:lnTo>
                  <a:lnTo>
                    <a:pt x="1885950" y="1042988"/>
                  </a:lnTo>
                  <a:lnTo>
                    <a:pt x="1888807" y="1045845"/>
                  </a:lnTo>
                  <a:lnTo>
                    <a:pt x="1890713" y="1048702"/>
                  </a:lnTo>
                  <a:lnTo>
                    <a:pt x="1894522" y="1066800"/>
                  </a:lnTo>
                  <a:lnTo>
                    <a:pt x="1797368" y="1081088"/>
                  </a:lnTo>
                  <a:lnTo>
                    <a:pt x="1795463" y="1080135"/>
                  </a:lnTo>
                  <a:lnTo>
                    <a:pt x="1793557" y="1078230"/>
                  </a:lnTo>
                  <a:lnTo>
                    <a:pt x="1790700" y="1074420"/>
                  </a:lnTo>
                  <a:lnTo>
                    <a:pt x="1786890" y="1070610"/>
                  </a:lnTo>
                  <a:lnTo>
                    <a:pt x="1781175" y="1069657"/>
                  </a:lnTo>
                  <a:lnTo>
                    <a:pt x="1778318" y="1070610"/>
                  </a:lnTo>
                  <a:lnTo>
                    <a:pt x="1773555" y="1072515"/>
                  </a:lnTo>
                  <a:lnTo>
                    <a:pt x="1767840" y="1077277"/>
                  </a:lnTo>
                  <a:lnTo>
                    <a:pt x="1765935" y="1081088"/>
                  </a:lnTo>
                  <a:lnTo>
                    <a:pt x="1762125" y="1086802"/>
                  </a:lnTo>
                  <a:lnTo>
                    <a:pt x="1758315" y="1089660"/>
                  </a:lnTo>
                  <a:lnTo>
                    <a:pt x="1753552" y="1090613"/>
                  </a:lnTo>
                  <a:lnTo>
                    <a:pt x="1742122" y="1090613"/>
                  </a:lnTo>
                  <a:lnTo>
                    <a:pt x="1735455" y="1089660"/>
                  </a:lnTo>
                  <a:lnTo>
                    <a:pt x="1731645" y="1088707"/>
                  </a:lnTo>
                  <a:lnTo>
                    <a:pt x="1725930" y="1082992"/>
                  </a:lnTo>
                  <a:lnTo>
                    <a:pt x="1724025" y="1082040"/>
                  </a:lnTo>
                  <a:lnTo>
                    <a:pt x="1721168" y="1080135"/>
                  </a:lnTo>
                  <a:lnTo>
                    <a:pt x="1708785" y="1079182"/>
                  </a:lnTo>
                  <a:lnTo>
                    <a:pt x="1704022" y="1077277"/>
                  </a:lnTo>
                  <a:lnTo>
                    <a:pt x="1703070" y="1075373"/>
                  </a:lnTo>
                  <a:lnTo>
                    <a:pt x="1701165" y="1058227"/>
                  </a:lnTo>
                  <a:lnTo>
                    <a:pt x="1700213" y="1053465"/>
                  </a:lnTo>
                  <a:lnTo>
                    <a:pt x="1698307" y="1051560"/>
                  </a:lnTo>
                  <a:lnTo>
                    <a:pt x="1692593" y="1051560"/>
                  </a:lnTo>
                  <a:lnTo>
                    <a:pt x="1689735" y="1052513"/>
                  </a:lnTo>
                  <a:lnTo>
                    <a:pt x="1685925" y="1053465"/>
                  </a:lnTo>
                  <a:lnTo>
                    <a:pt x="1682115" y="1058227"/>
                  </a:lnTo>
                  <a:lnTo>
                    <a:pt x="1680210" y="1062038"/>
                  </a:lnTo>
                  <a:lnTo>
                    <a:pt x="1677352" y="1067752"/>
                  </a:lnTo>
                  <a:lnTo>
                    <a:pt x="1675447" y="1069657"/>
                  </a:lnTo>
                  <a:lnTo>
                    <a:pt x="1670685" y="1071563"/>
                  </a:lnTo>
                  <a:lnTo>
                    <a:pt x="1646872" y="1073467"/>
                  </a:lnTo>
                  <a:lnTo>
                    <a:pt x="1643063" y="1073467"/>
                  </a:lnTo>
                  <a:lnTo>
                    <a:pt x="1639252" y="1069657"/>
                  </a:lnTo>
                  <a:lnTo>
                    <a:pt x="1637347" y="1067752"/>
                  </a:lnTo>
                  <a:lnTo>
                    <a:pt x="1632585" y="1065848"/>
                  </a:lnTo>
                  <a:lnTo>
                    <a:pt x="1631632" y="1063942"/>
                  </a:lnTo>
                  <a:lnTo>
                    <a:pt x="1630680" y="1058227"/>
                  </a:lnTo>
                  <a:lnTo>
                    <a:pt x="1628775" y="1056323"/>
                  </a:lnTo>
                  <a:lnTo>
                    <a:pt x="1624013" y="1053465"/>
                  </a:lnTo>
                  <a:lnTo>
                    <a:pt x="1623060" y="1051560"/>
                  </a:lnTo>
                  <a:lnTo>
                    <a:pt x="1622107" y="1045845"/>
                  </a:lnTo>
                  <a:lnTo>
                    <a:pt x="1623060" y="1042988"/>
                  </a:lnTo>
                  <a:lnTo>
                    <a:pt x="1624013" y="1042035"/>
                  </a:lnTo>
                  <a:lnTo>
                    <a:pt x="1628775" y="1042035"/>
                  </a:lnTo>
                  <a:lnTo>
                    <a:pt x="1630680" y="1043940"/>
                  </a:lnTo>
                  <a:lnTo>
                    <a:pt x="1634490" y="1047750"/>
                  </a:lnTo>
                  <a:lnTo>
                    <a:pt x="1637347" y="1048702"/>
                  </a:lnTo>
                  <a:lnTo>
                    <a:pt x="1640205" y="1047750"/>
                  </a:lnTo>
                  <a:lnTo>
                    <a:pt x="1643063" y="1043940"/>
                  </a:lnTo>
                  <a:lnTo>
                    <a:pt x="1644015" y="1040130"/>
                  </a:lnTo>
                  <a:lnTo>
                    <a:pt x="1648777" y="1026795"/>
                  </a:lnTo>
                  <a:lnTo>
                    <a:pt x="1652588" y="1018222"/>
                  </a:lnTo>
                  <a:lnTo>
                    <a:pt x="1652588" y="1015365"/>
                  </a:lnTo>
                  <a:lnTo>
                    <a:pt x="1652588" y="1012507"/>
                  </a:lnTo>
                  <a:lnTo>
                    <a:pt x="1650682" y="1004888"/>
                  </a:lnTo>
                  <a:lnTo>
                    <a:pt x="1651635" y="999172"/>
                  </a:lnTo>
                  <a:lnTo>
                    <a:pt x="1652588" y="994410"/>
                  </a:lnTo>
                  <a:lnTo>
                    <a:pt x="1652588" y="991552"/>
                  </a:lnTo>
                  <a:lnTo>
                    <a:pt x="1651635" y="991552"/>
                  </a:lnTo>
                  <a:lnTo>
                    <a:pt x="1636395" y="992505"/>
                  </a:lnTo>
                  <a:lnTo>
                    <a:pt x="1632585" y="989647"/>
                  </a:lnTo>
                  <a:lnTo>
                    <a:pt x="1630680" y="986790"/>
                  </a:lnTo>
                  <a:lnTo>
                    <a:pt x="1628775" y="984885"/>
                  </a:lnTo>
                  <a:lnTo>
                    <a:pt x="1622107" y="982027"/>
                  </a:lnTo>
                  <a:lnTo>
                    <a:pt x="1621155" y="980122"/>
                  </a:lnTo>
                  <a:lnTo>
                    <a:pt x="1622107" y="971550"/>
                  </a:lnTo>
                  <a:lnTo>
                    <a:pt x="1622107" y="967740"/>
                  </a:lnTo>
                  <a:lnTo>
                    <a:pt x="1621155" y="957263"/>
                  </a:lnTo>
                  <a:lnTo>
                    <a:pt x="1620202" y="951547"/>
                  </a:lnTo>
                  <a:lnTo>
                    <a:pt x="1617345" y="946785"/>
                  </a:lnTo>
                  <a:lnTo>
                    <a:pt x="1615440" y="945832"/>
                  </a:lnTo>
                  <a:lnTo>
                    <a:pt x="1612582" y="944880"/>
                  </a:lnTo>
                  <a:lnTo>
                    <a:pt x="1604963" y="942975"/>
                  </a:lnTo>
                  <a:lnTo>
                    <a:pt x="1602105" y="940117"/>
                  </a:lnTo>
                  <a:lnTo>
                    <a:pt x="1602105" y="938213"/>
                  </a:lnTo>
                  <a:lnTo>
                    <a:pt x="1603057" y="935355"/>
                  </a:lnTo>
                  <a:lnTo>
                    <a:pt x="1605915" y="930592"/>
                  </a:lnTo>
                  <a:lnTo>
                    <a:pt x="1612582" y="922972"/>
                  </a:lnTo>
                  <a:lnTo>
                    <a:pt x="1615440" y="917257"/>
                  </a:lnTo>
                  <a:lnTo>
                    <a:pt x="1616393" y="914400"/>
                  </a:lnTo>
                  <a:lnTo>
                    <a:pt x="1614488" y="909638"/>
                  </a:lnTo>
                  <a:lnTo>
                    <a:pt x="1611630" y="908685"/>
                  </a:lnTo>
                  <a:lnTo>
                    <a:pt x="1607820" y="909638"/>
                  </a:lnTo>
                  <a:lnTo>
                    <a:pt x="1590675" y="922020"/>
                  </a:lnTo>
                  <a:lnTo>
                    <a:pt x="1585913" y="922972"/>
                  </a:lnTo>
                  <a:lnTo>
                    <a:pt x="1580197" y="922972"/>
                  </a:lnTo>
                  <a:lnTo>
                    <a:pt x="1577340" y="921067"/>
                  </a:lnTo>
                  <a:lnTo>
                    <a:pt x="1576388" y="919163"/>
                  </a:lnTo>
                  <a:lnTo>
                    <a:pt x="1576388" y="912495"/>
                  </a:lnTo>
                  <a:lnTo>
                    <a:pt x="1576388" y="909638"/>
                  </a:lnTo>
                  <a:lnTo>
                    <a:pt x="1573530" y="902970"/>
                  </a:lnTo>
                  <a:lnTo>
                    <a:pt x="1572577" y="897255"/>
                  </a:lnTo>
                  <a:lnTo>
                    <a:pt x="1573530" y="893445"/>
                  </a:lnTo>
                  <a:lnTo>
                    <a:pt x="1575435" y="882967"/>
                  </a:lnTo>
                  <a:lnTo>
                    <a:pt x="1575435" y="880110"/>
                  </a:lnTo>
                  <a:lnTo>
                    <a:pt x="1575435" y="877252"/>
                  </a:lnTo>
                  <a:lnTo>
                    <a:pt x="1573530" y="875347"/>
                  </a:lnTo>
                  <a:lnTo>
                    <a:pt x="1571625" y="873442"/>
                  </a:lnTo>
                  <a:lnTo>
                    <a:pt x="1569720" y="872490"/>
                  </a:lnTo>
                  <a:lnTo>
                    <a:pt x="1565910" y="871538"/>
                  </a:lnTo>
                  <a:lnTo>
                    <a:pt x="1560195" y="871538"/>
                  </a:lnTo>
                  <a:lnTo>
                    <a:pt x="1528763" y="879157"/>
                  </a:lnTo>
                  <a:lnTo>
                    <a:pt x="1500188" y="890588"/>
                  </a:lnTo>
                  <a:lnTo>
                    <a:pt x="1494472" y="891540"/>
                  </a:lnTo>
                  <a:lnTo>
                    <a:pt x="1489710" y="890588"/>
                  </a:lnTo>
                  <a:lnTo>
                    <a:pt x="1482090" y="878205"/>
                  </a:lnTo>
                  <a:lnTo>
                    <a:pt x="1478280" y="874395"/>
                  </a:lnTo>
                  <a:lnTo>
                    <a:pt x="1475422" y="873442"/>
                  </a:lnTo>
                  <a:lnTo>
                    <a:pt x="1449705" y="867727"/>
                  </a:lnTo>
                  <a:lnTo>
                    <a:pt x="1444943" y="864870"/>
                  </a:lnTo>
                  <a:lnTo>
                    <a:pt x="1438275" y="857250"/>
                  </a:lnTo>
                  <a:lnTo>
                    <a:pt x="1434465" y="850582"/>
                  </a:lnTo>
                  <a:lnTo>
                    <a:pt x="1430655" y="846772"/>
                  </a:lnTo>
                  <a:lnTo>
                    <a:pt x="1424940" y="844867"/>
                  </a:lnTo>
                  <a:lnTo>
                    <a:pt x="1419225" y="843915"/>
                  </a:lnTo>
                  <a:lnTo>
                    <a:pt x="1403985" y="845820"/>
                  </a:lnTo>
                  <a:lnTo>
                    <a:pt x="1382077" y="851535"/>
                  </a:lnTo>
                  <a:lnTo>
                    <a:pt x="1377315" y="854392"/>
                  </a:lnTo>
                  <a:lnTo>
                    <a:pt x="1368743" y="861060"/>
                  </a:lnTo>
                  <a:lnTo>
                    <a:pt x="1357313" y="873442"/>
                  </a:lnTo>
                  <a:lnTo>
                    <a:pt x="1351597" y="877252"/>
                  </a:lnTo>
                  <a:lnTo>
                    <a:pt x="1343025" y="880110"/>
                  </a:lnTo>
                  <a:lnTo>
                    <a:pt x="1338263" y="881063"/>
                  </a:lnTo>
                  <a:lnTo>
                    <a:pt x="1333500" y="881063"/>
                  </a:lnTo>
                  <a:lnTo>
                    <a:pt x="1325880" y="876300"/>
                  </a:lnTo>
                  <a:lnTo>
                    <a:pt x="1243013" y="862013"/>
                  </a:lnTo>
                  <a:lnTo>
                    <a:pt x="1208722" y="844867"/>
                  </a:lnTo>
                  <a:lnTo>
                    <a:pt x="1197293" y="841057"/>
                  </a:lnTo>
                  <a:lnTo>
                    <a:pt x="1192530" y="841057"/>
                  </a:lnTo>
                  <a:lnTo>
                    <a:pt x="1163955" y="845820"/>
                  </a:lnTo>
                  <a:lnTo>
                    <a:pt x="1155382" y="848677"/>
                  </a:lnTo>
                  <a:lnTo>
                    <a:pt x="1150620" y="849630"/>
                  </a:lnTo>
                  <a:lnTo>
                    <a:pt x="1145857" y="849630"/>
                  </a:lnTo>
                  <a:lnTo>
                    <a:pt x="1131570" y="842963"/>
                  </a:lnTo>
                  <a:lnTo>
                    <a:pt x="1125855" y="842010"/>
                  </a:lnTo>
                  <a:lnTo>
                    <a:pt x="1117282" y="842010"/>
                  </a:lnTo>
                  <a:lnTo>
                    <a:pt x="1105852" y="844867"/>
                  </a:lnTo>
                  <a:lnTo>
                    <a:pt x="1102995" y="846772"/>
                  </a:lnTo>
                  <a:lnTo>
                    <a:pt x="1098232" y="849630"/>
                  </a:lnTo>
                  <a:lnTo>
                    <a:pt x="1088707" y="850582"/>
                  </a:lnTo>
                  <a:lnTo>
                    <a:pt x="1083945" y="850582"/>
                  </a:lnTo>
                  <a:lnTo>
                    <a:pt x="1078230" y="849630"/>
                  </a:lnTo>
                  <a:lnTo>
                    <a:pt x="1072515" y="851535"/>
                  </a:lnTo>
                  <a:lnTo>
                    <a:pt x="1064895" y="856297"/>
                  </a:lnTo>
                  <a:lnTo>
                    <a:pt x="1046797" y="871538"/>
                  </a:lnTo>
                  <a:lnTo>
                    <a:pt x="1033463" y="880110"/>
                  </a:lnTo>
                  <a:lnTo>
                    <a:pt x="1002982" y="880110"/>
                  </a:lnTo>
                  <a:lnTo>
                    <a:pt x="1000125" y="879157"/>
                  </a:lnTo>
                  <a:lnTo>
                    <a:pt x="998220" y="877252"/>
                  </a:lnTo>
                  <a:lnTo>
                    <a:pt x="996315" y="872490"/>
                  </a:lnTo>
                  <a:lnTo>
                    <a:pt x="995363" y="866775"/>
                  </a:lnTo>
                  <a:lnTo>
                    <a:pt x="995363" y="861060"/>
                  </a:lnTo>
                  <a:lnTo>
                    <a:pt x="995363" y="851535"/>
                  </a:lnTo>
                  <a:lnTo>
                    <a:pt x="995363" y="849630"/>
                  </a:lnTo>
                  <a:lnTo>
                    <a:pt x="993457" y="847725"/>
                  </a:lnTo>
                  <a:lnTo>
                    <a:pt x="990600" y="846772"/>
                  </a:lnTo>
                  <a:lnTo>
                    <a:pt x="984885" y="846772"/>
                  </a:lnTo>
                  <a:lnTo>
                    <a:pt x="982027" y="848677"/>
                  </a:lnTo>
                  <a:lnTo>
                    <a:pt x="979170" y="850582"/>
                  </a:lnTo>
                  <a:lnTo>
                    <a:pt x="977265" y="858202"/>
                  </a:lnTo>
                  <a:lnTo>
                    <a:pt x="976313" y="862013"/>
                  </a:lnTo>
                  <a:lnTo>
                    <a:pt x="977265" y="865822"/>
                  </a:lnTo>
                  <a:lnTo>
                    <a:pt x="979170" y="873442"/>
                  </a:lnTo>
                  <a:lnTo>
                    <a:pt x="982027" y="880110"/>
                  </a:lnTo>
                  <a:lnTo>
                    <a:pt x="982980" y="882967"/>
                  </a:lnTo>
                  <a:lnTo>
                    <a:pt x="981075" y="887730"/>
                  </a:lnTo>
                  <a:lnTo>
                    <a:pt x="980122" y="892492"/>
                  </a:lnTo>
                  <a:lnTo>
                    <a:pt x="979170" y="911542"/>
                  </a:lnTo>
                  <a:lnTo>
                    <a:pt x="978218" y="913447"/>
                  </a:lnTo>
                  <a:lnTo>
                    <a:pt x="976313" y="916305"/>
                  </a:lnTo>
                  <a:lnTo>
                    <a:pt x="969645" y="921067"/>
                  </a:lnTo>
                  <a:lnTo>
                    <a:pt x="966788" y="922972"/>
                  </a:lnTo>
                  <a:lnTo>
                    <a:pt x="964882" y="927735"/>
                  </a:lnTo>
                  <a:lnTo>
                    <a:pt x="964882" y="931545"/>
                  </a:lnTo>
                  <a:lnTo>
                    <a:pt x="965835" y="934402"/>
                  </a:lnTo>
                  <a:lnTo>
                    <a:pt x="967740" y="935355"/>
                  </a:lnTo>
                  <a:lnTo>
                    <a:pt x="969645" y="936307"/>
                  </a:lnTo>
                  <a:lnTo>
                    <a:pt x="975360" y="936307"/>
                  </a:lnTo>
                  <a:lnTo>
                    <a:pt x="978218" y="937260"/>
                  </a:lnTo>
                  <a:lnTo>
                    <a:pt x="980122" y="938213"/>
                  </a:lnTo>
                  <a:lnTo>
                    <a:pt x="982027" y="942975"/>
                  </a:lnTo>
                  <a:lnTo>
                    <a:pt x="982027" y="949642"/>
                  </a:lnTo>
                  <a:lnTo>
                    <a:pt x="982027" y="952500"/>
                  </a:lnTo>
                  <a:lnTo>
                    <a:pt x="984885" y="957263"/>
                  </a:lnTo>
                  <a:lnTo>
                    <a:pt x="987743" y="961072"/>
                  </a:lnTo>
                  <a:lnTo>
                    <a:pt x="993457" y="963930"/>
                  </a:lnTo>
                  <a:lnTo>
                    <a:pt x="1012507" y="968692"/>
                  </a:lnTo>
                  <a:lnTo>
                    <a:pt x="1015365" y="969645"/>
                  </a:lnTo>
                  <a:lnTo>
                    <a:pt x="1018222" y="974407"/>
                  </a:lnTo>
                  <a:lnTo>
                    <a:pt x="1019175" y="979170"/>
                  </a:lnTo>
                  <a:lnTo>
                    <a:pt x="1020127" y="982027"/>
                  </a:lnTo>
                  <a:lnTo>
                    <a:pt x="1019175" y="988695"/>
                  </a:lnTo>
                  <a:lnTo>
                    <a:pt x="1017270" y="992505"/>
                  </a:lnTo>
                  <a:lnTo>
                    <a:pt x="1014413" y="995363"/>
                  </a:lnTo>
                  <a:lnTo>
                    <a:pt x="1008697" y="998220"/>
                  </a:lnTo>
                  <a:lnTo>
                    <a:pt x="985838" y="1002982"/>
                  </a:lnTo>
                  <a:lnTo>
                    <a:pt x="982980" y="1004888"/>
                  </a:lnTo>
                  <a:lnTo>
                    <a:pt x="968693" y="1017270"/>
                  </a:lnTo>
                  <a:lnTo>
                    <a:pt x="965835" y="1021080"/>
                  </a:lnTo>
                  <a:lnTo>
                    <a:pt x="963930" y="1026795"/>
                  </a:lnTo>
                  <a:lnTo>
                    <a:pt x="962025" y="1034415"/>
                  </a:lnTo>
                  <a:lnTo>
                    <a:pt x="962025" y="1040130"/>
                  </a:lnTo>
                  <a:lnTo>
                    <a:pt x="963930" y="1044892"/>
                  </a:lnTo>
                  <a:lnTo>
                    <a:pt x="967740" y="1048702"/>
                  </a:lnTo>
                  <a:lnTo>
                    <a:pt x="1008697" y="1073467"/>
                  </a:lnTo>
                  <a:lnTo>
                    <a:pt x="1011555" y="1077277"/>
                  </a:lnTo>
                  <a:lnTo>
                    <a:pt x="1012507" y="1080135"/>
                  </a:lnTo>
                  <a:lnTo>
                    <a:pt x="1012507" y="1084898"/>
                  </a:lnTo>
                  <a:lnTo>
                    <a:pt x="1010602" y="1088707"/>
                  </a:lnTo>
                  <a:lnTo>
                    <a:pt x="1005840" y="1097280"/>
                  </a:lnTo>
                  <a:lnTo>
                    <a:pt x="1003935" y="1102042"/>
                  </a:lnTo>
                  <a:lnTo>
                    <a:pt x="1003935" y="1105852"/>
                  </a:lnTo>
                  <a:lnTo>
                    <a:pt x="1003935" y="1108710"/>
                  </a:lnTo>
                  <a:lnTo>
                    <a:pt x="1005840" y="1116330"/>
                  </a:lnTo>
                  <a:lnTo>
                    <a:pt x="1005840" y="1119188"/>
                  </a:lnTo>
                  <a:lnTo>
                    <a:pt x="1003935" y="1129665"/>
                  </a:lnTo>
                  <a:lnTo>
                    <a:pt x="1003935" y="1132523"/>
                  </a:lnTo>
                  <a:lnTo>
                    <a:pt x="1004888" y="1134427"/>
                  </a:lnTo>
                  <a:lnTo>
                    <a:pt x="1007745" y="1136332"/>
                  </a:lnTo>
                  <a:lnTo>
                    <a:pt x="1017270" y="1138238"/>
                  </a:lnTo>
                  <a:lnTo>
                    <a:pt x="1029652" y="1140142"/>
                  </a:lnTo>
                  <a:lnTo>
                    <a:pt x="1032510" y="1142048"/>
                  </a:lnTo>
                  <a:lnTo>
                    <a:pt x="1034415" y="1143000"/>
                  </a:lnTo>
                  <a:lnTo>
                    <a:pt x="1034415" y="1148715"/>
                  </a:lnTo>
                  <a:lnTo>
                    <a:pt x="1028700" y="1185863"/>
                  </a:lnTo>
                  <a:lnTo>
                    <a:pt x="1024890" y="1198245"/>
                  </a:lnTo>
                  <a:lnTo>
                    <a:pt x="1021080" y="1221105"/>
                  </a:lnTo>
                  <a:lnTo>
                    <a:pt x="1017270" y="1234440"/>
                  </a:lnTo>
                  <a:lnTo>
                    <a:pt x="1009650" y="1254442"/>
                  </a:lnTo>
                  <a:lnTo>
                    <a:pt x="1008697" y="1260157"/>
                  </a:lnTo>
                  <a:lnTo>
                    <a:pt x="1008697" y="1262063"/>
                  </a:lnTo>
                  <a:lnTo>
                    <a:pt x="1010602" y="1263967"/>
                  </a:lnTo>
                  <a:lnTo>
                    <a:pt x="1021080" y="1272540"/>
                  </a:lnTo>
                  <a:lnTo>
                    <a:pt x="1023938" y="1276350"/>
                  </a:lnTo>
                  <a:lnTo>
                    <a:pt x="1026795" y="1281113"/>
                  </a:lnTo>
                  <a:lnTo>
                    <a:pt x="1026795" y="1286827"/>
                  </a:lnTo>
                  <a:lnTo>
                    <a:pt x="1022985" y="1303020"/>
                  </a:lnTo>
                  <a:lnTo>
                    <a:pt x="1022032" y="1305877"/>
                  </a:lnTo>
                  <a:lnTo>
                    <a:pt x="1019175" y="1311592"/>
                  </a:lnTo>
                  <a:lnTo>
                    <a:pt x="1014413" y="1317307"/>
                  </a:lnTo>
                  <a:lnTo>
                    <a:pt x="1009650" y="1318260"/>
                  </a:lnTo>
                  <a:lnTo>
                    <a:pt x="975360" y="1316355"/>
                  </a:lnTo>
                  <a:lnTo>
                    <a:pt x="921068" y="1305877"/>
                  </a:lnTo>
                  <a:lnTo>
                    <a:pt x="876300" y="1286827"/>
                  </a:lnTo>
                  <a:lnTo>
                    <a:pt x="849630" y="1282065"/>
                  </a:lnTo>
                  <a:lnTo>
                    <a:pt x="843915" y="1283970"/>
                  </a:lnTo>
                  <a:lnTo>
                    <a:pt x="771525" y="1318260"/>
                  </a:lnTo>
                  <a:lnTo>
                    <a:pt x="704850" y="1332548"/>
                  </a:lnTo>
                  <a:lnTo>
                    <a:pt x="643890" y="1352550"/>
                  </a:lnTo>
                  <a:lnTo>
                    <a:pt x="619125" y="1356360"/>
                  </a:lnTo>
                  <a:lnTo>
                    <a:pt x="566738" y="1351598"/>
                  </a:lnTo>
                  <a:lnTo>
                    <a:pt x="484822" y="1324927"/>
                  </a:lnTo>
                  <a:lnTo>
                    <a:pt x="472440" y="1324927"/>
                  </a:lnTo>
                  <a:lnTo>
                    <a:pt x="405765" y="1343025"/>
                  </a:lnTo>
                  <a:lnTo>
                    <a:pt x="354330" y="1346835"/>
                  </a:lnTo>
                  <a:lnTo>
                    <a:pt x="347663" y="1344930"/>
                  </a:lnTo>
                  <a:lnTo>
                    <a:pt x="346710" y="1343025"/>
                  </a:lnTo>
                  <a:lnTo>
                    <a:pt x="343852" y="1334452"/>
                  </a:lnTo>
                  <a:lnTo>
                    <a:pt x="340995" y="1329690"/>
                  </a:lnTo>
                  <a:lnTo>
                    <a:pt x="338138" y="1326832"/>
                  </a:lnTo>
                  <a:lnTo>
                    <a:pt x="334327" y="1326832"/>
                  </a:lnTo>
                  <a:lnTo>
                    <a:pt x="321945" y="1327785"/>
                  </a:lnTo>
                  <a:lnTo>
                    <a:pt x="319088" y="1326832"/>
                  </a:lnTo>
                  <a:lnTo>
                    <a:pt x="317182" y="1324927"/>
                  </a:lnTo>
                  <a:lnTo>
                    <a:pt x="314325" y="1314450"/>
                  </a:lnTo>
                  <a:lnTo>
                    <a:pt x="312420" y="1309688"/>
                  </a:lnTo>
                  <a:lnTo>
                    <a:pt x="312420" y="1306830"/>
                  </a:lnTo>
                  <a:lnTo>
                    <a:pt x="314325" y="1301115"/>
                  </a:lnTo>
                  <a:lnTo>
                    <a:pt x="319088" y="1291590"/>
                  </a:lnTo>
                  <a:lnTo>
                    <a:pt x="319088" y="1289685"/>
                  </a:lnTo>
                  <a:lnTo>
                    <a:pt x="318135" y="1285875"/>
                  </a:lnTo>
                  <a:lnTo>
                    <a:pt x="316230" y="1283017"/>
                  </a:lnTo>
                  <a:lnTo>
                    <a:pt x="312420" y="1279207"/>
                  </a:lnTo>
                  <a:lnTo>
                    <a:pt x="308610" y="1278255"/>
                  </a:lnTo>
                  <a:lnTo>
                    <a:pt x="305752" y="1277302"/>
                  </a:lnTo>
                  <a:lnTo>
                    <a:pt x="274320" y="1283970"/>
                  </a:lnTo>
                  <a:lnTo>
                    <a:pt x="269557" y="1285875"/>
                  </a:lnTo>
                  <a:lnTo>
                    <a:pt x="268605" y="1287780"/>
                  </a:lnTo>
                  <a:lnTo>
                    <a:pt x="267652" y="1290638"/>
                  </a:lnTo>
                  <a:lnTo>
                    <a:pt x="269557" y="1298257"/>
                  </a:lnTo>
                  <a:lnTo>
                    <a:pt x="269557" y="1303973"/>
                  </a:lnTo>
                  <a:lnTo>
                    <a:pt x="268605" y="1306830"/>
                  </a:lnTo>
                  <a:lnTo>
                    <a:pt x="264795" y="1310640"/>
                  </a:lnTo>
                  <a:lnTo>
                    <a:pt x="260032" y="1312545"/>
                  </a:lnTo>
                  <a:lnTo>
                    <a:pt x="203835" y="1323975"/>
                  </a:lnTo>
                  <a:lnTo>
                    <a:pt x="200025" y="1325880"/>
                  </a:lnTo>
                  <a:lnTo>
                    <a:pt x="197168" y="1330642"/>
                  </a:lnTo>
                  <a:lnTo>
                    <a:pt x="196215" y="1335405"/>
                  </a:lnTo>
                  <a:lnTo>
                    <a:pt x="194310" y="1337310"/>
                  </a:lnTo>
                  <a:lnTo>
                    <a:pt x="191452" y="1340167"/>
                  </a:lnTo>
                  <a:lnTo>
                    <a:pt x="187643" y="1340167"/>
                  </a:lnTo>
                  <a:lnTo>
                    <a:pt x="184785" y="1339215"/>
                  </a:lnTo>
                  <a:lnTo>
                    <a:pt x="179070" y="1336357"/>
                  </a:lnTo>
                  <a:lnTo>
                    <a:pt x="174307" y="1331595"/>
                  </a:lnTo>
                  <a:lnTo>
                    <a:pt x="170497" y="1327785"/>
                  </a:lnTo>
                  <a:lnTo>
                    <a:pt x="169545" y="1325880"/>
                  </a:lnTo>
                  <a:lnTo>
                    <a:pt x="167640" y="1321117"/>
                  </a:lnTo>
                  <a:lnTo>
                    <a:pt x="165735" y="1313498"/>
                  </a:lnTo>
                  <a:lnTo>
                    <a:pt x="163830" y="1308735"/>
                  </a:lnTo>
                  <a:lnTo>
                    <a:pt x="158115" y="1305877"/>
                  </a:lnTo>
                  <a:lnTo>
                    <a:pt x="149543" y="1302067"/>
                  </a:lnTo>
                  <a:lnTo>
                    <a:pt x="110490" y="1294448"/>
                  </a:lnTo>
                  <a:lnTo>
                    <a:pt x="106680" y="1290638"/>
                  </a:lnTo>
                  <a:lnTo>
                    <a:pt x="99060" y="1283970"/>
                  </a:lnTo>
                  <a:lnTo>
                    <a:pt x="96202" y="1283017"/>
                  </a:lnTo>
                  <a:lnTo>
                    <a:pt x="56197" y="1271588"/>
                  </a:lnTo>
                  <a:lnTo>
                    <a:pt x="11430" y="1264920"/>
                  </a:lnTo>
                  <a:lnTo>
                    <a:pt x="7620" y="1263015"/>
                  </a:lnTo>
                  <a:lnTo>
                    <a:pt x="5715" y="1261110"/>
                  </a:lnTo>
                  <a:lnTo>
                    <a:pt x="4763" y="1259205"/>
                  </a:lnTo>
                  <a:lnTo>
                    <a:pt x="4763" y="1255395"/>
                  </a:lnTo>
                  <a:lnTo>
                    <a:pt x="5715" y="1249680"/>
                  </a:lnTo>
                  <a:lnTo>
                    <a:pt x="9525" y="1243965"/>
                  </a:lnTo>
                  <a:lnTo>
                    <a:pt x="15240" y="1237298"/>
                  </a:lnTo>
                  <a:lnTo>
                    <a:pt x="18097" y="1233488"/>
                  </a:lnTo>
                  <a:lnTo>
                    <a:pt x="20002" y="1229677"/>
                  </a:lnTo>
                  <a:lnTo>
                    <a:pt x="20002" y="1224915"/>
                  </a:lnTo>
                  <a:lnTo>
                    <a:pt x="19050" y="1217295"/>
                  </a:lnTo>
                  <a:lnTo>
                    <a:pt x="16193" y="1208723"/>
                  </a:lnTo>
                  <a:lnTo>
                    <a:pt x="12382" y="1199198"/>
                  </a:lnTo>
                  <a:lnTo>
                    <a:pt x="3810" y="1183957"/>
                  </a:lnTo>
                  <a:lnTo>
                    <a:pt x="952" y="1176338"/>
                  </a:lnTo>
                  <a:lnTo>
                    <a:pt x="0" y="1171575"/>
                  </a:lnTo>
                  <a:lnTo>
                    <a:pt x="2857" y="1169670"/>
                  </a:lnTo>
                  <a:lnTo>
                    <a:pt x="6668" y="1165860"/>
                  </a:lnTo>
                  <a:lnTo>
                    <a:pt x="9525" y="1164907"/>
                  </a:lnTo>
                  <a:lnTo>
                    <a:pt x="29527" y="1159192"/>
                  </a:lnTo>
                  <a:lnTo>
                    <a:pt x="52388" y="1157288"/>
                  </a:lnTo>
                  <a:lnTo>
                    <a:pt x="54293" y="1154430"/>
                  </a:lnTo>
                  <a:lnTo>
                    <a:pt x="55245" y="1150620"/>
                  </a:lnTo>
                  <a:lnTo>
                    <a:pt x="52388" y="1140142"/>
                  </a:lnTo>
                  <a:lnTo>
                    <a:pt x="49530" y="1135380"/>
                  </a:lnTo>
                  <a:lnTo>
                    <a:pt x="46672" y="1132523"/>
                  </a:lnTo>
                  <a:lnTo>
                    <a:pt x="42863" y="1129665"/>
                  </a:lnTo>
                  <a:lnTo>
                    <a:pt x="40957" y="1125855"/>
                  </a:lnTo>
                  <a:lnTo>
                    <a:pt x="40957" y="1120140"/>
                  </a:lnTo>
                  <a:lnTo>
                    <a:pt x="40957" y="1077277"/>
                  </a:lnTo>
                  <a:lnTo>
                    <a:pt x="42863" y="1066800"/>
                  </a:lnTo>
                  <a:lnTo>
                    <a:pt x="44768" y="1062038"/>
                  </a:lnTo>
                  <a:lnTo>
                    <a:pt x="45720" y="1058227"/>
                  </a:lnTo>
                  <a:lnTo>
                    <a:pt x="46672" y="1040130"/>
                  </a:lnTo>
                  <a:lnTo>
                    <a:pt x="47625" y="1036320"/>
                  </a:lnTo>
                  <a:lnTo>
                    <a:pt x="48577" y="1033463"/>
                  </a:lnTo>
                  <a:lnTo>
                    <a:pt x="52388" y="1028700"/>
                  </a:lnTo>
                  <a:lnTo>
                    <a:pt x="52388" y="1025842"/>
                  </a:lnTo>
                  <a:lnTo>
                    <a:pt x="50482" y="1021080"/>
                  </a:lnTo>
                  <a:lnTo>
                    <a:pt x="45720" y="1013460"/>
                  </a:lnTo>
                  <a:lnTo>
                    <a:pt x="41910" y="1011555"/>
                  </a:lnTo>
                  <a:lnTo>
                    <a:pt x="38100" y="1010602"/>
                  </a:lnTo>
                  <a:lnTo>
                    <a:pt x="35243" y="1011555"/>
                  </a:lnTo>
                  <a:lnTo>
                    <a:pt x="29527" y="1011555"/>
                  </a:lnTo>
                  <a:lnTo>
                    <a:pt x="26670" y="1009650"/>
                  </a:lnTo>
                  <a:lnTo>
                    <a:pt x="25718" y="1006792"/>
                  </a:lnTo>
                  <a:lnTo>
                    <a:pt x="25718" y="1002030"/>
                  </a:lnTo>
                  <a:lnTo>
                    <a:pt x="29527" y="987742"/>
                  </a:lnTo>
                  <a:lnTo>
                    <a:pt x="32385" y="980122"/>
                  </a:lnTo>
                  <a:lnTo>
                    <a:pt x="33338" y="975360"/>
                  </a:lnTo>
                  <a:lnTo>
                    <a:pt x="27622" y="970597"/>
                  </a:lnTo>
                  <a:lnTo>
                    <a:pt x="33338" y="943927"/>
                  </a:lnTo>
                  <a:lnTo>
                    <a:pt x="39052" y="922972"/>
                  </a:lnTo>
                  <a:lnTo>
                    <a:pt x="40957" y="921067"/>
                  </a:lnTo>
                  <a:lnTo>
                    <a:pt x="44768" y="918210"/>
                  </a:lnTo>
                  <a:lnTo>
                    <a:pt x="49530" y="917257"/>
                  </a:lnTo>
                  <a:lnTo>
                    <a:pt x="55245" y="913447"/>
                  </a:lnTo>
                  <a:lnTo>
                    <a:pt x="59055" y="907732"/>
                  </a:lnTo>
                  <a:lnTo>
                    <a:pt x="63818" y="898207"/>
                  </a:lnTo>
                  <a:lnTo>
                    <a:pt x="67627" y="893445"/>
                  </a:lnTo>
                  <a:lnTo>
                    <a:pt x="72390" y="888682"/>
                  </a:lnTo>
                  <a:lnTo>
                    <a:pt x="80010" y="882967"/>
                  </a:lnTo>
                  <a:lnTo>
                    <a:pt x="83820" y="880110"/>
                  </a:lnTo>
                  <a:lnTo>
                    <a:pt x="87630" y="879157"/>
                  </a:lnTo>
                  <a:lnTo>
                    <a:pt x="107632" y="881063"/>
                  </a:lnTo>
                  <a:lnTo>
                    <a:pt x="120015" y="877252"/>
                  </a:lnTo>
                  <a:lnTo>
                    <a:pt x="123825" y="875347"/>
                  </a:lnTo>
                  <a:lnTo>
                    <a:pt x="125730" y="872490"/>
                  </a:lnTo>
                  <a:lnTo>
                    <a:pt x="128588" y="862965"/>
                  </a:lnTo>
                  <a:lnTo>
                    <a:pt x="129540" y="856297"/>
                  </a:lnTo>
                  <a:lnTo>
                    <a:pt x="128588" y="850582"/>
                  </a:lnTo>
                  <a:lnTo>
                    <a:pt x="128588" y="844867"/>
                  </a:lnTo>
                  <a:lnTo>
                    <a:pt x="127635" y="839152"/>
                  </a:lnTo>
                  <a:lnTo>
                    <a:pt x="129540" y="832485"/>
                  </a:lnTo>
                  <a:lnTo>
                    <a:pt x="131445" y="822960"/>
                  </a:lnTo>
                  <a:lnTo>
                    <a:pt x="134302" y="808672"/>
                  </a:lnTo>
                  <a:lnTo>
                    <a:pt x="136207" y="806767"/>
                  </a:lnTo>
                  <a:lnTo>
                    <a:pt x="139065" y="805815"/>
                  </a:lnTo>
                  <a:lnTo>
                    <a:pt x="140970" y="805815"/>
                  </a:lnTo>
                  <a:lnTo>
                    <a:pt x="142875" y="809625"/>
                  </a:lnTo>
                  <a:lnTo>
                    <a:pt x="146685" y="831532"/>
                  </a:lnTo>
                  <a:lnTo>
                    <a:pt x="146685" y="833438"/>
                  </a:lnTo>
                  <a:lnTo>
                    <a:pt x="143827" y="840105"/>
                  </a:lnTo>
                  <a:lnTo>
                    <a:pt x="142875" y="842963"/>
                  </a:lnTo>
                  <a:lnTo>
                    <a:pt x="142875" y="848677"/>
                  </a:lnTo>
                  <a:lnTo>
                    <a:pt x="144780" y="856297"/>
                  </a:lnTo>
                  <a:lnTo>
                    <a:pt x="145732" y="859155"/>
                  </a:lnTo>
                  <a:lnTo>
                    <a:pt x="147638" y="861060"/>
                  </a:lnTo>
                  <a:lnTo>
                    <a:pt x="150495" y="862965"/>
                  </a:lnTo>
                  <a:lnTo>
                    <a:pt x="152400" y="861060"/>
                  </a:lnTo>
                  <a:lnTo>
                    <a:pt x="154305" y="859155"/>
                  </a:lnTo>
                  <a:lnTo>
                    <a:pt x="158115" y="846772"/>
                  </a:lnTo>
                  <a:lnTo>
                    <a:pt x="162877" y="835342"/>
                  </a:lnTo>
                  <a:lnTo>
                    <a:pt x="163830" y="832485"/>
                  </a:lnTo>
                  <a:lnTo>
                    <a:pt x="185738" y="808672"/>
                  </a:lnTo>
                  <a:lnTo>
                    <a:pt x="188595" y="803910"/>
                  </a:lnTo>
                  <a:lnTo>
                    <a:pt x="190500" y="799147"/>
                  </a:lnTo>
                  <a:lnTo>
                    <a:pt x="192405" y="797242"/>
                  </a:lnTo>
                  <a:lnTo>
                    <a:pt x="195263" y="797242"/>
                  </a:lnTo>
                  <a:lnTo>
                    <a:pt x="197168" y="798195"/>
                  </a:lnTo>
                  <a:lnTo>
                    <a:pt x="201930" y="803910"/>
                  </a:lnTo>
                  <a:lnTo>
                    <a:pt x="205740" y="807720"/>
                  </a:lnTo>
                  <a:lnTo>
                    <a:pt x="211455" y="807720"/>
                  </a:lnTo>
                  <a:lnTo>
                    <a:pt x="218122" y="806767"/>
                  </a:lnTo>
                  <a:lnTo>
                    <a:pt x="220980" y="805815"/>
                  </a:lnTo>
                  <a:lnTo>
                    <a:pt x="223838" y="802957"/>
                  </a:lnTo>
                  <a:lnTo>
                    <a:pt x="228600" y="797242"/>
                  </a:lnTo>
                  <a:lnTo>
                    <a:pt x="249555" y="777240"/>
                  </a:lnTo>
                  <a:lnTo>
                    <a:pt x="251460" y="775335"/>
                  </a:lnTo>
                  <a:lnTo>
                    <a:pt x="257175" y="763905"/>
                  </a:lnTo>
                  <a:lnTo>
                    <a:pt x="260032" y="762000"/>
                  </a:lnTo>
                  <a:lnTo>
                    <a:pt x="262890" y="761047"/>
                  </a:lnTo>
                  <a:lnTo>
                    <a:pt x="266700" y="761047"/>
                  </a:lnTo>
                  <a:lnTo>
                    <a:pt x="270510" y="760095"/>
                  </a:lnTo>
                  <a:lnTo>
                    <a:pt x="277177" y="758190"/>
                  </a:lnTo>
                  <a:lnTo>
                    <a:pt x="280035" y="755332"/>
                  </a:lnTo>
                  <a:lnTo>
                    <a:pt x="280988" y="751522"/>
                  </a:lnTo>
                  <a:lnTo>
                    <a:pt x="286702" y="714375"/>
                  </a:lnTo>
                  <a:lnTo>
                    <a:pt x="285750" y="708660"/>
                  </a:lnTo>
                  <a:lnTo>
                    <a:pt x="284797" y="706755"/>
                  </a:lnTo>
                  <a:lnTo>
                    <a:pt x="282893" y="704850"/>
                  </a:lnTo>
                  <a:lnTo>
                    <a:pt x="276225" y="702945"/>
                  </a:lnTo>
                  <a:lnTo>
                    <a:pt x="274320" y="701040"/>
                  </a:lnTo>
                  <a:lnTo>
                    <a:pt x="272415" y="697230"/>
                  </a:lnTo>
                  <a:lnTo>
                    <a:pt x="271463" y="690563"/>
                  </a:lnTo>
                  <a:lnTo>
                    <a:pt x="270510" y="649605"/>
                  </a:lnTo>
                  <a:lnTo>
                    <a:pt x="266700" y="633413"/>
                  </a:lnTo>
                  <a:lnTo>
                    <a:pt x="266700" y="626745"/>
                  </a:lnTo>
                  <a:lnTo>
                    <a:pt x="265747" y="621982"/>
                  </a:lnTo>
                  <a:lnTo>
                    <a:pt x="260985" y="619125"/>
                  </a:lnTo>
                  <a:lnTo>
                    <a:pt x="259080" y="618172"/>
                  </a:lnTo>
                  <a:lnTo>
                    <a:pt x="258127" y="615315"/>
                  </a:lnTo>
                  <a:lnTo>
                    <a:pt x="257175" y="608647"/>
                  </a:lnTo>
                  <a:lnTo>
                    <a:pt x="258127" y="603885"/>
                  </a:lnTo>
                  <a:lnTo>
                    <a:pt x="260032" y="601027"/>
                  </a:lnTo>
                  <a:lnTo>
                    <a:pt x="263843" y="598170"/>
                  </a:lnTo>
                  <a:lnTo>
                    <a:pt x="264795" y="595313"/>
                  </a:lnTo>
                  <a:lnTo>
                    <a:pt x="264795" y="592455"/>
                  </a:lnTo>
                  <a:lnTo>
                    <a:pt x="253365" y="565785"/>
                  </a:lnTo>
                  <a:lnTo>
                    <a:pt x="251460" y="561022"/>
                  </a:lnTo>
                  <a:lnTo>
                    <a:pt x="251460" y="557213"/>
                  </a:lnTo>
                  <a:lnTo>
                    <a:pt x="252413" y="551497"/>
                  </a:lnTo>
                  <a:lnTo>
                    <a:pt x="252413" y="549592"/>
                  </a:lnTo>
                  <a:lnTo>
                    <a:pt x="250507" y="548640"/>
                  </a:lnTo>
                  <a:lnTo>
                    <a:pt x="245745" y="548640"/>
                  </a:lnTo>
                  <a:lnTo>
                    <a:pt x="243840" y="547688"/>
                  </a:lnTo>
                  <a:lnTo>
                    <a:pt x="242888" y="543877"/>
                  </a:lnTo>
                  <a:lnTo>
                    <a:pt x="241935" y="537210"/>
                  </a:lnTo>
                  <a:lnTo>
                    <a:pt x="241935" y="530542"/>
                  </a:lnTo>
                  <a:lnTo>
                    <a:pt x="243840" y="527685"/>
                  </a:lnTo>
                  <a:lnTo>
                    <a:pt x="245745" y="524827"/>
                  </a:lnTo>
                  <a:lnTo>
                    <a:pt x="260985" y="515302"/>
                  </a:lnTo>
                  <a:lnTo>
                    <a:pt x="305752" y="497205"/>
                  </a:lnTo>
                  <a:lnTo>
                    <a:pt x="307657" y="498157"/>
                  </a:lnTo>
                  <a:lnTo>
                    <a:pt x="308610" y="501967"/>
                  </a:lnTo>
                  <a:lnTo>
                    <a:pt x="311468" y="501967"/>
                  </a:lnTo>
                  <a:lnTo>
                    <a:pt x="315277" y="500063"/>
                  </a:lnTo>
                  <a:lnTo>
                    <a:pt x="329565" y="484822"/>
                  </a:lnTo>
                  <a:lnTo>
                    <a:pt x="334327" y="481965"/>
                  </a:lnTo>
                  <a:lnTo>
                    <a:pt x="389572" y="454342"/>
                  </a:lnTo>
                  <a:lnTo>
                    <a:pt x="394335" y="451485"/>
                  </a:lnTo>
                  <a:lnTo>
                    <a:pt x="413385" y="431482"/>
                  </a:lnTo>
                  <a:lnTo>
                    <a:pt x="416243" y="429577"/>
                  </a:lnTo>
                  <a:lnTo>
                    <a:pt x="421957" y="428625"/>
                  </a:lnTo>
                  <a:lnTo>
                    <a:pt x="425768" y="427672"/>
                  </a:lnTo>
                  <a:lnTo>
                    <a:pt x="430530" y="425767"/>
                  </a:lnTo>
                  <a:lnTo>
                    <a:pt x="437197" y="420052"/>
                  </a:lnTo>
                  <a:lnTo>
                    <a:pt x="441007" y="416242"/>
                  </a:lnTo>
                  <a:lnTo>
                    <a:pt x="441960" y="413385"/>
                  </a:lnTo>
                  <a:lnTo>
                    <a:pt x="441007" y="411480"/>
                  </a:lnTo>
                  <a:lnTo>
                    <a:pt x="438150" y="409575"/>
                  </a:lnTo>
                  <a:lnTo>
                    <a:pt x="417195" y="404813"/>
                  </a:lnTo>
                  <a:lnTo>
                    <a:pt x="414338" y="403860"/>
                  </a:lnTo>
                  <a:lnTo>
                    <a:pt x="413385" y="401955"/>
                  </a:lnTo>
                  <a:lnTo>
                    <a:pt x="412432" y="396240"/>
                  </a:lnTo>
                  <a:lnTo>
                    <a:pt x="409575" y="391477"/>
                  </a:lnTo>
                  <a:lnTo>
                    <a:pt x="407670" y="389572"/>
                  </a:lnTo>
                  <a:lnTo>
                    <a:pt x="376238" y="387667"/>
                  </a:lnTo>
                  <a:lnTo>
                    <a:pt x="370522" y="386715"/>
                  </a:lnTo>
                  <a:lnTo>
                    <a:pt x="359093" y="378142"/>
                  </a:lnTo>
                  <a:lnTo>
                    <a:pt x="356235" y="377190"/>
                  </a:lnTo>
                  <a:lnTo>
                    <a:pt x="326707" y="371475"/>
                  </a:lnTo>
                  <a:lnTo>
                    <a:pt x="324802" y="370522"/>
                  </a:lnTo>
                  <a:lnTo>
                    <a:pt x="320993" y="366713"/>
                  </a:lnTo>
                  <a:lnTo>
                    <a:pt x="318135" y="359092"/>
                  </a:lnTo>
                  <a:lnTo>
                    <a:pt x="316230" y="354330"/>
                  </a:lnTo>
                  <a:lnTo>
                    <a:pt x="314325" y="352425"/>
                  </a:lnTo>
                  <a:lnTo>
                    <a:pt x="309563" y="349567"/>
                  </a:lnTo>
                  <a:lnTo>
                    <a:pt x="307657" y="347663"/>
                  </a:lnTo>
                  <a:lnTo>
                    <a:pt x="304800" y="343852"/>
                  </a:lnTo>
                  <a:lnTo>
                    <a:pt x="301943" y="335280"/>
                  </a:lnTo>
                  <a:lnTo>
                    <a:pt x="302895" y="330517"/>
                  </a:lnTo>
                  <a:lnTo>
                    <a:pt x="310515" y="318135"/>
                  </a:lnTo>
                  <a:lnTo>
                    <a:pt x="314325" y="314325"/>
                  </a:lnTo>
                  <a:lnTo>
                    <a:pt x="317182" y="312420"/>
                  </a:lnTo>
                  <a:lnTo>
                    <a:pt x="320040" y="312420"/>
                  </a:lnTo>
                  <a:lnTo>
                    <a:pt x="321945" y="312420"/>
                  </a:lnTo>
                  <a:lnTo>
                    <a:pt x="323850" y="314325"/>
                  </a:lnTo>
                  <a:lnTo>
                    <a:pt x="326707" y="319088"/>
                  </a:lnTo>
                  <a:lnTo>
                    <a:pt x="328613" y="320992"/>
                  </a:lnTo>
                  <a:lnTo>
                    <a:pt x="332422" y="320992"/>
                  </a:lnTo>
                  <a:lnTo>
                    <a:pt x="335280" y="320992"/>
                  </a:lnTo>
                  <a:lnTo>
                    <a:pt x="356235" y="302895"/>
                  </a:lnTo>
                  <a:lnTo>
                    <a:pt x="359093" y="301942"/>
                  </a:lnTo>
                  <a:lnTo>
                    <a:pt x="362902" y="301942"/>
                  </a:lnTo>
                  <a:lnTo>
                    <a:pt x="368618" y="303847"/>
                  </a:lnTo>
                  <a:lnTo>
                    <a:pt x="370522" y="305752"/>
                  </a:lnTo>
                  <a:lnTo>
                    <a:pt x="372427" y="307657"/>
                  </a:lnTo>
                  <a:lnTo>
                    <a:pt x="374332" y="316230"/>
                  </a:lnTo>
                  <a:lnTo>
                    <a:pt x="375285" y="318135"/>
                  </a:lnTo>
                  <a:lnTo>
                    <a:pt x="377190" y="320040"/>
                  </a:lnTo>
                  <a:lnTo>
                    <a:pt x="380047" y="321945"/>
                  </a:lnTo>
                  <a:lnTo>
                    <a:pt x="382905" y="321945"/>
                  </a:lnTo>
                  <a:lnTo>
                    <a:pt x="385763" y="320992"/>
                  </a:lnTo>
                  <a:lnTo>
                    <a:pt x="389572" y="319088"/>
                  </a:lnTo>
                  <a:lnTo>
                    <a:pt x="399097" y="305752"/>
                  </a:lnTo>
                  <a:lnTo>
                    <a:pt x="403860" y="301942"/>
                  </a:lnTo>
                  <a:lnTo>
                    <a:pt x="406718" y="301942"/>
                  </a:lnTo>
                  <a:lnTo>
                    <a:pt x="413385" y="302895"/>
                  </a:lnTo>
                  <a:lnTo>
                    <a:pt x="415290" y="304800"/>
                  </a:lnTo>
                  <a:lnTo>
                    <a:pt x="417195" y="306705"/>
                  </a:lnTo>
                  <a:lnTo>
                    <a:pt x="417195" y="309563"/>
                  </a:lnTo>
                  <a:lnTo>
                    <a:pt x="415290" y="320040"/>
                  </a:lnTo>
                  <a:lnTo>
                    <a:pt x="416243" y="322897"/>
                  </a:lnTo>
                  <a:lnTo>
                    <a:pt x="417195" y="324802"/>
                  </a:lnTo>
                  <a:lnTo>
                    <a:pt x="421005" y="323850"/>
                  </a:lnTo>
                  <a:lnTo>
                    <a:pt x="423863" y="320040"/>
                  </a:lnTo>
                  <a:lnTo>
                    <a:pt x="427672" y="314325"/>
                  </a:lnTo>
                  <a:lnTo>
                    <a:pt x="429577" y="311467"/>
                  </a:lnTo>
                  <a:lnTo>
                    <a:pt x="431482" y="311467"/>
                  </a:lnTo>
                  <a:lnTo>
                    <a:pt x="432435" y="313372"/>
                  </a:lnTo>
                  <a:lnTo>
                    <a:pt x="433388" y="322897"/>
                  </a:lnTo>
                  <a:lnTo>
                    <a:pt x="433388" y="324802"/>
                  </a:lnTo>
                  <a:lnTo>
                    <a:pt x="436245" y="330517"/>
                  </a:lnTo>
                  <a:lnTo>
                    <a:pt x="436245" y="338138"/>
                  </a:lnTo>
                  <a:lnTo>
                    <a:pt x="441007" y="340995"/>
                  </a:lnTo>
                  <a:lnTo>
                    <a:pt x="443865" y="340042"/>
                  </a:lnTo>
                  <a:lnTo>
                    <a:pt x="446722" y="338138"/>
                  </a:lnTo>
                  <a:lnTo>
                    <a:pt x="449580" y="333375"/>
                  </a:lnTo>
                  <a:lnTo>
                    <a:pt x="453390" y="320040"/>
                  </a:lnTo>
                  <a:lnTo>
                    <a:pt x="457200" y="313372"/>
                  </a:lnTo>
                  <a:lnTo>
                    <a:pt x="461963" y="310515"/>
                  </a:lnTo>
                  <a:lnTo>
                    <a:pt x="464820" y="306705"/>
                  </a:lnTo>
                  <a:lnTo>
                    <a:pt x="468630" y="300038"/>
                  </a:lnTo>
                  <a:lnTo>
                    <a:pt x="473393" y="296227"/>
                  </a:lnTo>
                  <a:lnTo>
                    <a:pt x="475297" y="292417"/>
                  </a:lnTo>
                  <a:lnTo>
                    <a:pt x="476250" y="289560"/>
                  </a:lnTo>
                  <a:lnTo>
                    <a:pt x="477202" y="285750"/>
                  </a:lnTo>
                  <a:lnTo>
                    <a:pt x="480060" y="276225"/>
                  </a:lnTo>
                  <a:lnTo>
                    <a:pt x="493395" y="255270"/>
                  </a:lnTo>
                  <a:lnTo>
                    <a:pt x="498157" y="260032"/>
                  </a:lnTo>
                  <a:lnTo>
                    <a:pt x="557213" y="301942"/>
                  </a:lnTo>
                  <a:lnTo>
                    <a:pt x="561022" y="302895"/>
                  </a:lnTo>
                  <a:lnTo>
                    <a:pt x="568643" y="301942"/>
                  </a:lnTo>
                  <a:lnTo>
                    <a:pt x="572452" y="301942"/>
                  </a:lnTo>
                  <a:lnTo>
                    <a:pt x="575310" y="303847"/>
                  </a:lnTo>
                  <a:lnTo>
                    <a:pt x="581977" y="309563"/>
                  </a:lnTo>
                  <a:lnTo>
                    <a:pt x="584835" y="312420"/>
                  </a:lnTo>
                  <a:lnTo>
                    <a:pt x="594360" y="316230"/>
                  </a:lnTo>
                  <a:lnTo>
                    <a:pt x="621982" y="320992"/>
                  </a:lnTo>
                  <a:lnTo>
                    <a:pt x="638175" y="329565"/>
                  </a:lnTo>
                  <a:lnTo>
                    <a:pt x="654368" y="350520"/>
                  </a:lnTo>
                  <a:lnTo>
                    <a:pt x="661035" y="351472"/>
                  </a:lnTo>
                  <a:lnTo>
                    <a:pt x="676275" y="340995"/>
                  </a:lnTo>
                  <a:lnTo>
                    <a:pt x="687705" y="329565"/>
                  </a:lnTo>
                  <a:lnTo>
                    <a:pt x="691515" y="325755"/>
                  </a:lnTo>
                  <a:lnTo>
                    <a:pt x="692468" y="322897"/>
                  </a:lnTo>
                  <a:lnTo>
                    <a:pt x="691515" y="320992"/>
                  </a:lnTo>
                  <a:lnTo>
                    <a:pt x="690563" y="318135"/>
                  </a:lnTo>
                  <a:lnTo>
                    <a:pt x="683895" y="313372"/>
                  </a:lnTo>
                  <a:lnTo>
                    <a:pt x="681990" y="311467"/>
                  </a:lnTo>
                  <a:lnTo>
                    <a:pt x="681038" y="308610"/>
                  </a:lnTo>
                  <a:lnTo>
                    <a:pt x="681038" y="302895"/>
                  </a:lnTo>
                  <a:lnTo>
                    <a:pt x="681990" y="300038"/>
                  </a:lnTo>
                  <a:lnTo>
                    <a:pt x="682943" y="297180"/>
                  </a:lnTo>
                  <a:lnTo>
                    <a:pt x="693420" y="285750"/>
                  </a:lnTo>
                  <a:lnTo>
                    <a:pt x="699135" y="281940"/>
                  </a:lnTo>
                  <a:lnTo>
                    <a:pt x="701993" y="279082"/>
                  </a:lnTo>
                  <a:lnTo>
                    <a:pt x="702945" y="276225"/>
                  </a:lnTo>
                  <a:lnTo>
                    <a:pt x="701040" y="259080"/>
                  </a:lnTo>
                  <a:lnTo>
                    <a:pt x="699135" y="254317"/>
                  </a:lnTo>
                  <a:lnTo>
                    <a:pt x="697230" y="252413"/>
                  </a:lnTo>
                  <a:lnTo>
                    <a:pt x="681990" y="237172"/>
                  </a:lnTo>
                  <a:lnTo>
                    <a:pt x="680085" y="232410"/>
                  </a:lnTo>
                  <a:lnTo>
                    <a:pt x="680085" y="226695"/>
                  </a:lnTo>
                  <a:lnTo>
                    <a:pt x="681038" y="216217"/>
                  </a:lnTo>
                  <a:lnTo>
                    <a:pt x="682943" y="209550"/>
                  </a:lnTo>
                  <a:lnTo>
                    <a:pt x="687705" y="199072"/>
                  </a:lnTo>
                  <a:lnTo>
                    <a:pt x="695325" y="176213"/>
                  </a:lnTo>
                  <a:lnTo>
                    <a:pt x="699135" y="170497"/>
                  </a:lnTo>
                  <a:lnTo>
                    <a:pt x="701993" y="167640"/>
                  </a:lnTo>
                  <a:lnTo>
                    <a:pt x="707707" y="162877"/>
                  </a:lnTo>
                  <a:lnTo>
                    <a:pt x="717232" y="159067"/>
                  </a:lnTo>
                  <a:lnTo>
                    <a:pt x="723900" y="159067"/>
                  </a:lnTo>
                  <a:lnTo>
                    <a:pt x="727710" y="157163"/>
                  </a:lnTo>
                  <a:lnTo>
                    <a:pt x="730568" y="154305"/>
                  </a:lnTo>
                  <a:lnTo>
                    <a:pt x="730568" y="151447"/>
                  </a:lnTo>
                  <a:lnTo>
                    <a:pt x="729615" y="149542"/>
                  </a:lnTo>
                  <a:lnTo>
                    <a:pt x="727710" y="148590"/>
                  </a:lnTo>
                  <a:lnTo>
                    <a:pt x="721995" y="148590"/>
                  </a:lnTo>
                  <a:lnTo>
                    <a:pt x="718185" y="147638"/>
                  </a:lnTo>
                  <a:lnTo>
                    <a:pt x="717232" y="142875"/>
                  </a:lnTo>
                  <a:lnTo>
                    <a:pt x="719138" y="138113"/>
                  </a:lnTo>
                  <a:lnTo>
                    <a:pt x="721043" y="136207"/>
                  </a:lnTo>
                  <a:lnTo>
                    <a:pt x="734377" y="124777"/>
                  </a:lnTo>
                  <a:lnTo>
                    <a:pt x="741997" y="117157"/>
                  </a:lnTo>
                  <a:lnTo>
                    <a:pt x="748665" y="107632"/>
                  </a:lnTo>
                  <a:lnTo>
                    <a:pt x="749618" y="104775"/>
                  </a:lnTo>
                  <a:lnTo>
                    <a:pt x="750570" y="98107"/>
                  </a:lnTo>
                  <a:lnTo>
                    <a:pt x="749618" y="92392"/>
                  </a:lnTo>
                  <a:lnTo>
                    <a:pt x="749618" y="89535"/>
                  </a:lnTo>
                  <a:lnTo>
                    <a:pt x="751522" y="85725"/>
                  </a:lnTo>
                  <a:lnTo>
                    <a:pt x="754380" y="84772"/>
                  </a:lnTo>
                  <a:lnTo>
                    <a:pt x="757238" y="84772"/>
                  </a:lnTo>
                  <a:lnTo>
                    <a:pt x="762952" y="87630"/>
                  </a:lnTo>
                  <a:lnTo>
                    <a:pt x="858202" y="45720"/>
                  </a:lnTo>
                  <a:lnTo>
                    <a:pt x="876300" y="42863"/>
                  </a:lnTo>
                  <a:lnTo>
                    <a:pt x="919163" y="29527"/>
                  </a:lnTo>
                  <a:lnTo>
                    <a:pt x="923925" y="27622"/>
                  </a:lnTo>
                  <a:lnTo>
                    <a:pt x="927735" y="24765"/>
                  </a:lnTo>
                  <a:lnTo>
                    <a:pt x="932497" y="18097"/>
                  </a:lnTo>
                  <a:lnTo>
                    <a:pt x="938213" y="12382"/>
                  </a:lnTo>
                  <a:lnTo>
                    <a:pt x="942022" y="9525"/>
                  </a:lnTo>
                  <a:lnTo>
                    <a:pt x="946785" y="7620"/>
                  </a:lnTo>
                  <a:lnTo>
                    <a:pt x="949643" y="6667"/>
                  </a:lnTo>
                  <a:lnTo>
                    <a:pt x="962977" y="7620"/>
                  </a:lnTo>
                  <a:lnTo>
                    <a:pt x="966788" y="6667"/>
                  </a:lnTo>
                  <a:lnTo>
                    <a:pt x="971550" y="2857"/>
                  </a:lnTo>
                  <a:lnTo>
                    <a:pt x="974407" y="1905"/>
                  </a:lnTo>
                  <a:lnTo>
                    <a:pt x="977265" y="1905"/>
                  </a:lnTo>
                  <a:lnTo>
                    <a:pt x="992505" y="7620"/>
                  </a:lnTo>
                  <a:lnTo>
                    <a:pt x="994410" y="9525"/>
                  </a:lnTo>
                  <a:lnTo>
                    <a:pt x="995363" y="11430"/>
                  </a:lnTo>
                  <a:lnTo>
                    <a:pt x="995363" y="14288"/>
                  </a:lnTo>
                  <a:lnTo>
                    <a:pt x="994410" y="16192"/>
                  </a:lnTo>
                  <a:lnTo>
                    <a:pt x="990600" y="20002"/>
                  </a:lnTo>
                  <a:lnTo>
                    <a:pt x="988695" y="21907"/>
                  </a:lnTo>
                  <a:lnTo>
                    <a:pt x="987743" y="24765"/>
                  </a:lnTo>
                  <a:lnTo>
                    <a:pt x="988695" y="26670"/>
                  </a:lnTo>
                  <a:lnTo>
                    <a:pt x="990600" y="29527"/>
                  </a:lnTo>
                  <a:lnTo>
                    <a:pt x="993457" y="30480"/>
                  </a:lnTo>
                  <a:lnTo>
                    <a:pt x="1000125" y="31432"/>
                  </a:lnTo>
                  <a:lnTo>
                    <a:pt x="1002982" y="29527"/>
                  </a:lnTo>
                  <a:lnTo>
                    <a:pt x="1005840" y="28575"/>
                  </a:lnTo>
                  <a:lnTo>
                    <a:pt x="1008697" y="22860"/>
                  </a:lnTo>
                  <a:lnTo>
                    <a:pt x="1011555" y="12382"/>
                  </a:lnTo>
                  <a:lnTo>
                    <a:pt x="1013460" y="7620"/>
                  </a:lnTo>
                  <a:lnTo>
                    <a:pt x="1018222" y="2857"/>
                  </a:lnTo>
                  <a:lnTo>
                    <a:pt x="1021080" y="952"/>
                  </a:lnTo>
                  <a:lnTo>
                    <a:pt x="1024890" y="0"/>
                  </a:lnTo>
                  <a:lnTo>
                    <a:pt x="1027747" y="0"/>
                  </a:lnTo>
                  <a:lnTo>
                    <a:pt x="1033463" y="1905"/>
                  </a:lnTo>
                  <a:lnTo>
                    <a:pt x="1039177" y="4763"/>
                  </a:lnTo>
                  <a:lnTo>
                    <a:pt x="1055370" y="1524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2" name="Полилиния: фигура 22">
              <a:extLst>
                <a:ext uri="{FF2B5EF4-FFF2-40B4-BE49-F238E27FC236}">
                  <a16:creationId xmlns:a16="http://schemas.microsoft.com/office/drawing/2014/main" id="{BA408C03-D035-73D7-4B1A-ECEF2CDA2966}"/>
                </a:ext>
              </a:extLst>
            </p:cNvPr>
            <p:cNvSpPr/>
            <p:nvPr/>
          </p:nvSpPr>
          <p:spPr>
            <a:xfrm>
              <a:off x="8935402" y="2867978"/>
              <a:ext cx="1323975" cy="1857375"/>
            </a:xfrm>
            <a:custGeom>
              <a:avLst/>
              <a:gdLst>
                <a:gd name="connsiteX0" fmla="*/ 1321118 w 1323975"/>
                <a:gd name="connsiteY0" fmla="*/ 1095375 h 1857375"/>
                <a:gd name="connsiteX1" fmla="*/ 1237298 w 1323975"/>
                <a:gd name="connsiteY1" fmla="*/ 1092517 h 1857375"/>
                <a:gd name="connsiteX2" fmla="*/ 1212533 w 1323975"/>
                <a:gd name="connsiteY2" fmla="*/ 1102042 h 1857375"/>
                <a:gd name="connsiteX3" fmla="*/ 1194435 w 1323975"/>
                <a:gd name="connsiteY3" fmla="*/ 1124903 h 1857375"/>
                <a:gd name="connsiteX4" fmla="*/ 1181100 w 1323975"/>
                <a:gd name="connsiteY4" fmla="*/ 1155382 h 1857375"/>
                <a:gd name="connsiteX5" fmla="*/ 1171575 w 1323975"/>
                <a:gd name="connsiteY5" fmla="*/ 1191578 h 1857375"/>
                <a:gd name="connsiteX6" fmla="*/ 1167765 w 1323975"/>
                <a:gd name="connsiteY6" fmla="*/ 1223963 h 1857375"/>
                <a:gd name="connsiteX7" fmla="*/ 1162050 w 1323975"/>
                <a:gd name="connsiteY7" fmla="*/ 1236345 h 1857375"/>
                <a:gd name="connsiteX8" fmla="*/ 1150621 w 1323975"/>
                <a:gd name="connsiteY8" fmla="*/ 1237298 h 1857375"/>
                <a:gd name="connsiteX9" fmla="*/ 1132523 w 1323975"/>
                <a:gd name="connsiteY9" fmla="*/ 1230630 h 1857375"/>
                <a:gd name="connsiteX10" fmla="*/ 1123950 w 1323975"/>
                <a:gd name="connsiteY10" fmla="*/ 1231582 h 1857375"/>
                <a:gd name="connsiteX11" fmla="*/ 1114425 w 1323975"/>
                <a:gd name="connsiteY11" fmla="*/ 1239203 h 1857375"/>
                <a:gd name="connsiteX12" fmla="*/ 1094423 w 1323975"/>
                <a:gd name="connsiteY12" fmla="*/ 1262063 h 1857375"/>
                <a:gd name="connsiteX13" fmla="*/ 1084898 w 1323975"/>
                <a:gd name="connsiteY13" fmla="*/ 1270635 h 1857375"/>
                <a:gd name="connsiteX14" fmla="*/ 1071563 w 1323975"/>
                <a:gd name="connsiteY14" fmla="*/ 1276350 h 1857375"/>
                <a:gd name="connsiteX15" fmla="*/ 961073 w 1323975"/>
                <a:gd name="connsiteY15" fmla="*/ 1291590 h 1857375"/>
                <a:gd name="connsiteX16" fmla="*/ 942975 w 1323975"/>
                <a:gd name="connsiteY16" fmla="*/ 1303973 h 1857375"/>
                <a:gd name="connsiteX17" fmla="*/ 929640 w 1323975"/>
                <a:gd name="connsiteY17" fmla="*/ 1325880 h 1857375"/>
                <a:gd name="connsiteX18" fmla="*/ 919163 w 1323975"/>
                <a:gd name="connsiteY18" fmla="*/ 1353503 h 1857375"/>
                <a:gd name="connsiteX19" fmla="*/ 912495 w 1323975"/>
                <a:gd name="connsiteY19" fmla="*/ 1381125 h 1857375"/>
                <a:gd name="connsiteX20" fmla="*/ 913448 w 1323975"/>
                <a:gd name="connsiteY20" fmla="*/ 1436370 h 1857375"/>
                <a:gd name="connsiteX21" fmla="*/ 910590 w 1323975"/>
                <a:gd name="connsiteY21" fmla="*/ 1458278 h 1857375"/>
                <a:gd name="connsiteX22" fmla="*/ 898208 w 1323975"/>
                <a:gd name="connsiteY22" fmla="*/ 1482090 h 1857375"/>
                <a:gd name="connsiteX23" fmla="*/ 882015 w 1323975"/>
                <a:gd name="connsiteY23" fmla="*/ 1503998 h 1857375"/>
                <a:gd name="connsiteX24" fmla="*/ 875348 w 1323975"/>
                <a:gd name="connsiteY24" fmla="*/ 1518285 h 1857375"/>
                <a:gd name="connsiteX25" fmla="*/ 874395 w 1323975"/>
                <a:gd name="connsiteY25" fmla="*/ 1530667 h 1857375"/>
                <a:gd name="connsiteX26" fmla="*/ 881063 w 1323975"/>
                <a:gd name="connsiteY26" fmla="*/ 1538288 h 1857375"/>
                <a:gd name="connsiteX27" fmla="*/ 890588 w 1323975"/>
                <a:gd name="connsiteY27" fmla="*/ 1540192 h 1857375"/>
                <a:gd name="connsiteX28" fmla="*/ 910590 w 1323975"/>
                <a:gd name="connsiteY28" fmla="*/ 1536382 h 1857375"/>
                <a:gd name="connsiteX29" fmla="*/ 920115 w 1323975"/>
                <a:gd name="connsiteY29" fmla="*/ 1537335 h 1857375"/>
                <a:gd name="connsiteX30" fmla="*/ 928688 w 1323975"/>
                <a:gd name="connsiteY30" fmla="*/ 1541145 h 1857375"/>
                <a:gd name="connsiteX31" fmla="*/ 933450 w 1323975"/>
                <a:gd name="connsiteY31" fmla="*/ 1549717 h 1857375"/>
                <a:gd name="connsiteX32" fmla="*/ 931545 w 1323975"/>
                <a:gd name="connsiteY32" fmla="*/ 1564957 h 1857375"/>
                <a:gd name="connsiteX33" fmla="*/ 924878 w 1323975"/>
                <a:gd name="connsiteY33" fmla="*/ 1576388 h 1857375"/>
                <a:gd name="connsiteX34" fmla="*/ 914400 w 1323975"/>
                <a:gd name="connsiteY34" fmla="*/ 1584007 h 1857375"/>
                <a:gd name="connsiteX35" fmla="*/ 902018 w 1323975"/>
                <a:gd name="connsiteY35" fmla="*/ 1589723 h 1857375"/>
                <a:gd name="connsiteX36" fmla="*/ 892493 w 1323975"/>
                <a:gd name="connsiteY36" fmla="*/ 1597342 h 1857375"/>
                <a:gd name="connsiteX37" fmla="*/ 882015 w 1323975"/>
                <a:gd name="connsiteY37" fmla="*/ 1614488 h 1857375"/>
                <a:gd name="connsiteX38" fmla="*/ 878205 w 1323975"/>
                <a:gd name="connsiteY38" fmla="*/ 1638300 h 1857375"/>
                <a:gd name="connsiteX39" fmla="*/ 881063 w 1323975"/>
                <a:gd name="connsiteY39" fmla="*/ 1662113 h 1857375"/>
                <a:gd name="connsiteX40" fmla="*/ 888683 w 1323975"/>
                <a:gd name="connsiteY40" fmla="*/ 1684020 h 1857375"/>
                <a:gd name="connsiteX41" fmla="*/ 878205 w 1323975"/>
                <a:gd name="connsiteY41" fmla="*/ 1694498 h 1857375"/>
                <a:gd name="connsiteX42" fmla="*/ 849630 w 1323975"/>
                <a:gd name="connsiteY42" fmla="*/ 1734503 h 1857375"/>
                <a:gd name="connsiteX43" fmla="*/ 831533 w 1323975"/>
                <a:gd name="connsiteY43" fmla="*/ 1743075 h 1857375"/>
                <a:gd name="connsiteX44" fmla="*/ 843915 w 1323975"/>
                <a:gd name="connsiteY44" fmla="*/ 1718310 h 1857375"/>
                <a:gd name="connsiteX45" fmla="*/ 842963 w 1323975"/>
                <a:gd name="connsiteY45" fmla="*/ 1705928 h 1857375"/>
                <a:gd name="connsiteX46" fmla="*/ 829628 w 1323975"/>
                <a:gd name="connsiteY46" fmla="*/ 1700213 h 1857375"/>
                <a:gd name="connsiteX47" fmla="*/ 812483 w 1323975"/>
                <a:gd name="connsiteY47" fmla="*/ 1686878 h 1857375"/>
                <a:gd name="connsiteX48" fmla="*/ 809625 w 1323975"/>
                <a:gd name="connsiteY48" fmla="*/ 1687830 h 1857375"/>
                <a:gd name="connsiteX49" fmla="*/ 806768 w 1323975"/>
                <a:gd name="connsiteY49" fmla="*/ 1690688 h 1857375"/>
                <a:gd name="connsiteX50" fmla="*/ 793433 w 1323975"/>
                <a:gd name="connsiteY50" fmla="*/ 1698307 h 1857375"/>
                <a:gd name="connsiteX51" fmla="*/ 788670 w 1323975"/>
                <a:gd name="connsiteY51" fmla="*/ 1700213 h 1857375"/>
                <a:gd name="connsiteX52" fmla="*/ 768668 w 1323975"/>
                <a:gd name="connsiteY52" fmla="*/ 1692592 h 1857375"/>
                <a:gd name="connsiteX53" fmla="*/ 754380 w 1323975"/>
                <a:gd name="connsiteY53" fmla="*/ 1689735 h 1857375"/>
                <a:gd name="connsiteX54" fmla="*/ 748665 w 1323975"/>
                <a:gd name="connsiteY54" fmla="*/ 1693545 h 1857375"/>
                <a:gd name="connsiteX55" fmla="*/ 701993 w 1323975"/>
                <a:gd name="connsiteY55" fmla="*/ 1684973 h 1857375"/>
                <a:gd name="connsiteX56" fmla="*/ 644843 w 1323975"/>
                <a:gd name="connsiteY56" fmla="*/ 1705928 h 1857375"/>
                <a:gd name="connsiteX57" fmla="*/ 621983 w 1323975"/>
                <a:gd name="connsiteY57" fmla="*/ 1705928 h 1857375"/>
                <a:gd name="connsiteX58" fmla="*/ 553403 w 1323975"/>
                <a:gd name="connsiteY58" fmla="*/ 1693545 h 1857375"/>
                <a:gd name="connsiteX59" fmla="*/ 535305 w 1323975"/>
                <a:gd name="connsiteY59" fmla="*/ 1700213 h 1857375"/>
                <a:gd name="connsiteX60" fmla="*/ 501968 w 1323975"/>
                <a:gd name="connsiteY60" fmla="*/ 1736407 h 1857375"/>
                <a:gd name="connsiteX61" fmla="*/ 446723 w 1323975"/>
                <a:gd name="connsiteY61" fmla="*/ 1814513 h 1857375"/>
                <a:gd name="connsiteX62" fmla="*/ 433388 w 1323975"/>
                <a:gd name="connsiteY62" fmla="*/ 1842135 h 1857375"/>
                <a:gd name="connsiteX63" fmla="*/ 423863 w 1323975"/>
                <a:gd name="connsiteY63" fmla="*/ 1854517 h 1857375"/>
                <a:gd name="connsiteX64" fmla="*/ 412433 w 1323975"/>
                <a:gd name="connsiteY64" fmla="*/ 1860232 h 1857375"/>
                <a:gd name="connsiteX65" fmla="*/ 415290 w 1323975"/>
                <a:gd name="connsiteY65" fmla="*/ 1840230 h 1857375"/>
                <a:gd name="connsiteX66" fmla="*/ 402908 w 1323975"/>
                <a:gd name="connsiteY66" fmla="*/ 1824990 h 1857375"/>
                <a:gd name="connsiteX67" fmla="*/ 384810 w 1323975"/>
                <a:gd name="connsiteY67" fmla="*/ 1815465 h 1857375"/>
                <a:gd name="connsiteX68" fmla="*/ 367665 w 1323975"/>
                <a:gd name="connsiteY68" fmla="*/ 1812607 h 1857375"/>
                <a:gd name="connsiteX69" fmla="*/ 357188 w 1323975"/>
                <a:gd name="connsiteY69" fmla="*/ 1815465 h 1857375"/>
                <a:gd name="connsiteX70" fmla="*/ 333375 w 1323975"/>
                <a:gd name="connsiteY70" fmla="*/ 1834515 h 1857375"/>
                <a:gd name="connsiteX71" fmla="*/ 272415 w 1323975"/>
                <a:gd name="connsiteY71" fmla="*/ 1858328 h 1857375"/>
                <a:gd name="connsiteX72" fmla="*/ 267653 w 1323975"/>
                <a:gd name="connsiteY72" fmla="*/ 1859280 h 1857375"/>
                <a:gd name="connsiteX73" fmla="*/ 252413 w 1323975"/>
                <a:gd name="connsiteY73" fmla="*/ 1829753 h 1857375"/>
                <a:gd name="connsiteX74" fmla="*/ 251460 w 1323975"/>
                <a:gd name="connsiteY74" fmla="*/ 1824038 h 1857375"/>
                <a:gd name="connsiteX75" fmla="*/ 252413 w 1323975"/>
                <a:gd name="connsiteY75" fmla="*/ 1820228 h 1857375"/>
                <a:gd name="connsiteX76" fmla="*/ 255270 w 1323975"/>
                <a:gd name="connsiteY76" fmla="*/ 1815465 h 1857375"/>
                <a:gd name="connsiteX77" fmla="*/ 257175 w 1323975"/>
                <a:gd name="connsiteY77" fmla="*/ 1813560 h 1857375"/>
                <a:gd name="connsiteX78" fmla="*/ 272415 w 1323975"/>
                <a:gd name="connsiteY78" fmla="*/ 1799273 h 1857375"/>
                <a:gd name="connsiteX79" fmla="*/ 274320 w 1323975"/>
                <a:gd name="connsiteY79" fmla="*/ 1797367 h 1857375"/>
                <a:gd name="connsiteX80" fmla="*/ 280035 w 1323975"/>
                <a:gd name="connsiteY80" fmla="*/ 1793557 h 1857375"/>
                <a:gd name="connsiteX81" fmla="*/ 282893 w 1323975"/>
                <a:gd name="connsiteY81" fmla="*/ 1793557 h 1857375"/>
                <a:gd name="connsiteX82" fmla="*/ 290513 w 1323975"/>
                <a:gd name="connsiteY82" fmla="*/ 1797367 h 1857375"/>
                <a:gd name="connsiteX83" fmla="*/ 293370 w 1323975"/>
                <a:gd name="connsiteY83" fmla="*/ 1798320 h 1857375"/>
                <a:gd name="connsiteX84" fmla="*/ 295275 w 1323975"/>
                <a:gd name="connsiteY84" fmla="*/ 1798320 h 1857375"/>
                <a:gd name="connsiteX85" fmla="*/ 300038 w 1323975"/>
                <a:gd name="connsiteY85" fmla="*/ 1796415 h 1857375"/>
                <a:gd name="connsiteX86" fmla="*/ 307658 w 1323975"/>
                <a:gd name="connsiteY86" fmla="*/ 1790700 h 1857375"/>
                <a:gd name="connsiteX87" fmla="*/ 308610 w 1323975"/>
                <a:gd name="connsiteY87" fmla="*/ 1786890 h 1857375"/>
                <a:gd name="connsiteX88" fmla="*/ 307658 w 1323975"/>
                <a:gd name="connsiteY88" fmla="*/ 1782128 h 1857375"/>
                <a:gd name="connsiteX89" fmla="*/ 297180 w 1323975"/>
                <a:gd name="connsiteY89" fmla="*/ 1764030 h 1857375"/>
                <a:gd name="connsiteX90" fmla="*/ 299085 w 1323975"/>
                <a:gd name="connsiteY90" fmla="*/ 1759267 h 1857375"/>
                <a:gd name="connsiteX91" fmla="*/ 302895 w 1323975"/>
                <a:gd name="connsiteY91" fmla="*/ 1755457 h 1857375"/>
                <a:gd name="connsiteX92" fmla="*/ 308610 w 1323975"/>
                <a:gd name="connsiteY92" fmla="*/ 1749742 h 1857375"/>
                <a:gd name="connsiteX93" fmla="*/ 310515 w 1323975"/>
                <a:gd name="connsiteY93" fmla="*/ 1747838 h 1857375"/>
                <a:gd name="connsiteX94" fmla="*/ 311468 w 1323975"/>
                <a:gd name="connsiteY94" fmla="*/ 1744980 h 1857375"/>
                <a:gd name="connsiteX95" fmla="*/ 309563 w 1323975"/>
                <a:gd name="connsiteY95" fmla="*/ 1742123 h 1857375"/>
                <a:gd name="connsiteX96" fmla="*/ 305753 w 1323975"/>
                <a:gd name="connsiteY96" fmla="*/ 1737360 h 1857375"/>
                <a:gd name="connsiteX97" fmla="*/ 303848 w 1323975"/>
                <a:gd name="connsiteY97" fmla="*/ 1735455 h 1857375"/>
                <a:gd name="connsiteX98" fmla="*/ 295275 w 1323975"/>
                <a:gd name="connsiteY98" fmla="*/ 1729740 h 1857375"/>
                <a:gd name="connsiteX99" fmla="*/ 286703 w 1323975"/>
                <a:gd name="connsiteY99" fmla="*/ 1720215 h 1857375"/>
                <a:gd name="connsiteX100" fmla="*/ 282893 w 1323975"/>
                <a:gd name="connsiteY100" fmla="*/ 1719263 h 1857375"/>
                <a:gd name="connsiteX101" fmla="*/ 279083 w 1323975"/>
                <a:gd name="connsiteY101" fmla="*/ 1722120 h 1857375"/>
                <a:gd name="connsiteX102" fmla="*/ 275273 w 1323975"/>
                <a:gd name="connsiteY102" fmla="*/ 1728788 h 1857375"/>
                <a:gd name="connsiteX103" fmla="*/ 273368 w 1323975"/>
                <a:gd name="connsiteY103" fmla="*/ 1728788 h 1857375"/>
                <a:gd name="connsiteX104" fmla="*/ 271463 w 1323975"/>
                <a:gd name="connsiteY104" fmla="*/ 1727835 h 1857375"/>
                <a:gd name="connsiteX105" fmla="*/ 253365 w 1323975"/>
                <a:gd name="connsiteY105" fmla="*/ 1712595 h 1857375"/>
                <a:gd name="connsiteX106" fmla="*/ 250508 w 1323975"/>
                <a:gd name="connsiteY106" fmla="*/ 1709738 h 1857375"/>
                <a:gd name="connsiteX107" fmla="*/ 248603 w 1323975"/>
                <a:gd name="connsiteY107" fmla="*/ 1704975 h 1857375"/>
                <a:gd name="connsiteX108" fmla="*/ 242888 w 1323975"/>
                <a:gd name="connsiteY108" fmla="*/ 1681163 h 1857375"/>
                <a:gd name="connsiteX109" fmla="*/ 238125 w 1323975"/>
                <a:gd name="connsiteY109" fmla="*/ 1672590 h 1857375"/>
                <a:gd name="connsiteX110" fmla="*/ 230505 w 1323975"/>
                <a:gd name="connsiteY110" fmla="*/ 1659255 h 1857375"/>
                <a:gd name="connsiteX111" fmla="*/ 227648 w 1323975"/>
                <a:gd name="connsiteY111" fmla="*/ 1655445 h 1857375"/>
                <a:gd name="connsiteX112" fmla="*/ 225743 w 1323975"/>
                <a:gd name="connsiteY112" fmla="*/ 1653540 h 1857375"/>
                <a:gd name="connsiteX113" fmla="*/ 216218 w 1323975"/>
                <a:gd name="connsiteY113" fmla="*/ 1647825 h 1857375"/>
                <a:gd name="connsiteX114" fmla="*/ 193358 w 1323975"/>
                <a:gd name="connsiteY114" fmla="*/ 1638300 h 1857375"/>
                <a:gd name="connsiteX115" fmla="*/ 188595 w 1323975"/>
                <a:gd name="connsiteY115" fmla="*/ 1635442 h 1857375"/>
                <a:gd name="connsiteX116" fmla="*/ 176213 w 1323975"/>
                <a:gd name="connsiteY116" fmla="*/ 1622107 h 1857375"/>
                <a:gd name="connsiteX117" fmla="*/ 173355 w 1323975"/>
                <a:gd name="connsiteY117" fmla="*/ 1618298 h 1857375"/>
                <a:gd name="connsiteX118" fmla="*/ 171450 w 1323975"/>
                <a:gd name="connsiteY118" fmla="*/ 1613535 h 1857375"/>
                <a:gd name="connsiteX119" fmla="*/ 173355 w 1323975"/>
                <a:gd name="connsiteY119" fmla="*/ 1610678 h 1857375"/>
                <a:gd name="connsiteX120" fmla="*/ 176213 w 1323975"/>
                <a:gd name="connsiteY120" fmla="*/ 1609725 h 1857375"/>
                <a:gd name="connsiteX121" fmla="*/ 179070 w 1323975"/>
                <a:gd name="connsiteY121" fmla="*/ 1608773 h 1857375"/>
                <a:gd name="connsiteX122" fmla="*/ 206693 w 1323975"/>
                <a:gd name="connsiteY122" fmla="*/ 1606867 h 1857375"/>
                <a:gd name="connsiteX123" fmla="*/ 211455 w 1323975"/>
                <a:gd name="connsiteY123" fmla="*/ 1604963 h 1857375"/>
                <a:gd name="connsiteX124" fmla="*/ 215265 w 1323975"/>
                <a:gd name="connsiteY124" fmla="*/ 1602105 h 1857375"/>
                <a:gd name="connsiteX125" fmla="*/ 216218 w 1323975"/>
                <a:gd name="connsiteY125" fmla="*/ 1596390 h 1857375"/>
                <a:gd name="connsiteX126" fmla="*/ 214313 w 1323975"/>
                <a:gd name="connsiteY126" fmla="*/ 1576388 h 1857375"/>
                <a:gd name="connsiteX127" fmla="*/ 213360 w 1323975"/>
                <a:gd name="connsiteY127" fmla="*/ 1571625 h 1857375"/>
                <a:gd name="connsiteX128" fmla="*/ 212408 w 1323975"/>
                <a:gd name="connsiteY128" fmla="*/ 1566863 h 1857375"/>
                <a:gd name="connsiteX129" fmla="*/ 204788 w 1323975"/>
                <a:gd name="connsiteY129" fmla="*/ 1550670 h 1857375"/>
                <a:gd name="connsiteX130" fmla="*/ 201930 w 1323975"/>
                <a:gd name="connsiteY130" fmla="*/ 1544003 h 1857375"/>
                <a:gd name="connsiteX131" fmla="*/ 201930 w 1323975"/>
                <a:gd name="connsiteY131" fmla="*/ 1535430 h 1857375"/>
                <a:gd name="connsiteX132" fmla="*/ 202883 w 1323975"/>
                <a:gd name="connsiteY132" fmla="*/ 1532573 h 1857375"/>
                <a:gd name="connsiteX133" fmla="*/ 204788 w 1323975"/>
                <a:gd name="connsiteY133" fmla="*/ 1529715 h 1857375"/>
                <a:gd name="connsiteX134" fmla="*/ 209550 w 1323975"/>
                <a:gd name="connsiteY134" fmla="*/ 1527810 h 1857375"/>
                <a:gd name="connsiteX135" fmla="*/ 214313 w 1323975"/>
                <a:gd name="connsiteY135" fmla="*/ 1526857 h 1857375"/>
                <a:gd name="connsiteX136" fmla="*/ 219075 w 1323975"/>
                <a:gd name="connsiteY136" fmla="*/ 1531620 h 1857375"/>
                <a:gd name="connsiteX137" fmla="*/ 221933 w 1323975"/>
                <a:gd name="connsiteY137" fmla="*/ 1531620 h 1857375"/>
                <a:gd name="connsiteX138" fmla="*/ 227648 w 1323975"/>
                <a:gd name="connsiteY138" fmla="*/ 1532573 h 1857375"/>
                <a:gd name="connsiteX139" fmla="*/ 229553 w 1323975"/>
                <a:gd name="connsiteY139" fmla="*/ 1532573 h 1857375"/>
                <a:gd name="connsiteX140" fmla="*/ 235268 w 1323975"/>
                <a:gd name="connsiteY140" fmla="*/ 1538288 h 1857375"/>
                <a:gd name="connsiteX141" fmla="*/ 241935 w 1323975"/>
                <a:gd name="connsiteY141" fmla="*/ 1540192 h 1857375"/>
                <a:gd name="connsiteX142" fmla="*/ 251460 w 1323975"/>
                <a:gd name="connsiteY142" fmla="*/ 1541145 h 1857375"/>
                <a:gd name="connsiteX143" fmla="*/ 262890 w 1323975"/>
                <a:gd name="connsiteY143" fmla="*/ 1541145 h 1857375"/>
                <a:gd name="connsiteX144" fmla="*/ 281940 w 1323975"/>
                <a:gd name="connsiteY144" fmla="*/ 1534478 h 1857375"/>
                <a:gd name="connsiteX145" fmla="*/ 283845 w 1323975"/>
                <a:gd name="connsiteY145" fmla="*/ 1532573 h 1857375"/>
                <a:gd name="connsiteX146" fmla="*/ 285750 w 1323975"/>
                <a:gd name="connsiteY146" fmla="*/ 1530667 h 1857375"/>
                <a:gd name="connsiteX147" fmla="*/ 286703 w 1323975"/>
                <a:gd name="connsiteY147" fmla="*/ 1527810 h 1857375"/>
                <a:gd name="connsiteX148" fmla="*/ 286703 w 1323975"/>
                <a:gd name="connsiteY148" fmla="*/ 1524953 h 1857375"/>
                <a:gd name="connsiteX149" fmla="*/ 286703 w 1323975"/>
                <a:gd name="connsiteY149" fmla="*/ 1516380 h 1857375"/>
                <a:gd name="connsiteX150" fmla="*/ 286703 w 1323975"/>
                <a:gd name="connsiteY150" fmla="*/ 1513523 h 1857375"/>
                <a:gd name="connsiteX151" fmla="*/ 288608 w 1323975"/>
                <a:gd name="connsiteY151" fmla="*/ 1507807 h 1857375"/>
                <a:gd name="connsiteX152" fmla="*/ 293370 w 1323975"/>
                <a:gd name="connsiteY152" fmla="*/ 1500188 h 1857375"/>
                <a:gd name="connsiteX153" fmla="*/ 296228 w 1323975"/>
                <a:gd name="connsiteY153" fmla="*/ 1494473 h 1857375"/>
                <a:gd name="connsiteX154" fmla="*/ 298133 w 1323975"/>
                <a:gd name="connsiteY154" fmla="*/ 1487805 h 1857375"/>
                <a:gd name="connsiteX155" fmla="*/ 300038 w 1323975"/>
                <a:gd name="connsiteY155" fmla="*/ 1482090 h 1857375"/>
                <a:gd name="connsiteX156" fmla="*/ 303848 w 1323975"/>
                <a:gd name="connsiteY156" fmla="*/ 1478280 h 1857375"/>
                <a:gd name="connsiteX157" fmla="*/ 307658 w 1323975"/>
                <a:gd name="connsiteY157" fmla="*/ 1475423 h 1857375"/>
                <a:gd name="connsiteX158" fmla="*/ 309563 w 1323975"/>
                <a:gd name="connsiteY158" fmla="*/ 1474470 h 1857375"/>
                <a:gd name="connsiteX159" fmla="*/ 314325 w 1323975"/>
                <a:gd name="connsiteY159" fmla="*/ 1474470 h 1857375"/>
                <a:gd name="connsiteX160" fmla="*/ 319088 w 1323975"/>
                <a:gd name="connsiteY160" fmla="*/ 1476375 h 1857375"/>
                <a:gd name="connsiteX161" fmla="*/ 320993 w 1323975"/>
                <a:gd name="connsiteY161" fmla="*/ 1477328 h 1857375"/>
                <a:gd name="connsiteX162" fmla="*/ 326708 w 1323975"/>
                <a:gd name="connsiteY162" fmla="*/ 1483042 h 1857375"/>
                <a:gd name="connsiteX163" fmla="*/ 330518 w 1323975"/>
                <a:gd name="connsiteY163" fmla="*/ 1489710 h 1857375"/>
                <a:gd name="connsiteX164" fmla="*/ 332423 w 1323975"/>
                <a:gd name="connsiteY164" fmla="*/ 1494473 h 1857375"/>
                <a:gd name="connsiteX165" fmla="*/ 333375 w 1323975"/>
                <a:gd name="connsiteY165" fmla="*/ 1495425 h 1857375"/>
                <a:gd name="connsiteX166" fmla="*/ 338138 w 1323975"/>
                <a:gd name="connsiteY166" fmla="*/ 1494473 h 1857375"/>
                <a:gd name="connsiteX167" fmla="*/ 341948 w 1323975"/>
                <a:gd name="connsiteY167" fmla="*/ 1491615 h 1857375"/>
                <a:gd name="connsiteX168" fmla="*/ 344805 w 1323975"/>
                <a:gd name="connsiteY168" fmla="*/ 1487805 h 1857375"/>
                <a:gd name="connsiteX169" fmla="*/ 345758 w 1323975"/>
                <a:gd name="connsiteY169" fmla="*/ 1484948 h 1857375"/>
                <a:gd name="connsiteX170" fmla="*/ 343853 w 1323975"/>
                <a:gd name="connsiteY170" fmla="*/ 1478280 h 1857375"/>
                <a:gd name="connsiteX171" fmla="*/ 343853 w 1323975"/>
                <a:gd name="connsiteY171" fmla="*/ 1471613 h 1857375"/>
                <a:gd name="connsiteX172" fmla="*/ 343853 w 1323975"/>
                <a:gd name="connsiteY172" fmla="*/ 1465898 h 1857375"/>
                <a:gd name="connsiteX173" fmla="*/ 344805 w 1323975"/>
                <a:gd name="connsiteY173" fmla="*/ 1463040 h 1857375"/>
                <a:gd name="connsiteX174" fmla="*/ 346710 w 1323975"/>
                <a:gd name="connsiteY174" fmla="*/ 1456373 h 1857375"/>
                <a:gd name="connsiteX175" fmla="*/ 352425 w 1323975"/>
                <a:gd name="connsiteY175" fmla="*/ 1445895 h 1857375"/>
                <a:gd name="connsiteX176" fmla="*/ 352425 w 1323975"/>
                <a:gd name="connsiteY176" fmla="*/ 1443038 h 1857375"/>
                <a:gd name="connsiteX177" fmla="*/ 352425 w 1323975"/>
                <a:gd name="connsiteY177" fmla="*/ 1436370 h 1857375"/>
                <a:gd name="connsiteX178" fmla="*/ 354330 w 1323975"/>
                <a:gd name="connsiteY178" fmla="*/ 1430655 h 1857375"/>
                <a:gd name="connsiteX179" fmla="*/ 361950 w 1323975"/>
                <a:gd name="connsiteY179" fmla="*/ 1415415 h 1857375"/>
                <a:gd name="connsiteX180" fmla="*/ 363855 w 1323975"/>
                <a:gd name="connsiteY180" fmla="*/ 1412557 h 1857375"/>
                <a:gd name="connsiteX181" fmla="*/ 363855 w 1323975"/>
                <a:gd name="connsiteY181" fmla="*/ 1409700 h 1857375"/>
                <a:gd name="connsiteX182" fmla="*/ 362903 w 1323975"/>
                <a:gd name="connsiteY182" fmla="*/ 1407795 h 1857375"/>
                <a:gd name="connsiteX183" fmla="*/ 359093 w 1323975"/>
                <a:gd name="connsiteY183" fmla="*/ 1406842 h 1857375"/>
                <a:gd name="connsiteX184" fmla="*/ 349568 w 1323975"/>
                <a:gd name="connsiteY184" fmla="*/ 1406842 h 1857375"/>
                <a:gd name="connsiteX185" fmla="*/ 327660 w 1323975"/>
                <a:gd name="connsiteY185" fmla="*/ 1403032 h 1857375"/>
                <a:gd name="connsiteX186" fmla="*/ 324803 w 1323975"/>
                <a:gd name="connsiteY186" fmla="*/ 1403985 h 1857375"/>
                <a:gd name="connsiteX187" fmla="*/ 322898 w 1323975"/>
                <a:gd name="connsiteY187" fmla="*/ 1405890 h 1857375"/>
                <a:gd name="connsiteX188" fmla="*/ 321945 w 1323975"/>
                <a:gd name="connsiteY188" fmla="*/ 1410653 h 1857375"/>
                <a:gd name="connsiteX189" fmla="*/ 318135 w 1323975"/>
                <a:gd name="connsiteY189" fmla="*/ 1413510 h 1857375"/>
                <a:gd name="connsiteX190" fmla="*/ 315278 w 1323975"/>
                <a:gd name="connsiteY190" fmla="*/ 1413510 h 1857375"/>
                <a:gd name="connsiteX191" fmla="*/ 312420 w 1323975"/>
                <a:gd name="connsiteY191" fmla="*/ 1410653 h 1857375"/>
                <a:gd name="connsiteX192" fmla="*/ 301943 w 1323975"/>
                <a:gd name="connsiteY192" fmla="*/ 1394460 h 1857375"/>
                <a:gd name="connsiteX193" fmla="*/ 300038 w 1323975"/>
                <a:gd name="connsiteY193" fmla="*/ 1392555 h 1857375"/>
                <a:gd name="connsiteX194" fmla="*/ 259080 w 1323975"/>
                <a:gd name="connsiteY194" fmla="*/ 1356360 h 1857375"/>
                <a:gd name="connsiteX195" fmla="*/ 244793 w 1323975"/>
                <a:gd name="connsiteY195" fmla="*/ 1338263 h 1857375"/>
                <a:gd name="connsiteX196" fmla="*/ 240983 w 1323975"/>
                <a:gd name="connsiteY196" fmla="*/ 1334453 h 1857375"/>
                <a:gd name="connsiteX197" fmla="*/ 218123 w 1323975"/>
                <a:gd name="connsiteY197" fmla="*/ 1320165 h 1857375"/>
                <a:gd name="connsiteX198" fmla="*/ 214313 w 1323975"/>
                <a:gd name="connsiteY198" fmla="*/ 1319213 h 1857375"/>
                <a:gd name="connsiteX199" fmla="*/ 210503 w 1323975"/>
                <a:gd name="connsiteY199" fmla="*/ 1319213 h 1857375"/>
                <a:gd name="connsiteX200" fmla="*/ 197168 w 1323975"/>
                <a:gd name="connsiteY200" fmla="*/ 1330642 h 1857375"/>
                <a:gd name="connsiteX201" fmla="*/ 193358 w 1323975"/>
                <a:gd name="connsiteY201" fmla="*/ 1333500 h 1857375"/>
                <a:gd name="connsiteX202" fmla="*/ 191453 w 1323975"/>
                <a:gd name="connsiteY202" fmla="*/ 1335405 h 1857375"/>
                <a:gd name="connsiteX203" fmla="*/ 184785 w 1323975"/>
                <a:gd name="connsiteY203" fmla="*/ 1331595 h 1857375"/>
                <a:gd name="connsiteX204" fmla="*/ 176213 w 1323975"/>
                <a:gd name="connsiteY204" fmla="*/ 1323023 h 1857375"/>
                <a:gd name="connsiteX205" fmla="*/ 155258 w 1323975"/>
                <a:gd name="connsiteY205" fmla="*/ 1300163 h 1857375"/>
                <a:gd name="connsiteX206" fmla="*/ 146685 w 1323975"/>
                <a:gd name="connsiteY206" fmla="*/ 1292542 h 1857375"/>
                <a:gd name="connsiteX207" fmla="*/ 140970 w 1323975"/>
                <a:gd name="connsiteY207" fmla="*/ 1288732 h 1857375"/>
                <a:gd name="connsiteX208" fmla="*/ 124778 w 1323975"/>
                <a:gd name="connsiteY208" fmla="*/ 1295400 h 1857375"/>
                <a:gd name="connsiteX209" fmla="*/ 119063 w 1323975"/>
                <a:gd name="connsiteY209" fmla="*/ 1296353 h 1857375"/>
                <a:gd name="connsiteX210" fmla="*/ 117158 w 1323975"/>
                <a:gd name="connsiteY210" fmla="*/ 1295400 h 1857375"/>
                <a:gd name="connsiteX211" fmla="*/ 115253 w 1323975"/>
                <a:gd name="connsiteY211" fmla="*/ 1292542 h 1857375"/>
                <a:gd name="connsiteX212" fmla="*/ 114300 w 1323975"/>
                <a:gd name="connsiteY212" fmla="*/ 1287780 h 1857375"/>
                <a:gd name="connsiteX213" fmla="*/ 115253 w 1323975"/>
                <a:gd name="connsiteY213" fmla="*/ 1283017 h 1857375"/>
                <a:gd name="connsiteX214" fmla="*/ 117158 w 1323975"/>
                <a:gd name="connsiteY214" fmla="*/ 1273492 h 1857375"/>
                <a:gd name="connsiteX215" fmla="*/ 117158 w 1323975"/>
                <a:gd name="connsiteY215" fmla="*/ 1270635 h 1857375"/>
                <a:gd name="connsiteX216" fmla="*/ 115253 w 1323975"/>
                <a:gd name="connsiteY216" fmla="*/ 1268730 h 1857375"/>
                <a:gd name="connsiteX217" fmla="*/ 105728 w 1323975"/>
                <a:gd name="connsiteY217" fmla="*/ 1266825 h 1857375"/>
                <a:gd name="connsiteX218" fmla="*/ 103823 w 1323975"/>
                <a:gd name="connsiteY218" fmla="*/ 1264920 h 1857375"/>
                <a:gd name="connsiteX219" fmla="*/ 101918 w 1323975"/>
                <a:gd name="connsiteY219" fmla="*/ 1262063 h 1857375"/>
                <a:gd name="connsiteX220" fmla="*/ 100013 w 1323975"/>
                <a:gd name="connsiteY220" fmla="*/ 1258253 h 1857375"/>
                <a:gd name="connsiteX221" fmla="*/ 100013 w 1323975"/>
                <a:gd name="connsiteY221" fmla="*/ 1251585 h 1857375"/>
                <a:gd name="connsiteX222" fmla="*/ 100965 w 1323975"/>
                <a:gd name="connsiteY222" fmla="*/ 1248728 h 1857375"/>
                <a:gd name="connsiteX223" fmla="*/ 103823 w 1323975"/>
                <a:gd name="connsiteY223" fmla="*/ 1247775 h 1857375"/>
                <a:gd name="connsiteX224" fmla="*/ 108585 w 1323975"/>
                <a:gd name="connsiteY224" fmla="*/ 1245870 h 1857375"/>
                <a:gd name="connsiteX225" fmla="*/ 113348 w 1323975"/>
                <a:gd name="connsiteY225" fmla="*/ 1243965 h 1857375"/>
                <a:gd name="connsiteX226" fmla="*/ 115253 w 1323975"/>
                <a:gd name="connsiteY226" fmla="*/ 1242060 h 1857375"/>
                <a:gd name="connsiteX227" fmla="*/ 115253 w 1323975"/>
                <a:gd name="connsiteY227" fmla="*/ 1240155 h 1857375"/>
                <a:gd name="connsiteX228" fmla="*/ 114300 w 1323975"/>
                <a:gd name="connsiteY228" fmla="*/ 1238250 h 1857375"/>
                <a:gd name="connsiteX229" fmla="*/ 110490 w 1323975"/>
                <a:gd name="connsiteY229" fmla="*/ 1236345 h 1857375"/>
                <a:gd name="connsiteX230" fmla="*/ 97155 w 1323975"/>
                <a:gd name="connsiteY230" fmla="*/ 1233488 h 1857375"/>
                <a:gd name="connsiteX231" fmla="*/ 94298 w 1323975"/>
                <a:gd name="connsiteY231" fmla="*/ 1230630 h 1857375"/>
                <a:gd name="connsiteX232" fmla="*/ 90488 w 1323975"/>
                <a:gd name="connsiteY232" fmla="*/ 1225867 h 1857375"/>
                <a:gd name="connsiteX233" fmla="*/ 83820 w 1323975"/>
                <a:gd name="connsiteY233" fmla="*/ 1205865 h 1857375"/>
                <a:gd name="connsiteX234" fmla="*/ 68580 w 1323975"/>
                <a:gd name="connsiteY234" fmla="*/ 1173480 h 1857375"/>
                <a:gd name="connsiteX235" fmla="*/ 67628 w 1323975"/>
                <a:gd name="connsiteY235" fmla="*/ 1168717 h 1857375"/>
                <a:gd name="connsiteX236" fmla="*/ 66675 w 1323975"/>
                <a:gd name="connsiteY236" fmla="*/ 1157288 h 1857375"/>
                <a:gd name="connsiteX237" fmla="*/ 65723 w 1323975"/>
                <a:gd name="connsiteY237" fmla="*/ 1151573 h 1857375"/>
                <a:gd name="connsiteX238" fmla="*/ 64770 w 1323975"/>
                <a:gd name="connsiteY238" fmla="*/ 1149667 h 1857375"/>
                <a:gd name="connsiteX239" fmla="*/ 62865 w 1323975"/>
                <a:gd name="connsiteY239" fmla="*/ 1148715 h 1857375"/>
                <a:gd name="connsiteX240" fmla="*/ 59055 w 1323975"/>
                <a:gd name="connsiteY240" fmla="*/ 1148715 h 1857375"/>
                <a:gd name="connsiteX241" fmla="*/ 45720 w 1323975"/>
                <a:gd name="connsiteY241" fmla="*/ 1150620 h 1857375"/>
                <a:gd name="connsiteX242" fmla="*/ 40005 w 1323975"/>
                <a:gd name="connsiteY242" fmla="*/ 1150620 h 1857375"/>
                <a:gd name="connsiteX243" fmla="*/ 33338 w 1323975"/>
                <a:gd name="connsiteY243" fmla="*/ 1149667 h 1857375"/>
                <a:gd name="connsiteX244" fmla="*/ 27623 w 1323975"/>
                <a:gd name="connsiteY244" fmla="*/ 1146810 h 1857375"/>
                <a:gd name="connsiteX245" fmla="*/ 24765 w 1323975"/>
                <a:gd name="connsiteY245" fmla="*/ 1138238 h 1857375"/>
                <a:gd name="connsiteX246" fmla="*/ 23813 w 1323975"/>
                <a:gd name="connsiteY246" fmla="*/ 1105853 h 1857375"/>
                <a:gd name="connsiteX247" fmla="*/ 20003 w 1323975"/>
                <a:gd name="connsiteY247" fmla="*/ 1087755 h 1857375"/>
                <a:gd name="connsiteX248" fmla="*/ 18098 w 1323975"/>
                <a:gd name="connsiteY248" fmla="*/ 1084898 h 1857375"/>
                <a:gd name="connsiteX249" fmla="*/ 15240 w 1323975"/>
                <a:gd name="connsiteY249" fmla="*/ 1082040 h 1857375"/>
                <a:gd name="connsiteX250" fmla="*/ 7620 w 1323975"/>
                <a:gd name="connsiteY250" fmla="*/ 1080135 h 1857375"/>
                <a:gd name="connsiteX251" fmla="*/ 2858 w 1323975"/>
                <a:gd name="connsiteY251" fmla="*/ 1077278 h 1857375"/>
                <a:gd name="connsiteX252" fmla="*/ 953 w 1323975"/>
                <a:gd name="connsiteY252" fmla="*/ 1074420 h 1857375"/>
                <a:gd name="connsiteX253" fmla="*/ 0 w 1323975"/>
                <a:gd name="connsiteY253" fmla="*/ 1071563 h 1857375"/>
                <a:gd name="connsiteX254" fmla="*/ 0 w 1323975"/>
                <a:gd name="connsiteY254" fmla="*/ 1064895 h 1857375"/>
                <a:gd name="connsiteX255" fmla="*/ 953 w 1323975"/>
                <a:gd name="connsiteY255" fmla="*/ 1062038 h 1857375"/>
                <a:gd name="connsiteX256" fmla="*/ 1905 w 1323975"/>
                <a:gd name="connsiteY256" fmla="*/ 1057275 h 1857375"/>
                <a:gd name="connsiteX257" fmla="*/ 3810 w 1323975"/>
                <a:gd name="connsiteY257" fmla="*/ 1055370 h 1857375"/>
                <a:gd name="connsiteX258" fmla="*/ 5715 w 1323975"/>
                <a:gd name="connsiteY258" fmla="*/ 1053465 h 1857375"/>
                <a:gd name="connsiteX259" fmla="*/ 14288 w 1323975"/>
                <a:gd name="connsiteY259" fmla="*/ 1053465 h 1857375"/>
                <a:gd name="connsiteX260" fmla="*/ 18098 w 1323975"/>
                <a:gd name="connsiteY260" fmla="*/ 1052513 h 1857375"/>
                <a:gd name="connsiteX261" fmla="*/ 21908 w 1323975"/>
                <a:gd name="connsiteY261" fmla="*/ 1049655 h 1857375"/>
                <a:gd name="connsiteX262" fmla="*/ 24765 w 1323975"/>
                <a:gd name="connsiteY262" fmla="*/ 1047750 h 1857375"/>
                <a:gd name="connsiteX263" fmla="*/ 28575 w 1323975"/>
                <a:gd name="connsiteY263" fmla="*/ 1047750 h 1857375"/>
                <a:gd name="connsiteX264" fmla="*/ 45720 w 1323975"/>
                <a:gd name="connsiteY264" fmla="*/ 1046797 h 1857375"/>
                <a:gd name="connsiteX265" fmla="*/ 51435 w 1323975"/>
                <a:gd name="connsiteY265" fmla="*/ 1045845 h 1857375"/>
                <a:gd name="connsiteX266" fmla="*/ 54293 w 1323975"/>
                <a:gd name="connsiteY266" fmla="*/ 1044892 h 1857375"/>
                <a:gd name="connsiteX267" fmla="*/ 54293 w 1323975"/>
                <a:gd name="connsiteY267" fmla="*/ 1040130 h 1857375"/>
                <a:gd name="connsiteX268" fmla="*/ 50483 w 1323975"/>
                <a:gd name="connsiteY268" fmla="*/ 1033463 h 1857375"/>
                <a:gd name="connsiteX269" fmla="*/ 44768 w 1323975"/>
                <a:gd name="connsiteY269" fmla="*/ 1019175 h 1857375"/>
                <a:gd name="connsiteX270" fmla="*/ 43815 w 1323975"/>
                <a:gd name="connsiteY270" fmla="*/ 1016317 h 1857375"/>
                <a:gd name="connsiteX271" fmla="*/ 41910 w 1323975"/>
                <a:gd name="connsiteY271" fmla="*/ 1015365 h 1857375"/>
                <a:gd name="connsiteX272" fmla="*/ 39053 w 1323975"/>
                <a:gd name="connsiteY272" fmla="*/ 1014413 h 1857375"/>
                <a:gd name="connsiteX273" fmla="*/ 29528 w 1323975"/>
                <a:gd name="connsiteY273" fmla="*/ 1012507 h 1857375"/>
                <a:gd name="connsiteX274" fmla="*/ 26670 w 1323975"/>
                <a:gd name="connsiteY274" fmla="*/ 1010603 h 1857375"/>
                <a:gd name="connsiteX275" fmla="*/ 23813 w 1323975"/>
                <a:gd name="connsiteY275" fmla="*/ 1005840 h 1857375"/>
                <a:gd name="connsiteX276" fmla="*/ 23813 w 1323975"/>
                <a:gd name="connsiteY276" fmla="*/ 997267 h 1857375"/>
                <a:gd name="connsiteX277" fmla="*/ 21908 w 1323975"/>
                <a:gd name="connsiteY277" fmla="*/ 986790 h 1857375"/>
                <a:gd name="connsiteX278" fmla="*/ 20955 w 1323975"/>
                <a:gd name="connsiteY278" fmla="*/ 982980 h 1857375"/>
                <a:gd name="connsiteX279" fmla="*/ 23813 w 1323975"/>
                <a:gd name="connsiteY279" fmla="*/ 937260 h 1857375"/>
                <a:gd name="connsiteX280" fmla="*/ 24765 w 1323975"/>
                <a:gd name="connsiteY280" fmla="*/ 929640 h 1857375"/>
                <a:gd name="connsiteX281" fmla="*/ 26670 w 1323975"/>
                <a:gd name="connsiteY281" fmla="*/ 924878 h 1857375"/>
                <a:gd name="connsiteX282" fmla="*/ 30480 w 1323975"/>
                <a:gd name="connsiteY282" fmla="*/ 920115 h 1857375"/>
                <a:gd name="connsiteX283" fmla="*/ 35243 w 1323975"/>
                <a:gd name="connsiteY283" fmla="*/ 918210 h 1857375"/>
                <a:gd name="connsiteX284" fmla="*/ 38100 w 1323975"/>
                <a:gd name="connsiteY284" fmla="*/ 918210 h 1857375"/>
                <a:gd name="connsiteX285" fmla="*/ 47625 w 1323975"/>
                <a:gd name="connsiteY285" fmla="*/ 918210 h 1857375"/>
                <a:gd name="connsiteX286" fmla="*/ 64770 w 1323975"/>
                <a:gd name="connsiteY286" fmla="*/ 913447 h 1857375"/>
                <a:gd name="connsiteX287" fmla="*/ 70485 w 1323975"/>
                <a:gd name="connsiteY287" fmla="*/ 913447 h 1857375"/>
                <a:gd name="connsiteX288" fmla="*/ 101918 w 1323975"/>
                <a:gd name="connsiteY288" fmla="*/ 922972 h 1857375"/>
                <a:gd name="connsiteX289" fmla="*/ 103823 w 1323975"/>
                <a:gd name="connsiteY289" fmla="*/ 924878 h 1857375"/>
                <a:gd name="connsiteX290" fmla="*/ 107633 w 1323975"/>
                <a:gd name="connsiteY290" fmla="*/ 928688 h 1857375"/>
                <a:gd name="connsiteX291" fmla="*/ 109538 w 1323975"/>
                <a:gd name="connsiteY291" fmla="*/ 936307 h 1857375"/>
                <a:gd name="connsiteX292" fmla="*/ 111443 w 1323975"/>
                <a:gd name="connsiteY292" fmla="*/ 938213 h 1857375"/>
                <a:gd name="connsiteX293" fmla="*/ 116205 w 1323975"/>
                <a:gd name="connsiteY293" fmla="*/ 941070 h 1857375"/>
                <a:gd name="connsiteX294" fmla="*/ 136208 w 1323975"/>
                <a:gd name="connsiteY294" fmla="*/ 946785 h 1857375"/>
                <a:gd name="connsiteX295" fmla="*/ 154305 w 1323975"/>
                <a:gd name="connsiteY295" fmla="*/ 956310 h 1857375"/>
                <a:gd name="connsiteX296" fmla="*/ 157163 w 1323975"/>
                <a:gd name="connsiteY296" fmla="*/ 957263 h 1857375"/>
                <a:gd name="connsiteX297" fmla="*/ 162878 w 1323975"/>
                <a:gd name="connsiteY297" fmla="*/ 955357 h 1857375"/>
                <a:gd name="connsiteX298" fmla="*/ 168593 w 1323975"/>
                <a:gd name="connsiteY298" fmla="*/ 951547 h 1857375"/>
                <a:gd name="connsiteX299" fmla="*/ 181928 w 1323975"/>
                <a:gd name="connsiteY299" fmla="*/ 940117 h 1857375"/>
                <a:gd name="connsiteX300" fmla="*/ 187643 w 1323975"/>
                <a:gd name="connsiteY300" fmla="*/ 934403 h 1857375"/>
                <a:gd name="connsiteX301" fmla="*/ 190500 w 1323975"/>
                <a:gd name="connsiteY301" fmla="*/ 929640 h 1857375"/>
                <a:gd name="connsiteX302" fmla="*/ 191453 w 1323975"/>
                <a:gd name="connsiteY302" fmla="*/ 926782 h 1857375"/>
                <a:gd name="connsiteX303" fmla="*/ 191453 w 1323975"/>
                <a:gd name="connsiteY303" fmla="*/ 920115 h 1857375"/>
                <a:gd name="connsiteX304" fmla="*/ 190500 w 1323975"/>
                <a:gd name="connsiteY304" fmla="*/ 909638 h 1857375"/>
                <a:gd name="connsiteX305" fmla="*/ 189548 w 1323975"/>
                <a:gd name="connsiteY305" fmla="*/ 903922 h 1857375"/>
                <a:gd name="connsiteX306" fmla="*/ 183833 w 1323975"/>
                <a:gd name="connsiteY306" fmla="*/ 889635 h 1857375"/>
                <a:gd name="connsiteX307" fmla="*/ 182880 w 1323975"/>
                <a:gd name="connsiteY307" fmla="*/ 883920 h 1857375"/>
                <a:gd name="connsiteX308" fmla="*/ 179070 w 1323975"/>
                <a:gd name="connsiteY308" fmla="*/ 862965 h 1857375"/>
                <a:gd name="connsiteX309" fmla="*/ 179070 w 1323975"/>
                <a:gd name="connsiteY309" fmla="*/ 855345 h 1857375"/>
                <a:gd name="connsiteX310" fmla="*/ 180023 w 1323975"/>
                <a:gd name="connsiteY310" fmla="*/ 850582 h 1857375"/>
                <a:gd name="connsiteX311" fmla="*/ 181928 w 1323975"/>
                <a:gd name="connsiteY311" fmla="*/ 847725 h 1857375"/>
                <a:gd name="connsiteX312" fmla="*/ 183833 w 1323975"/>
                <a:gd name="connsiteY312" fmla="*/ 845820 h 1857375"/>
                <a:gd name="connsiteX313" fmla="*/ 189548 w 1323975"/>
                <a:gd name="connsiteY313" fmla="*/ 844867 h 1857375"/>
                <a:gd name="connsiteX314" fmla="*/ 193358 w 1323975"/>
                <a:gd name="connsiteY314" fmla="*/ 842963 h 1857375"/>
                <a:gd name="connsiteX315" fmla="*/ 197168 w 1323975"/>
                <a:gd name="connsiteY315" fmla="*/ 840105 h 1857375"/>
                <a:gd name="connsiteX316" fmla="*/ 204788 w 1323975"/>
                <a:gd name="connsiteY316" fmla="*/ 832485 h 1857375"/>
                <a:gd name="connsiteX317" fmla="*/ 207645 w 1323975"/>
                <a:gd name="connsiteY317" fmla="*/ 827722 h 1857375"/>
                <a:gd name="connsiteX318" fmla="*/ 208598 w 1323975"/>
                <a:gd name="connsiteY318" fmla="*/ 823913 h 1857375"/>
                <a:gd name="connsiteX319" fmla="*/ 208598 w 1323975"/>
                <a:gd name="connsiteY319" fmla="*/ 821055 h 1857375"/>
                <a:gd name="connsiteX320" fmla="*/ 207645 w 1323975"/>
                <a:gd name="connsiteY320" fmla="*/ 812482 h 1857375"/>
                <a:gd name="connsiteX321" fmla="*/ 206693 w 1323975"/>
                <a:gd name="connsiteY321" fmla="*/ 804863 h 1857375"/>
                <a:gd name="connsiteX322" fmla="*/ 201930 w 1323975"/>
                <a:gd name="connsiteY322" fmla="*/ 774382 h 1857375"/>
                <a:gd name="connsiteX323" fmla="*/ 199073 w 1323975"/>
                <a:gd name="connsiteY323" fmla="*/ 763905 h 1857375"/>
                <a:gd name="connsiteX324" fmla="*/ 198120 w 1323975"/>
                <a:gd name="connsiteY324" fmla="*/ 758190 h 1857375"/>
                <a:gd name="connsiteX325" fmla="*/ 198120 w 1323975"/>
                <a:gd name="connsiteY325" fmla="*/ 749617 h 1857375"/>
                <a:gd name="connsiteX326" fmla="*/ 197168 w 1323975"/>
                <a:gd name="connsiteY326" fmla="*/ 747713 h 1857375"/>
                <a:gd name="connsiteX327" fmla="*/ 195263 w 1323975"/>
                <a:gd name="connsiteY327" fmla="*/ 745807 h 1857375"/>
                <a:gd name="connsiteX328" fmla="*/ 192405 w 1323975"/>
                <a:gd name="connsiteY328" fmla="*/ 743903 h 1857375"/>
                <a:gd name="connsiteX329" fmla="*/ 180975 w 1323975"/>
                <a:gd name="connsiteY329" fmla="*/ 741997 h 1857375"/>
                <a:gd name="connsiteX330" fmla="*/ 179070 w 1323975"/>
                <a:gd name="connsiteY330" fmla="*/ 741045 h 1857375"/>
                <a:gd name="connsiteX331" fmla="*/ 177165 w 1323975"/>
                <a:gd name="connsiteY331" fmla="*/ 739140 h 1857375"/>
                <a:gd name="connsiteX332" fmla="*/ 176213 w 1323975"/>
                <a:gd name="connsiteY332" fmla="*/ 734378 h 1857375"/>
                <a:gd name="connsiteX333" fmla="*/ 175260 w 1323975"/>
                <a:gd name="connsiteY333" fmla="*/ 732472 h 1857375"/>
                <a:gd name="connsiteX334" fmla="*/ 172403 w 1323975"/>
                <a:gd name="connsiteY334" fmla="*/ 731520 h 1857375"/>
                <a:gd name="connsiteX335" fmla="*/ 167640 w 1323975"/>
                <a:gd name="connsiteY335" fmla="*/ 730567 h 1857375"/>
                <a:gd name="connsiteX336" fmla="*/ 161925 w 1323975"/>
                <a:gd name="connsiteY336" fmla="*/ 731520 h 1857375"/>
                <a:gd name="connsiteX337" fmla="*/ 155258 w 1323975"/>
                <a:gd name="connsiteY337" fmla="*/ 734378 h 1857375"/>
                <a:gd name="connsiteX338" fmla="*/ 152400 w 1323975"/>
                <a:gd name="connsiteY338" fmla="*/ 734378 h 1857375"/>
                <a:gd name="connsiteX339" fmla="*/ 150495 w 1323975"/>
                <a:gd name="connsiteY339" fmla="*/ 732472 h 1857375"/>
                <a:gd name="connsiteX340" fmla="*/ 149543 w 1323975"/>
                <a:gd name="connsiteY340" fmla="*/ 730567 h 1857375"/>
                <a:gd name="connsiteX341" fmla="*/ 148590 w 1323975"/>
                <a:gd name="connsiteY341" fmla="*/ 724853 h 1857375"/>
                <a:gd name="connsiteX342" fmla="*/ 148590 w 1323975"/>
                <a:gd name="connsiteY342" fmla="*/ 721042 h 1857375"/>
                <a:gd name="connsiteX343" fmla="*/ 151448 w 1323975"/>
                <a:gd name="connsiteY343" fmla="*/ 703897 h 1857375"/>
                <a:gd name="connsiteX344" fmla="*/ 152400 w 1323975"/>
                <a:gd name="connsiteY344" fmla="*/ 700088 h 1857375"/>
                <a:gd name="connsiteX345" fmla="*/ 149543 w 1323975"/>
                <a:gd name="connsiteY345" fmla="*/ 677228 h 1857375"/>
                <a:gd name="connsiteX346" fmla="*/ 147638 w 1323975"/>
                <a:gd name="connsiteY346" fmla="*/ 665797 h 1857375"/>
                <a:gd name="connsiteX347" fmla="*/ 146685 w 1323975"/>
                <a:gd name="connsiteY347" fmla="*/ 661988 h 1857375"/>
                <a:gd name="connsiteX348" fmla="*/ 146685 w 1323975"/>
                <a:gd name="connsiteY348" fmla="*/ 655320 h 1857375"/>
                <a:gd name="connsiteX349" fmla="*/ 147638 w 1323975"/>
                <a:gd name="connsiteY349" fmla="*/ 652463 h 1857375"/>
                <a:gd name="connsiteX350" fmla="*/ 149543 w 1323975"/>
                <a:gd name="connsiteY350" fmla="*/ 650557 h 1857375"/>
                <a:gd name="connsiteX351" fmla="*/ 161925 w 1323975"/>
                <a:gd name="connsiteY351" fmla="*/ 644842 h 1857375"/>
                <a:gd name="connsiteX352" fmla="*/ 164783 w 1323975"/>
                <a:gd name="connsiteY352" fmla="*/ 642938 h 1857375"/>
                <a:gd name="connsiteX353" fmla="*/ 166688 w 1323975"/>
                <a:gd name="connsiteY353" fmla="*/ 639128 h 1857375"/>
                <a:gd name="connsiteX354" fmla="*/ 166688 w 1323975"/>
                <a:gd name="connsiteY354" fmla="*/ 637222 h 1857375"/>
                <a:gd name="connsiteX355" fmla="*/ 161925 w 1323975"/>
                <a:gd name="connsiteY355" fmla="*/ 633413 h 1857375"/>
                <a:gd name="connsiteX356" fmla="*/ 160020 w 1323975"/>
                <a:gd name="connsiteY356" fmla="*/ 629603 h 1857375"/>
                <a:gd name="connsiteX357" fmla="*/ 160973 w 1323975"/>
                <a:gd name="connsiteY357" fmla="*/ 605790 h 1857375"/>
                <a:gd name="connsiteX358" fmla="*/ 161925 w 1323975"/>
                <a:gd name="connsiteY358" fmla="*/ 601980 h 1857375"/>
                <a:gd name="connsiteX359" fmla="*/ 163830 w 1323975"/>
                <a:gd name="connsiteY359" fmla="*/ 600075 h 1857375"/>
                <a:gd name="connsiteX360" fmla="*/ 169545 w 1323975"/>
                <a:gd name="connsiteY360" fmla="*/ 597217 h 1857375"/>
                <a:gd name="connsiteX361" fmla="*/ 171450 w 1323975"/>
                <a:gd name="connsiteY361" fmla="*/ 595313 h 1857375"/>
                <a:gd name="connsiteX362" fmla="*/ 172403 w 1323975"/>
                <a:gd name="connsiteY362" fmla="*/ 592455 h 1857375"/>
                <a:gd name="connsiteX363" fmla="*/ 172403 w 1323975"/>
                <a:gd name="connsiteY363" fmla="*/ 590550 h 1857375"/>
                <a:gd name="connsiteX364" fmla="*/ 171450 w 1323975"/>
                <a:gd name="connsiteY364" fmla="*/ 583882 h 1857375"/>
                <a:gd name="connsiteX365" fmla="*/ 169545 w 1323975"/>
                <a:gd name="connsiteY365" fmla="*/ 576263 h 1857375"/>
                <a:gd name="connsiteX366" fmla="*/ 170498 w 1323975"/>
                <a:gd name="connsiteY366" fmla="*/ 573405 h 1857375"/>
                <a:gd name="connsiteX367" fmla="*/ 172403 w 1323975"/>
                <a:gd name="connsiteY367" fmla="*/ 571500 h 1857375"/>
                <a:gd name="connsiteX368" fmla="*/ 179070 w 1323975"/>
                <a:gd name="connsiteY368" fmla="*/ 568642 h 1857375"/>
                <a:gd name="connsiteX369" fmla="*/ 184785 w 1323975"/>
                <a:gd name="connsiteY369" fmla="*/ 565785 h 1857375"/>
                <a:gd name="connsiteX370" fmla="*/ 188595 w 1323975"/>
                <a:gd name="connsiteY370" fmla="*/ 562928 h 1857375"/>
                <a:gd name="connsiteX371" fmla="*/ 189548 w 1323975"/>
                <a:gd name="connsiteY371" fmla="*/ 560070 h 1857375"/>
                <a:gd name="connsiteX372" fmla="*/ 190500 w 1323975"/>
                <a:gd name="connsiteY372" fmla="*/ 556260 h 1857375"/>
                <a:gd name="connsiteX373" fmla="*/ 189548 w 1323975"/>
                <a:gd name="connsiteY373" fmla="*/ 539115 h 1857375"/>
                <a:gd name="connsiteX374" fmla="*/ 188595 w 1323975"/>
                <a:gd name="connsiteY374" fmla="*/ 530542 h 1857375"/>
                <a:gd name="connsiteX375" fmla="*/ 186690 w 1323975"/>
                <a:gd name="connsiteY375" fmla="*/ 525780 h 1857375"/>
                <a:gd name="connsiteX376" fmla="*/ 185738 w 1323975"/>
                <a:gd name="connsiteY376" fmla="*/ 523875 h 1857375"/>
                <a:gd name="connsiteX377" fmla="*/ 183833 w 1323975"/>
                <a:gd name="connsiteY377" fmla="*/ 521970 h 1857375"/>
                <a:gd name="connsiteX378" fmla="*/ 178118 w 1323975"/>
                <a:gd name="connsiteY378" fmla="*/ 521017 h 1857375"/>
                <a:gd name="connsiteX379" fmla="*/ 155258 w 1323975"/>
                <a:gd name="connsiteY379" fmla="*/ 522922 h 1857375"/>
                <a:gd name="connsiteX380" fmla="*/ 152400 w 1323975"/>
                <a:gd name="connsiteY380" fmla="*/ 523875 h 1857375"/>
                <a:gd name="connsiteX381" fmla="*/ 149543 w 1323975"/>
                <a:gd name="connsiteY381" fmla="*/ 526732 h 1857375"/>
                <a:gd name="connsiteX382" fmla="*/ 146685 w 1323975"/>
                <a:gd name="connsiteY382" fmla="*/ 531495 h 1857375"/>
                <a:gd name="connsiteX383" fmla="*/ 145733 w 1323975"/>
                <a:gd name="connsiteY383" fmla="*/ 535305 h 1857375"/>
                <a:gd name="connsiteX384" fmla="*/ 141923 w 1323975"/>
                <a:gd name="connsiteY384" fmla="*/ 553403 h 1857375"/>
                <a:gd name="connsiteX385" fmla="*/ 139065 w 1323975"/>
                <a:gd name="connsiteY385" fmla="*/ 559117 h 1857375"/>
                <a:gd name="connsiteX386" fmla="*/ 137160 w 1323975"/>
                <a:gd name="connsiteY386" fmla="*/ 561022 h 1857375"/>
                <a:gd name="connsiteX387" fmla="*/ 135255 w 1323975"/>
                <a:gd name="connsiteY387" fmla="*/ 561975 h 1857375"/>
                <a:gd name="connsiteX388" fmla="*/ 118110 w 1323975"/>
                <a:gd name="connsiteY388" fmla="*/ 563880 h 1857375"/>
                <a:gd name="connsiteX389" fmla="*/ 116205 w 1323975"/>
                <a:gd name="connsiteY389" fmla="*/ 562928 h 1857375"/>
                <a:gd name="connsiteX390" fmla="*/ 115253 w 1323975"/>
                <a:gd name="connsiteY390" fmla="*/ 561975 h 1857375"/>
                <a:gd name="connsiteX391" fmla="*/ 114300 w 1323975"/>
                <a:gd name="connsiteY391" fmla="*/ 560070 h 1857375"/>
                <a:gd name="connsiteX392" fmla="*/ 114300 w 1323975"/>
                <a:gd name="connsiteY392" fmla="*/ 555307 h 1857375"/>
                <a:gd name="connsiteX393" fmla="*/ 114300 w 1323975"/>
                <a:gd name="connsiteY393" fmla="*/ 540067 h 1857375"/>
                <a:gd name="connsiteX394" fmla="*/ 115253 w 1323975"/>
                <a:gd name="connsiteY394" fmla="*/ 535305 h 1857375"/>
                <a:gd name="connsiteX395" fmla="*/ 117158 w 1323975"/>
                <a:gd name="connsiteY395" fmla="*/ 533400 h 1857375"/>
                <a:gd name="connsiteX396" fmla="*/ 121920 w 1323975"/>
                <a:gd name="connsiteY396" fmla="*/ 529590 h 1857375"/>
                <a:gd name="connsiteX397" fmla="*/ 127635 w 1323975"/>
                <a:gd name="connsiteY397" fmla="*/ 518160 h 1857375"/>
                <a:gd name="connsiteX398" fmla="*/ 129540 w 1323975"/>
                <a:gd name="connsiteY398" fmla="*/ 516255 h 1857375"/>
                <a:gd name="connsiteX399" fmla="*/ 134303 w 1323975"/>
                <a:gd name="connsiteY399" fmla="*/ 513397 h 1857375"/>
                <a:gd name="connsiteX400" fmla="*/ 136208 w 1323975"/>
                <a:gd name="connsiteY400" fmla="*/ 510540 h 1857375"/>
                <a:gd name="connsiteX401" fmla="*/ 137160 w 1323975"/>
                <a:gd name="connsiteY401" fmla="*/ 505778 h 1857375"/>
                <a:gd name="connsiteX402" fmla="*/ 135255 w 1323975"/>
                <a:gd name="connsiteY402" fmla="*/ 503872 h 1857375"/>
                <a:gd name="connsiteX403" fmla="*/ 133350 w 1323975"/>
                <a:gd name="connsiteY403" fmla="*/ 502920 h 1857375"/>
                <a:gd name="connsiteX404" fmla="*/ 130493 w 1323975"/>
                <a:gd name="connsiteY404" fmla="*/ 502920 h 1857375"/>
                <a:gd name="connsiteX405" fmla="*/ 112395 w 1323975"/>
                <a:gd name="connsiteY405" fmla="*/ 505778 h 1857375"/>
                <a:gd name="connsiteX406" fmla="*/ 109538 w 1323975"/>
                <a:gd name="connsiteY406" fmla="*/ 505778 h 1857375"/>
                <a:gd name="connsiteX407" fmla="*/ 107633 w 1323975"/>
                <a:gd name="connsiteY407" fmla="*/ 503872 h 1857375"/>
                <a:gd name="connsiteX408" fmla="*/ 105728 w 1323975"/>
                <a:gd name="connsiteY408" fmla="*/ 500063 h 1857375"/>
                <a:gd name="connsiteX409" fmla="*/ 104775 w 1323975"/>
                <a:gd name="connsiteY409" fmla="*/ 493395 h 1857375"/>
                <a:gd name="connsiteX410" fmla="*/ 102870 w 1323975"/>
                <a:gd name="connsiteY410" fmla="*/ 486728 h 1857375"/>
                <a:gd name="connsiteX411" fmla="*/ 95250 w 1323975"/>
                <a:gd name="connsiteY411" fmla="*/ 467678 h 1857375"/>
                <a:gd name="connsiteX412" fmla="*/ 93345 w 1323975"/>
                <a:gd name="connsiteY412" fmla="*/ 458153 h 1857375"/>
                <a:gd name="connsiteX413" fmla="*/ 95250 w 1323975"/>
                <a:gd name="connsiteY413" fmla="*/ 436245 h 1857375"/>
                <a:gd name="connsiteX414" fmla="*/ 94298 w 1323975"/>
                <a:gd name="connsiteY414" fmla="*/ 421957 h 1857375"/>
                <a:gd name="connsiteX415" fmla="*/ 94298 w 1323975"/>
                <a:gd name="connsiteY415" fmla="*/ 415290 h 1857375"/>
                <a:gd name="connsiteX416" fmla="*/ 85725 w 1323975"/>
                <a:gd name="connsiteY416" fmla="*/ 380047 h 1857375"/>
                <a:gd name="connsiteX417" fmla="*/ 83820 w 1323975"/>
                <a:gd name="connsiteY417" fmla="*/ 371475 h 1857375"/>
                <a:gd name="connsiteX418" fmla="*/ 83820 w 1323975"/>
                <a:gd name="connsiteY418" fmla="*/ 364807 h 1857375"/>
                <a:gd name="connsiteX419" fmla="*/ 85725 w 1323975"/>
                <a:gd name="connsiteY419" fmla="*/ 361950 h 1857375"/>
                <a:gd name="connsiteX420" fmla="*/ 87630 w 1323975"/>
                <a:gd name="connsiteY420" fmla="*/ 358140 h 1857375"/>
                <a:gd name="connsiteX421" fmla="*/ 90488 w 1323975"/>
                <a:gd name="connsiteY421" fmla="*/ 356235 h 1857375"/>
                <a:gd name="connsiteX422" fmla="*/ 93345 w 1323975"/>
                <a:gd name="connsiteY422" fmla="*/ 355282 h 1857375"/>
                <a:gd name="connsiteX423" fmla="*/ 99060 w 1323975"/>
                <a:gd name="connsiteY423" fmla="*/ 355282 h 1857375"/>
                <a:gd name="connsiteX424" fmla="*/ 105728 w 1323975"/>
                <a:gd name="connsiteY424" fmla="*/ 357188 h 1857375"/>
                <a:gd name="connsiteX425" fmla="*/ 120968 w 1323975"/>
                <a:gd name="connsiteY425" fmla="*/ 365760 h 1857375"/>
                <a:gd name="connsiteX426" fmla="*/ 127635 w 1323975"/>
                <a:gd name="connsiteY426" fmla="*/ 367665 h 1857375"/>
                <a:gd name="connsiteX427" fmla="*/ 152400 w 1323975"/>
                <a:gd name="connsiteY427" fmla="*/ 369570 h 1857375"/>
                <a:gd name="connsiteX428" fmla="*/ 155258 w 1323975"/>
                <a:gd name="connsiteY428" fmla="*/ 368617 h 1857375"/>
                <a:gd name="connsiteX429" fmla="*/ 160973 w 1323975"/>
                <a:gd name="connsiteY429" fmla="*/ 362903 h 1857375"/>
                <a:gd name="connsiteX430" fmla="*/ 166688 w 1323975"/>
                <a:gd name="connsiteY430" fmla="*/ 357188 h 1857375"/>
                <a:gd name="connsiteX431" fmla="*/ 174308 w 1323975"/>
                <a:gd name="connsiteY431" fmla="*/ 350520 h 1857375"/>
                <a:gd name="connsiteX432" fmla="*/ 176213 w 1323975"/>
                <a:gd name="connsiteY432" fmla="*/ 349567 h 1857375"/>
                <a:gd name="connsiteX433" fmla="*/ 181928 w 1323975"/>
                <a:gd name="connsiteY433" fmla="*/ 347663 h 1857375"/>
                <a:gd name="connsiteX434" fmla="*/ 186690 w 1323975"/>
                <a:gd name="connsiteY434" fmla="*/ 346710 h 1857375"/>
                <a:gd name="connsiteX435" fmla="*/ 189548 w 1323975"/>
                <a:gd name="connsiteY435" fmla="*/ 346710 h 1857375"/>
                <a:gd name="connsiteX436" fmla="*/ 196215 w 1323975"/>
                <a:gd name="connsiteY436" fmla="*/ 347663 h 1857375"/>
                <a:gd name="connsiteX437" fmla="*/ 246698 w 1323975"/>
                <a:gd name="connsiteY437" fmla="*/ 373380 h 1857375"/>
                <a:gd name="connsiteX438" fmla="*/ 252413 w 1323975"/>
                <a:gd name="connsiteY438" fmla="*/ 378142 h 1857375"/>
                <a:gd name="connsiteX439" fmla="*/ 255270 w 1323975"/>
                <a:gd name="connsiteY439" fmla="*/ 379095 h 1857375"/>
                <a:gd name="connsiteX440" fmla="*/ 260033 w 1323975"/>
                <a:gd name="connsiteY440" fmla="*/ 380047 h 1857375"/>
                <a:gd name="connsiteX441" fmla="*/ 262890 w 1323975"/>
                <a:gd name="connsiteY441" fmla="*/ 378142 h 1857375"/>
                <a:gd name="connsiteX442" fmla="*/ 264795 w 1323975"/>
                <a:gd name="connsiteY442" fmla="*/ 376238 h 1857375"/>
                <a:gd name="connsiteX443" fmla="*/ 264795 w 1323975"/>
                <a:gd name="connsiteY443" fmla="*/ 372428 h 1857375"/>
                <a:gd name="connsiteX444" fmla="*/ 264795 w 1323975"/>
                <a:gd name="connsiteY444" fmla="*/ 369570 h 1857375"/>
                <a:gd name="connsiteX445" fmla="*/ 263843 w 1323975"/>
                <a:gd name="connsiteY445" fmla="*/ 367665 h 1857375"/>
                <a:gd name="connsiteX446" fmla="*/ 261938 w 1323975"/>
                <a:gd name="connsiteY446" fmla="*/ 365760 h 1857375"/>
                <a:gd name="connsiteX447" fmla="*/ 250508 w 1323975"/>
                <a:gd name="connsiteY447" fmla="*/ 360997 h 1857375"/>
                <a:gd name="connsiteX448" fmla="*/ 247650 w 1323975"/>
                <a:gd name="connsiteY448" fmla="*/ 358140 h 1857375"/>
                <a:gd name="connsiteX449" fmla="*/ 246698 w 1323975"/>
                <a:gd name="connsiteY449" fmla="*/ 356235 h 1857375"/>
                <a:gd name="connsiteX450" fmla="*/ 246698 w 1323975"/>
                <a:gd name="connsiteY450" fmla="*/ 351472 h 1857375"/>
                <a:gd name="connsiteX451" fmla="*/ 247650 w 1323975"/>
                <a:gd name="connsiteY451" fmla="*/ 348615 h 1857375"/>
                <a:gd name="connsiteX452" fmla="*/ 254318 w 1323975"/>
                <a:gd name="connsiteY452" fmla="*/ 339090 h 1857375"/>
                <a:gd name="connsiteX453" fmla="*/ 257175 w 1323975"/>
                <a:gd name="connsiteY453" fmla="*/ 336232 h 1857375"/>
                <a:gd name="connsiteX454" fmla="*/ 260033 w 1323975"/>
                <a:gd name="connsiteY454" fmla="*/ 335280 h 1857375"/>
                <a:gd name="connsiteX455" fmla="*/ 262890 w 1323975"/>
                <a:gd name="connsiteY455" fmla="*/ 335280 h 1857375"/>
                <a:gd name="connsiteX456" fmla="*/ 268605 w 1323975"/>
                <a:gd name="connsiteY456" fmla="*/ 338138 h 1857375"/>
                <a:gd name="connsiteX457" fmla="*/ 272415 w 1323975"/>
                <a:gd name="connsiteY457" fmla="*/ 339090 h 1857375"/>
                <a:gd name="connsiteX458" fmla="*/ 278130 w 1323975"/>
                <a:gd name="connsiteY458" fmla="*/ 339090 h 1857375"/>
                <a:gd name="connsiteX459" fmla="*/ 280988 w 1323975"/>
                <a:gd name="connsiteY459" fmla="*/ 338138 h 1857375"/>
                <a:gd name="connsiteX460" fmla="*/ 282893 w 1323975"/>
                <a:gd name="connsiteY460" fmla="*/ 335280 h 1857375"/>
                <a:gd name="connsiteX461" fmla="*/ 284798 w 1323975"/>
                <a:gd name="connsiteY461" fmla="*/ 323850 h 1857375"/>
                <a:gd name="connsiteX462" fmla="*/ 286703 w 1323975"/>
                <a:gd name="connsiteY462" fmla="*/ 318135 h 1857375"/>
                <a:gd name="connsiteX463" fmla="*/ 288608 w 1323975"/>
                <a:gd name="connsiteY463" fmla="*/ 315278 h 1857375"/>
                <a:gd name="connsiteX464" fmla="*/ 291465 w 1323975"/>
                <a:gd name="connsiteY464" fmla="*/ 313372 h 1857375"/>
                <a:gd name="connsiteX465" fmla="*/ 297180 w 1323975"/>
                <a:gd name="connsiteY465" fmla="*/ 313372 h 1857375"/>
                <a:gd name="connsiteX466" fmla="*/ 300038 w 1323975"/>
                <a:gd name="connsiteY466" fmla="*/ 313372 h 1857375"/>
                <a:gd name="connsiteX467" fmla="*/ 302895 w 1323975"/>
                <a:gd name="connsiteY467" fmla="*/ 314325 h 1857375"/>
                <a:gd name="connsiteX468" fmla="*/ 304800 w 1323975"/>
                <a:gd name="connsiteY468" fmla="*/ 316230 h 1857375"/>
                <a:gd name="connsiteX469" fmla="*/ 309563 w 1323975"/>
                <a:gd name="connsiteY469" fmla="*/ 322897 h 1857375"/>
                <a:gd name="connsiteX470" fmla="*/ 313373 w 1323975"/>
                <a:gd name="connsiteY470" fmla="*/ 326707 h 1857375"/>
                <a:gd name="connsiteX471" fmla="*/ 315278 w 1323975"/>
                <a:gd name="connsiteY471" fmla="*/ 328613 h 1857375"/>
                <a:gd name="connsiteX472" fmla="*/ 320993 w 1323975"/>
                <a:gd name="connsiteY472" fmla="*/ 329565 h 1857375"/>
                <a:gd name="connsiteX473" fmla="*/ 325755 w 1323975"/>
                <a:gd name="connsiteY473" fmla="*/ 329565 h 1857375"/>
                <a:gd name="connsiteX474" fmla="*/ 337185 w 1323975"/>
                <a:gd name="connsiteY474" fmla="*/ 326707 h 1857375"/>
                <a:gd name="connsiteX475" fmla="*/ 340995 w 1323975"/>
                <a:gd name="connsiteY475" fmla="*/ 324803 h 1857375"/>
                <a:gd name="connsiteX476" fmla="*/ 342900 w 1323975"/>
                <a:gd name="connsiteY476" fmla="*/ 321945 h 1857375"/>
                <a:gd name="connsiteX477" fmla="*/ 342900 w 1323975"/>
                <a:gd name="connsiteY477" fmla="*/ 319088 h 1857375"/>
                <a:gd name="connsiteX478" fmla="*/ 340995 w 1323975"/>
                <a:gd name="connsiteY478" fmla="*/ 304800 h 1857375"/>
                <a:gd name="connsiteX479" fmla="*/ 341948 w 1323975"/>
                <a:gd name="connsiteY479" fmla="*/ 301942 h 1857375"/>
                <a:gd name="connsiteX480" fmla="*/ 342900 w 1323975"/>
                <a:gd name="connsiteY480" fmla="*/ 298132 h 1857375"/>
                <a:gd name="connsiteX481" fmla="*/ 345758 w 1323975"/>
                <a:gd name="connsiteY481" fmla="*/ 293370 h 1857375"/>
                <a:gd name="connsiteX482" fmla="*/ 348615 w 1323975"/>
                <a:gd name="connsiteY482" fmla="*/ 291465 h 1857375"/>
                <a:gd name="connsiteX483" fmla="*/ 352425 w 1323975"/>
                <a:gd name="connsiteY483" fmla="*/ 290513 h 1857375"/>
                <a:gd name="connsiteX484" fmla="*/ 355283 w 1323975"/>
                <a:gd name="connsiteY484" fmla="*/ 288607 h 1857375"/>
                <a:gd name="connsiteX485" fmla="*/ 356235 w 1323975"/>
                <a:gd name="connsiteY485" fmla="*/ 285750 h 1857375"/>
                <a:gd name="connsiteX486" fmla="*/ 359093 w 1323975"/>
                <a:gd name="connsiteY486" fmla="*/ 279082 h 1857375"/>
                <a:gd name="connsiteX487" fmla="*/ 361950 w 1323975"/>
                <a:gd name="connsiteY487" fmla="*/ 271463 h 1857375"/>
                <a:gd name="connsiteX488" fmla="*/ 363855 w 1323975"/>
                <a:gd name="connsiteY488" fmla="*/ 268605 h 1857375"/>
                <a:gd name="connsiteX489" fmla="*/ 383858 w 1323975"/>
                <a:gd name="connsiteY489" fmla="*/ 254317 h 1857375"/>
                <a:gd name="connsiteX490" fmla="*/ 387668 w 1323975"/>
                <a:gd name="connsiteY490" fmla="*/ 252413 h 1857375"/>
                <a:gd name="connsiteX491" fmla="*/ 401955 w 1323975"/>
                <a:gd name="connsiteY491" fmla="*/ 252413 h 1857375"/>
                <a:gd name="connsiteX492" fmla="*/ 408623 w 1323975"/>
                <a:gd name="connsiteY492" fmla="*/ 250507 h 1857375"/>
                <a:gd name="connsiteX493" fmla="*/ 411480 w 1323975"/>
                <a:gd name="connsiteY493" fmla="*/ 248603 h 1857375"/>
                <a:gd name="connsiteX494" fmla="*/ 413385 w 1323975"/>
                <a:gd name="connsiteY494" fmla="*/ 245745 h 1857375"/>
                <a:gd name="connsiteX495" fmla="*/ 413385 w 1323975"/>
                <a:gd name="connsiteY495" fmla="*/ 242888 h 1857375"/>
                <a:gd name="connsiteX496" fmla="*/ 411480 w 1323975"/>
                <a:gd name="connsiteY496" fmla="*/ 238125 h 1857375"/>
                <a:gd name="connsiteX497" fmla="*/ 407670 w 1323975"/>
                <a:gd name="connsiteY497" fmla="*/ 231457 h 1857375"/>
                <a:gd name="connsiteX498" fmla="*/ 407670 w 1323975"/>
                <a:gd name="connsiteY498" fmla="*/ 228600 h 1857375"/>
                <a:gd name="connsiteX499" fmla="*/ 407670 w 1323975"/>
                <a:gd name="connsiteY499" fmla="*/ 224790 h 1857375"/>
                <a:gd name="connsiteX500" fmla="*/ 408623 w 1323975"/>
                <a:gd name="connsiteY500" fmla="*/ 219075 h 1857375"/>
                <a:gd name="connsiteX501" fmla="*/ 408623 w 1323975"/>
                <a:gd name="connsiteY501" fmla="*/ 216217 h 1857375"/>
                <a:gd name="connsiteX502" fmla="*/ 407670 w 1323975"/>
                <a:gd name="connsiteY502" fmla="*/ 213360 h 1857375"/>
                <a:gd name="connsiteX503" fmla="*/ 402908 w 1323975"/>
                <a:gd name="connsiteY503" fmla="*/ 210503 h 1857375"/>
                <a:gd name="connsiteX504" fmla="*/ 401003 w 1323975"/>
                <a:gd name="connsiteY504" fmla="*/ 208597 h 1857375"/>
                <a:gd name="connsiteX505" fmla="*/ 401003 w 1323975"/>
                <a:gd name="connsiteY505" fmla="*/ 205740 h 1857375"/>
                <a:gd name="connsiteX506" fmla="*/ 401003 w 1323975"/>
                <a:gd name="connsiteY506" fmla="*/ 202882 h 1857375"/>
                <a:gd name="connsiteX507" fmla="*/ 410528 w 1323975"/>
                <a:gd name="connsiteY507" fmla="*/ 187642 h 1857375"/>
                <a:gd name="connsiteX508" fmla="*/ 413385 w 1323975"/>
                <a:gd name="connsiteY508" fmla="*/ 183832 h 1857375"/>
                <a:gd name="connsiteX509" fmla="*/ 416243 w 1323975"/>
                <a:gd name="connsiteY509" fmla="*/ 181928 h 1857375"/>
                <a:gd name="connsiteX510" fmla="*/ 428625 w 1323975"/>
                <a:gd name="connsiteY510" fmla="*/ 177165 h 1857375"/>
                <a:gd name="connsiteX511" fmla="*/ 431483 w 1323975"/>
                <a:gd name="connsiteY511" fmla="*/ 174307 h 1857375"/>
                <a:gd name="connsiteX512" fmla="*/ 433388 w 1323975"/>
                <a:gd name="connsiteY512" fmla="*/ 170497 h 1857375"/>
                <a:gd name="connsiteX513" fmla="*/ 434340 w 1323975"/>
                <a:gd name="connsiteY513" fmla="*/ 163830 h 1857375"/>
                <a:gd name="connsiteX514" fmla="*/ 435293 w 1323975"/>
                <a:gd name="connsiteY514" fmla="*/ 159067 h 1857375"/>
                <a:gd name="connsiteX515" fmla="*/ 439103 w 1323975"/>
                <a:gd name="connsiteY515" fmla="*/ 150495 h 1857375"/>
                <a:gd name="connsiteX516" fmla="*/ 444818 w 1323975"/>
                <a:gd name="connsiteY516" fmla="*/ 144780 h 1857375"/>
                <a:gd name="connsiteX517" fmla="*/ 564833 w 1323975"/>
                <a:gd name="connsiteY517" fmla="*/ 70485 h 1857375"/>
                <a:gd name="connsiteX518" fmla="*/ 568643 w 1323975"/>
                <a:gd name="connsiteY518" fmla="*/ 65722 h 1857375"/>
                <a:gd name="connsiteX519" fmla="*/ 570548 w 1323975"/>
                <a:gd name="connsiteY519" fmla="*/ 61913 h 1857375"/>
                <a:gd name="connsiteX520" fmla="*/ 569595 w 1323975"/>
                <a:gd name="connsiteY520" fmla="*/ 60007 h 1857375"/>
                <a:gd name="connsiteX521" fmla="*/ 561975 w 1323975"/>
                <a:gd name="connsiteY521" fmla="*/ 48578 h 1857375"/>
                <a:gd name="connsiteX522" fmla="*/ 559118 w 1323975"/>
                <a:gd name="connsiteY522" fmla="*/ 45720 h 1857375"/>
                <a:gd name="connsiteX523" fmla="*/ 556260 w 1323975"/>
                <a:gd name="connsiteY523" fmla="*/ 44767 h 1857375"/>
                <a:gd name="connsiteX524" fmla="*/ 544830 w 1323975"/>
                <a:gd name="connsiteY524" fmla="*/ 45720 h 1857375"/>
                <a:gd name="connsiteX525" fmla="*/ 524828 w 1323975"/>
                <a:gd name="connsiteY525" fmla="*/ 42863 h 1857375"/>
                <a:gd name="connsiteX526" fmla="*/ 518160 w 1323975"/>
                <a:gd name="connsiteY526" fmla="*/ 40957 h 1857375"/>
                <a:gd name="connsiteX527" fmla="*/ 515303 w 1323975"/>
                <a:gd name="connsiteY527" fmla="*/ 40005 h 1857375"/>
                <a:gd name="connsiteX528" fmla="*/ 513398 w 1323975"/>
                <a:gd name="connsiteY528" fmla="*/ 38100 h 1857375"/>
                <a:gd name="connsiteX529" fmla="*/ 513398 w 1323975"/>
                <a:gd name="connsiteY529" fmla="*/ 36195 h 1857375"/>
                <a:gd name="connsiteX530" fmla="*/ 529590 w 1323975"/>
                <a:gd name="connsiteY530" fmla="*/ 8572 h 1857375"/>
                <a:gd name="connsiteX531" fmla="*/ 532448 w 1323975"/>
                <a:gd name="connsiteY531" fmla="*/ 4763 h 1857375"/>
                <a:gd name="connsiteX532" fmla="*/ 536258 w 1323975"/>
                <a:gd name="connsiteY532" fmla="*/ 3810 h 1857375"/>
                <a:gd name="connsiteX533" fmla="*/ 586740 w 1323975"/>
                <a:gd name="connsiteY533" fmla="*/ 2857 h 1857375"/>
                <a:gd name="connsiteX534" fmla="*/ 654368 w 1323975"/>
                <a:gd name="connsiteY534" fmla="*/ 21907 h 1857375"/>
                <a:gd name="connsiteX535" fmla="*/ 678180 w 1323975"/>
                <a:gd name="connsiteY535" fmla="*/ 20955 h 1857375"/>
                <a:gd name="connsiteX536" fmla="*/ 686753 w 1323975"/>
                <a:gd name="connsiteY536" fmla="*/ 19050 h 1857375"/>
                <a:gd name="connsiteX537" fmla="*/ 689610 w 1323975"/>
                <a:gd name="connsiteY537" fmla="*/ 17145 h 1857375"/>
                <a:gd name="connsiteX538" fmla="*/ 691515 w 1323975"/>
                <a:gd name="connsiteY538" fmla="*/ 14288 h 1857375"/>
                <a:gd name="connsiteX539" fmla="*/ 692468 w 1323975"/>
                <a:gd name="connsiteY539" fmla="*/ 7620 h 1857375"/>
                <a:gd name="connsiteX540" fmla="*/ 694373 w 1323975"/>
                <a:gd name="connsiteY540" fmla="*/ 0 h 1857375"/>
                <a:gd name="connsiteX541" fmla="*/ 700088 w 1323975"/>
                <a:gd name="connsiteY541" fmla="*/ 0 h 1857375"/>
                <a:gd name="connsiteX542" fmla="*/ 704850 w 1323975"/>
                <a:gd name="connsiteY542" fmla="*/ 2857 h 1857375"/>
                <a:gd name="connsiteX543" fmla="*/ 711518 w 1323975"/>
                <a:gd name="connsiteY543" fmla="*/ 8572 h 1857375"/>
                <a:gd name="connsiteX544" fmla="*/ 714375 w 1323975"/>
                <a:gd name="connsiteY544" fmla="*/ 12382 h 1857375"/>
                <a:gd name="connsiteX545" fmla="*/ 719138 w 1323975"/>
                <a:gd name="connsiteY545" fmla="*/ 19050 h 1857375"/>
                <a:gd name="connsiteX546" fmla="*/ 721995 w 1323975"/>
                <a:gd name="connsiteY546" fmla="*/ 20003 h 1857375"/>
                <a:gd name="connsiteX547" fmla="*/ 724853 w 1323975"/>
                <a:gd name="connsiteY547" fmla="*/ 20955 h 1857375"/>
                <a:gd name="connsiteX548" fmla="*/ 734378 w 1323975"/>
                <a:gd name="connsiteY548" fmla="*/ 21907 h 1857375"/>
                <a:gd name="connsiteX549" fmla="*/ 737235 w 1323975"/>
                <a:gd name="connsiteY549" fmla="*/ 23813 h 1857375"/>
                <a:gd name="connsiteX550" fmla="*/ 740093 w 1323975"/>
                <a:gd name="connsiteY550" fmla="*/ 25717 h 1857375"/>
                <a:gd name="connsiteX551" fmla="*/ 740093 w 1323975"/>
                <a:gd name="connsiteY551" fmla="*/ 30480 h 1857375"/>
                <a:gd name="connsiteX552" fmla="*/ 738188 w 1323975"/>
                <a:gd name="connsiteY552" fmla="*/ 32385 h 1857375"/>
                <a:gd name="connsiteX553" fmla="*/ 735330 w 1323975"/>
                <a:gd name="connsiteY553" fmla="*/ 33338 h 1857375"/>
                <a:gd name="connsiteX554" fmla="*/ 721043 w 1323975"/>
                <a:gd name="connsiteY554" fmla="*/ 34290 h 1857375"/>
                <a:gd name="connsiteX555" fmla="*/ 719138 w 1323975"/>
                <a:gd name="connsiteY555" fmla="*/ 35242 h 1857375"/>
                <a:gd name="connsiteX556" fmla="*/ 716280 w 1323975"/>
                <a:gd name="connsiteY556" fmla="*/ 40957 h 1857375"/>
                <a:gd name="connsiteX557" fmla="*/ 713423 w 1323975"/>
                <a:gd name="connsiteY557" fmla="*/ 50482 h 1857375"/>
                <a:gd name="connsiteX558" fmla="*/ 713423 w 1323975"/>
                <a:gd name="connsiteY558" fmla="*/ 54292 h 1857375"/>
                <a:gd name="connsiteX559" fmla="*/ 715328 w 1323975"/>
                <a:gd name="connsiteY559" fmla="*/ 57150 h 1857375"/>
                <a:gd name="connsiteX560" fmla="*/ 719138 w 1323975"/>
                <a:gd name="connsiteY560" fmla="*/ 60960 h 1857375"/>
                <a:gd name="connsiteX561" fmla="*/ 742950 w 1323975"/>
                <a:gd name="connsiteY561" fmla="*/ 70485 h 1857375"/>
                <a:gd name="connsiteX562" fmla="*/ 757238 w 1323975"/>
                <a:gd name="connsiteY562" fmla="*/ 80010 h 1857375"/>
                <a:gd name="connsiteX563" fmla="*/ 762000 w 1323975"/>
                <a:gd name="connsiteY563" fmla="*/ 80963 h 1857375"/>
                <a:gd name="connsiteX564" fmla="*/ 764858 w 1323975"/>
                <a:gd name="connsiteY564" fmla="*/ 80010 h 1857375"/>
                <a:gd name="connsiteX565" fmla="*/ 766763 w 1323975"/>
                <a:gd name="connsiteY565" fmla="*/ 79057 h 1857375"/>
                <a:gd name="connsiteX566" fmla="*/ 781050 w 1323975"/>
                <a:gd name="connsiteY566" fmla="*/ 65722 h 1857375"/>
                <a:gd name="connsiteX567" fmla="*/ 782955 w 1323975"/>
                <a:gd name="connsiteY567" fmla="*/ 64770 h 1857375"/>
                <a:gd name="connsiteX568" fmla="*/ 785813 w 1323975"/>
                <a:gd name="connsiteY568" fmla="*/ 63817 h 1857375"/>
                <a:gd name="connsiteX569" fmla="*/ 807720 w 1323975"/>
                <a:gd name="connsiteY569" fmla="*/ 64770 h 1857375"/>
                <a:gd name="connsiteX570" fmla="*/ 809625 w 1323975"/>
                <a:gd name="connsiteY570" fmla="*/ 65722 h 1857375"/>
                <a:gd name="connsiteX571" fmla="*/ 811530 w 1323975"/>
                <a:gd name="connsiteY571" fmla="*/ 67628 h 1857375"/>
                <a:gd name="connsiteX572" fmla="*/ 811530 w 1323975"/>
                <a:gd name="connsiteY572" fmla="*/ 71438 h 1857375"/>
                <a:gd name="connsiteX573" fmla="*/ 807720 w 1323975"/>
                <a:gd name="connsiteY573" fmla="*/ 92392 h 1857375"/>
                <a:gd name="connsiteX574" fmla="*/ 807720 w 1323975"/>
                <a:gd name="connsiteY574" fmla="*/ 99060 h 1857375"/>
                <a:gd name="connsiteX575" fmla="*/ 807720 w 1323975"/>
                <a:gd name="connsiteY575" fmla="*/ 110490 h 1857375"/>
                <a:gd name="connsiteX576" fmla="*/ 806768 w 1323975"/>
                <a:gd name="connsiteY576" fmla="*/ 117157 h 1857375"/>
                <a:gd name="connsiteX577" fmla="*/ 803910 w 1323975"/>
                <a:gd name="connsiteY577" fmla="*/ 121920 h 1857375"/>
                <a:gd name="connsiteX578" fmla="*/ 798195 w 1323975"/>
                <a:gd name="connsiteY578" fmla="*/ 127635 h 1857375"/>
                <a:gd name="connsiteX579" fmla="*/ 796290 w 1323975"/>
                <a:gd name="connsiteY579" fmla="*/ 130492 h 1857375"/>
                <a:gd name="connsiteX580" fmla="*/ 797243 w 1323975"/>
                <a:gd name="connsiteY580" fmla="*/ 137160 h 1857375"/>
                <a:gd name="connsiteX581" fmla="*/ 800100 w 1323975"/>
                <a:gd name="connsiteY581" fmla="*/ 146685 h 1857375"/>
                <a:gd name="connsiteX582" fmla="*/ 815340 w 1323975"/>
                <a:gd name="connsiteY582" fmla="*/ 183832 h 1857375"/>
                <a:gd name="connsiteX583" fmla="*/ 815340 w 1323975"/>
                <a:gd name="connsiteY583" fmla="*/ 186690 h 1857375"/>
                <a:gd name="connsiteX584" fmla="*/ 815340 w 1323975"/>
                <a:gd name="connsiteY584" fmla="*/ 190500 h 1857375"/>
                <a:gd name="connsiteX585" fmla="*/ 813435 w 1323975"/>
                <a:gd name="connsiteY585" fmla="*/ 192405 h 1857375"/>
                <a:gd name="connsiteX586" fmla="*/ 811530 w 1323975"/>
                <a:gd name="connsiteY586" fmla="*/ 194310 h 1857375"/>
                <a:gd name="connsiteX587" fmla="*/ 809625 w 1323975"/>
                <a:gd name="connsiteY587" fmla="*/ 195263 h 1857375"/>
                <a:gd name="connsiteX588" fmla="*/ 801053 w 1323975"/>
                <a:gd name="connsiteY588" fmla="*/ 196215 h 1857375"/>
                <a:gd name="connsiteX589" fmla="*/ 798195 w 1323975"/>
                <a:gd name="connsiteY589" fmla="*/ 196215 h 1857375"/>
                <a:gd name="connsiteX590" fmla="*/ 797243 w 1323975"/>
                <a:gd name="connsiteY590" fmla="*/ 199072 h 1857375"/>
                <a:gd name="connsiteX591" fmla="*/ 797243 w 1323975"/>
                <a:gd name="connsiteY591" fmla="*/ 203835 h 1857375"/>
                <a:gd name="connsiteX592" fmla="*/ 796290 w 1323975"/>
                <a:gd name="connsiteY592" fmla="*/ 206692 h 1857375"/>
                <a:gd name="connsiteX593" fmla="*/ 794385 w 1323975"/>
                <a:gd name="connsiteY593" fmla="*/ 207645 h 1857375"/>
                <a:gd name="connsiteX594" fmla="*/ 787718 w 1323975"/>
                <a:gd name="connsiteY594" fmla="*/ 206692 h 1857375"/>
                <a:gd name="connsiteX595" fmla="*/ 784860 w 1323975"/>
                <a:gd name="connsiteY595" fmla="*/ 207645 h 1857375"/>
                <a:gd name="connsiteX596" fmla="*/ 782955 w 1323975"/>
                <a:gd name="connsiteY596" fmla="*/ 209550 h 1857375"/>
                <a:gd name="connsiteX597" fmla="*/ 782003 w 1323975"/>
                <a:gd name="connsiteY597" fmla="*/ 211455 h 1857375"/>
                <a:gd name="connsiteX598" fmla="*/ 779145 w 1323975"/>
                <a:gd name="connsiteY598" fmla="*/ 218122 h 1857375"/>
                <a:gd name="connsiteX599" fmla="*/ 779145 w 1323975"/>
                <a:gd name="connsiteY599" fmla="*/ 220980 h 1857375"/>
                <a:gd name="connsiteX600" fmla="*/ 780098 w 1323975"/>
                <a:gd name="connsiteY600" fmla="*/ 222885 h 1857375"/>
                <a:gd name="connsiteX601" fmla="*/ 782955 w 1323975"/>
                <a:gd name="connsiteY601" fmla="*/ 224790 h 1857375"/>
                <a:gd name="connsiteX602" fmla="*/ 789623 w 1323975"/>
                <a:gd name="connsiteY602" fmla="*/ 226695 h 1857375"/>
                <a:gd name="connsiteX603" fmla="*/ 793433 w 1323975"/>
                <a:gd name="connsiteY603" fmla="*/ 228600 h 1857375"/>
                <a:gd name="connsiteX604" fmla="*/ 798195 w 1323975"/>
                <a:gd name="connsiteY604" fmla="*/ 234315 h 1857375"/>
                <a:gd name="connsiteX605" fmla="*/ 802005 w 1323975"/>
                <a:gd name="connsiteY605" fmla="*/ 236220 h 1857375"/>
                <a:gd name="connsiteX606" fmla="*/ 804863 w 1323975"/>
                <a:gd name="connsiteY606" fmla="*/ 237172 h 1857375"/>
                <a:gd name="connsiteX607" fmla="*/ 864870 w 1323975"/>
                <a:gd name="connsiteY607" fmla="*/ 240982 h 1857375"/>
                <a:gd name="connsiteX608" fmla="*/ 885825 w 1323975"/>
                <a:gd name="connsiteY608" fmla="*/ 247650 h 1857375"/>
                <a:gd name="connsiteX609" fmla="*/ 887730 w 1323975"/>
                <a:gd name="connsiteY609" fmla="*/ 256222 h 1857375"/>
                <a:gd name="connsiteX610" fmla="*/ 893445 w 1323975"/>
                <a:gd name="connsiteY610" fmla="*/ 275272 h 1857375"/>
                <a:gd name="connsiteX611" fmla="*/ 895350 w 1323975"/>
                <a:gd name="connsiteY611" fmla="*/ 282892 h 1857375"/>
                <a:gd name="connsiteX612" fmla="*/ 896303 w 1323975"/>
                <a:gd name="connsiteY612" fmla="*/ 288607 h 1857375"/>
                <a:gd name="connsiteX613" fmla="*/ 896303 w 1323975"/>
                <a:gd name="connsiteY613" fmla="*/ 300038 h 1857375"/>
                <a:gd name="connsiteX614" fmla="*/ 896303 w 1323975"/>
                <a:gd name="connsiteY614" fmla="*/ 303847 h 1857375"/>
                <a:gd name="connsiteX615" fmla="*/ 898208 w 1323975"/>
                <a:gd name="connsiteY615" fmla="*/ 306705 h 1857375"/>
                <a:gd name="connsiteX616" fmla="*/ 902970 w 1323975"/>
                <a:gd name="connsiteY616" fmla="*/ 309563 h 1857375"/>
                <a:gd name="connsiteX617" fmla="*/ 910590 w 1323975"/>
                <a:gd name="connsiteY617" fmla="*/ 311467 h 1857375"/>
                <a:gd name="connsiteX618" fmla="*/ 913448 w 1323975"/>
                <a:gd name="connsiteY618" fmla="*/ 312420 h 1857375"/>
                <a:gd name="connsiteX619" fmla="*/ 920115 w 1323975"/>
                <a:gd name="connsiteY619" fmla="*/ 313372 h 1857375"/>
                <a:gd name="connsiteX620" fmla="*/ 922020 w 1323975"/>
                <a:gd name="connsiteY620" fmla="*/ 315278 h 1857375"/>
                <a:gd name="connsiteX621" fmla="*/ 922973 w 1323975"/>
                <a:gd name="connsiteY621" fmla="*/ 319088 h 1857375"/>
                <a:gd name="connsiteX622" fmla="*/ 922973 w 1323975"/>
                <a:gd name="connsiteY622" fmla="*/ 323850 h 1857375"/>
                <a:gd name="connsiteX623" fmla="*/ 922020 w 1323975"/>
                <a:gd name="connsiteY623" fmla="*/ 327660 h 1857375"/>
                <a:gd name="connsiteX624" fmla="*/ 922020 w 1323975"/>
                <a:gd name="connsiteY624" fmla="*/ 332422 h 1857375"/>
                <a:gd name="connsiteX625" fmla="*/ 923925 w 1323975"/>
                <a:gd name="connsiteY625" fmla="*/ 338138 h 1857375"/>
                <a:gd name="connsiteX626" fmla="*/ 928688 w 1323975"/>
                <a:gd name="connsiteY626" fmla="*/ 346710 h 1857375"/>
                <a:gd name="connsiteX627" fmla="*/ 930593 w 1323975"/>
                <a:gd name="connsiteY627" fmla="*/ 355282 h 1857375"/>
                <a:gd name="connsiteX628" fmla="*/ 931545 w 1323975"/>
                <a:gd name="connsiteY628" fmla="*/ 360997 h 1857375"/>
                <a:gd name="connsiteX629" fmla="*/ 930593 w 1323975"/>
                <a:gd name="connsiteY629" fmla="*/ 364807 h 1857375"/>
                <a:gd name="connsiteX630" fmla="*/ 927735 w 1323975"/>
                <a:gd name="connsiteY630" fmla="*/ 370522 h 1857375"/>
                <a:gd name="connsiteX631" fmla="*/ 924878 w 1323975"/>
                <a:gd name="connsiteY631" fmla="*/ 376238 h 1857375"/>
                <a:gd name="connsiteX632" fmla="*/ 918210 w 1323975"/>
                <a:gd name="connsiteY632" fmla="*/ 385763 h 1857375"/>
                <a:gd name="connsiteX633" fmla="*/ 917258 w 1323975"/>
                <a:gd name="connsiteY633" fmla="*/ 387667 h 1857375"/>
                <a:gd name="connsiteX634" fmla="*/ 915353 w 1323975"/>
                <a:gd name="connsiteY634" fmla="*/ 394335 h 1857375"/>
                <a:gd name="connsiteX635" fmla="*/ 915353 w 1323975"/>
                <a:gd name="connsiteY635" fmla="*/ 401003 h 1857375"/>
                <a:gd name="connsiteX636" fmla="*/ 917258 w 1323975"/>
                <a:gd name="connsiteY636" fmla="*/ 404813 h 1857375"/>
                <a:gd name="connsiteX637" fmla="*/ 919163 w 1323975"/>
                <a:gd name="connsiteY637" fmla="*/ 405765 h 1857375"/>
                <a:gd name="connsiteX638" fmla="*/ 929640 w 1323975"/>
                <a:gd name="connsiteY638" fmla="*/ 402907 h 1857375"/>
                <a:gd name="connsiteX639" fmla="*/ 932498 w 1323975"/>
                <a:gd name="connsiteY639" fmla="*/ 402907 h 1857375"/>
                <a:gd name="connsiteX640" fmla="*/ 935355 w 1323975"/>
                <a:gd name="connsiteY640" fmla="*/ 403860 h 1857375"/>
                <a:gd name="connsiteX641" fmla="*/ 936308 w 1323975"/>
                <a:gd name="connsiteY641" fmla="*/ 406717 h 1857375"/>
                <a:gd name="connsiteX642" fmla="*/ 935355 w 1323975"/>
                <a:gd name="connsiteY642" fmla="*/ 411480 h 1857375"/>
                <a:gd name="connsiteX643" fmla="*/ 933450 w 1323975"/>
                <a:gd name="connsiteY643" fmla="*/ 418147 h 1857375"/>
                <a:gd name="connsiteX644" fmla="*/ 924878 w 1323975"/>
                <a:gd name="connsiteY644" fmla="*/ 429578 h 1857375"/>
                <a:gd name="connsiteX645" fmla="*/ 912495 w 1323975"/>
                <a:gd name="connsiteY645" fmla="*/ 440055 h 1857375"/>
                <a:gd name="connsiteX646" fmla="*/ 909638 w 1323975"/>
                <a:gd name="connsiteY646" fmla="*/ 443865 h 1857375"/>
                <a:gd name="connsiteX647" fmla="*/ 907733 w 1323975"/>
                <a:gd name="connsiteY647" fmla="*/ 447675 h 1857375"/>
                <a:gd name="connsiteX648" fmla="*/ 905828 w 1323975"/>
                <a:gd name="connsiteY648" fmla="*/ 453390 h 1857375"/>
                <a:gd name="connsiteX649" fmla="*/ 905828 w 1323975"/>
                <a:gd name="connsiteY649" fmla="*/ 456247 h 1857375"/>
                <a:gd name="connsiteX650" fmla="*/ 907733 w 1323975"/>
                <a:gd name="connsiteY650" fmla="*/ 476250 h 1857375"/>
                <a:gd name="connsiteX651" fmla="*/ 909638 w 1323975"/>
                <a:gd name="connsiteY651" fmla="*/ 488632 h 1857375"/>
                <a:gd name="connsiteX652" fmla="*/ 909638 w 1323975"/>
                <a:gd name="connsiteY652" fmla="*/ 492442 h 1857375"/>
                <a:gd name="connsiteX653" fmla="*/ 908685 w 1323975"/>
                <a:gd name="connsiteY653" fmla="*/ 499110 h 1857375"/>
                <a:gd name="connsiteX654" fmla="*/ 908685 w 1323975"/>
                <a:gd name="connsiteY654" fmla="*/ 502920 h 1857375"/>
                <a:gd name="connsiteX655" fmla="*/ 909638 w 1323975"/>
                <a:gd name="connsiteY655" fmla="*/ 505778 h 1857375"/>
                <a:gd name="connsiteX656" fmla="*/ 916305 w 1323975"/>
                <a:gd name="connsiteY656" fmla="*/ 522922 h 1857375"/>
                <a:gd name="connsiteX657" fmla="*/ 917258 w 1323975"/>
                <a:gd name="connsiteY657" fmla="*/ 527685 h 1857375"/>
                <a:gd name="connsiteX658" fmla="*/ 917258 w 1323975"/>
                <a:gd name="connsiteY658" fmla="*/ 532447 h 1857375"/>
                <a:gd name="connsiteX659" fmla="*/ 916305 w 1323975"/>
                <a:gd name="connsiteY659" fmla="*/ 535305 h 1857375"/>
                <a:gd name="connsiteX660" fmla="*/ 912495 w 1323975"/>
                <a:gd name="connsiteY660" fmla="*/ 544830 h 1857375"/>
                <a:gd name="connsiteX661" fmla="*/ 911543 w 1323975"/>
                <a:gd name="connsiteY661" fmla="*/ 551497 h 1857375"/>
                <a:gd name="connsiteX662" fmla="*/ 913448 w 1323975"/>
                <a:gd name="connsiteY662" fmla="*/ 554355 h 1857375"/>
                <a:gd name="connsiteX663" fmla="*/ 915353 w 1323975"/>
                <a:gd name="connsiteY663" fmla="*/ 557213 h 1857375"/>
                <a:gd name="connsiteX664" fmla="*/ 921068 w 1323975"/>
                <a:gd name="connsiteY664" fmla="*/ 561975 h 1857375"/>
                <a:gd name="connsiteX665" fmla="*/ 927735 w 1323975"/>
                <a:gd name="connsiteY665" fmla="*/ 564832 h 1857375"/>
                <a:gd name="connsiteX666" fmla="*/ 935355 w 1323975"/>
                <a:gd name="connsiteY666" fmla="*/ 566738 h 1857375"/>
                <a:gd name="connsiteX667" fmla="*/ 938213 w 1323975"/>
                <a:gd name="connsiteY667" fmla="*/ 567690 h 1857375"/>
                <a:gd name="connsiteX668" fmla="*/ 940118 w 1323975"/>
                <a:gd name="connsiteY668" fmla="*/ 570547 h 1857375"/>
                <a:gd name="connsiteX669" fmla="*/ 941070 w 1323975"/>
                <a:gd name="connsiteY669" fmla="*/ 578167 h 1857375"/>
                <a:gd name="connsiteX670" fmla="*/ 940118 w 1323975"/>
                <a:gd name="connsiteY670" fmla="*/ 583882 h 1857375"/>
                <a:gd name="connsiteX671" fmla="*/ 937260 w 1323975"/>
                <a:gd name="connsiteY671" fmla="*/ 590550 h 1857375"/>
                <a:gd name="connsiteX672" fmla="*/ 935355 w 1323975"/>
                <a:gd name="connsiteY672" fmla="*/ 597217 h 1857375"/>
                <a:gd name="connsiteX673" fmla="*/ 934403 w 1323975"/>
                <a:gd name="connsiteY673" fmla="*/ 607695 h 1857375"/>
                <a:gd name="connsiteX674" fmla="*/ 934403 w 1323975"/>
                <a:gd name="connsiteY674" fmla="*/ 613410 h 1857375"/>
                <a:gd name="connsiteX675" fmla="*/ 934403 w 1323975"/>
                <a:gd name="connsiteY675" fmla="*/ 619125 h 1857375"/>
                <a:gd name="connsiteX676" fmla="*/ 935355 w 1323975"/>
                <a:gd name="connsiteY676" fmla="*/ 622935 h 1857375"/>
                <a:gd name="connsiteX677" fmla="*/ 938213 w 1323975"/>
                <a:gd name="connsiteY677" fmla="*/ 626745 h 1857375"/>
                <a:gd name="connsiteX678" fmla="*/ 945833 w 1323975"/>
                <a:gd name="connsiteY678" fmla="*/ 631507 h 1857375"/>
                <a:gd name="connsiteX679" fmla="*/ 949643 w 1323975"/>
                <a:gd name="connsiteY679" fmla="*/ 634365 h 1857375"/>
                <a:gd name="connsiteX680" fmla="*/ 954405 w 1323975"/>
                <a:gd name="connsiteY680" fmla="*/ 635317 h 1857375"/>
                <a:gd name="connsiteX681" fmla="*/ 957263 w 1323975"/>
                <a:gd name="connsiteY681" fmla="*/ 635317 h 1857375"/>
                <a:gd name="connsiteX682" fmla="*/ 960120 w 1323975"/>
                <a:gd name="connsiteY682" fmla="*/ 636270 h 1857375"/>
                <a:gd name="connsiteX683" fmla="*/ 966788 w 1323975"/>
                <a:gd name="connsiteY683" fmla="*/ 640080 h 1857375"/>
                <a:gd name="connsiteX684" fmla="*/ 969645 w 1323975"/>
                <a:gd name="connsiteY684" fmla="*/ 641032 h 1857375"/>
                <a:gd name="connsiteX685" fmla="*/ 972503 w 1323975"/>
                <a:gd name="connsiteY685" fmla="*/ 641032 h 1857375"/>
                <a:gd name="connsiteX686" fmla="*/ 977265 w 1323975"/>
                <a:gd name="connsiteY686" fmla="*/ 637222 h 1857375"/>
                <a:gd name="connsiteX687" fmla="*/ 980123 w 1323975"/>
                <a:gd name="connsiteY687" fmla="*/ 633413 h 1857375"/>
                <a:gd name="connsiteX688" fmla="*/ 982028 w 1323975"/>
                <a:gd name="connsiteY688" fmla="*/ 631507 h 1857375"/>
                <a:gd name="connsiteX689" fmla="*/ 984885 w 1323975"/>
                <a:gd name="connsiteY689" fmla="*/ 632460 h 1857375"/>
                <a:gd name="connsiteX690" fmla="*/ 988695 w 1323975"/>
                <a:gd name="connsiteY690" fmla="*/ 636270 h 1857375"/>
                <a:gd name="connsiteX691" fmla="*/ 994410 w 1323975"/>
                <a:gd name="connsiteY691" fmla="*/ 646747 h 1857375"/>
                <a:gd name="connsiteX692" fmla="*/ 997268 w 1323975"/>
                <a:gd name="connsiteY692" fmla="*/ 652463 h 1857375"/>
                <a:gd name="connsiteX693" fmla="*/ 999173 w 1323975"/>
                <a:gd name="connsiteY693" fmla="*/ 661988 h 1857375"/>
                <a:gd name="connsiteX694" fmla="*/ 1001078 w 1323975"/>
                <a:gd name="connsiteY694" fmla="*/ 664845 h 1857375"/>
                <a:gd name="connsiteX695" fmla="*/ 1004888 w 1323975"/>
                <a:gd name="connsiteY695" fmla="*/ 668655 h 1857375"/>
                <a:gd name="connsiteX696" fmla="*/ 1015365 w 1323975"/>
                <a:gd name="connsiteY696" fmla="*/ 677228 h 1857375"/>
                <a:gd name="connsiteX697" fmla="*/ 1021080 w 1323975"/>
                <a:gd name="connsiteY697" fmla="*/ 684847 h 1857375"/>
                <a:gd name="connsiteX698" fmla="*/ 1027748 w 1323975"/>
                <a:gd name="connsiteY698" fmla="*/ 700088 h 1857375"/>
                <a:gd name="connsiteX699" fmla="*/ 1029653 w 1323975"/>
                <a:gd name="connsiteY699" fmla="*/ 703897 h 1857375"/>
                <a:gd name="connsiteX700" fmla="*/ 1028700 w 1323975"/>
                <a:gd name="connsiteY700" fmla="*/ 707707 h 1857375"/>
                <a:gd name="connsiteX701" fmla="*/ 1026795 w 1323975"/>
                <a:gd name="connsiteY701" fmla="*/ 713422 h 1857375"/>
                <a:gd name="connsiteX702" fmla="*/ 1022985 w 1323975"/>
                <a:gd name="connsiteY702" fmla="*/ 717232 h 1857375"/>
                <a:gd name="connsiteX703" fmla="*/ 1019175 w 1323975"/>
                <a:gd name="connsiteY703" fmla="*/ 719138 h 1857375"/>
                <a:gd name="connsiteX704" fmla="*/ 995363 w 1323975"/>
                <a:gd name="connsiteY704" fmla="*/ 722947 h 1857375"/>
                <a:gd name="connsiteX705" fmla="*/ 992505 w 1323975"/>
                <a:gd name="connsiteY705" fmla="*/ 724853 h 1857375"/>
                <a:gd name="connsiteX706" fmla="*/ 990600 w 1323975"/>
                <a:gd name="connsiteY706" fmla="*/ 726757 h 1857375"/>
                <a:gd name="connsiteX707" fmla="*/ 990600 w 1323975"/>
                <a:gd name="connsiteY707" fmla="*/ 731520 h 1857375"/>
                <a:gd name="connsiteX708" fmla="*/ 992505 w 1323975"/>
                <a:gd name="connsiteY708" fmla="*/ 737235 h 1857375"/>
                <a:gd name="connsiteX709" fmla="*/ 995363 w 1323975"/>
                <a:gd name="connsiteY709" fmla="*/ 746760 h 1857375"/>
                <a:gd name="connsiteX710" fmla="*/ 998220 w 1323975"/>
                <a:gd name="connsiteY710" fmla="*/ 757238 h 1857375"/>
                <a:gd name="connsiteX711" fmla="*/ 1000125 w 1323975"/>
                <a:gd name="connsiteY711" fmla="*/ 760095 h 1857375"/>
                <a:gd name="connsiteX712" fmla="*/ 1002983 w 1323975"/>
                <a:gd name="connsiteY712" fmla="*/ 762953 h 1857375"/>
                <a:gd name="connsiteX713" fmla="*/ 1009650 w 1323975"/>
                <a:gd name="connsiteY713" fmla="*/ 765810 h 1857375"/>
                <a:gd name="connsiteX714" fmla="*/ 1018223 w 1323975"/>
                <a:gd name="connsiteY714" fmla="*/ 767715 h 1857375"/>
                <a:gd name="connsiteX715" fmla="*/ 1070610 w 1323975"/>
                <a:gd name="connsiteY715" fmla="*/ 762000 h 1857375"/>
                <a:gd name="connsiteX716" fmla="*/ 1073468 w 1323975"/>
                <a:gd name="connsiteY716" fmla="*/ 762953 h 1857375"/>
                <a:gd name="connsiteX717" fmla="*/ 1075373 w 1323975"/>
                <a:gd name="connsiteY717" fmla="*/ 765810 h 1857375"/>
                <a:gd name="connsiteX718" fmla="*/ 1079183 w 1323975"/>
                <a:gd name="connsiteY718" fmla="*/ 772478 h 1857375"/>
                <a:gd name="connsiteX719" fmla="*/ 1081088 w 1323975"/>
                <a:gd name="connsiteY719" fmla="*/ 780097 h 1857375"/>
                <a:gd name="connsiteX720" fmla="*/ 1082993 w 1323975"/>
                <a:gd name="connsiteY720" fmla="*/ 787717 h 1857375"/>
                <a:gd name="connsiteX721" fmla="*/ 1084898 w 1323975"/>
                <a:gd name="connsiteY721" fmla="*/ 795338 h 1857375"/>
                <a:gd name="connsiteX722" fmla="*/ 1093471 w 1323975"/>
                <a:gd name="connsiteY722" fmla="*/ 814388 h 1857375"/>
                <a:gd name="connsiteX723" fmla="*/ 1095375 w 1323975"/>
                <a:gd name="connsiteY723" fmla="*/ 819150 h 1857375"/>
                <a:gd name="connsiteX724" fmla="*/ 1094423 w 1323975"/>
                <a:gd name="connsiteY724" fmla="*/ 822007 h 1857375"/>
                <a:gd name="connsiteX725" fmla="*/ 1093471 w 1323975"/>
                <a:gd name="connsiteY725" fmla="*/ 828675 h 1857375"/>
                <a:gd name="connsiteX726" fmla="*/ 1091565 w 1323975"/>
                <a:gd name="connsiteY726" fmla="*/ 838200 h 1857375"/>
                <a:gd name="connsiteX727" fmla="*/ 1093471 w 1323975"/>
                <a:gd name="connsiteY727" fmla="*/ 841057 h 1857375"/>
                <a:gd name="connsiteX728" fmla="*/ 1096328 w 1323975"/>
                <a:gd name="connsiteY728" fmla="*/ 844867 h 1857375"/>
                <a:gd name="connsiteX729" fmla="*/ 1106805 w 1323975"/>
                <a:gd name="connsiteY729" fmla="*/ 851535 h 1857375"/>
                <a:gd name="connsiteX730" fmla="*/ 1173480 w 1323975"/>
                <a:gd name="connsiteY730" fmla="*/ 877253 h 1857375"/>
                <a:gd name="connsiteX731" fmla="*/ 1203960 w 1323975"/>
                <a:gd name="connsiteY731" fmla="*/ 895350 h 1857375"/>
                <a:gd name="connsiteX732" fmla="*/ 1205865 w 1323975"/>
                <a:gd name="connsiteY732" fmla="*/ 897255 h 1857375"/>
                <a:gd name="connsiteX733" fmla="*/ 1207771 w 1323975"/>
                <a:gd name="connsiteY733" fmla="*/ 901065 h 1857375"/>
                <a:gd name="connsiteX734" fmla="*/ 1208723 w 1323975"/>
                <a:gd name="connsiteY734" fmla="*/ 908685 h 1857375"/>
                <a:gd name="connsiteX735" fmla="*/ 1207771 w 1323975"/>
                <a:gd name="connsiteY735" fmla="*/ 912495 h 1857375"/>
                <a:gd name="connsiteX736" fmla="*/ 1206818 w 1323975"/>
                <a:gd name="connsiteY736" fmla="*/ 916305 h 1857375"/>
                <a:gd name="connsiteX737" fmla="*/ 1202055 w 1323975"/>
                <a:gd name="connsiteY737" fmla="*/ 922972 h 1857375"/>
                <a:gd name="connsiteX738" fmla="*/ 1198246 w 1323975"/>
                <a:gd name="connsiteY738" fmla="*/ 931545 h 1857375"/>
                <a:gd name="connsiteX739" fmla="*/ 1196340 w 1323975"/>
                <a:gd name="connsiteY739" fmla="*/ 938213 h 1857375"/>
                <a:gd name="connsiteX740" fmla="*/ 1199198 w 1323975"/>
                <a:gd name="connsiteY740" fmla="*/ 942975 h 1857375"/>
                <a:gd name="connsiteX741" fmla="*/ 1204913 w 1323975"/>
                <a:gd name="connsiteY741" fmla="*/ 948690 h 1857375"/>
                <a:gd name="connsiteX742" fmla="*/ 1218248 w 1323975"/>
                <a:gd name="connsiteY742" fmla="*/ 961072 h 1857375"/>
                <a:gd name="connsiteX743" fmla="*/ 1224915 w 1323975"/>
                <a:gd name="connsiteY743" fmla="*/ 964882 h 1857375"/>
                <a:gd name="connsiteX744" fmla="*/ 1229678 w 1323975"/>
                <a:gd name="connsiteY744" fmla="*/ 966788 h 1857375"/>
                <a:gd name="connsiteX745" fmla="*/ 1266825 w 1323975"/>
                <a:gd name="connsiteY745" fmla="*/ 965835 h 1857375"/>
                <a:gd name="connsiteX746" fmla="*/ 1316355 w 1323975"/>
                <a:gd name="connsiteY746" fmla="*/ 977265 h 1857375"/>
                <a:gd name="connsiteX747" fmla="*/ 1318260 w 1323975"/>
                <a:gd name="connsiteY747" fmla="*/ 982028 h 1857375"/>
                <a:gd name="connsiteX748" fmla="*/ 1320165 w 1323975"/>
                <a:gd name="connsiteY748" fmla="*/ 989647 h 1857375"/>
                <a:gd name="connsiteX749" fmla="*/ 1318260 w 1323975"/>
                <a:gd name="connsiteY749" fmla="*/ 1015365 h 1857375"/>
                <a:gd name="connsiteX750" fmla="*/ 1318260 w 1323975"/>
                <a:gd name="connsiteY750" fmla="*/ 1022032 h 1857375"/>
                <a:gd name="connsiteX751" fmla="*/ 1321118 w 1323975"/>
                <a:gd name="connsiteY751" fmla="*/ 1027747 h 1857375"/>
                <a:gd name="connsiteX752" fmla="*/ 1323023 w 1323975"/>
                <a:gd name="connsiteY752" fmla="*/ 1031557 h 1857375"/>
                <a:gd name="connsiteX753" fmla="*/ 1325880 w 1323975"/>
                <a:gd name="connsiteY753" fmla="*/ 1033463 h 1857375"/>
                <a:gd name="connsiteX754" fmla="*/ 1330643 w 1323975"/>
                <a:gd name="connsiteY754" fmla="*/ 1036320 h 1857375"/>
                <a:gd name="connsiteX755" fmla="*/ 1331596 w 1323975"/>
                <a:gd name="connsiteY755" fmla="*/ 1047750 h 1857375"/>
                <a:gd name="connsiteX756" fmla="*/ 1322071 w 1323975"/>
                <a:gd name="connsiteY756" fmla="*/ 1088707 h 1857375"/>
                <a:gd name="connsiteX757" fmla="*/ 1321118 w 1323975"/>
                <a:gd name="connsiteY757" fmla="*/ 1095375 h 18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</a:cxnLst>
              <a:rect l="l" t="t" r="r" b="b"/>
              <a:pathLst>
                <a:path w="1323975" h="1857375">
                  <a:moveTo>
                    <a:pt x="1321118" y="1095375"/>
                  </a:moveTo>
                  <a:lnTo>
                    <a:pt x="1237298" y="1092517"/>
                  </a:lnTo>
                  <a:lnTo>
                    <a:pt x="1212533" y="1102042"/>
                  </a:lnTo>
                  <a:lnTo>
                    <a:pt x="1194435" y="1124903"/>
                  </a:lnTo>
                  <a:lnTo>
                    <a:pt x="1181100" y="1155382"/>
                  </a:lnTo>
                  <a:lnTo>
                    <a:pt x="1171575" y="1191578"/>
                  </a:lnTo>
                  <a:lnTo>
                    <a:pt x="1167765" y="1223963"/>
                  </a:lnTo>
                  <a:lnTo>
                    <a:pt x="1162050" y="1236345"/>
                  </a:lnTo>
                  <a:lnTo>
                    <a:pt x="1150621" y="1237298"/>
                  </a:lnTo>
                  <a:lnTo>
                    <a:pt x="1132523" y="1230630"/>
                  </a:lnTo>
                  <a:lnTo>
                    <a:pt x="1123950" y="1231582"/>
                  </a:lnTo>
                  <a:lnTo>
                    <a:pt x="1114425" y="1239203"/>
                  </a:lnTo>
                  <a:lnTo>
                    <a:pt x="1094423" y="1262063"/>
                  </a:lnTo>
                  <a:lnTo>
                    <a:pt x="1084898" y="1270635"/>
                  </a:lnTo>
                  <a:lnTo>
                    <a:pt x="1071563" y="1276350"/>
                  </a:lnTo>
                  <a:lnTo>
                    <a:pt x="961073" y="1291590"/>
                  </a:lnTo>
                  <a:lnTo>
                    <a:pt x="942975" y="1303973"/>
                  </a:lnTo>
                  <a:lnTo>
                    <a:pt x="929640" y="1325880"/>
                  </a:lnTo>
                  <a:lnTo>
                    <a:pt x="919163" y="1353503"/>
                  </a:lnTo>
                  <a:lnTo>
                    <a:pt x="912495" y="1381125"/>
                  </a:lnTo>
                  <a:lnTo>
                    <a:pt x="913448" y="1436370"/>
                  </a:lnTo>
                  <a:lnTo>
                    <a:pt x="910590" y="1458278"/>
                  </a:lnTo>
                  <a:lnTo>
                    <a:pt x="898208" y="1482090"/>
                  </a:lnTo>
                  <a:lnTo>
                    <a:pt x="882015" y="1503998"/>
                  </a:lnTo>
                  <a:lnTo>
                    <a:pt x="875348" y="1518285"/>
                  </a:lnTo>
                  <a:lnTo>
                    <a:pt x="874395" y="1530667"/>
                  </a:lnTo>
                  <a:lnTo>
                    <a:pt x="881063" y="1538288"/>
                  </a:lnTo>
                  <a:lnTo>
                    <a:pt x="890588" y="1540192"/>
                  </a:lnTo>
                  <a:lnTo>
                    <a:pt x="910590" y="1536382"/>
                  </a:lnTo>
                  <a:lnTo>
                    <a:pt x="920115" y="1537335"/>
                  </a:lnTo>
                  <a:lnTo>
                    <a:pt x="928688" y="1541145"/>
                  </a:lnTo>
                  <a:lnTo>
                    <a:pt x="933450" y="1549717"/>
                  </a:lnTo>
                  <a:lnTo>
                    <a:pt x="931545" y="1564957"/>
                  </a:lnTo>
                  <a:lnTo>
                    <a:pt x="924878" y="1576388"/>
                  </a:lnTo>
                  <a:lnTo>
                    <a:pt x="914400" y="1584007"/>
                  </a:lnTo>
                  <a:lnTo>
                    <a:pt x="902018" y="1589723"/>
                  </a:lnTo>
                  <a:lnTo>
                    <a:pt x="892493" y="1597342"/>
                  </a:lnTo>
                  <a:lnTo>
                    <a:pt x="882015" y="1614488"/>
                  </a:lnTo>
                  <a:lnTo>
                    <a:pt x="878205" y="1638300"/>
                  </a:lnTo>
                  <a:lnTo>
                    <a:pt x="881063" y="1662113"/>
                  </a:lnTo>
                  <a:lnTo>
                    <a:pt x="888683" y="1684020"/>
                  </a:lnTo>
                  <a:lnTo>
                    <a:pt x="878205" y="1694498"/>
                  </a:lnTo>
                  <a:lnTo>
                    <a:pt x="849630" y="1734503"/>
                  </a:lnTo>
                  <a:lnTo>
                    <a:pt x="831533" y="1743075"/>
                  </a:lnTo>
                  <a:lnTo>
                    <a:pt x="843915" y="1718310"/>
                  </a:lnTo>
                  <a:lnTo>
                    <a:pt x="842963" y="1705928"/>
                  </a:lnTo>
                  <a:lnTo>
                    <a:pt x="829628" y="1700213"/>
                  </a:lnTo>
                  <a:lnTo>
                    <a:pt x="812483" y="1686878"/>
                  </a:lnTo>
                  <a:lnTo>
                    <a:pt x="809625" y="1687830"/>
                  </a:lnTo>
                  <a:lnTo>
                    <a:pt x="806768" y="1690688"/>
                  </a:lnTo>
                  <a:lnTo>
                    <a:pt x="793433" y="1698307"/>
                  </a:lnTo>
                  <a:lnTo>
                    <a:pt x="788670" y="1700213"/>
                  </a:lnTo>
                  <a:lnTo>
                    <a:pt x="768668" y="1692592"/>
                  </a:lnTo>
                  <a:lnTo>
                    <a:pt x="754380" y="1689735"/>
                  </a:lnTo>
                  <a:lnTo>
                    <a:pt x="748665" y="1693545"/>
                  </a:lnTo>
                  <a:lnTo>
                    <a:pt x="701993" y="1684973"/>
                  </a:lnTo>
                  <a:lnTo>
                    <a:pt x="644843" y="1705928"/>
                  </a:lnTo>
                  <a:lnTo>
                    <a:pt x="621983" y="1705928"/>
                  </a:lnTo>
                  <a:lnTo>
                    <a:pt x="553403" y="1693545"/>
                  </a:lnTo>
                  <a:lnTo>
                    <a:pt x="535305" y="1700213"/>
                  </a:lnTo>
                  <a:lnTo>
                    <a:pt x="501968" y="1736407"/>
                  </a:lnTo>
                  <a:lnTo>
                    <a:pt x="446723" y="1814513"/>
                  </a:lnTo>
                  <a:lnTo>
                    <a:pt x="433388" y="1842135"/>
                  </a:lnTo>
                  <a:lnTo>
                    <a:pt x="423863" y="1854517"/>
                  </a:lnTo>
                  <a:lnTo>
                    <a:pt x="412433" y="1860232"/>
                  </a:lnTo>
                  <a:lnTo>
                    <a:pt x="415290" y="1840230"/>
                  </a:lnTo>
                  <a:lnTo>
                    <a:pt x="402908" y="1824990"/>
                  </a:lnTo>
                  <a:lnTo>
                    <a:pt x="384810" y="1815465"/>
                  </a:lnTo>
                  <a:lnTo>
                    <a:pt x="367665" y="1812607"/>
                  </a:lnTo>
                  <a:lnTo>
                    <a:pt x="357188" y="1815465"/>
                  </a:lnTo>
                  <a:lnTo>
                    <a:pt x="333375" y="1834515"/>
                  </a:lnTo>
                  <a:lnTo>
                    <a:pt x="272415" y="1858328"/>
                  </a:lnTo>
                  <a:lnTo>
                    <a:pt x="267653" y="1859280"/>
                  </a:lnTo>
                  <a:lnTo>
                    <a:pt x="252413" y="1829753"/>
                  </a:lnTo>
                  <a:lnTo>
                    <a:pt x="251460" y="1824038"/>
                  </a:lnTo>
                  <a:lnTo>
                    <a:pt x="252413" y="1820228"/>
                  </a:lnTo>
                  <a:lnTo>
                    <a:pt x="255270" y="1815465"/>
                  </a:lnTo>
                  <a:lnTo>
                    <a:pt x="257175" y="1813560"/>
                  </a:lnTo>
                  <a:lnTo>
                    <a:pt x="272415" y="1799273"/>
                  </a:lnTo>
                  <a:lnTo>
                    <a:pt x="274320" y="1797367"/>
                  </a:lnTo>
                  <a:lnTo>
                    <a:pt x="280035" y="1793557"/>
                  </a:lnTo>
                  <a:lnTo>
                    <a:pt x="282893" y="1793557"/>
                  </a:lnTo>
                  <a:lnTo>
                    <a:pt x="290513" y="1797367"/>
                  </a:lnTo>
                  <a:lnTo>
                    <a:pt x="293370" y="1798320"/>
                  </a:lnTo>
                  <a:lnTo>
                    <a:pt x="295275" y="1798320"/>
                  </a:lnTo>
                  <a:lnTo>
                    <a:pt x="300038" y="1796415"/>
                  </a:lnTo>
                  <a:lnTo>
                    <a:pt x="307658" y="1790700"/>
                  </a:lnTo>
                  <a:lnTo>
                    <a:pt x="308610" y="1786890"/>
                  </a:lnTo>
                  <a:lnTo>
                    <a:pt x="307658" y="1782128"/>
                  </a:lnTo>
                  <a:lnTo>
                    <a:pt x="297180" y="1764030"/>
                  </a:lnTo>
                  <a:lnTo>
                    <a:pt x="299085" y="1759267"/>
                  </a:lnTo>
                  <a:lnTo>
                    <a:pt x="302895" y="1755457"/>
                  </a:lnTo>
                  <a:lnTo>
                    <a:pt x="308610" y="1749742"/>
                  </a:lnTo>
                  <a:lnTo>
                    <a:pt x="310515" y="1747838"/>
                  </a:lnTo>
                  <a:lnTo>
                    <a:pt x="311468" y="1744980"/>
                  </a:lnTo>
                  <a:lnTo>
                    <a:pt x="309563" y="1742123"/>
                  </a:lnTo>
                  <a:lnTo>
                    <a:pt x="305753" y="1737360"/>
                  </a:lnTo>
                  <a:lnTo>
                    <a:pt x="303848" y="1735455"/>
                  </a:lnTo>
                  <a:lnTo>
                    <a:pt x="295275" y="1729740"/>
                  </a:lnTo>
                  <a:lnTo>
                    <a:pt x="286703" y="1720215"/>
                  </a:lnTo>
                  <a:lnTo>
                    <a:pt x="282893" y="1719263"/>
                  </a:lnTo>
                  <a:lnTo>
                    <a:pt x="279083" y="1722120"/>
                  </a:lnTo>
                  <a:lnTo>
                    <a:pt x="275273" y="1728788"/>
                  </a:lnTo>
                  <a:lnTo>
                    <a:pt x="273368" y="1728788"/>
                  </a:lnTo>
                  <a:lnTo>
                    <a:pt x="271463" y="1727835"/>
                  </a:lnTo>
                  <a:lnTo>
                    <a:pt x="253365" y="1712595"/>
                  </a:lnTo>
                  <a:lnTo>
                    <a:pt x="250508" y="1709738"/>
                  </a:lnTo>
                  <a:lnTo>
                    <a:pt x="248603" y="1704975"/>
                  </a:lnTo>
                  <a:lnTo>
                    <a:pt x="242888" y="1681163"/>
                  </a:lnTo>
                  <a:lnTo>
                    <a:pt x="238125" y="1672590"/>
                  </a:lnTo>
                  <a:lnTo>
                    <a:pt x="230505" y="1659255"/>
                  </a:lnTo>
                  <a:lnTo>
                    <a:pt x="227648" y="1655445"/>
                  </a:lnTo>
                  <a:lnTo>
                    <a:pt x="225743" y="1653540"/>
                  </a:lnTo>
                  <a:lnTo>
                    <a:pt x="216218" y="1647825"/>
                  </a:lnTo>
                  <a:lnTo>
                    <a:pt x="193358" y="1638300"/>
                  </a:lnTo>
                  <a:lnTo>
                    <a:pt x="188595" y="1635442"/>
                  </a:lnTo>
                  <a:lnTo>
                    <a:pt x="176213" y="1622107"/>
                  </a:lnTo>
                  <a:lnTo>
                    <a:pt x="173355" y="1618298"/>
                  </a:lnTo>
                  <a:lnTo>
                    <a:pt x="171450" y="1613535"/>
                  </a:lnTo>
                  <a:lnTo>
                    <a:pt x="173355" y="1610678"/>
                  </a:lnTo>
                  <a:lnTo>
                    <a:pt x="176213" y="1609725"/>
                  </a:lnTo>
                  <a:lnTo>
                    <a:pt x="179070" y="1608773"/>
                  </a:lnTo>
                  <a:lnTo>
                    <a:pt x="206693" y="1606867"/>
                  </a:lnTo>
                  <a:lnTo>
                    <a:pt x="211455" y="1604963"/>
                  </a:lnTo>
                  <a:lnTo>
                    <a:pt x="215265" y="1602105"/>
                  </a:lnTo>
                  <a:lnTo>
                    <a:pt x="216218" y="1596390"/>
                  </a:lnTo>
                  <a:lnTo>
                    <a:pt x="214313" y="1576388"/>
                  </a:lnTo>
                  <a:lnTo>
                    <a:pt x="213360" y="1571625"/>
                  </a:lnTo>
                  <a:lnTo>
                    <a:pt x="212408" y="1566863"/>
                  </a:lnTo>
                  <a:lnTo>
                    <a:pt x="204788" y="1550670"/>
                  </a:lnTo>
                  <a:lnTo>
                    <a:pt x="201930" y="1544003"/>
                  </a:lnTo>
                  <a:lnTo>
                    <a:pt x="201930" y="1535430"/>
                  </a:lnTo>
                  <a:lnTo>
                    <a:pt x="202883" y="1532573"/>
                  </a:lnTo>
                  <a:lnTo>
                    <a:pt x="204788" y="1529715"/>
                  </a:lnTo>
                  <a:lnTo>
                    <a:pt x="209550" y="1527810"/>
                  </a:lnTo>
                  <a:lnTo>
                    <a:pt x="214313" y="1526857"/>
                  </a:lnTo>
                  <a:lnTo>
                    <a:pt x="219075" y="1531620"/>
                  </a:lnTo>
                  <a:lnTo>
                    <a:pt x="221933" y="1531620"/>
                  </a:lnTo>
                  <a:lnTo>
                    <a:pt x="227648" y="1532573"/>
                  </a:lnTo>
                  <a:lnTo>
                    <a:pt x="229553" y="1532573"/>
                  </a:lnTo>
                  <a:lnTo>
                    <a:pt x="235268" y="1538288"/>
                  </a:lnTo>
                  <a:lnTo>
                    <a:pt x="241935" y="1540192"/>
                  </a:lnTo>
                  <a:lnTo>
                    <a:pt x="251460" y="1541145"/>
                  </a:lnTo>
                  <a:lnTo>
                    <a:pt x="262890" y="1541145"/>
                  </a:lnTo>
                  <a:lnTo>
                    <a:pt x="281940" y="1534478"/>
                  </a:lnTo>
                  <a:lnTo>
                    <a:pt x="283845" y="1532573"/>
                  </a:lnTo>
                  <a:lnTo>
                    <a:pt x="285750" y="1530667"/>
                  </a:lnTo>
                  <a:lnTo>
                    <a:pt x="286703" y="1527810"/>
                  </a:lnTo>
                  <a:lnTo>
                    <a:pt x="286703" y="1524953"/>
                  </a:lnTo>
                  <a:lnTo>
                    <a:pt x="286703" y="1516380"/>
                  </a:lnTo>
                  <a:lnTo>
                    <a:pt x="286703" y="1513523"/>
                  </a:lnTo>
                  <a:lnTo>
                    <a:pt x="288608" y="1507807"/>
                  </a:lnTo>
                  <a:lnTo>
                    <a:pt x="293370" y="1500188"/>
                  </a:lnTo>
                  <a:lnTo>
                    <a:pt x="296228" y="1494473"/>
                  </a:lnTo>
                  <a:lnTo>
                    <a:pt x="298133" y="1487805"/>
                  </a:lnTo>
                  <a:lnTo>
                    <a:pt x="300038" y="1482090"/>
                  </a:lnTo>
                  <a:lnTo>
                    <a:pt x="303848" y="1478280"/>
                  </a:lnTo>
                  <a:lnTo>
                    <a:pt x="307658" y="1475423"/>
                  </a:lnTo>
                  <a:lnTo>
                    <a:pt x="309563" y="1474470"/>
                  </a:lnTo>
                  <a:lnTo>
                    <a:pt x="314325" y="1474470"/>
                  </a:lnTo>
                  <a:lnTo>
                    <a:pt x="319088" y="1476375"/>
                  </a:lnTo>
                  <a:lnTo>
                    <a:pt x="320993" y="1477328"/>
                  </a:lnTo>
                  <a:lnTo>
                    <a:pt x="326708" y="1483042"/>
                  </a:lnTo>
                  <a:lnTo>
                    <a:pt x="330518" y="1489710"/>
                  </a:lnTo>
                  <a:lnTo>
                    <a:pt x="332423" y="1494473"/>
                  </a:lnTo>
                  <a:lnTo>
                    <a:pt x="333375" y="1495425"/>
                  </a:lnTo>
                  <a:lnTo>
                    <a:pt x="338138" y="1494473"/>
                  </a:lnTo>
                  <a:lnTo>
                    <a:pt x="341948" y="1491615"/>
                  </a:lnTo>
                  <a:lnTo>
                    <a:pt x="344805" y="1487805"/>
                  </a:lnTo>
                  <a:lnTo>
                    <a:pt x="345758" y="1484948"/>
                  </a:lnTo>
                  <a:lnTo>
                    <a:pt x="343853" y="1478280"/>
                  </a:lnTo>
                  <a:lnTo>
                    <a:pt x="343853" y="1471613"/>
                  </a:lnTo>
                  <a:lnTo>
                    <a:pt x="343853" y="1465898"/>
                  </a:lnTo>
                  <a:lnTo>
                    <a:pt x="344805" y="1463040"/>
                  </a:lnTo>
                  <a:lnTo>
                    <a:pt x="346710" y="1456373"/>
                  </a:lnTo>
                  <a:lnTo>
                    <a:pt x="352425" y="1445895"/>
                  </a:lnTo>
                  <a:lnTo>
                    <a:pt x="352425" y="1443038"/>
                  </a:lnTo>
                  <a:lnTo>
                    <a:pt x="352425" y="1436370"/>
                  </a:lnTo>
                  <a:lnTo>
                    <a:pt x="354330" y="1430655"/>
                  </a:lnTo>
                  <a:lnTo>
                    <a:pt x="361950" y="1415415"/>
                  </a:lnTo>
                  <a:lnTo>
                    <a:pt x="363855" y="1412557"/>
                  </a:lnTo>
                  <a:lnTo>
                    <a:pt x="363855" y="1409700"/>
                  </a:lnTo>
                  <a:lnTo>
                    <a:pt x="362903" y="1407795"/>
                  </a:lnTo>
                  <a:lnTo>
                    <a:pt x="359093" y="1406842"/>
                  </a:lnTo>
                  <a:lnTo>
                    <a:pt x="349568" y="1406842"/>
                  </a:lnTo>
                  <a:lnTo>
                    <a:pt x="327660" y="1403032"/>
                  </a:lnTo>
                  <a:lnTo>
                    <a:pt x="324803" y="1403985"/>
                  </a:lnTo>
                  <a:lnTo>
                    <a:pt x="322898" y="1405890"/>
                  </a:lnTo>
                  <a:lnTo>
                    <a:pt x="321945" y="1410653"/>
                  </a:lnTo>
                  <a:lnTo>
                    <a:pt x="318135" y="1413510"/>
                  </a:lnTo>
                  <a:lnTo>
                    <a:pt x="315278" y="1413510"/>
                  </a:lnTo>
                  <a:lnTo>
                    <a:pt x="312420" y="1410653"/>
                  </a:lnTo>
                  <a:lnTo>
                    <a:pt x="301943" y="1394460"/>
                  </a:lnTo>
                  <a:lnTo>
                    <a:pt x="300038" y="1392555"/>
                  </a:lnTo>
                  <a:lnTo>
                    <a:pt x="259080" y="1356360"/>
                  </a:lnTo>
                  <a:lnTo>
                    <a:pt x="244793" y="1338263"/>
                  </a:lnTo>
                  <a:lnTo>
                    <a:pt x="240983" y="1334453"/>
                  </a:lnTo>
                  <a:lnTo>
                    <a:pt x="218123" y="1320165"/>
                  </a:lnTo>
                  <a:lnTo>
                    <a:pt x="214313" y="1319213"/>
                  </a:lnTo>
                  <a:lnTo>
                    <a:pt x="210503" y="1319213"/>
                  </a:lnTo>
                  <a:lnTo>
                    <a:pt x="197168" y="1330642"/>
                  </a:lnTo>
                  <a:lnTo>
                    <a:pt x="193358" y="1333500"/>
                  </a:lnTo>
                  <a:lnTo>
                    <a:pt x="191453" y="1335405"/>
                  </a:lnTo>
                  <a:lnTo>
                    <a:pt x="184785" y="1331595"/>
                  </a:lnTo>
                  <a:lnTo>
                    <a:pt x="176213" y="1323023"/>
                  </a:lnTo>
                  <a:lnTo>
                    <a:pt x="155258" y="1300163"/>
                  </a:lnTo>
                  <a:lnTo>
                    <a:pt x="146685" y="1292542"/>
                  </a:lnTo>
                  <a:lnTo>
                    <a:pt x="140970" y="1288732"/>
                  </a:lnTo>
                  <a:lnTo>
                    <a:pt x="124778" y="1295400"/>
                  </a:lnTo>
                  <a:lnTo>
                    <a:pt x="119063" y="1296353"/>
                  </a:lnTo>
                  <a:lnTo>
                    <a:pt x="117158" y="1295400"/>
                  </a:lnTo>
                  <a:lnTo>
                    <a:pt x="115253" y="1292542"/>
                  </a:lnTo>
                  <a:lnTo>
                    <a:pt x="114300" y="1287780"/>
                  </a:lnTo>
                  <a:lnTo>
                    <a:pt x="115253" y="1283017"/>
                  </a:lnTo>
                  <a:lnTo>
                    <a:pt x="117158" y="1273492"/>
                  </a:lnTo>
                  <a:lnTo>
                    <a:pt x="117158" y="1270635"/>
                  </a:lnTo>
                  <a:lnTo>
                    <a:pt x="115253" y="1268730"/>
                  </a:lnTo>
                  <a:lnTo>
                    <a:pt x="105728" y="1266825"/>
                  </a:lnTo>
                  <a:lnTo>
                    <a:pt x="103823" y="1264920"/>
                  </a:lnTo>
                  <a:lnTo>
                    <a:pt x="101918" y="1262063"/>
                  </a:lnTo>
                  <a:lnTo>
                    <a:pt x="100013" y="1258253"/>
                  </a:lnTo>
                  <a:lnTo>
                    <a:pt x="100013" y="1251585"/>
                  </a:lnTo>
                  <a:lnTo>
                    <a:pt x="100965" y="1248728"/>
                  </a:lnTo>
                  <a:lnTo>
                    <a:pt x="103823" y="1247775"/>
                  </a:lnTo>
                  <a:lnTo>
                    <a:pt x="108585" y="1245870"/>
                  </a:lnTo>
                  <a:lnTo>
                    <a:pt x="113348" y="1243965"/>
                  </a:lnTo>
                  <a:lnTo>
                    <a:pt x="115253" y="1242060"/>
                  </a:lnTo>
                  <a:lnTo>
                    <a:pt x="115253" y="1240155"/>
                  </a:lnTo>
                  <a:lnTo>
                    <a:pt x="114300" y="1238250"/>
                  </a:lnTo>
                  <a:lnTo>
                    <a:pt x="110490" y="1236345"/>
                  </a:lnTo>
                  <a:lnTo>
                    <a:pt x="97155" y="1233488"/>
                  </a:lnTo>
                  <a:lnTo>
                    <a:pt x="94298" y="1230630"/>
                  </a:lnTo>
                  <a:lnTo>
                    <a:pt x="90488" y="1225867"/>
                  </a:lnTo>
                  <a:lnTo>
                    <a:pt x="83820" y="1205865"/>
                  </a:lnTo>
                  <a:lnTo>
                    <a:pt x="68580" y="1173480"/>
                  </a:lnTo>
                  <a:lnTo>
                    <a:pt x="67628" y="1168717"/>
                  </a:lnTo>
                  <a:lnTo>
                    <a:pt x="66675" y="1157288"/>
                  </a:lnTo>
                  <a:lnTo>
                    <a:pt x="65723" y="1151573"/>
                  </a:lnTo>
                  <a:lnTo>
                    <a:pt x="64770" y="1149667"/>
                  </a:lnTo>
                  <a:lnTo>
                    <a:pt x="62865" y="1148715"/>
                  </a:lnTo>
                  <a:lnTo>
                    <a:pt x="59055" y="1148715"/>
                  </a:lnTo>
                  <a:lnTo>
                    <a:pt x="45720" y="1150620"/>
                  </a:lnTo>
                  <a:lnTo>
                    <a:pt x="40005" y="1150620"/>
                  </a:lnTo>
                  <a:lnTo>
                    <a:pt x="33338" y="1149667"/>
                  </a:lnTo>
                  <a:lnTo>
                    <a:pt x="27623" y="1146810"/>
                  </a:lnTo>
                  <a:lnTo>
                    <a:pt x="24765" y="1138238"/>
                  </a:lnTo>
                  <a:lnTo>
                    <a:pt x="23813" y="1105853"/>
                  </a:lnTo>
                  <a:lnTo>
                    <a:pt x="20003" y="1087755"/>
                  </a:lnTo>
                  <a:lnTo>
                    <a:pt x="18098" y="1084898"/>
                  </a:lnTo>
                  <a:lnTo>
                    <a:pt x="15240" y="1082040"/>
                  </a:lnTo>
                  <a:lnTo>
                    <a:pt x="7620" y="1080135"/>
                  </a:lnTo>
                  <a:lnTo>
                    <a:pt x="2858" y="1077278"/>
                  </a:lnTo>
                  <a:lnTo>
                    <a:pt x="953" y="1074420"/>
                  </a:lnTo>
                  <a:lnTo>
                    <a:pt x="0" y="1071563"/>
                  </a:lnTo>
                  <a:lnTo>
                    <a:pt x="0" y="1064895"/>
                  </a:lnTo>
                  <a:lnTo>
                    <a:pt x="953" y="1062038"/>
                  </a:lnTo>
                  <a:lnTo>
                    <a:pt x="1905" y="1057275"/>
                  </a:lnTo>
                  <a:lnTo>
                    <a:pt x="3810" y="1055370"/>
                  </a:lnTo>
                  <a:lnTo>
                    <a:pt x="5715" y="1053465"/>
                  </a:lnTo>
                  <a:lnTo>
                    <a:pt x="14288" y="1053465"/>
                  </a:lnTo>
                  <a:lnTo>
                    <a:pt x="18098" y="1052513"/>
                  </a:lnTo>
                  <a:lnTo>
                    <a:pt x="21908" y="1049655"/>
                  </a:lnTo>
                  <a:lnTo>
                    <a:pt x="24765" y="1047750"/>
                  </a:lnTo>
                  <a:lnTo>
                    <a:pt x="28575" y="1047750"/>
                  </a:lnTo>
                  <a:lnTo>
                    <a:pt x="45720" y="1046797"/>
                  </a:lnTo>
                  <a:lnTo>
                    <a:pt x="51435" y="1045845"/>
                  </a:lnTo>
                  <a:lnTo>
                    <a:pt x="54293" y="1044892"/>
                  </a:lnTo>
                  <a:lnTo>
                    <a:pt x="54293" y="1040130"/>
                  </a:lnTo>
                  <a:lnTo>
                    <a:pt x="50483" y="1033463"/>
                  </a:lnTo>
                  <a:lnTo>
                    <a:pt x="44768" y="1019175"/>
                  </a:lnTo>
                  <a:lnTo>
                    <a:pt x="43815" y="1016317"/>
                  </a:lnTo>
                  <a:lnTo>
                    <a:pt x="41910" y="1015365"/>
                  </a:lnTo>
                  <a:lnTo>
                    <a:pt x="39053" y="1014413"/>
                  </a:lnTo>
                  <a:lnTo>
                    <a:pt x="29528" y="1012507"/>
                  </a:lnTo>
                  <a:lnTo>
                    <a:pt x="26670" y="1010603"/>
                  </a:lnTo>
                  <a:lnTo>
                    <a:pt x="23813" y="1005840"/>
                  </a:lnTo>
                  <a:lnTo>
                    <a:pt x="23813" y="997267"/>
                  </a:lnTo>
                  <a:lnTo>
                    <a:pt x="21908" y="986790"/>
                  </a:lnTo>
                  <a:lnTo>
                    <a:pt x="20955" y="982980"/>
                  </a:lnTo>
                  <a:lnTo>
                    <a:pt x="23813" y="937260"/>
                  </a:lnTo>
                  <a:lnTo>
                    <a:pt x="24765" y="929640"/>
                  </a:lnTo>
                  <a:lnTo>
                    <a:pt x="26670" y="924878"/>
                  </a:lnTo>
                  <a:lnTo>
                    <a:pt x="30480" y="920115"/>
                  </a:lnTo>
                  <a:lnTo>
                    <a:pt x="35243" y="918210"/>
                  </a:lnTo>
                  <a:lnTo>
                    <a:pt x="38100" y="918210"/>
                  </a:lnTo>
                  <a:lnTo>
                    <a:pt x="47625" y="918210"/>
                  </a:lnTo>
                  <a:lnTo>
                    <a:pt x="64770" y="913447"/>
                  </a:lnTo>
                  <a:lnTo>
                    <a:pt x="70485" y="913447"/>
                  </a:lnTo>
                  <a:lnTo>
                    <a:pt x="101918" y="922972"/>
                  </a:lnTo>
                  <a:lnTo>
                    <a:pt x="103823" y="924878"/>
                  </a:lnTo>
                  <a:lnTo>
                    <a:pt x="107633" y="928688"/>
                  </a:lnTo>
                  <a:lnTo>
                    <a:pt x="109538" y="936307"/>
                  </a:lnTo>
                  <a:lnTo>
                    <a:pt x="111443" y="938213"/>
                  </a:lnTo>
                  <a:lnTo>
                    <a:pt x="116205" y="941070"/>
                  </a:lnTo>
                  <a:lnTo>
                    <a:pt x="136208" y="946785"/>
                  </a:lnTo>
                  <a:lnTo>
                    <a:pt x="154305" y="956310"/>
                  </a:lnTo>
                  <a:lnTo>
                    <a:pt x="157163" y="957263"/>
                  </a:lnTo>
                  <a:lnTo>
                    <a:pt x="162878" y="955357"/>
                  </a:lnTo>
                  <a:lnTo>
                    <a:pt x="168593" y="951547"/>
                  </a:lnTo>
                  <a:lnTo>
                    <a:pt x="181928" y="940117"/>
                  </a:lnTo>
                  <a:lnTo>
                    <a:pt x="187643" y="934403"/>
                  </a:lnTo>
                  <a:lnTo>
                    <a:pt x="190500" y="929640"/>
                  </a:lnTo>
                  <a:lnTo>
                    <a:pt x="191453" y="926782"/>
                  </a:lnTo>
                  <a:lnTo>
                    <a:pt x="191453" y="920115"/>
                  </a:lnTo>
                  <a:lnTo>
                    <a:pt x="190500" y="909638"/>
                  </a:lnTo>
                  <a:lnTo>
                    <a:pt x="189548" y="903922"/>
                  </a:lnTo>
                  <a:lnTo>
                    <a:pt x="183833" y="889635"/>
                  </a:lnTo>
                  <a:lnTo>
                    <a:pt x="182880" y="883920"/>
                  </a:lnTo>
                  <a:lnTo>
                    <a:pt x="179070" y="862965"/>
                  </a:lnTo>
                  <a:lnTo>
                    <a:pt x="179070" y="855345"/>
                  </a:lnTo>
                  <a:lnTo>
                    <a:pt x="180023" y="850582"/>
                  </a:lnTo>
                  <a:lnTo>
                    <a:pt x="181928" y="847725"/>
                  </a:lnTo>
                  <a:lnTo>
                    <a:pt x="183833" y="845820"/>
                  </a:lnTo>
                  <a:lnTo>
                    <a:pt x="189548" y="844867"/>
                  </a:lnTo>
                  <a:lnTo>
                    <a:pt x="193358" y="842963"/>
                  </a:lnTo>
                  <a:lnTo>
                    <a:pt x="197168" y="840105"/>
                  </a:lnTo>
                  <a:lnTo>
                    <a:pt x="204788" y="832485"/>
                  </a:lnTo>
                  <a:lnTo>
                    <a:pt x="207645" y="827722"/>
                  </a:lnTo>
                  <a:lnTo>
                    <a:pt x="208598" y="823913"/>
                  </a:lnTo>
                  <a:lnTo>
                    <a:pt x="208598" y="821055"/>
                  </a:lnTo>
                  <a:lnTo>
                    <a:pt x="207645" y="812482"/>
                  </a:lnTo>
                  <a:lnTo>
                    <a:pt x="206693" y="804863"/>
                  </a:lnTo>
                  <a:lnTo>
                    <a:pt x="201930" y="774382"/>
                  </a:lnTo>
                  <a:lnTo>
                    <a:pt x="199073" y="763905"/>
                  </a:lnTo>
                  <a:lnTo>
                    <a:pt x="198120" y="758190"/>
                  </a:lnTo>
                  <a:lnTo>
                    <a:pt x="198120" y="749617"/>
                  </a:lnTo>
                  <a:lnTo>
                    <a:pt x="197168" y="747713"/>
                  </a:lnTo>
                  <a:lnTo>
                    <a:pt x="195263" y="745807"/>
                  </a:lnTo>
                  <a:lnTo>
                    <a:pt x="192405" y="743903"/>
                  </a:lnTo>
                  <a:lnTo>
                    <a:pt x="180975" y="741997"/>
                  </a:lnTo>
                  <a:lnTo>
                    <a:pt x="179070" y="741045"/>
                  </a:lnTo>
                  <a:lnTo>
                    <a:pt x="177165" y="739140"/>
                  </a:lnTo>
                  <a:lnTo>
                    <a:pt x="176213" y="734378"/>
                  </a:lnTo>
                  <a:lnTo>
                    <a:pt x="175260" y="732472"/>
                  </a:lnTo>
                  <a:lnTo>
                    <a:pt x="172403" y="731520"/>
                  </a:lnTo>
                  <a:lnTo>
                    <a:pt x="167640" y="730567"/>
                  </a:lnTo>
                  <a:lnTo>
                    <a:pt x="161925" y="731520"/>
                  </a:lnTo>
                  <a:lnTo>
                    <a:pt x="155258" y="734378"/>
                  </a:lnTo>
                  <a:lnTo>
                    <a:pt x="152400" y="734378"/>
                  </a:lnTo>
                  <a:lnTo>
                    <a:pt x="150495" y="732472"/>
                  </a:lnTo>
                  <a:lnTo>
                    <a:pt x="149543" y="730567"/>
                  </a:lnTo>
                  <a:lnTo>
                    <a:pt x="148590" y="724853"/>
                  </a:lnTo>
                  <a:lnTo>
                    <a:pt x="148590" y="721042"/>
                  </a:lnTo>
                  <a:lnTo>
                    <a:pt x="151448" y="703897"/>
                  </a:lnTo>
                  <a:lnTo>
                    <a:pt x="152400" y="700088"/>
                  </a:lnTo>
                  <a:lnTo>
                    <a:pt x="149543" y="677228"/>
                  </a:lnTo>
                  <a:lnTo>
                    <a:pt x="147638" y="665797"/>
                  </a:lnTo>
                  <a:lnTo>
                    <a:pt x="146685" y="661988"/>
                  </a:lnTo>
                  <a:lnTo>
                    <a:pt x="146685" y="655320"/>
                  </a:lnTo>
                  <a:lnTo>
                    <a:pt x="147638" y="652463"/>
                  </a:lnTo>
                  <a:lnTo>
                    <a:pt x="149543" y="650557"/>
                  </a:lnTo>
                  <a:lnTo>
                    <a:pt x="161925" y="644842"/>
                  </a:lnTo>
                  <a:lnTo>
                    <a:pt x="164783" y="642938"/>
                  </a:lnTo>
                  <a:lnTo>
                    <a:pt x="166688" y="639128"/>
                  </a:lnTo>
                  <a:lnTo>
                    <a:pt x="166688" y="637222"/>
                  </a:lnTo>
                  <a:lnTo>
                    <a:pt x="161925" y="633413"/>
                  </a:lnTo>
                  <a:lnTo>
                    <a:pt x="160020" y="629603"/>
                  </a:lnTo>
                  <a:lnTo>
                    <a:pt x="160973" y="605790"/>
                  </a:lnTo>
                  <a:lnTo>
                    <a:pt x="161925" y="601980"/>
                  </a:lnTo>
                  <a:lnTo>
                    <a:pt x="163830" y="600075"/>
                  </a:lnTo>
                  <a:lnTo>
                    <a:pt x="169545" y="597217"/>
                  </a:lnTo>
                  <a:lnTo>
                    <a:pt x="171450" y="595313"/>
                  </a:lnTo>
                  <a:lnTo>
                    <a:pt x="172403" y="592455"/>
                  </a:lnTo>
                  <a:lnTo>
                    <a:pt x="172403" y="590550"/>
                  </a:lnTo>
                  <a:lnTo>
                    <a:pt x="171450" y="583882"/>
                  </a:lnTo>
                  <a:lnTo>
                    <a:pt x="169545" y="576263"/>
                  </a:lnTo>
                  <a:lnTo>
                    <a:pt x="170498" y="573405"/>
                  </a:lnTo>
                  <a:lnTo>
                    <a:pt x="172403" y="571500"/>
                  </a:lnTo>
                  <a:lnTo>
                    <a:pt x="179070" y="568642"/>
                  </a:lnTo>
                  <a:lnTo>
                    <a:pt x="184785" y="565785"/>
                  </a:lnTo>
                  <a:lnTo>
                    <a:pt x="188595" y="562928"/>
                  </a:lnTo>
                  <a:lnTo>
                    <a:pt x="189548" y="560070"/>
                  </a:lnTo>
                  <a:lnTo>
                    <a:pt x="190500" y="556260"/>
                  </a:lnTo>
                  <a:lnTo>
                    <a:pt x="189548" y="539115"/>
                  </a:lnTo>
                  <a:lnTo>
                    <a:pt x="188595" y="530542"/>
                  </a:lnTo>
                  <a:lnTo>
                    <a:pt x="186690" y="525780"/>
                  </a:lnTo>
                  <a:lnTo>
                    <a:pt x="185738" y="523875"/>
                  </a:lnTo>
                  <a:lnTo>
                    <a:pt x="183833" y="521970"/>
                  </a:lnTo>
                  <a:lnTo>
                    <a:pt x="178118" y="521017"/>
                  </a:lnTo>
                  <a:lnTo>
                    <a:pt x="155258" y="522922"/>
                  </a:lnTo>
                  <a:lnTo>
                    <a:pt x="152400" y="523875"/>
                  </a:lnTo>
                  <a:lnTo>
                    <a:pt x="149543" y="526732"/>
                  </a:lnTo>
                  <a:lnTo>
                    <a:pt x="146685" y="531495"/>
                  </a:lnTo>
                  <a:lnTo>
                    <a:pt x="145733" y="535305"/>
                  </a:lnTo>
                  <a:lnTo>
                    <a:pt x="141923" y="553403"/>
                  </a:lnTo>
                  <a:lnTo>
                    <a:pt x="139065" y="559117"/>
                  </a:lnTo>
                  <a:lnTo>
                    <a:pt x="137160" y="561022"/>
                  </a:lnTo>
                  <a:lnTo>
                    <a:pt x="135255" y="561975"/>
                  </a:lnTo>
                  <a:lnTo>
                    <a:pt x="118110" y="563880"/>
                  </a:lnTo>
                  <a:lnTo>
                    <a:pt x="116205" y="562928"/>
                  </a:lnTo>
                  <a:lnTo>
                    <a:pt x="115253" y="561975"/>
                  </a:lnTo>
                  <a:lnTo>
                    <a:pt x="114300" y="560070"/>
                  </a:lnTo>
                  <a:lnTo>
                    <a:pt x="114300" y="555307"/>
                  </a:lnTo>
                  <a:lnTo>
                    <a:pt x="114300" y="540067"/>
                  </a:lnTo>
                  <a:lnTo>
                    <a:pt x="115253" y="535305"/>
                  </a:lnTo>
                  <a:lnTo>
                    <a:pt x="117158" y="533400"/>
                  </a:lnTo>
                  <a:lnTo>
                    <a:pt x="121920" y="529590"/>
                  </a:lnTo>
                  <a:lnTo>
                    <a:pt x="127635" y="518160"/>
                  </a:lnTo>
                  <a:lnTo>
                    <a:pt x="129540" y="516255"/>
                  </a:lnTo>
                  <a:lnTo>
                    <a:pt x="134303" y="513397"/>
                  </a:lnTo>
                  <a:lnTo>
                    <a:pt x="136208" y="510540"/>
                  </a:lnTo>
                  <a:lnTo>
                    <a:pt x="137160" y="505778"/>
                  </a:lnTo>
                  <a:lnTo>
                    <a:pt x="135255" y="503872"/>
                  </a:lnTo>
                  <a:lnTo>
                    <a:pt x="133350" y="502920"/>
                  </a:lnTo>
                  <a:lnTo>
                    <a:pt x="130493" y="502920"/>
                  </a:lnTo>
                  <a:lnTo>
                    <a:pt x="112395" y="505778"/>
                  </a:lnTo>
                  <a:lnTo>
                    <a:pt x="109538" y="505778"/>
                  </a:lnTo>
                  <a:lnTo>
                    <a:pt x="107633" y="503872"/>
                  </a:lnTo>
                  <a:lnTo>
                    <a:pt x="105728" y="500063"/>
                  </a:lnTo>
                  <a:lnTo>
                    <a:pt x="104775" y="493395"/>
                  </a:lnTo>
                  <a:lnTo>
                    <a:pt x="102870" y="486728"/>
                  </a:lnTo>
                  <a:lnTo>
                    <a:pt x="95250" y="467678"/>
                  </a:lnTo>
                  <a:lnTo>
                    <a:pt x="93345" y="458153"/>
                  </a:lnTo>
                  <a:lnTo>
                    <a:pt x="95250" y="436245"/>
                  </a:lnTo>
                  <a:lnTo>
                    <a:pt x="94298" y="421957"/>
                  </a:lnTo>
                  <a:lnTo>
                    <a:pt x="94298" y="415290"/>
                  </a:lnTo>
                  <a:lnTo>
                    <a:pt x="85725" y="380047"/>
                  </a:lnTo>
                  <a:lnTo>
                    <a:pt x="83820" y="371475"/>
                  </a:lnTo>
                  <a:lnTo>
                    <a:pt x="83820" y="364807"/>
                  </a:lnTo>
                  <a:lnTo>
                    <a:pt x="85725" y="361950"/>
                  </a:lnTo>
                  <a:lnTo>
                    <a:pt x="87630" y="358140"/>
                  </a:lnTo>
                  <a:lnTo>
                    <a:pt x="90488" y="356235"/>
                  </a:lnTo>
                  <a:lnTo>
                    <a:pt x="93345" y="355282"/>
                  </a:lnTo>
                  <a:lnTo>
                    <a:pt x="99060" y="355282"/>
                  </a:lnTo>
                  <a:lnTo>
                    <a:pt x="105728" y="357188"/>
                  </a:lnTo>
                  <a:lnTo>
                    <a:pt x="120968" y="365760"/>
                  </a:lnTo>
                  <a:lnTo>
                    <a:pt x="127635" y="367665"/>
                  </a:lnTo>
                  <a:lnTo>
                    <a:pt x="152400" y="369570"/>
                  </a:lnTo>
                  <a:lnTo>
                    <a:pt x="155258" y="368617"/>
                  </a:lnTo>
                  <a:lnTo>
                    <a:pt x="160973" y="362903"/>
                  </a:lnTo>
                  <a:lnTo>
                    <a:pt x="166688" y="357188"/>
                  </a:lnTo>
                  <a:lnTo>
                    <a:pt x="174308" y="350520"/>
                  </a:lnTo>
                  <a:lnTo>
                    <a:pt x="176213" y="349567"/>
                  </a:lnTo>
                  <a:lnTo>
                    <a:pt x="181928" y="347663"/>
                  </a:lnTo>
                  <a:lnTo>
                    <a:pt x="186690" y="346710"/>
                  </a:lnTo>
                  <a:lnTo>
                    <a:pt x="189548" y="346710"/>
                  </a:lnTo>
                  <a:lnTo>
                    <a:pt x="196215" y="347663"/>
                  </a:lnTo>
                  <a:lnTo>
                    <a:pt x="246698" y="373380"/>
                  </a:lnTo>
                  <a:lnTo>
                    <a:pt x="252413" y="378142"/>
                  </a:lnTo>
                  <a:lnTo>
                    <a:pt x="255270" y="379095"/>
                  </a:lnTo>
                  <a:lnTo>
                    <a:pt x="260033" y="380047"/>
                  </a:lnTo>
                  <a:lnTo>
                    <a:pt x="262890" y="378142"/>
                  </a:lnTo>
                  <a:lnTo>
                    <a:pt x="264795" y="376238"/>
                  </a:lnTo>
                  <a:lnTo>
                    <a:pt x="264795" y="372428"/>
                  </a:lnTo>
                  <a:lnTo>
                    <a:pt x="264795" y="369570"/>
                  </a:lnTo>
                  <a:lnTo>
                    <a:pt x="263843" y="367665"/>
                  </a:lnTo>
                  <a:lnTo>
                    <a:pt x="261938" y="365760"/>
                  </a:lnTo>
                  <a:lnTo>
                    <a:pt x="250508" y="360997"/>
                  </a:lnTo>
                  <a:lnTo>
                    <a:pt x="247650" y="358140"/>
                  </a:lnTo>
                  <a:lnTo>
                    <a:pt x="246698" y="356235"/>
                  </a:lnTo>
                  <a:lnTo>
                    <a:pt x="246698" y="351472"/>
                  </a:lnTo>
                  <a:lnTo>
                    <a:pt x="247650" y="348615"/>
                  </a:lnTo>
                  <a:lnTo>
                    <a:pt x="254318" y="339090"/>
                  </a:lnTo>
                  <a:lnTo>
                    <a:pt x="257175" y="336232"/>
                  </a:lnTo>
                  <a:lnTo>
                    <a:pt x="260033" y="335280"/>
                  </a:lnTo>
                  <a:lnTo>
                    <a:pt x="262890" y="335280"/>
                  </a:lnTo>
                  <a:lnTo>
                    <a:pt x="268605" y="338138"/>
                  </a:lnTo>
                  <a:lnTo>
                    <a:pt x="272415" y="339090"/>
                  </a:lnTo>
                  <a:lnTo>
                    <a:pt x="278130" y="339090"/>
                  </a:lnTo>
                  <a:lnTo>
                    <a:pt x="280988" y="338138"/>
                  </a:lnTo>
                  <a:lnTo>
                    <a:pt x="282893" y="335280"/>
                  </a:lnTo>
                  <a:lnTo>
                    <a:pt x="284798" y="323850"/>
                  </a:lnTo>
                  <a:lnTo>
                    <a:pt x="286703" y="318135"/>
                  </a:lnTo>
                  <a:lnTo>
                    <a:pt x="288608" y="315278"/>
                  </a:lnTo>
                  <a:lnTo>
                    <a:pt x="291465" y="313372"/>
                  </a:lnTo>
                  <a:lnTo>
                    <a:pt x="297180" y="313372"/>
                  </a:lnTo>
                  <a:lnTo>
                    <a:pt x="300038" y="313372"/>
                  </a:lnTo>
                  <a:lnTo>
                    <a:pt x="302895" y="314325"/>
                  </a:lnTo>
                  <a:lnTo>
                    <a:pt x="304800" y="316230"/>
                  </a:lnTo>
                  <a:lnTo>
                    <a:pt x="309563" y="322897"/>
                  </a:lnTo>
                  <a:lnTo>
                    <a:pt x="313373" y="326707"/>
                  </a:lnTo>
                  <a:lnTo>
                    <a:pt x="315278" y="328613"/>
                  </a:lnTo>
                  <a:lnTo>
                    <a:pt x="320993" y="329565"/>
                  </a:lnTo>
                  <a:lnTo>
                    <a:pt x="325755" y="329565"/>
                  </a:lnTo>
                  <a:lnTo>
                    <a:pt x="337185" y="326707"/>
                  </a:lnTo>
                  <a:lnTo>
                    <a:pt x="340995" y="324803"/>
                  </a:lnTo>
                  <a:lnTo>
                    <a:pt x="342900" y="321945"/>
                  </a:lnTo>
                  <a:lnTo>
                    <a:pt x="342900" y="319088"/>
                  </a:lnTo>
                  <a:lnTo>
                    <a:pt x="340995" y="304800"/>
                  </a:lnTo>
                  <a:lnTo>
                    <a:pt x="341948" y="301942"/>
                  </a:lnTo>
                  <a:lnTo>
                    <a:pt x="342900" y="298132"/>
                  </a:lnTo>
                  <a:lnTo>
                    <a:pt x="345758" y="293370"/>
                  </a:lnTo>
                  <a:lnTo>
                    <a:pt x="348615" y="291465"/>
                  </a:lnTo>
                  <a:lnTo>
                    <a:pt x="352425" y="290513"/>
                  </a:lnTo>
                  <a:lnTo>
                    <a:pt x="355283" y="288607"/>
                  </a:lnTo>
                  <a:lnTo>
                    <a:pt x="356235" y="285750"/>
                  </a:lnTo>
                  <a:lnTo>
                    <a:pt x="359093" y="279082"/>
                  </a:lnTo>
                  <a:lnTo>
                    <a:pt x="361950" y="271463"/>
                  </a:lnTo>
                  <a:lnTo>
                    <a:pt x="363855" y="268605"/>
                  </a:lnTo>
                  <a:lnTo>
                    <a:pt x="383858" y="254317"/>
                  </a:lnTo>
                  <a:lnTo>
                    <a:pt x="387668" y="252413"/>
                  </a:lnTo>
                  <a:lnTo>
                    <a:pt x="401955" y="252413"/>
                  </a:lnTo>
                  <a:lnTo>
                    <a:pt x="408623" y="250507"/>
                  </a:lnTo>
                  <a:lnTo>
                    <a:pt x="411480" y="248603"/>
                  </a:lnTo>
                  <a:lnTo>
                    <a:pt x="413385" y="245745"/>
                  </a:lnTo>
                  <a:lnTo>
                    <a:pt x="413385" y="242888"/>
                  </a:lnTo>
                  <a:lnTo>
                    <a:pt x="411480" y="238125"/>
                  </a:lnTo>
                  <a:lnTo>
                    <a:pt x="407670" y="231457"/>
                  </a:lnTo>
                  <a:lnTo>
                    <a:pt x="407670" y="228600"/>
                  </a:lnTo>
                  <a:lnTo>
                    <a:pt x="407670" y="224790"/>
                  </a:lnTo>
                  <a:lnTo>
                    <a:pt x="408623" y="219075"/>
                  </a:lnTo>
                  <a:lnTo>
                    <a:pt x="408623" y="216217"/>
                  </a:lnTo>
                  <a:lnTo>
                    <a:pt x="407670" y="213360"/>
                  </a:lnTo>
                  <a:lnTo>
                    <a:pt x="402908" y="210503"/>
                  </a:lnTo>
                  <a:lnTo>
                    <a:pt x="401003" y="208597"/>
                  </a:lnTo>
                  <a:lnTo>
                    <a:pt x="401003" y="205740"/>
                  </a:lnTo>
                  <a:lnTo>
                    <a:pt x="401003" y="202882"/>
                  </a:lnTo>
                  <a:lnTo>
                    <a:pt x="410528" y="187642"/>
                  </a:lnTo>
                  <a:lnTo>
                    <a:pt x="413385" y="183832"/>
                  </a:lnTo>
                  <a:lnTo>
                    <a:pt x="416243" y="181928"/>
                  </a:lnTo>
                  <a:lnTo>
                    <a:pt x="428625" y="177165"/>
                  </a:lnTo>
                  <a:lnTo>
                    <a:pt x="431483" y="174307"/>
                  </a:lnTo>
                  <a:lnTo>
                    <a:pt x="433388" y="170497"/>
                  </a:lnTo>
                  <a:lnTo>
                    <a:pt x="434340" y="163830"/>
                  </a:lnTo>
                  <a:lnTo>
                    <a:pt x="435293" y="159067"/>
                  </a:lnTo>
                  <a:lnTo>
                    <a:pt x="439103" y="150495"/>
                  </a:lnTo>
                  <a:lnTo>
                    <a:pt x="444818" y="144780"/>
                  </a:lnTo>
                  <a:lnTo>
                    <a:pt x="564833" y="70485"/>
                  </a:lnTo>
                  <a:lnTo>
                    <a:pt x="568643" y="65722"/>
                  </a:lnTo>
                  <a:lnTo>
                    <a:pt x="570548" y="61913"/>
                  </a:lnTo>
                  <a:lnTo>
                    <a:pt x="569595" y="60007"/>
                  </a:lnTo>
                  <a:lnTo>
                    <a:pt x="561975" y="48578"/>
                  </a:lnTo>
                  <a:lnTo>
                    <a:pt x="559118" y="45720"/>
                  </a:lnTo>
                  <a:lnTo>
                    <a:pt x="556260" y="44767"/>
                  </a:lnTo>
                  <a:lnTo>
                    <a:pt x="544830" y="45720"/>
                  </a:lnTo>
                  <a:lnTo>
                    <a:pt x="524828" y="42863"/>
                  </a:lnTo>
                  <a:lnTo>
                    <a:pt x="518160" y="40957"/>
                  </a:lnTo>
                  <a:lnTo>
                    <a:pt x="515303" y="40005"/>
                  </a:lnTo>
                  <a:lnTo>
                    <a:pt x="513398" y="38100"/>
                  </a:lnTo>
                  <a:lnTo>
                    <a:pt x="513398" y="36195"/>
                  </a:lnTo>
                  <a:lnTo>
                    <a:pt x="529590" y="8572"/>
                  </a:lnTo>
                  <a:lnTo>
                    <a:pt x="532448" y="4763"/>
                  </a:lnTo>
                  <a:lnTo>
                    <a:pt x="536258" y="3810"/>
                  </a:lnTo>
                  <a:lnTo>
                    <a:pt x="586740" y="2857"/>
                  </a:lnTo>
                  <a:lnTo>
                    <a:pt x="654368" y="21907"/>
                  </a:lnTo>
                  <a:lnTo>
                    <a:pt x="678180" y="20955"/>
                  </a:lnTo>
                  <a:lnTo>
                    <a:pt x="686753" y="19050"/>
                  </a:lnTo>
                  <a:lnTo>
                    <a:pt x="689610" y="17145"/>
                  </a:lnTo>
                  <a:lnTo>
                    <a:pt x="691515" y="14288"/>
                  </a:lnTo>
                  <a:lnTo>
                    <a:pt x="692468" y="7620"/>
                  </a:lnTo>
                  <a:lnTo>
                    <a:pt x="694373" y="0"/>
                  </a:lnTo>
                  <a:lnTo>
                    <a:pt x="700088" y="0"/>
                  </a:lnTo>
                  <a:lnTo>
                    <a:pt x="704850" y="2857"/>
                  </a:lnTo>
                  <a:lnTo>
                    <a:pt x="711518" y="8572"/>
                  </a:lnTo>
                  <a:lnTo>
                    <a:pt x="714375" y="12382"/>
                  </a:lnTo>
                  <a:lnTo>
                    <a:pt x="719138" y="19050"/>
                  </a:lnTo>
                  <a:lnTo>
                    <a:pt x="721995" y="20003"/>
                  </a:lnTo>
                  <a:lnTo>
                    <a:pt x="724853" y="20955"/>
                  </a:lnTo>
                  <a:lnTo>
                    <a:pt x="734378" y="21907"/>
                  </a:lnTo>
                  <a:lnTo>
                    <a:pt x="737235" y="23813"/>
                  </a:lnTo>
                  <a:lnTo>
                    <a:pt x="740093" y="25717"/>
                  </a:lnTo>
                  <a:lnTo>
                    <a:pt x="740093" y="30480"/>
                  </a:lnTo>
                  <a:lnTo>
                    <a:pt x="738188" y="32385"/>
                  </a:lnTo>
                  <a:lnTo>
                    <a:pt x="735330" y="33338"/>
                  </a:lnTo>
                  <a:lnTo>
                    <a:pt x="721043" y="34290"/>
                  </a:lnTo>
                  <a:lnTo>
                    <a:pt x="719138" y="35242"/>
                  </a:lnTo>
                  <a:lnTo>
                    <a:pt x="716280" y="40957"/>
                  </a:lnTo>
                  <a:lnTo>
                    <a:pt x="713423" y="50482"/>
                  </a:lnTo>
                  <a:lnTo>
                    <a:pt x="713423" y="54292"/>
                  </a:lnTo>
                  <a:lnTo>
                    <a:pt x="715328" y="57150"/>
                  </a:lnTo>
                  <a:lnTo>
                    <a:pt x="719138" y="60960"/>
                  </a:lnTo>
                  <a:lnTo>
                    <a:pt x="742950" y="70485"/>
                  </a:lnTo>
                  <a:lnTo>
                    <a:pt x="757238" y="80010"/>
                  </a:lnTo>
                  <a:lnTo>
                    <a:pt x="762000" y="80963"/>
                  </a:lnTo>
                  <a:lnTo>
                    <a:pt x="764858" y="80010"/>
                  </a:lnTo>
                  <a:lnTo>
                    <a:pt x="766763" y="79057"/>
                  </a:lnTo>
                  <a:lnTo>
                    <a:pt x="781050" y="65722"/>
                  </a:lnTo>
                  <a:lnTo>
                    <a:pt x="782955" y="64770"/>
                  </a:lnTo>
                  <a:lnTo>
                    <a:pt x="785813" y="63817"/>
                  </a:lnTo>
                  <a:lnTo>
                    <a:pt x="807720" y="64770"/>
                  </a:lnTo>
                  <a:lnTo>
                    <a:pt x="809625" y="65722"/>
                  </a:lnTo>
                  <a:lnTo>
                    <a:pt x="811530" y="67628"/>
                  </a:lnTo>
                  <a:lnTo>
                    <a:pt x="811530" y="71438"/>
                  </a:lnTo>
                  <a:lnTo>
                    <a:pt x="807720" y="92392"/>
                  </a:lnTo>
                  <a:lnTo>
                    <a:pt x="807720" y="99060"/>
                  </a:lnTo>
                  <a:lnTo>
                    <a:pt x="807720" y="110490"/>
                  </a:lnTo>
                  <a:lnTo>
                    <a:pt x="806768" y="117157"/>
                  </a:lnTo>
                  <a:lnTo>
                    <a:pt x="803910" y="121920"/>
                  </a:lnTo>
                  <a:lnTo>
                    <a:pt x="798195" y="127635"/>
                  </a:lnTo>
                  <a:lnTo>
                    <a:pt x="796290" y="130492"/>
                  </a:lnTo>
                  <a:lnTo>
                    <a:pt x="797243" y="137160"/>
                  </a:lnTo>
                  <a:lnTo>
                    <a:pt x="800100" y="146685"/>
                  </a:lnTo>
                  <a:lnTo>
                    <a:pt x="815340" y="183832"/>
                  </a:lnTo>
                  <a:lnTo>
                    <a:pt x="815340" y="186690"/>
                  </a:lnTo>
                  <a:lnTo>
                    <a:pt x="815340" y="190500"/>
                  </a:lnTo>
                  <a:lnTo>
                    <a:pt x="813435" y="192405"/>
                  </a:lnTo>
                  <a:lnTo>
                    <a:pt x="811530" y="194310"/>
                  </a:lnTo>
                  <a:lnTo>
                    <a:pt x="809625" y="195263"/>
                  </a:lnTo>
                  <a:lnTo>
                    <a:pt x="801053" y="196215"/>
                  </a:lnTo>
                  <a:lnTo>
                    <a:pt x="798195" y="196215"/>
                  </a:lnTo>
                  <a:lnTo>
                    <a:pt x="797243" y="199072"/>
                  </a:lnTo>
                  <a:lnTo>
                    <a:pt x="797243" y="203835"/>
                  </a:lnTo>
                  <a:lnTo>
                    <a:pt x="796290" y="206692"/>
                  </a:lnTo>
                  <a:lnTo>
                    <a:pt x="794385" y="207645"/>
                  </a:lnTo>
                  <a:lnTo>
                    <a:pt x="787718" y="206692"/>
                  </a:lnTo>
                  <a:lnTo>
                    <a:pt x="784860" y="207645"/>
                  </a:lnTo>
                  <a:lnTo>
                    <a:pt x="782955" y="209550"/>
                  </a:lnTo>
                  <a:lnTo>
                    <a:pt x="782003" y="211455"/>
                  </a:lnTo>
                  <a:lnTo>
                    <a:pt x="779145" y="218122"/>
                  </a:lnTo>
                  <a:lnTo>
                    <a:pt x="779145" y="220980"/>
                  </a:lnTo>
                  <a:lnTo>
                    <a:pt x="780098" y="222885"/>
                  </a:lnTo>
                  <a:lnTo>
                    <a:pt x="782955" y="224790"/>
                  </a:lnTo>
                  <a:lnTo>
                    <a:pt x="789623" y="226695"/>
                  </a:lnTo>
                  <a:lnTo>
                    <a:pt x="793433" y="228600"/>
                  </a:lnTo>
                  <a:lnTo>
                    <a:pt x="798195" y="234315"/>
                  </a:lnTo>
                  <a:lnTo>
                    <a:pt x="802005" y="236220"/>
                  </a:lnTo>
                  <a:lnTo>
                    <a:pt x="804863" y="237172"/>
                  </a:lnTo>
                  <a:lnTo>
                    <a:pt x="864870" y="240982"/>
                  </a:lnTo>
                  <a:lnTo>
                    <a:pt x="885825" y="247650"/>
                  </a:lnTo>
                  <a:lnTo>
                    <a:pt x="887730" y="256222"/>
                  </a:lnTo>
                  <a:lnTo>
                    <a:pt x="893445" y="275272"/>
                  </a:lnTo>
                  <a:lnTo>
                    <a:pt x="895350" y="282892"/>
                  </a:lnTo>
                  <a:lnTo>
                    <a:pt x="896303" y="288607"/>
                  </a:lnTo>
                  <a:lnTo>
                    <a:pt x="896303" y="300038"/>
                  </a:lnTo>
                  <a:lnTo>
                    <a:pt x="896303" y="303847"/>
                  </a:lnTo>
                  <a:lnTo>
                    <a:pt x="898208" y="306705"/>
                  </a:lnTo>
                  <a:lnTo>
                    <a:pt x="902970" y="309563"/>
                  </a:lnTo>
                  <a:lnTo>
                    <a:pt x="910590" y="311467"/>
                  </a:lnTo>
                  <a:lnTo>
                    <a:pt x="913448" y="312420"/>
                  </a:lnTo>
                  <a:lnTo>
                    <a:pt x="920115" y="313372"/>
                  </a:lnTo>
                  <a:lnTo>
                    <a:pt x="922020" y="315278"/>
                  </a:lnTo>
                  <a:lnTo>
                    <a:pt x="922973" y="319088"/>
                  </a:lnTo>
                  <a:lnTo>
                    <a:pt x="922973" y="323850"/>
                  </a:lnTo>
                  <a:lnTo>
                    <a:pt x="922020" y="327660"/>
                  </a:lnTo>
                  <a:lnTo>
                    <a:pt x="922020" y="332422"/>
                  </a:lnTo>
                  <a:lnTo>
                    <a:pt x="923925" y="338138"/>
                  </a:lnTo>
                  <a:lnTo>
                    <a:pt x="928688" y="346710"/>
                  </a:lnTo>
                  <a:lnTo>
                    <a:pt x="930593" y="355282"/>
                  </a:lnTo>
                  <a:lnTo>
                    <a:pt x="931545" y="360997"/>
                  </a:lnTo>
                  <a:lnTo>
                    <a:pt x="930593" y="364807"/>
                  </a:lnTo>
                  <a:lnTo>
                    <a:pt x="927735" y="370522"/>
                  </a:lnTo>
                  <a:lnTo>
                    <a:pt x="924878" y="376238"/>
                  </a:lnTo>
                  <a:lnTo>
                    <a:pt x="918210" y="385763"/>
                  </a:lnTo>
                  <a:lnTo>
                    <a:pt x="917258" y="387667"/>
                  </a:lnTo>
                  <a:lnTo>
                    <a:pt x="915353" y="394335"/>
                  </a:lnTo>
                  <a:lnTo>
                    <a:pt x="915353" y="401003"/>
                  </a:lnTo>
                  <a:lnTo>
                    <a:pt x="917258" y="404813"/>
                  </a:lnTo>
                  <a:lnTo>
                    <a:pt x="919163" y="405765"/>
                  </a:lnTo>
                  <a:lnTo>
                    <a:pt x="929640" y="402907"/>
                  </a:lnTo>
                  <a:lnTo>
                    <a:pt x="932498" y="402907"/>
                  </a:lnTo>
                  <a:lnTo>
                    <a:pt x="935355" y="403860"/>
                  </a:lnTo>
                  <a:lnTo>
                    <a:pt x="936308" y="406717"/>
                  </a:lnTo>
                  <a:lnTo>
                    <a:pt x="935355" y="411480"/>
                  </a:lnTo>
                  <a:lnTo>
                    <a:pt x="933450" y="418147"/>
                  </a:lnTo>
                  <a:lnTo>
                    <a:pt x="924878" y="429578"/>
                  </a:lnTo>
                  <a:lnTo>
                    <a:pt x="912495" y="440055"/>
                  </a:lnTo>
                  <a:lnTo>
                    <a:pt x="909638" y="443865"/>
                  </a:lnTo>
                  <a:lnTo>
                    <a:pt x="907733" y="447675"/>
                  </a:lnTo>
                  <a:lnTo>
                    <a:pt x="905828" y="453390"/>
                  </a:lnTo>
                  <a:lnTo>
                    <a:pt x="905828" y="456247"/>
                  </a:lnTo>
                  <a:lnTo>
                    <a:pt x="907733" y="476250"/>
                  </a:lnTo>
                  <a:lnTo>
                    <a:pt x="909638" y="488632"/>
                  </a:lnTo>
                  <a:lnTo>
                    <a:pt x="909638" y="492442"/>
                  </a:lnTo>
                  <a:lnTo>
                    <a:pt x="908685" y="499110"/>
                  </a:lnTo>
                  <a:lnTo>
                    <a:pt x="908685" y="502920"/>
                  </a:lnTo>
                  <a:lnTo>
                    <a:pt x="909638" y="505778"/>
                  </a:lnTo>
                  <a:lnTo>
                    <a:pt x="916305" y="522922"/>
                  </a:lnTo>
                  <a:lnTo>
                    <a:pt x="917258" y="527685"/>
                  </a:lnTo>
                  <a:lnTo>
                    <a:pt x="917258" y="532447"/>
                  </a:lnTo>
                  <a:lnTo>
                    <a:pt x="916305" y="535305"/>
                  </a:lnTo>
                  <a:lnTo>
                    <a:pt x="912495" y="544830"/>
                  </a:lnTo>
                  <a:lnTo>
                    <a:pt x="911543" y="551497"/>
                  </a:lnTo>
                  <a:lnTo>
                    <a:pt x="913448" y="554355"/>
                  </a:lnTo>
                  <a:lnTo>
                    <a:pt x="915353" y="557213"/>
                  </a:lnTo>
                  <a:lnTo>
                    <a:pt x="921068" y="561975"/>
                  </a:lnTo>
                  <a:lnTo>
                    <a:pt x="927735" y="564832"/>
                  </a:lnTo>
                  <a:lnTo>
                    <a:pt x="935355" y="566738"/>
                  </a:lnTo>
                  <a:lnTo>
                    <a:pt x="938213" y="567690"/>
                  </a:lnTo>
                  <a:lnTo>
                    <a:pt x="940118" y="570547"/>
                  </a:lnTo>
                  <a:lnTo>
                    <a:pt x="941070" y="578167"/>
                  </a:lnTo>
                  <a:lnTo>
                    <a:pt x="940118" y="583882"/>
                  </a:lnTo>
                  <a:lnTo>
                    <a:pt x="937260" y="590550"/>
                  </a:lnTo>
                  <a:lnTo>
                    <a:pt x="935355" y="597217"/>
                  </a:lnTo>
                  <a:lnTo>
                    <a:pt x="934403" y="607695"/>
                  </a:lnTo>
                  <a:lnTo>
                    <a:pt x="934403" y="613410"/>
                  </a:lnTo>
                  <a:lnTo>
                    <a:pt x="934403" y="619125"/>
                  </a:lnTo>
                  <a:lnTo>
                    <a:pt x="935355" y="622935"/>
                  </a:lnTo>
                  <a:lnTo>
                    <a:pt x="938213" y="626745"/>
                  </a:lnTo>
                  <a:lnTo>
                    <a:pt x="945833" y="631507"/>
                  </a:lnTo>
                  <a:lnTo>
                    <a:pt x="949643" y="634365"/>
                  </a:lnTo>
                  <a:lnTo>
                    <a:pt x="954405" y="635317"/>
                  </a:lnTo>
                  <a:lnTo>
                    <a:pt x="957263" y="635317"/>
                  </a:lnTo>
                  <a:lnTo>
                    <a:pt x="960120" y="636270"/>
                  </a:lnTo>
                  <a:lnTo>
                    <a:pt x="966788" y="640080"/>
                  </a:lnTo>
                  <a:lnTo>
                    <a:pt x="969645" y="641032"/>
                  </a:lnTo>
                  <a:lnTo>
                    <a:pt x="972503" y="641032"/>
                  </a:lnTo>
                  <a:lnTo>
                    <a:pt x="977265" y="637222"/>
                  </a:lnTo>
                  <a:lnTo>
                    <a:pt x="980123" y="633413"/>
                  </a:lnTo>
                  <a:lnTo>
                    <a:pt x="982028" y="631507"/>
                  </a:lnTo>
                  <a:lnTo>
                    <a:pt x="984885" y="632460"/>
                  </a:lnTo>
                  <a:lnTo>
                    <a:pt x="988695" y="636270"/>
                  </a:lnTo>
                  <a:lnTo>
                    <a:pt x="994410" y="646747"/>
                  </a:lnTo>
                  <a:lnTo>
                    <a:pt x="997268" y="652463"/>
                  </a:lnTo>
                  <a:lnTo>
                    <a:pt x="999173" y="661988"/>
                  </a:lnTo>
                  <a:lnTo>
                    <a:pt x="1001078" y="664845"/>
                  </a:lnTo>
                  <a:lnTo>
                    <a:pt x="1004888" y="668655"/>
                  </a:lnTo>
                  <a:lnTo>
                    <a:pt x="1015365" y="677228"/>
                  </a:lnTo>
                  <a:lnTo>
                    <a:pt x="1021080" y="684847"/>
                  </a:lnTo>
                  <a:lnTo>
                    <a:pt x="1027748" y="700088"/>
                  </a:lnTo>
                  <a:lnTo>
                    <a:pt x="1029653" y="703897"/>
                  </a:lnTo>
                  <a:lnTo>
                    <a:pt x="1028700" y="707707"/>
                  </a:lnTo>
                  <a:lnTo>
                    <a:pt x="1026795" y="713422"/>
                  </a:lnTo>
                  <a:lnTo>
                    <a:pt x="1022985" y="717232"/>
                  </a:lnTo>
                  <a:lnTo>
                    <a:pt x="1019175" y="719138"/>
                  </a:lnTo>
                  <a:lnTo>
                    <a:pt x="995363" y="722947"/>
                  </a:lnTo>
                  <a:lnTo>
                    <a:pt x="992505" y="724853"/>
                  </a:lnTo>
                  <a:lnTo>
                    <a:pt x="990600" y="726757"/>
                  </a:lnTo>
                  <a:lnTo>
                    <a:pt x="990600" y="731520"/>
                  </a:lnTo>
                  <a:lnTo>
                    <a:pt x="992505" y="737235"/>
                  </a:lnTo>
                  <a:lnTo>
                    <a:pt x="995363" y="746760"/>
                  </a:lnTo>
                  <a:lnTo>
                    <a:pt x="998220" y="757238"/>
                  </a:lnTo>
                  <a:lnTo>
                    <a:pt x="1000125" y="760095"/>
                  </a:lnTo>
                  <a:lnTo>
                    <a:pt x="1002983" y="762953"/>
                  </a:lnTo>
                  <a:lnTo>
                    <a:pt x="1009650" y="765810"/>
                  </a:lnTo>
                  <a:lnTo>
                    <a:pt x="1018223" y="767715"/>
                  </a:lnTo>
                  <a:lnTo>
                    <a:pt x="1070610" y="762000"/>
                  </a:lnTo>
                  <a:lnTo>
                    <a:pt x="1073468" y="762953"/>
                  </a:lnTo>
                  <a:lnTo>
                    <a:pt x="1075373" y="765810"/>
                  </a:lnTo>
                  <a:lnTo>
                    <a:pt x="1079183" y="772478"/>
                  </a:lnTo>
                  <a:lnTo>
                    <a:pt x="1081088" y="780097"/>
                  </a:lnTo>
                  <a:lnTo>
                    <a:pt x="1082993" y="787717"/>
                  </a:lnTo>
                  <a:lnTo>
                    <a:pt x="1084898" y="795338"/>
                  </a:lnTo>
                  <a:lnTo>
                    <a:pt x="1093471" y="814388"/>
                  </a:lnTo>
                  <a:lnTo>
                    <a:pt x="1095375" y="819150"/>
                  </a:lnTo>
                  <a:lnTo>
                    <a:pt x="1094423" y="822007"/>
                  </a:lnTo>
                  <a:lnTo>
                    <a:pt x="1093471" y="828675"/>
                  </a:lnTo>
                  <a:lnTo>
                    <a:pt x="1091565" y="838200"/>
                  </a:lnTo>
                  <a:lnTo>
                    <a:pt x="1093471" y="841057"/>
                  </a:lnTo>
                  <a:lnTo>
                    <a:pt x="1096328" y="844867"/>
                  </a:lnTo>
                  <a:lnTo>
                    <a:pt x="1106805" y="851535"/>
                  </a:lnTo>
                  <a:lnTo>
                    <a:pt x="1173480" y="877253"/>
                  </a:lnTo>
                  <a:lnTo>
                    <a:pt x="1203960" y="895350"/>
                  </a:lnTo>
                  <a:lnTo>
                    <a:pt x="1205865" y="897255"/>
                  </a:lnTo>
                  <a:lnTo>
                    <a:pt x="1207771" y="901065"/>
                  </a:lnTo>
                  <a:lnTo>
                    <a:pt x="1208723" y="908685"/>
                  </a:lnTo>
                  <a:lnTo>
                    <a:pt x="1207771" y="912495"/>
                  </a:lnTo>
                  <a:lnTo>
                    <a:pt x="1206818" y="916305"/>
                  </a:lnTo>
                  <a:lnTo>
                    <a:pt x="1202055" y="922972"/>
                  </a:lnTo>
                  <a:lnTo>
                    <a:pt x="1198246" y="931545"/>
                  </a:lnTo>
                  <a:lnTo>
                    <a:pt x="1196340" y="938213"/>
                  </a:lnTo>
                  <a:lnTo>
                    <a:pt x="1199198" y="942975"/>
                  </a:lnTo>
                  <a:lnTo>
                    <a:pt x="1204913" y="948690"/>
                  </a:lnTo>
                  <a:lnTo>
                    <a:pt x="1218248" y="961072"/>
                  </a:lnTo>
                  <a:lnTo>
                    <a:pt x="1224915" y="964882"/>
                  </a:lnTo>
                  <a:lnTo>
                    <a:pt x="1229678" y="966788"/>
                  </a:lnTo>
                  <a:lnTo>
                    <a:pt x="1266825" y="965835"/>
                  </a:lnTo>
                  <a:lnTo>
                    <a:pt x="1316355" y="977265"/>
                  </a:lnTo>
                  <a:lnTo>
                    <a:pt x="1318260" y="982028"/>
                  </a:lnTo>
                  <a:lnTo>
                    <a:pt x="1320165" y="989647"/>
                  </a:lnTo>
                  <a:lnTo>
                    <a:pt x="1318260" y="1015365"/>
                  </a:lnTo>
                  <a:lnTo>
                    <a:pt x="1318260" y="1022032"/>
                  </a:lnTo>
                  <a:lnTo>
                    <a:pt x="1321118" y="1027747"/>
                  </a:lnTo>
                  <a:lnTo>
                    <a:pt x="1323023" y="1031557"/>
                  </a:lnTo>
                  <a:lnTo>
                    <a:pt x="1325880" y="1033463"/>
                  </a:lnTo>
                  <a:lnTo>
                    <a:pt x="1330643" y="1036320"/>
                  </a:lnTo>
                  <a:lnTo>
                    <a:pt x="1331596" y="1047750"/>
                  </a:lnTo>
                  <a:lnTo>
                    <a:pt x="1322071" y="1088707"/>
                  </a:lnTo>
                  <a:lnTo>
                    <a:pt x="1321118" y="109537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3" name="Полилиния: фигура 23">
              <a:extLst>
                <a:ext uri="{FF2B5EF4-FFF2-40B4-BE49-F238E27FC236}">
                  <a16:creationId xmlns:a16="http://schemas.microsoft.com/office/drawing/2014/main" id="{1CCCC994-E9AA-EDB3-0321-27821D6E4679}"/>
                </a:ext>
              </a:extLst>
            </p:cNvPr>
            <p:cNvSpPr/>
            <p:nvPr/>
          </p:nvSpPr>
          <p:spPr>
            <a:xfrm>
              <a:off x="8044815" y="1885950"/>
              <a:ext cx="1704975" cy="1543050"/>
            </a:xfrm>
            <a:custGeom>
              <a:avLst/>
              <a:gdLst>
                <a:gd name="connsiteX0" fmla="*/ 1677353 w 1704975"/>
                <a:gd name="connsiteY0" fmla="*/ 430530 h 1543050"/>
                <a:gd name="connsiteX1" fmla="*/ 1678305 w 1704975"/>
                <a:gd name="connsiteY1" fmla="*/ 435292 h 1543050"/>
                <a:gd name="connsiteX2" fmla="*/ 1680210 w 1704975"/>
                <a:gd name="connsiteY2" fmla="*/ 442913 h 1543050"/>
                <a:gd name="connsiteX3" fmla="*/ 1688783 w 1704975"/>
                <a:gd name="connsiteY3" fmla="*/ 462915 h 1543050"/>
                <a:gd name="connsiteX4" fmla="*/ 1692593 w 1704975"/>
                <a:gd name="connsiteY4" fmla="*/ 469583 h 1543050"/>
                <a:gd name="connsiteX5" fmla="*/ 1696403 w 1704975"/>
                <a:gd name="connsiteY5" fmla="*/ 473392 h 1543050"/>
                <a:gd name="connsiteX6" fmla="*/ 1706880 w 1704975"/>
                <a:gd name="connsiteY6" fmla="*/ 480060 h 1543050"/>
                <a:gd name="connsiteX7" fmla="*/ 1707833 w 1704975"/>
                <a:gd name="connsiteY7" fmla="*/ 481965 h 1543050"/>
                <a:gd name="connsiteX8" fmla="*/ 1707833 w 1704975"/>
                <a:gd name="connsiteY8" fmla="*/ 484822 h 1543050"/>
                <a:gd name="connsiteX9" fmla="*/ 1704975 w 1704975"/>
                <a:gd name="connsiteY9" fmla="*/ 487680 h 1543050"/>
                <a:gd name="connsiteX10" fmla="*/ 1702118 w 1704975"/>
                <a:gd name="connsiteY10" fmla="*/ 488633 h 1543050"/>
                <a:gd name="connsiteX11" fmla="*/ 1699260 w 1704975"/>
                <a:gd name="connsiteY11" fmla="*/ 489585 h 1543050"/>
                <a:gd name="connsiteX12" fmla="*/ 1687830 w 1704975"/>
                <a:gd name="connsiteY12" fmla="*/ 490538 h 1543050"/>
                <a:gd name="connsiteX13" fmla="*/ 1677353 w 1704975"/>
                <a:gd name="connsiteY13" fmla="*/ 493395 h 1543050"/>
                <a:gd name="connsiteX14" fmla="*/ 1667828 w 1704975"/>
                <a:gd name="connsiteY14" fmla="*/ 498158 h 1543050"/>
                <a:gd name="connsiteX15" fmla="*/ 1664971 w 1704975"/>
                <a:gd name="connsiteY15" fmla="*/ 501967 h 1543050"/>
                <a:gd name="connsiteX16" fmla="*/ 1664018 w 1704975"/>
                <a:gd name="connsiteY16" fmla="*/ 505778 h 1543050"/>
                <a:gd name="connsiteX17" fmla="*/ 1665923 w 1704975"/>
                <a:gd name="connsiteY17" fmla="*/ 510540 h 1543050"/>
                <a:gd name="connsiteX18" fmla="*/ 1688783 w 1704975"/>
                <a:gd name="connsiteY18" fmla="*/ 527685 h 1543050"/>
                <a:gd name="connsiteX19" fmla="*/ 1689735 w 1704975"/>
                <a:gd name="connsiteY19" fmla="*/ 529590 h 1543050"/>
                <a:gd name="connsiteX20" fmla="*/ 1688783 w 1704975"/>
                <a:gd name="connsiteY20" fmla="*/ 532447 h 1543050"/>
                <a:gd name="connsiteX21" fmla="*/ 1686878 w 1704975"/>
                <a:gd name="connsiteY21" fmla="*/ 535305 h 1543050"/>
                <a:gd name="connsiteX22" fmla="*/ 1684973 w 1704975"/>
                <a:gd name="connsiteY22" fmla="*/ 537210 h 1543050"/>
                <a:gd name="connsiteX23" fmla="*/ 1677353 w 1704975"/>
                <a:gd name="connsiteY23" fmla="*/ 541020 h 1543050"/>
                <a:gd name="connsiteX24" fmla="*/ 1674496 w 1704975"/>
                <a:gd name="connsiteY24" fmla="*/ 545783 h 1543050"/>
                <a:gd name="connsiteX25" fmla="*/ 1672590 w 1704975"/>
                <a:gd name="connsiteY25" fmla="*/ 547688 h 1543050"/>
                <a:gd name="connsiteX26" fmla="*/ 1667828 w 1704975"/>
                <a:gd name="connsiteY26" fmla="*/ 560070 h 1543050"/>
                <a:gd name="connsiteX27" fmla="*/ 1664018 w 1704975"/>
                <a:gd name="connsiteY27" fmla="*/ 561022 h 1543050"/>
                <a:gd name="connsiteX28" fmla="*/ 1651635 w 1704975"/>
                <a:gd name="connsiteY28" fmla="*/ 558165 h 1543050"/>
                <a:gd name="connsiteX29" fmla="*/ 1648778 w 1704975"/>
                <a:gd name="connsiteY29" fmla="*/ 559118 h 1543050"/>
                <a:gd name="connsiteX30" fmla="*/ 1646873 w 1704975"/>
                <a:gd name="connsiteY30" fmla="*/ 560070 h 1543050"/>
                <a:gd name="connsiteX31" fmla="*/ 1641158 w 1704975"/>
                <a:gd name="connsiteY31" fmla="*/ 566738 h 1543050"/>
                <a:gd name="connsiteX32" fmla="*/ 1634490 w 1704975"/>
                <a:gd name="connsiteY32" fmla="*/ 577215 h 1543050"/>
                <a:gd name="connsiteX33" fmla="*/ 1633538 w 1704975"/>
                <a:gd name="connsiteY33" fmla="*/ 580072 h 1543050"/>
                <a:gd name="connsiteX34" fmla="*/ 1633538 w 1704975"/>
                <a:gd name="connsiteY34" fmla="*/ 582930 h 1543050"/>
                <a:gd name="connsiteX35" fmla="*/ 1634490 w 1704975"/>
                <a:gd name="connsiteY35" fmla="*/ 587693 h 1543050"/>
                <a:gd name="connsiteX36" fmla="*/ 1637348 w 1704975"/>
                <a:gd name="connsiteY36" fmla="*/ 589597 h 1543050"/>
                <a:gd name="connsiteX37" fmla="*/ 1639253 w 1704975"/>
                <a:gd name="connsiteY37" fmla="*/ 589597 h 1543050"/>
                <a:gd name="connsiteX38" fmla="*/ 1653540 w 1704975"/>
                <a:gd name="connsiteY38" fmla="*/ 583883 h 1543050"/>
                <a:gd name="connsiteX39" fmla="*/ 1656398 w 1704975"/>
                <a:gd name="connsiteY39" fmla="*/ 583883 h 1543050"/>
                <a:gd name="connsiteX40" fmla="*/ 1659255 w 1704975"/>
                <a:gd name="connsiteY40" fmla="*/ 583883 h 1543050"/>
                <a:gd name="connsiteX41" fmla="*/ 1661160 w 1704975"/>
                <a:gd name="connsiteY41" fmla="*/ 584835 h 1543050"/>
                <a:gd name="connsiteX42" fmla="*/ 1664971 w 1704975"/>
                <a:gd name="connsiteY42" fmla="*/ 588645 h 1543050"/>
                <a:gd name="connsiteX43" fmla="*/ 1665923 w 1704975"/>
                <a:gd name="connsiteY43" fmla="*/ 591503 h 1543050"/>
                <a:gd name="connsiteX44" fmla="*/ 1665923 w 1704975"/>
                <a:gd name="connsiteY44" fmla="*/ 594360 h 1543050"/>
                <a:gd name="connsiteX45" fmla="*/ 1664971 w 1704975"/>
                <a:gd name="connsiteY45" fmla="*/ 617220 h 1543050"/>
                <a:gd name="connsiteX46" fmla="*/ 1664971 w 1704975"/>
                <a:gd name="connsiteY46" fmla="*/ 627697 h 1543050"/>
                <a:gd name="connsiteX47" fmla="*/ 1665923 w 1704975"/>
                <a:gd name="connsiteY47" fmla="*/ 631508 h 1543050"/>
                <a:gd name="connsiteX48" fmla="*/ 1665923 w 1704975"/>
                <a:gd name="connsiteY48" fmla="*/ 637222 h 1543050"/>
                <a:gd name="connsiteX49" fmla="*/ 1664971 w 1704975"/>
                <a:gd name="connsiteY49" fmla="*/ 641033 h 1543050"/>
                <a:gd name="connsiteX50" fmla="*/ 1661160 w 1704975"/>
                <a:gd name="connsiteY50" fmla="*/ 645795 h 1543050"/>
                <a:gd name="connsiteX51" fmla="*/ 1655446 w 1704975"/>
                <a:gd name="connsiteY51" fmla="*/ 653415 h 1543050"/>
                <a:gd name="connsiteX52" fmla="*/ 1653540 w 1704975"/>
                <a:gd name="connsiteY52" fmla="*/ 657225 h 1543050"/>
                <a:gd name="connsiteX53" fmla="*/ 1648778 w 1704975"/>
                <a:gd name="connsiteY53" fmla="*/ 671513 h 1543050"/>
                <a:gd name="connsiteX54" fmla="*/ 1645921 w 1704975"/>
                <a:gd name="connsiteY54" fmla="*/ 675322 h 1543050"/>
                <a:gd name="connsiteX55" fmla="*/ 1644015 w 1704975"/>
                <a:gd name="connsiteY55" fmla="*/ 678180 h 1543050"/>
                <a:gd name="connsiteX56" fmla="*/ 1639253 w 1704975"/>
                <a:gd name="connsiteY56" fmla="*/ 680085 h 1543050"/>
                <a:gd name="connsiteX57" fmla="*/ 1637348 w 1704975"/>
                <a:gd name="connsiteY57" fmla="*/ 681990 h 1543050"/>
                <a:gd name="connsiteX58" fmla="*/ 1636396 w 1704975"/>
                <a:gd name="connsiteY58" fmla="*/ 685800 h 1543050"/>
                <a:gd name="connsiteX59" fmla="*/ 1636396 w 1704975"/>
                <a:gd name="connsiteY59" fmla="*/ 690563 h 1543050"/>
                <a:gd name="connsiteX60" fmla="*/ 1640205 w 1704975"/>
                <a:gd name="connsiteY60" fmla="*/ 701993 h 1543050"/>
                <a:gd name="connsiteX61" fmla="*/ 1641158 w 1704975"/>
                <a:gd name="connsiteY61" fmla="*/ 703897 h 1543050"/>
                <a:gd name="connsiteX62" fmla="*/ 1645921 w 1704975"/>
                <a:gd name="connsiteY62" fmla="*/ 710565 h 1543050"/>
                <a:gd name="connsiteX63" fmla="*/ 1645921 w 1704975"/>
                <a:gd name="connsiteY63" fmla="*/ 712470 h 1543050"/>
                <a:gd name="connsiteX64" fmla="*/ 1645921 w 1704975"/>
                <a:gd name="connsiteY64" fmla="*/ 715328 h 1543050"/>
                <a:gd name="connsiteX65" fmla="*/ 1640205 w 1704975"/>
                <a:gd name="connsiteY65" fmla="*/ 719138 h 1543050"/>
                <a:gd name="connsiteX66" fmla="*/ 1640205 w 1704975"/>
                <a:gd name="connsiteY66" fmla="*/ 722947 h 1543050"/>
                <a:gd name="connsiteX67" fmla="*/ 1645921 w 1704975"/>
                <a:gd name="connsiteY67" fmla="*/ 739140 h 1543050"/>
                <a:gd name="connsiteX68" fmla="*/ 1646873 w 1704975"/>
                <a:gd name="connsiteY68" fmla="*/ 744855 h 1543050"/>
                <a:gd name="connsiteX69" fmla="*/ 1645921 w 1704975"/>
                <a:gd name="connsiteY69" fmla="*/ 747713 h 1543050"/>
                <a:gd name="connsiteX70" fmla="*/ 1643063 w 1704975"/>
                <a:gd name="connsiteY70" fmla="*/ 752475 h 1543050"/>
                <a:gd name="connsiteX71" fmla="*/ 1641158 w 1704975"/>
                <a:gd name="connsiteY71" fmla="*/ 755333 h 1543050"/>
                <a:gd name="connsiteX72" fmla="*/ 1629728 w 1704975"/>
                <a:gd name="connsiteY72" fmla="*/ 762953 h 1543050"/>
                <a:gd name="connsiteX73" fmla="*/ 1627823 w 1704975"/>
                <a:gd name="connsiteY73" fmla="*/ 764858 h 1543050"/>
                <a:gd name="connsiteX74" fmla="*/ 1625918 w 1704975"/>
                <a:gd name="connsiteY74" fmla="*/ 767715 h 1543050"/>
                <a:gd name="connsiteX75" fmla="*/ 1623060 w 1704975"/>
                <a:gd name="connsiteY75" fmla="*/ 780097 h 1543050"/>
                <a:gd name="connsiteX76" fmla="*/ 1621155 w 1704975"/>
                <a:gd name="connsiteY76" fmla="*/ 793432 h 1543050"/>
                <a:gd name="connsiteX77" fmla="*/ 1618298 w 1704975"/>
                <a:gd name="connsiteY77" fmla="*/ 801053 h 1543050"/>
                <a:gd name="connsiteX78" fmla="*/ 1615440 w 1704975"/>
                <a:gd name="connsiteY78" fmla="*/ 804863 h 1543050"/>
                <a:gd name="connsiteX79" fmla="*/ 1612583 w 1704975"/>
                <a:gd name="connsiteY79" fmla="*/ 806768 h 1543050"/>
                <a:gd name="connsiteX80" fmla="*/ 1604010 w 1704975"/>
                <a:gd name="connsiteY80" fmla="*/ 808672 h 1543050"/>
                <a:gd name="connsiteX81" fmla="*/ 1600200 w 1704975"/>
                <a:gd name="connsiteY81" fmla="*/ 811530 h 1543050"/>
                <a:gd name="connsiteX82" fmla="*/ 1593533 w 1704975"/>
                <a:gd name="connsiteY82" fmla="*/ 821055 h 1543050"/>
                <a:gd name="connsiteX83" fmla="*/ 1592580 w 1704975"/>
                <a:gd name="connsiteY83" fmla="*/ 823913 h 1543050"/>
                <a:gd name="connsiteX84" fmla="*/ 1591628 w 1704975"/>
                <a:gd name="connsiteY84" fmla="*/ 826770 h 1543050"/>
                <a:gd name="connsiteX85" fmla="*/ 1593533 w 1704975"/>
                <a:gd name="connsiteY85" fmla="*/ 831532 h 1543050"/>
                <a:gd name="connsiteX86" fmla="*/ 1595438 w 1704975"/>
                <a:gd name="connsiteY86" fmla="*/ 834390 h 1543050"/>
                <a:gd name="connsiteX87" fmla="*/ 1601153 w 1704975"/>
                <a:gd name="connsiteY87" fmla="*/ 841057 h 1543050"/>
                <a:gd name="connsiteX88" fmla="*/ 1602105 w 1704975"/>
                <a:gd name="connsiteY88" fmla="*/ 842963 h 1543050"/>
                <a:gd name="connsiteX89" fmla="*/ 1604010 w 1704975"/>
                <a:gd name="connsiteY89" fmla="*/ 848678 h 1543050"/>
                <a:gd name="connsiteX90" fmla="*/ 1604963 w 1704975"/>
                <a:gd name="connsiteY90" fmla="*/ 853440 h 1543050"/>
                <a:gd name="connsiteX91" fmla="*/ 1605915 w 1704975"/>
                <a:gd name="connsiteY91" fmla="*/ 859155 h 1543050"/>
                <a:gd name="connsiteX92" fmla="*/ 1603058 w 1704975"/>
                <a:gd name="connsiteY92" fmla="*/ 900113 h 1543050"/>
                <a:gd name="connsiteX93" fmla="*/ 1603058 w 1704975"/>
                <a:gd name="connsiteY93" fmla="*/ 909638 h 1543050"/>
                <a:gd name="connsiteX94" fmla="*/ 1604963 w 1704975"/>
                <a:gd name="connsiteY94" fmla="*/ 916305 h 1543050"/>
                <a:gd name="connsiteX95" fmla="*/ 1607821 w 1704975"/>
                <a:gd name="connsiteY95" fmla="*/ 917257 h 1543050"/>
                <a:gd name="connsiteX96" fmla="*/ 1616393 w 1704975"/>
                <a:gd name="connsiteY96" fmla="*/ 918210 h 1543050"/>
                <a:gd name="connsiteX97" fmla="*/ 1622108 w 1704975"/>
                <a:gd name="connsiteY97" fmla="*/ 921068 h 1543050"/>
                <a:gd name="connsiteX98" fmla="*/ 1624965 w 1704975"/>
                <a:gd name="connsiteY98" fmla="*/ 922972 h 1543050"/>
                <a:gd name="connsiteX99" fmla="*/ 1627823 w 1704975"/>
                <a:gd name="connsiteY99" fmla="*/ 926782 h 1543050"/>
                <a:gd name="connsiteX100" fmla="*/ 1627823 w 1704975"/>
                <a:gd name="connsiteY100" fmla="*/ 929640 h 1543050"/>
                <a:gd name="connsiteX101" fmla="*/ 1627823 w 1704975"/>
                <a:gd name="connsiteY101" fmla="*/ 934403 h 1543050"/>
                <a:gd name="connsiteX102" fmla="*/ 1626871 w 1704975"/>
                <a:gd name="connsiteY102" fmla="*/ 940118 h 1543050"/>
                <a:gd name="connsiteX103" fmla="*/ 1618298 w 1704975"/>
                <a:gd name="connsiteY103" fmla="*/ 952500 h 1543050"/>
                <a:gd name="connsiteX104" fmla="*/ 1611630 w 1704975"/>
                <a:gd name="connsiteY104" fmla="*/ 960120 h 1543050"/>
                <a:gd name="connsiteX105" fmla="*/ 1597343 w 1704975"/>
                <a:gd name="connsiteY105" fmla="*/ 970597 h 1543050"/>
                <a:gd name="connsiteX106" fmla="*/ 1584960 w 1704975"/>
                <a:gd name="connsiteY106" fmla="*/ 982028 h 1543050"/>
                <a:gd name="connsiteX107" fmla="*/ 1583055 w 1704975"/>
                <a:gd name="connsiteY107" fmla="*/ 989647 h 1543050"/>
                <a:gd name="connsiteX108" fmla="*/ 1582103 w 1704975"/>
                <a:gd name="connsiteY108" fmla="*/ 996315 h 1543050"/>
                <a:gd name="connsiteX109" fmla="*/ 1580198 w 1704975"/>
                <a:gd name="connsiteY109" fmla="*/ 999172 h 1543050"/>
                <a:gd name="connsiteX110" fmla="*/ 1577340 w 1704975"/>
                <a:gd name="connsiteY110" fmla="*/ 1001078 h 1543050"/>
                <a:gd name="connsiteX111" fmla="*/ 1568768 w 1704975"/>
                <a:gd name="connsiteY111" fmla="*/ 1002982 h 1543050"/>
                <a:gd name="connsiteX112" fmla="*/ 1544955 w 1704975"/>
                <a:gd name="connsiteY112" fmla="*/ 1003935 h 1543050"/>
                <a:gd name="connsiteX113" fmla="*/ 1477328 w 1704975"/>
                <a:gd name="connsiteY113" fmla="*/ 984885 h 1543050"/>
                <a:gd name="connsiteX114" fmla="*/ 1426846 w 1704975"/>
                <a:gd name="connsiteY114" fmla="*/ 985838 h 1543050"/>
                <a:gd name="connsiteX115" fmla="*/ 1423035 w 1704975"/>
                <a:gd name="connsiteY115" fmla="*/ 986790 h 1543050"/>
                <a:gd name="connsiteX116" fmla="*/ 1420178 w 1704975"/>
                <a:gd name="connsiteY116" fmla="*/ 990600 h 1543050"/>
                <a:gd name="connsiteX117" fmla="*/ 1403985 w 1704975"/>
                <a:gd name="connsiteY117" fmla="*/ 1018222 h 1543050"/>
                <a:gd name="connsiteX118" fmla="*/ 1403985 w 1704975"/>
                <a:gd name="connsiteY118" fmla="*/ 1020128 h 1543050"/>
                <a:gd name="connsiteX119" fmla="*/ 1405890 w 1704975"/>
                <a:gd name="connsiteY119" fmla="*/ 1022032 h 1543050"/>
                <a:gd name="connsiteX120" fmla="*/ 1408748 w 1704975"/>
                <a:gd name="connsiteY120" fmla="*/ 1022985 h 1543050"/>
                <a:gd name="connsiteX121" fmla="*/ 1415415 w 1704975"/>
                <a:gd name="connsiteY121" fmla="*/ 1024890 h 1543050"/>
                <a:gd name="connsiteX122" fmla="*/ 1435418 w 1704975"/>
                <a:gd name="connsiteY122" fmla="*/ 1027747 h 1543050"/>
                <a:gd name="connsiteX123" fmla="*/ 1446848 w 1704975"/>
                <a:gd name="connsiteY123" fmla="*/ 1026795 h 1543050"/>
                <a:gd name="connsiteX124" fmla="*/ 1449705 w 1704975"/>
                <a:gd name="connsiteY124" fmla="*/ 1027747 h 1543050"/>
                <a:gd name="connsiteX125" fmla="*/ 1452563 w 1704975"/>
                <a:gd name="connsiteY125" fmla="*/ 1030605 h 1543050"/>
                <a:gd name="connsiteX126" fmla="*/ 1460183 w 1704975"/>
                <a:gd name="connsiteY126" fmla="*/ 1042035 h 1543050"/>
                <a:gd name="connsiteX127" fmla="*/ 1461135 w 1704975"/>
                <a:gd name="connsiteY127" fmla="*/ 1043940 h 1543050"/>
                <a:gd name="connsiteX128" fmla="*/ 1459230 w 1704975"/>
                <a:gd name="connsiteY128" fmla="*/ 1047750 h 1543050"/>
                <a:gd name="connsiteX129" fmla="*/ 1455421 w 1704975"/>
                <a:gd name="connsiteY129" fmla="*/ 1052513 h 1543050"/>
                <a:gd name="connsiteX130" fmla="*/ 1335405 w 1704975"/>
                <a:gd name="connsiteY130" fmla="*/ 1126807 h 1543050"/>
                <a:gd name="connsiteX131" fmla="*/ 1329690 w 1704975"/>
                <a:gd name="connsiteY131" fmla="*/ 1132523 h 1543050"/>
                <a:gd name="connsiteX132" fmla="*/ 1325880 w 1704975"/>
                <a:gd name="connsiteY132" fmla="*/ 1141095 h 1543050"/>
                <a:gd name="connsiteX133" fmla="*/ 1324928 w 1704975"/>
                <a:gd name="connsiteY133" fmla="*/ 1145857 h 1543050"/>
                <a:gd name="connsiteX134" fmla="*/ 1323975 w 1704975"/>
                <a:gd name="connsiteY134" fmla="*/ 1152525 h 1543050"/>
                <a:gd name="connsiteX135" fmla="*/ 1322071 w 1704975"/>
                <a:gd name="connsiteY135" fmla="*/ 1156335 h 1543050"/>
                <a:gd name="connsiteX136" fmla="*/ 1319213 w 1704975"/>
                <a:gd name="connsiteY136" fmla="*/ 1159193 h 1543050"/>
                <a:gd name="connsiteX137" fmla="*/ 1306830 w 1704975"/>
                <a:gd name="connsiteY137" fmla="*/ 1163955 h 1543050"/>
                <a:gd name="connsiteX138" fmla="*/ 1303973 w 1704975"/>
                <a:gd name="connsiteY138" fmla="*/ 1165860 h 1543050"/>
                <a:gd name="connsiteX139" fmla="*/ 1301115 w 1704975"/>
                <a:gd name="connsiteY139" fmla="*/ 1169670 h 1543050"/>
                <a:gd name="connsiteX140" fmla="*/ 1291590 w 1704975"/>
                <a:gd name="connsiteY140" fmla="*/ 1184910 h 1543050"/>
                <a:gd name="connsiteX141" fmla="*/ 1291590 w 1704975"/>
                <a:gd name="connsiteY141" fmla="*/ 1187768 h 1543050"/>
                <a:gd name="connsiteX142" fmla="*/ 1291590 w 1704975"/>
                <a:gd name="connsiteY142" fmla="*/ 1190625 h 1543050"/>
                <a:gd name="connsiteX143" fmla="*/ 1293496 w 1704975"/>
                <a:gd name="connsiteY143" fmla="*/ 1192530 h 1543050"/>
                <a:gd name="connsiteX144" fmla="*/ 1298258 w 1704975"/>
                <a:gd name="connsiteY144" fmla="*/ 1195388 h 1543050"/>
                <a:gd name="connsiteX145" fmla="*/ 1299210 w 1704975"/>
                <a:gd name="connsiteY145" fmla="*/ 1198245 h 1543050"/>
                <a:gd name="connsiteX146" fmla="*/ 1299210 w 1704975"/>
                <a:gd name="connsiteY146" fmla="*/ 1201103 h 1543050"/>
                <a:gd name="connsiteX147" fmla="*/ 1298258 w 1704975"/>
                <a:gd name="connsiteY147" fmla="*/ 1206818 h 1543050"/>
                <a:gd name="connsiteX148" fmla="*/ 1298258 w 1704975"/>
                <a:gd name="connsiteY148" fmla="*/ 1210628 h 1543050"/>
                <a:gd name="connsiteX149" fmla="*/ 1298258 w 1704975"/>
                <a:gd name="connsiteY149" fmla="*/ 1213485 h 1543050"/>
                <a:gd name="connsiteX150" fmla="*/ 1302068 w 1704975"/>
                <a:gd name="connsiteY150" fmla="*/ 1220153 h 1543050"/>
                <a:gd name="connsiteX151" fmla="*/ 1303973 w 1704975"/>
                <a:gd name="connsiteY151" fmla="*/ 1224915 h 1543050"/>
                <a:gd name="connsiteX152" fmla="*/ 1303973 w 1704975"/>
                <a:gd name="connsiteY152" fmla="*/ 1227773 h 1543050"/>
                <a:gd name="connsiteX153" fmla="*/ 1302068 w 1704975"/>
                <a:gd name="connsiteY153" fmla="*/ 1230630 h 1543050"/>
                <a:gd name="connsiteX154" fmla="*/ 1299210 w 1704975"/>
                <a:gd name="connsiteY154" fmla="*/ 1232535 h 1543050"/>
                <a:gd name="connsiteX155" fmla="*/ 1292543 w 1704975"/>
                <a:gd name="connsiteY155" fmla="*/ 1234440 h 1543050"/>
                <a:gd name="connsiteX156" fmla="*/ 1278255 w 1704975"/>
                <a:gd name="connsiteY156" fmla="*/ 1234440 h 1543050"/>
                <a:gd name="connsiteX157" fmla="*/ 1274446 w 1704975"/>
                <a:gd name="connsiteY157" fmla="*/ 1236345 h 1543050"/>
                <a:gd name="connsiteX158" fmla="*/ 1254443 w 1704975"/>
                <a:gd name="connsiteY158" fmla="*/ 1250632 h 1543050"/>
                <a:gd name="connsiteX159" fmla="*/ 1252538 w 1704975"/>
                <a:gd name="connsiteY159" fmla="*/ 1253490 h 1543050"/>
                <a:gd name="connsiteX160" fmla="*/ 1249680 w 1704975"/>
                <a:gd name="connsiteY160" fmla="*/ 1261110 h 1543050"/>
                <a:gd name="connsiteX161" fmla="*/ 1246823 w 1704975"/>
                <a:gd name="connsiteY161" fmla="*/ 1267778 h 1543050"/>
                <a:gd name="connsiteX162" fmla="*/ 1245871 w 1704975"/>
                <a:gd name="connsiteY162" fmla="*/ 1270635 h 1543050"/>
                <a:gd name="connsiteX163" fmla="*/ 1243013 w 1704975"/>
                <a:gd name="connsiteY163" fmla="*/ 1272540 h 1543050"/>
                <a:gd name="connsiteX164" fmla="*/ 1239203 w 1704975"/>
                <a:gd name="connsiteY164" fmla="*/ 1273493 h 1543050"/>
                <a:gd name="connsiteX165" fmla="*/ 1236346 w 1704975"/>
                <a:gd name="connsiteY165" fmla="*/ 1275398 h 1543050"/>
                <a:gd name="connsiteX166" fmla="*/ 1233488 w 1704975"/>
                <a:gd name="connsiteY166" fmla="*/ 1280160 h 1543050"/>
                <a:gd name="connsiteX167" fmla="*/ 1232535 w 1704975"/>
                <a:gd name="connsiteY167" fmla="*/ 1283970 h 1543050"/>
                <a:gd name="connsiteX168" fmla="*/ 1231583 w 1704975"/>
                <a:gd name="connsiteY168" fmla="*/ 1286828 h 1543050"/>
                <a:gd name="connsiteX169" fmla="*/ 1233488 w 1704975"/>
                <a:gd name="connsiteY169" fmla="*/ 1301115 h 1543050"/>
                <a:gd name="connsiteX170" fmla="*/ 1233488 w 1704975"/>
                <a:gd name="connsiteY170" fmla="*/ 1303973 h 1543050"/>
                <a:gd name="connsiteX171" fmla="*/ 1231583 w 1704975"/>
                <a:gd name="connsiteY171" fmla="*/ 1306830 h 1543050"/>
                <a:gd name="connsiteX172" fmla="*/ 1227773 w 1704975"/>
                <a:gd name="connsiteY172" fmla="*/ 1308735 h 1543050"/>
                <a:gd name="connsiteX173" fmla="*/ 1216343 w 1704975"/>
                <a:gd name="connsiteY173" fmla="*/ 1311593 h 1543050"/>
                <a:gd name="connsiteX174" fmla="*/ 1211580 w 1704975"/>
                <a:gd name="connsiteY174" fmla="*/ 1311593 h 1543050"/>
                <a:gd name="connsiteX175" fmla="*/ 1205865 w 1704975"/>
                <a:gd name="connsiteY175" fmla="*/ 1310640 h 1543050"/>
                <a:gd name="connsiteX176" fmla="*/ 1203960 w 1704975"/>
                <a:gd name="connsiteY176" fmla="*/ 1308735 h 1543050"/>
                <a:gd name="connsiteX177" fmla="*/ 1200150 w 1704975"/>
                <a:gd name="connsiteY177" fmla="*/ 1304925 h 1543050"/>
                <a:gd name="connsiteX178" fmla="*/ 1195388 w 1704975"/>
                <a:gd name="connsiteY178" fmla="*/ 1298257 h 1543050"/>
                <a:gd name="connsiteX179" fmla="*/ 1193483 w 1704975"/>
                <a:gd name="connsiteY179" fmla="*/ 1296353 h 1543050"/>
                <a:gd name="connsiteX180" fmla="*/ 1190625 w 1704975"/>
                <a:gd name="connsiteY180" fmla="*/ 1295400 h 1543050"/>
                <a:gd name="connsiteX181" fmla="*/ 1187768 w 1704975"/>
                <a:gd name="connsiteY181" fmla="*/ 1295400 h 1543050"/>
                <a:gd name="connsiteX182" fmla="*/ 1182053 w 1704975"/>
                <a:gd name="connsiteY182" fmla="*/ 1295400 h 1543050"/>
                <a:gd name="connsiteX183" fmla="*/ 1179196 w 1704975"/>
                <a:gd name="connsiteY183" fmla="*/ 1297305 h 1543050"/>
                <a:gd name="connsiteX184" fmla="*/ 1177290 w 1704975"/>
                <a:gd name="connsiteY184" fmla="*/ 1300163 h 1543050"/>
                <a:gd name="connsiteX185" fmla="*/ 1175385 w 1704975"/>
                <a:gd name="connsiteY185" fmla="*/ 1305878 h 1543050"/>
                <a:gd name="connsiteX186" fmla="*/ 1173480 w 1704975"/>
                <a:gd name="connsiteY186" fmla="*/ 1317307 h 1543050"/>
                <a:gd name="connsiteX187" fmla="*/ 1171575 w 1704975"/>
                <a:gd name="connsiteY187" fmla="*/ 1320165 h 1543050"/>
                <a:gd name="connsiteX188" fmla="*/ 1168718 w 1704975"/>
                <a:gd name="connsiteY188" fmla="*/ 1321118 h 1543050"/>
                <a:gd name="connsiteX189" fmla="*/ 1163003 w 1704975"/>
                <a:gd name="connsiteY189" fmla="*/ 1321118 h 1543050"/>
                <a:gd name="connsiteX190" fmla="*/ 1159193 w 1704975"/>
                <a:gd name="connsiteY190" fmla="*/ 1320165 h 1543050"/>
                <a:gd name="connsiteX191" fmla="*/ 1153478 w 1704975"/>
                <a:gd name="connsiteY191" fmla="*/ 1317307 h 1543050"/>
                <a:gd name="connsiteX192" fmla="*/ 1150621 w 1704975"/>
                <a:gd name="connsiteY192" fmla="*/ 1317307 h 1543050"/>
                <a:gd name="connsiteX193" fmla="*/ 1147763 w 1704975"/>
                <a:gd name="connsiteY193" fmla="*/ 1318260 h 1543050"/>
                <a:gd name="connsiteX194" fmla="*/ 1144905 w 1704975"/>
                <a:gd name="connsiteY194" fmla="*/ 1321118 h 1543050"/>
                <a:gd name="connsiteX195" fmla="*/ 1138238 w 1704975"/>
                <a:gd name="connsiteY195" fmla="*/ 1330643 h 1543050"/>
                <a:gd name="connsiteX196" fmla="*/ 1137285 w 1704975"/>
                <a:gd name="connsiteY196" fmla="*/ 1333500 h 1543050"/>
                <a:gd name="connsiteX197" fmla="*/ 1137285 w 1704975"/>
                <a:gd name="connsiteY197" fmla="*/ 1338263 h 1543050"/>
                <a:gd name="connsiteX198" fmla="*/ 1138238 w 1704975"/>
                <a:gd name="connsiteY198" fmla="*/ 1340168 h 1543050"/>
                <a:gd name="connsiteX199" fmla="*/ 1141096 w 1704975"/>
                <a:gd name="connsiteY199" fmla="*/ 1343025 h 1543050"/>
                <a:gd name="connsiteX200" fmla="*/ 1152525 w 1704975"/>
                <a:gd name="connsiteY200" fmla="*/ 1347788 h 1543050"/>
                <a:gd name="connsiteX201" fmla="*/ 1154430 w 1704975"/>
                <a:gd name="connsiteY201" fmla="*/ 1349693 h 1543050"/>
                <a:gd name="connsiteX202" fmla="*/ 1155383 w 1704975"/>
                <a:gd name="connsiteY202" fmla="*/ 1351598 h 1543050"/>
                <a:gd name="connsiteX203" fmla="*/ 1155383 w 1704975"/>
                <a:gd name="connsiteY203" fmla="*/ 1354455 h 1543050"/>
                <a:gd name="connsiteX204" fmla="*/ 1155383 w 1704975"/>
                <a:gd name="connsiteY204" fmla="*/ 1358265 h 1543050"/>
                <a:gd name="connsiteX205" fmla="*/ 1153478 w 1704975"/>
                <a:gd name="connsiteY205" fmla="*/ 1360170 h 1543050"/>
                <a:gd name="connsiteX206" fmla="*/ 1150621 w 1704975"/>
                <a:gd name="connsiteY206" fmla="*/ 1362075 h 1543050"/>
                <a:gd name="connsiteX207" fmla="*/ 1145858 w 1704975"/>
                <a:gd name="connsiteY207" fmla="*/ 1361123 h 1543050"/>
                <a:gd name="connsiteX208" fmla="*/ 1143000 w 1704975"/>
                <a:gd name="connsiteY208" fmla="*/ 1360170 h 1543050"/>
                <a:gd name="connsiteX209" fmla="*/ 1137285 w 1704975"/>
                <a:gd name="connsiteY209" fmla="*/ 1355407 h 1543050"/>
                <a:gd name="connsiteX210" fmla="*/ 1086803 w 1704975"/>
                <a:gd name="connsiteY210" fmla="*/ 1329690 h 1543050"/>
                <a:gd name="connsiteX211" fmla="*/ 1080135 w 1704975"/>
                <a:gd name="connsiteY211" fmla="*/ 1328738 h 1543050"/>
                <a:gd name="connsiteX212" fmla="*/ 1077278 w 1704975"/>
                <a:gd name="connsiteY212" fmla="*/ 1328738 h 1543050"/>
                <a:gd name="connsiteX213" fmla="*/ 1072515 w 1704975"/>
                <a:gd name="connsiteY213" fmla="*/ 1329690 h 1543050"/>
                <a:gd name="connsiteX214" fmla="*/ 1066800 w 1704975"/>
                <a:gd name="connsiteY214" fmla="*/ 1331595 h 1543050"/>
                <a:gd name="connsiteX215" fmla="*/ 1064896 w 1704975"/>
                <a:gd name="connsiteY215" fmla="*/ 1332548 h 1543050"/>
                <a:gd name="connsiteX216" fmla="*/ 1057275 w 1704975"/>
                <a:gd name="connsiteY216" fmla="*/ 1339215 h 1543050"/>
                <a:gd name="connsiteX217" fmla="*/ 1051560 w 1704975"/>
                <a:gd name="connsiteY217" fmla="*/ 1344930 h 1543050"/>
                <a:gd name="connsiteX218" fmla="*/ 1045845 w 1704975"/>
                <a:gd name="connsiteY218" fmla="*/ 1350645 h 1543050"/>
                <a:gd name="connsiteX219" fmla="*/ 1042988 w 1704975"/>
                <a:gd name="connsiteY219" fmla="*/ 1351598 h 1543050"/>
                <a:gd name="connsiteX220" fmla="*/ 1018223 w 1704975"/>
                <a:gd name="connsiteY220" fmla="*/ 1349693 h 1543050"/>
                <a:gd name="connsiteX221" fmla="*/ 1011555 w 1704975"/>
                <a:gd name="connsiteY221" fmla="*/ 1347788 h 1543050"/>
                <a:gd name="connsiteX222" fmla="*/ 996315 w 1704975"/>
                <a:gd name="connsiteY222" fmla="*/ 1339215 h 1543050"/>
                <a:gd name="connsiteX223" fmla="*/ 989648 w 1704975"/>
                <a:gd name="connsiteY223" fmla="*/ 1337310 h 1543050"/>
                <a:gd name="connsiteX224" fmla="*/ 983933 w 1704975"/>
                <a:gd name="connsiteY224" fmla="*/ 1337310 h 1543050"/>
                <a:gd name="connsiteX225" fmla="*/ 981075 w 1704975"/>
                <a:gd name="connsiteY225" fmla="*/ 1338263 h 1543050"/>
                <a:gd name="connsiteX226" fmla="*/ 978218 w 1704975"/>
                <a:gd name="connsiteY226" fmla="*/ 1340168 h 1543050"/>
                <a:gd name="connsiteX227" fmla="*/ 976313 w 1704975"/>
                <a:gd name="connsiteY227" fmla="*/ 1343978 h 1543050"/>
                <a:gd name="connsiteX228" fmla="*/ 974408 w 1704975"/>
                <a:gd name="connsiteY228" fmla="*/ 1346835 h 1543050"/>
                <a:gd name="connsiteX229" fmla="*/ 974408 w 1704975"/>
                <a:gd name="connsiteY229" fmla="*/ 1353503 h 1543050"/>
                <a:gd name="connsiteX230" fmla="*/ 976313 w 1704975"/>
                <a:gd name="connsiteY230" fmla="*/ 1362075 h 1543050"/>
                <a:gd name="connsiteX231" fmla="*/ 984885 w 1704975"/>
                <a:gd name="connsiteY231" fmla="*/ 1397318 h 1543050"/>
                <a:gd name="connsiteX232" fmla="*/ 984885 w 1704975"/>
                <a:gd name="connsiteY232" fmla="*/ 1403985 h 1543050"/>
                <a:gd name="connsiteX233" fmla="*/ 985838 w 1704975"/>
                <a:gd name="connsiteY233" fmla="*/ 1418273 h 1543050"/>
                <a:gd name="connsiteX234" fmla="*/ 983933 w 1704975"/>
                <a:gd name="connsiteY234" fmla="*/ 1440180 h 1543050"/>
                <a:gd name="connsiteX235" fmla="*/ 985838 w 1704975"/>
                <a:gd name="connsiteY235" fmla="*/ 1449705 h 1543050"/>
                <a:gd name="connsiteX236" fmla="*/ 993458 w 1704975"/>
                <a:gd name="connsiteY236" fmla="*/ 1468755 h 1543050"/>
                <a:gd name="connsiteX237" fmla="*/ 962978 w 1704975"/>
                <a:gd name="connsiteY237" fmla="*/ 1472565 h 1543050"/>
                <a:gd name="connsiteX238" fmla="*/ 952500 w 1704975"/>
                <a:gd name="connsiteY238" fmla="*/ 1479232 h 1543050"/>
                <a:gd name="connsiteX239" fmla="*/ 948690 w 1704975"/>
                <a:gd name="connsiteY239" fmla="*/ 1483995 h 1543050"/>
                <a:gd name="connsiteX240" fmla="*/ 943928 w 1704975"/>
                <a:gd name="connsiteY240" fmla="*/ 1485900 h 1543050"/>
                <a:gd name="connsiteX241" fmla="*/ 924878 w 1704975"/>
                <a:gd name="connsiteY241" fmla="*/ 1487805 h 1543050"/>
                <a:gd name="connsiteX242" fmla="*/ 918210 w 1704975"/>
                <a:gd name="connsiteY242" fmla="*/ 1486853 h 1543050"/>
                <a:gd name="connsiteX243" fmla="*/ 914400 w 1704975"/>
                <a:gd name="connsiteY243" fmla="*/ 1484948 h 1543050"/>
                <a:gd name="connsiteX244" fmla="*/ 912495 w 1704975"/>
                <a:gd name="connsiteY244" fmla="*/ 1483043 h 1543050"/>
                <a:gd name="connsiteX245" fmla="*/ 909638 w 1704975"/>
                <a:gd name="connsiteY245" fmla="*/ 1478280 h 1543050"/>
                <a:gd name="connsiteX246" fmla="*/ 906780 w 1704975"/>
                <a:gd name="connsiteY246" fmla="*/ 1474470 h 1543050"/>
                <a:gd name="connsiteX247" fmla="*/ 898208 w 1704975"/>
                <a:gd name="connsiteY247" fmla="*/ 1467803 h 1543050"/>
                <a:gd name="connsiteX248" fmla="*/ 875348 w 1704975"/>
                <a:gd name="connsiteY248" fmla="*/ 1454468 h 1543050"/>
                <a:gd name="connsiteX249" fmla="*/ 866775 w 1704975"/>
                <a:gd name="connsiteY249" fmla="*/ 1451610 h 1543050"/>
                <a:gd name="connsiteX250" fmla="*/ 862013 w 1704975"/>
                <a:gd name="connsiteY250" fmla="*/ 1451610 h 1543050"/>
                <a:gd name="connsiteX251" fmla="*/ 859155 w 1704975"/>
                <a:gd name="connsiteY251" fmla="*/ 1452563 h 1543050"/>
                <a:gd name="connsiteX252" fmla="*/ 850583 w 1704975"/>
                <a:gd name="connsiteY252" fmla="*/ 1458278 h 1543050"/>
                <a:gd name="connsiteX253" fmla="*/ 812483 w 1704975"/>
                <a:gd name="connsiteY253" fmla="*/ 1504950 h 1543050"/>
                <a:gd name="connsiteX254" fmla="*/ 803910 w 1704975"/>
                <a:gd name="connsiteY254" fmla="*/ 1519238 h 1543050"/>
                <a:gd name="connsiteX255" fmla="*/ 802958 w 1704975"/>
                <a:gd name="connsiteY255" fmla="*/ 1522095 h 1543050"/>
                <a:gd name="connsiteX256" fmla="*/ 803910 w 1704975"/>
                <a:gd name="connsiteY256" fmla="*/ 1524953 h 1543050"/>
                <a:gd name="connsiteX257" fmla="*/ 804863 w 1704975"/>
                <a:gd name="connsiteY257" fmla="*/ 1525905 h 1543050"/>
                <a:gd name="connsiteX258" fmla="*/ 809625 w 1704975"/>
                <a:gd name="connsiteY258" fmla="*/ 1529715 h 1543050"/>
                <a:gd name="connsiteX259" fmla="*/ 809625 w 1704975"/>
                <a:gd name="connsiteY259" fmla="*/ 1532573 h 1543050"/>
                <a:gd name="connsiteX260" fmla="*/ 808673 w 1704975"/>
                <a:gd name="connsiteY260" fmla="*/ 1535430 h 1543050"/>
                <a:gd name="connsiteX261" fmla="*/ 799148 w 1704975"/>
                <a:gd name="connsiteY261" fmla="*/ 1542098 h 1543050"/>
                <a:gd name="connsiteX262" fmla="*/ 795338 w 1704975"/>
                <a:gd name="connsiteY262" fmla="*/ 1544003 h 1543050"/>
                <a:gd name="connsiteX263" fmla="*/ 791528 w 1704975"/>
                <a:gd name="connsiteY263" fmla="*/ 1544003 h 1543050"/>
                <a:gd name="connsiteX264" fmla="*/ 788670 w 1704975"/>
                <a:gd name="connsiteY264" fmla="*/ 1542098 h 1543050"/>
                <a:gd name="connsiteX265" fmla="*/ 784860 w 1704975"/>
                <a:gd name="connsiteY265" fmla="*/ 1538288 h 1543050"/>
                <a:gd name="connsiteX266" fmla="*/ 779145 w 1704975"/>
                <a:gd name="connsiteY266" fmla="*/ 1535430 h 1543050"/>
                <a:gd name="connsiteX267" fmla="*/ 777240 w 1704975"/>
                <a:gd name="connsiteY267" fmla="*/ 1536382 h 1543050"/>
                <a:gd name="connsiteX268" fmla="*/ 775335 w 1704975"/>
                <a:gd name="connsiteY268" fmla="*/ 1538288 h 1543050"/>
                <a:gd name="connsiteX269" fmla="*/ 770573 w 1704975"/>
                <a:gd name="connsiteY269" fmla="*/ 1543050 h 1543050"/>
                <a:gd name="connsiteX270" fmla="*/ 765810 w 1704975"/>
                <a:gd name="connsiteY270" fmla="*/ 1546860 h 1543050"/>
                <a:gd name="connsiteX271" fmla="*/ 762953 w 1704975"/>
                <a:gd name="connsiteY271" fmla="*/ 1546860 h 1543050"/>
                <a:gd name="connsiteX272" fmla="*/ 761048 w 1704975"/>
                <a:gd name="connsiteY272" fmla="*/ 1545907 h 1543050"/>
                <a:gd name="connsiteX273" fmla="*/ 755333 w 1704975"/>
                <a:gd name="connsiteY273" fmla="*/ 1540193 h 1543050"/>
                <a:gd name="connsiteX274" fmla="*/ 754380 w 1704975"/>
                <a:gd name="connsiteY274" fmla="*/ 1538288 h 1543050"/>
                <a:gd name="connsiteX275" fmla="*/ 756285 w 1704975"/>
                <a:gd name="connsiteY275" fmla="*/ 1533525 h 1543050"/>
                <a:gd name="connsiteX276" fmla="*/ 770573 w 1704975"/>
                <a:gd name="connsiteY276" fmla="*/ 1517332 h 1543050"/>
                <a:gd name="connsiteX277" fmla="*/ 772478 w 1704975"/>
                <a:gd name="connsiteY277" fmla="*/ 1512570 h 1543050"/>
                <a:gd name="connsiteX278" fmla="*/ 770573 w 1704975"/>
                <a:gd name="connsiteY278" fmla="*/ 1508760 h 1543050"/>
                <a:gd name="connsiteX279" fmla="*/ 762000 w 1704975"/>
                <a:gd name="connsiteY279" fmla="*/ 1499235 h 1543050"/>
                <a:gd name="connsiteX280" fmla="*/ 753428 w 1704975"/>
                <a:gd name="connsiteY280" fmla="*/ 1492568 h 1543050"/>
                <a:gd name="connsiteX281" fmla="*/ 751523 w 1704975"/>
                <a:gd name="connsiteY281" fmla="*/ 1490663 h 1543050"/>
                <a:gd name="connsiteX282" fmla="*/ 751523 w 1704975"/>
                <a:gd name="connsiteY282" fmla="*/ 1487805 h 1543050"/>
                <a:gd name="connsiteX283" fmla="*/ 753428 w 1704975"/>
                <a:gd name="connsiteY283" fmla="*/ 1483043 h 1543050"/>
                <a:gd name="connsiteX284" fmla="*/ 760095 w 1704975"/>
                <a:gd name="connsiteY284" fmla="*/ 1469707 h 1543050"/>
                <a:gd name="connsiteX285" fmla="*/ 762000 w 1704975"/>
                <a:gd name="connsiteY285" fmla="*/ 1463993 h 1543050"/>
                <a:gd name="connsiteX286" fmla="*/ 760095 w 1704975"/>
                <a:gd name="connsiteY286" fmla="*/ 1459230 h 1543050"/>
                <a:gd name="connsiteX287" fmla="*/ 753428 w 1704975"/>
                <a:gd name="connsiteY287" fmla="*/ 1451610 h 1543050"/>
                <a:gd name="connsiteX288" fmla="*/ 716280 w 1704975"/>
                <a:gd name="connsiteY288" fmla="*/ 1420178 h 1543050"/>
                <a:gd name="connsiteX289" fmla="*/ 702945 w 1704975"/>
                <a:gd name="connsiteY289" fmla="*/ 1406843 h 1543050"/>
                <a:gd name="connsiteX290" fmla="*/ 682943 w 1704975"/>
                <a:gd name="connsiteY290" fmla="*/ 1392555 h 1543050"/>
                <a:gd name="connsiteX291" fmla="*/ 681038 w 1704975"/>
                <a:gd name="connsiteY291" fmla="*/ 1390650 h 1543050"/>
                <a:gd name="connsiteX292" fmla="*/ 680085 w 1704975"/>
                <a:gd name="connsiteY292" fmla="*/ 1387793 h 1543050"/>
                <a:gd name="connsiteX293" fmla="*/ 681038 w 1704975"/>
                <a:gd name="connsiteY293" fmla="*/ 1384935 h 1543050"/>
                <a:gd name="connsiteX294" fmla="*/ 682943 w 1704975"/>
                <a:gd name="connsiteY294" fmla="*/ 1379220 h 1543050"/>
                <a:gd name="connsiteX295" fmla="*/ 684848 w 1704975"/>
                <a:gd name="connsiteY295" fmla="*/ 1377315 h 1543050"/>
                <a:gd name="connsiteX296" fmla="*/ 695325 w 1704975"/>
                <a:gd name="connsiteY296" fmla="*/ 1369695 h 1543050"/>
                <a:gd name="connsiteX297" fmla="*/ 698183 w 1704975"/>
                <a:gd name="connsiteY297" fmla="*/ 1366838 h 1543050"/>
                <a:gd name="connsiteX298" fmla="*/ 701040 w 1704975"/>
                <a:gd name="connsiteY298" fmla="*/ 1363028 h 1543050"/>
                <a:gd name="connsiteX299" fmla="*/ 700088 w 1704975"/>
                <a:gd name="connsiteY299" fmla="*/ 1359218 h 1543050"/>
                <a:gd name="connsiteX300" fmla="*/ 697230 w 1704975"/>
                <a:gd name="connsiteY300" fmla="*/ 1355407 h 1543050"/>
                <a:gd name="connsiteX301" fmla="*/ 682943 w 1704975"/>
                <a:gd name="connsiteY301" fmla="*/ 1344930 h 1543050"/>
                <a:gd name="connsiteX302" fmla="*/ 680085 w 1704975"/>
                <a:gd name="connsiteY302" fmla="*/ 1342073 h 1543050"/>
                <a:gd name="connsiteX303" fmla="*/ 677228 w 1704975"/>
                <a:gd name="connsiteY303" fmla="*/ 1335405 h 1543050"/>
                <a:gd name="connsiteX304" fmla="*/ 673418 w 1704975"/>
                <a:gd name="connsiteY304" fmla="*/ 1331595 h 1543050"/>
                <a:gd name="connsiteX305" fmla="*/ 668655 w 1704975"/>
                <a:gd name="connsiteY305" fmla="*/ 1327785 h 1543050"/>
                <a:gd name="connsiteX306" fmla="*/ 657225 w 1704975"/>
                <a:gd name="connsiteY306" fmla="*/ 1321118 h 1543050"/>
                <a:gd name="connsiteX307" fmla="*/ 652463 w 1704975"/>
                <a:gd name="connsiteY307" fmla="*/ 1317307 h 1543050"/>
                <a:gd name="connsiteX308" fmla="*/ 650558 w 1704975"/>
                <a:gd name="connsiteY308" fmla="*/ 1313498 h 1543050"/>
                <a:gd name="connsiteX309" fmla="*/ 650558 w 1704975"/>
                <a:gd name="connsiteY309" fmla="*/ 1309688 h 1543050"/>
                <a:gd name="connsiteX310" fmla="*/ 648653 w 1704975"/>
                <a:gd name="connsiteY310" fmla="*/ 1305878 h 1543050"/>
                <a:gd name="connsiteX311" fmla="*/ 643890 w 1704975"/>
                <a:gd name="connsiteY311" fmla="*/ 1303020 h 1543050"/>
                <a:gd name="connsiteX312" fmla="*/ 630555 w 1704975"/>
                <a:gd name="connsiteY312" fmla="*/ 1299210 h 1543050"/>
                <a:gd name="connsiteX313" fmla="*/ 625793 w 1704975"/>
                <a:gd name="connsiteY313" fmla="*/ 1296353 h 1543050"/>
                <a:gd name="connsiteX314" fmla="*/ 617220 w 1704975"/>
                <a:gd name="connsiteY314" fmla="*/ 1288732 h 1543050"/>
                <a:gd name="connsiteX315" fmla="*/ 613410 w 1704975"/>
                <a:gd name="connsiteY315" fmla="*/ 1285875 h 1543050"/>
                <a:gd name="connsiteX316" fmla="*/ 610553 w 1704975"/>
                <a:gd name="connsiteY316" fmla="*/ 1285875 h 1543050"/>
                <a:gd name="connsiteX317" fmla="*/ 593408 w 1704975"/>
                <a:gd name="connsiteY317" fmla="*/ 1286828 h 1543050"/>
                <a:gd name="connsiteX318" fmla="*/ 590550 w 1704975"/>
                <a:gd name="connsiteY318" fmla="*/ 1284923 h 1543050"/>
                <a:gd name="connsiteX319" fmla="*/ 590550 w 1704975"/>
                <a:gd name="connsiteY319" fmla="*/ 1283018 h 1543050"/>
                <a:gd name="connsiteX320" fmla="*/ 591503 w 1704975"/>
                <a:gd name="connsiteY320" fmla="*/ 1281113 h 1543050"/>
                <a:gd name="connsiteX321" fmla="*/ 597218 w 1704975"/>
                <a:gd name="connsiteY321" fmla="*/ 1275398 h 1543050"/>
                <a:gd name="connsiteX322" fmla="*/ 610553 w 1704975"/>
                <a:gd name="connsiteY322" fmla="*/ 1267778 h 1543050"/>
                <a:gd name="connsiteX323" fmla="*/ 614363 w 1704975"/>
                <a:gd name="connsiteY323" fmla="*/ 1263968 h 1543050"/>
                <a:gd name="connsiteX324" fmla="*/ 620078 w 1704975"/>
                <a:gd name="connsiteY324" fmla="*/ 1253490 h 1543050"/>
                <a:gd name="connsiteX325" fmla="*/ 621983 w 1704975"/>
                <a:gd name="connsiteY325" fmla="*/ 1248728 h 1543050"/>
                <a:gd name="connsiteX326" fmla="*/ 620078 w 1704975"/>
                <a:gd name="connsiteY326" fmla="*/ 1244918 h 1543050"/>
                <a:gd name="connsiteX327" fmla="*/ 610553 w 1704975"/>
                <a:gd name="connsiteY327" fmla="*/ 1233488 h 1543050"/>
                <a:gd name="connsiteX328" fmla="*/ 606743 w 1704975"/>
                <a:gd name="connsiteY328" fmla="*/ 1228725 h 1543050"/>
                <a:gd name="connsiteX329" fmla="*/ 606743 w 1704975"/>
                <a:gd name="connsiteY329" fmla="*/ 1225868 h 1543050"/>
                <a:gd name="connsiteX330" fmla="*/ 606743 w 1704975"/>
                <a:gd name="connsiteY330" fmla="*/ 1219200 h 1543050"/>
                <a:gd name="connsiteX331" fmla="*/ 604838 w 1704975"/>
                <a:gd name="connsiteY331" fmla="*/ 1213485 h 1543050"/>
                <a:gd name="connsiteX332" fmla="*/ 600075 w 1704975"/>
                <a:gd name="connsiteY332" fmla="*/ 1206818 h 1543050"/>
                <a:gd name="connsiteX333" fmla="*/ 585788 w 1704975"/>
                <a:gd name="connsiteY333" fmla="*/ 1193482 h 1543050"/>
                <a:gd name="connsiteX334" fmla="*/ 579120 w 1704975"/>
                <a:gd name="connsiteY334" fmla="*/ 1188720 h 1543050"/>
                <a:gd name="connsiteX335" fmla="*/ 574358 w 1704975"/>
                <a:gd name="connsiteY335" fmla="*/ 1187768 h 1543050"/>
                <a:gd name="connsiteX336" fmla="*/ 567690 w 1704975"/>
                <a:gd name="connsiteY336" fmla="*/ 1191578 h 1543050"/>
                <a:gd name="connsiteX337" fmla="*/ 542925 w 1704975"/>
                <a:gd name="connsiteY337" fmla="*/ 1201103 h 1543050"/>
                <a:gd name="connsiteX338" fmla="*/ 533400 w 1704975"/>
                <a:gd name="connsiteY338" fmla="*/ 1205865 h 1543050"/>
                <a:gd name="connsiteX339" fmla="*/ 524828 w 1704975"/>
                <a:gd name="connsiteY339" fmla="*/ 1212532 h 1543050"/>
                <a:gd name="connsiteX340" fmla="*/ 522923 w 1704975"/>
                <a:gd name="connsiteY340" fmla="*/ 1213485 h 1543050"/>
                <a:gd name="connsiteX341" fmla="*/ 518160 w 1704975"/>
                <a:gd name="connsiteY341" fmla="*/ 1215390 h 1543050"/>
                <a:gd name="connsiteX342" fmla="*/ 515303 w 1704975"/>
                <a:gd name="connsiteY342" fmla="*/ 1215390 h 1543050"/>
                <a:gd name="connsiteX343" fmla="*/ 510540 w 1704975"/>
                <a:gd name="connsiteY343" fmla="*/ 1217295 h 1543050"/>
                <a:gd name="connsiteX344" fmla="*/ 505778 w 1704975"/>
                <a:gd name="connsiteY344" fmla="*/ 1221105 h 1543050"/>
                <a:gd name="connsiteX345" fmla="*/ 501968 w 1704975"/>
                <a:gd name="connsiteY345" fmla="*/ 1221105 h 1543050"/>
                <a:gd name="connsiteX346" fmla="*/ 496253 w 1704975"/>
                <a:gd name="connsiteY346" fmla="*/ 1221105 h 1543050"/>
                <a:gd name="connsiteX347" fmla="*/ 491490 w 1704975"/>
                <a:gd name="connsiteY347" fmla="*/ 1217295 h 1543050"/>
                <a:gd name="connsiteX348" fmla="*/ 480060 w 1704975"/>
                <a:gd name="connsiteY348" fmla="*/ 1212532 h 1543050"/>
                <a:gd name="connsiteX349" fmla="*/ 458153 w 1704975"/>
                <a:gd name="connsiteY349" fmla="*/ 1205865 h 1543050"/>
                <a:gd name="connsiteX350" fmla="*/ 454343 w 1704975"/>
                <a:gd name="connsiteY350" fmla="*/ 1205865 h 1543050"/>
                <a:gd name="connsiteX351" fmla="*/ 449580 w 1704975"/>
                <a:gd name="connsiteY351" fmla="*/ 1208723 h 1543050"/>
                <a:gd name="connsiteX352" fmla="*/ 446723 w 1704975"/>
                <a:gd name="connsiteY352" fmla="*/ 1210628 h 1543050"/>
                <a:gd name="connsiteX353" fmla="*/ 441960 w 1704975"/>
                <a:gd name="connsiteY353" fmla="*/ 1210628 h 1543050"/>
                <a:gd name="connsiteX354" fmla="*/ 438150 w 1704975"/>
                <a:gd name="connsiteY354" fmla="*/ 1208723 h 1543050"/>
                <a:gd name="connsiteX355" fmla="*/ 433388 w 1704975"/>
                <a:gd name="connsiteY355" fmla="*/ 1203960 h 1543050"/>
                <a:gd name="connsiteX356" fmla="*/ 429578 w 1704975"/>
                <a:gd name="connsiteY356" fmla="*/ 1202055 h 1543050"/>
                <a:gd name="connsiteX357" fmla="*/ 425768 w 1704975"/>
                <a:gd name="connsiteY357" fmla="*/ 1201103 h 1543050"/>
                <a:gd name="connsiteX358" fmla="*/ 409575 w 1704975"/>
                <a:gd name="connsiteY358" fmla="*/ 1202055 h 1543050"/>
                <a:gd name="connsiteX359" fmla="*/ 406718 w 1704975"/>
                <a:gd name="connsiteY359" fmla="*/ 1201103 h 1543050"/>
                <a:gd name="connsiteX360" fmla="*/ 403860 w 1704975"/>
                <a:gd name="connsiteY360" fmla="*/ 1199198 h 1543050"/>
                <a:gd name="connsiteX361" fmla="*/ 401003 w 1704975"/>
                <a:gd name="connsiteY361" fmla="*/ 1196340 h 1543050"/>
                <a:gd name="connsiteX362" fmla="*/ 392430 w 1704975"/>
                <a:gd name="connsiteY362" fmla="*/ 1188720 h 1543050"/>
                <a:gd name="connsiteX363" fmla="*/ 388620 w 1704975"/>
                <a:gd name="connsiteY363" fmla="*/ 1187768 h 1543050"/>
                <a:gd name="connsiteX364" fmla="*/ 385763 w 1704975"/>
                <a:gd name="connsiteY364" fmla="*/ 1188720 h 1543050"/>
                <a:gd name="connsiteX365" fmla="*/ 381000 w 1704975"/>
                <a:gd name="connsiteY365" fmla="*/ 1190625 h 1543050"/>
                <a:gd name="connsiteX366" fmla="*/ 378143 w 1704975"/>
                <a:gd name="connsiteY366" fmla="*/ 1191578 h 1543050"/>
                <a:gd name="connsiteX367" fmla="*/ 351473 w 1704975"/>
                <a:gd name="connsiteY367" fmla="*/ 1186815 h 1543050"/>
                <a:gd name="connsiteX368" fmla="*/ 348615 w 1704975"/>
                <a:gd name="connsiteY368" fmla="*/ 1186815 h 1543050"/>
                <a:gd name="connsiteX369" fmla="*/ 338138 w 1704975"/>
                <a:gd name="connsiteY369" fmla="*/ 1189673 h 1543050"/>
                <a:gd name="connsiteX370" fmla="*/ 331470 w 1704975"/>
                <a:gd name="connsiteY370" fmla="*/ 1189673 h 1543050"/>
                <a:gd name="connsiteX371" fmla="*/ 327660 w 1704975"/>
                <a:gd name="connsiteY371" fmla="*/ 1188720 h 1543050"/>
                <a:gd name="connsiteX372" fmla="*/ 323850 w 1704975"/>
                <a:gd name="connsiteY372" fmla="*/ 1187768 h 1543050"/>
                <a:gd name="connsiteX373" fmla="*/ 313373 w 1704975"/>
                <a:gd name="connsiteY373" fmla="*/ 1175385 h 1543050"/>
                <a:gd name="connsiteX374" fmla="*/ 304800 w 1704975"/>
                <a:gd name="connsiteY374" fmla="*/ 1168718 h 1543050"/>
                <a:gd name="connsiteX375" fmla="*/ 274320 w 1704975"/>
                <a:gd name="connsiteY375" fmla="*/ 1150620 h 1543050"/>
                <a:gd name="connsiteX376" fmla="*/ 266700 w 1704975"/>
                <a:gd name="connsiteY376" fmla="*/ 1143000 h 1543050"/>
                <a:gd name="connsiteX377" fmla="*/ 257175 w 1704975"/>
                <a:gd name="connsiteY377" fmla="*/ 1130618 h 1543050"/>
                <a:gd name="connsiteX378" fmla="*/ 255270 w 1704975"/>
                <a:gd name="connsiteY378" fmla="*/ 1127760 h 1543050"/>
                <a:gd name="connsiteX379" fmla="*/ 240983 w 1704975"/>
                <a:gd name="connsiteY379" fmla="*/ 1118235 h 1543050"/>
                <a:gd name="connsiteX380" fmla="*/ 238125 w 1704975"/>
                <a:gd name="connsiteY380" fmla="*/ 1115378 h 1543050"/>
                <a:gd name="connsiteX381" fmla="*/ 236220 w 1704975"/>
                <a:gd name="connsiteY381" fmla="*/ 1111568 h 1543050"/>
                <a:gd name="connsiteX382" fmla="*/ 233363 w 1704975"/>
                <a:gd name="connsiteY382" fmla="*/ 1106805 h 1543050"/>
                <a:gd name="connsiteX383" fmla="*/ 199073 w 1704975"/>
                <a:gd name="connsiteY383" fmla="*/ 1079182 h 1543050"/>
                <a:gd name="connsiteX384" fmla="*/ 197168 w 1704975"/>
                <a:gd name="connsiteY384" fmla="*/ 1076325 h 1543050"/>
                <a:gd name="connsiteX385" fmla="*/ 195263 w 1704975"/>
                <a:gd name="connsiteY385" fmla="*/ 1068705 h 1543050"/>
                <a:gd name="connsiteX386" fmla="*/ 192405 w 1704975"/>
                <a:gd name="connsiteY386" fmla="*/ 1064895 h 1543050"/>
                <a:gd name="connsiteX387" fmla="*/ 188595 w 1704975"/>
                <a:gd name="connsiteY387" fmla="*/ 1061085 h 1543050"/>
                <a:gd name="connsiteX388" fmla="*/ 173355 w 1704975"/>
                <a:gd name="connsiteY388" fmla="*/ 1049655 h 1543050"/>
                <a:gd name="connsiteX389" fmla="*/ 163830 w 1704975"/>
                <a:gd name="connsiteY389" fmla="*/ 1045845 h 1543050"/>
                <a:gd name="connsiteX390" fmla="*/ 160973 w 1704975"/>
                <a:gd name="connsiteY390" fmla="*/ 1044893 h 1543050"/>
                <a:gd name="connsiteX391" fmla="*/ 151448 w 1704975"/>
                <a:gd name="connsiteY391" fmla="*/ 1044893 h 1543050"/>
                <a:gd name="connsiteX392" fmla="*/ 138113 w 1704975"/>
                <a:gd name="connsiteY392" fmla="*/ 1042035 h 1543050"/>
                <a:gd name="connsiteX393" fmla="*/ 134303 w 1704975"/>
                <a:gd name="connsiteY393" fmla="*/ 1042035 h 1543050"/>
                <a:gd name="connsiteX394" fmla="*/ 122873 w 1704975"/>
                <a:gd name="connsiteY394" fmla="*/ 1044893 h 1543050"/>
                <a:gd name="connsiteX395" fmla="*/ 117158 w 1704975"/>
                <a:gd name="connsiteY395" fmla="*/ 1043940 h 1543050"/>
                <a:gd name="connsiteX396" fmla="*/ 113348 w 1704975"/>
                <a:gd name="connsiteY396" fmla="*/ 1042035 h 1543050"/>
                <a:gd name="connsiteX397" fmla="*/ 108585 w 1704975"/>
                <a:gd name="connsiteY397" fmla="*/ 1038225 h 1543050"/>
                <a:gd name="connsiteX398" fmla="*/ 104775 w 1704975"/>
                <a:gd name="connsiteY398" fmla="*/ 1037272 h 1543050"/>
                <a:gd name="connsiteX399" fmla="*/ 101918 w 1704975"/>
                <a:gd name="connsiteY399" fmla="*/ 1037272 h 1543050"/>
                <a:gd name="connsiteX400" fmla="*/ 100013 w 1704975"/>
                <a:gd name="connsiteY400" fmla="*/ 1038225 h 1543050"/>
                <a:gd name="connsiteX401" fmla="*/ 93345 w 1704975"/>
                <a:gd name="connsiteY401" fmla="*/ 1040130 h 1543050"/>
                <a:gd name="connsiteX402" fmla="*/ 75248 w 1704975"/>
                <a:gd name="connsiteY402" fmla="*/ 1036320 h 1543050"/>
                <a:gd name="connsiteX403" fmla="*/ 77153 w 1704975"/>
                <a:gd name="connsiteY403" fmla="*/ 1031557 h 1543050"/>
                <a:gd name="connsiteX404" fmla="*/ 78105 w 1704975"/>
                <a:gd name="connsiteY404" fmla="*/ 1025843 h 1543050"/>
                <a:gd name="connsiteX405" fmla="*/ 77153 w 1704975"/>
                <a:gd name="connsiteY405" fmla="*/ 1016318 h 1543050"/>
                <a:gd name="connsiteX406" fmla="*/ 74295 w 1704975"/>
                <a:gd name="connsiteY406" fmla="*/ 1006793 h 1543050"/>
                <a:gd name="connsiteX407" fmla="*/ 72390 w 1704975"/>
                <a:gd name="connsiteY407" fmla="*/ 998220 h 1543050"/>
                <a:gd name="connsiteX408" fmla="*/ 70485 w 1704975"/>
                <a:gd name="connsiteY408" fmla="*/ 993457 h 1543050"/>
                <a:gd name="connsiteX409" fmla="*/ 60008 w 1704975"/>
                <a:gd name="connsiteY409" fmla="*/ 975360 h 1543050"/>
                <a:gd name="connsiteX410" fmla="*/ 59055 w 1704975"/>
                <a:gd name="connsiteY410" fmla="*/ 972503 h 1543050"/>
                <a:gd name="connsiteX411" fmla="*/ 59055 w 1704975"/>
                <a:gd name="connsiteY411" fmla="*/ 969645 h 1543050"/>
                <a:gd name="connsiteX412" fmla="*/ 59055 w 1704975"/>
                <a:gd name="connsiteY412" fmla="*/ 964882 h 1543050"/>
                <a:gd name="connsiteX413" fmla="*/ 60960 w 1704975"/>
                <a:gd name="connsiteY413" fmla="*/ 957263 h 1543050"/>
                <a:gd name="connsiteX414" fmla="*/ 64770 w 1704975"/>
                <a:gd name="connsiteY414" fmla="*/ 949643 h 1543050"/>
                <a:gd name="connsiteX415" fmla="*/ 69533 w 1704975"/>
                <a:gd name="connsiteY415" fmla="*/ 942022 h 1543050"/>
                <a:gd name="connsiteX416" fmla="*/ 96203 w 1704975"/>
                <a:gd name="connsiteY416" fmla="*/ 912495 h 1543050"/>
                <a:gd name="connsiteX417" fmla="*/ 100965 w 1704975"/>
                <a:gd name="connsiteY417" fmla="*/ 910590 h 1543050"/>
                <a:gd name="connsiteX418" fmla="*/ 103823 w 1704975"/>
                <a:gd name="connsiteY418" fmla="*/ 909638 h 1543050"/>
                <a:gd name="connsiteX419" fmla="*/ 106680 w 1704975"/>
                <a:gd name="connsiteY419" fmla="*/ 910590 h 1543050"/>
                <a:gd name="connsiteX420" fmla="*/ 111443 w 1704975"/>
                <a:gd name="connsiteY420" fmla="*/ 913447 h 1543050"/>
                <a:gd name="connsiteX421" fmla="*/ 116205 w 1704975"/>
                <a:gd name="connsiteY421" fmla="*/ 920115 h 1543050"/>
                <a:gd name="connsiteX422" fmla="*/ 121920 w 1704975"/>
                <a:gd name="connsiteY422" fmla="*/ 924878 h 1543050"/>
                <a:gd name="connsiteX423" fmla="*/ 127635 w 1704975"/>
                <a:gd name="connsiteY423" fmla="*/ 927735 h 1543050"/>
                <a:gd name="connsiteX424" fmla="*/ 131445 w 1704975"/>
                <a:gd name="connsiteY424" fmla="*/ 928688 h 1543050"/>
                <a:gd name="connsiteX425" fmla="*/ 182880 w 1704975"/>
                <a:gd name="connsiteY425" fmla="*/ 933450 h 1543050"/>
                <a:gd name="connsiteX426" fmla="*/ 194310 w 1704975"/>
                <a:gd name="connsiteY426" fmla="*/ 931545 h 1543050"/>
                <a:gd name="connsiteX427" fmla="*/ 221933 w 1704975"/>
                <a:gd name="connsiteY427" fmla="*/ 917257 h 1543050"/>
                <a:gd name="connsiteX428" fmla="*/ 230505 w 1704975"/>
                <a:gd name="connsiteY428" fmla="*/ 910590 h 1543050"/>
                <a:gd name="connsiteX429" fmla="*/ 246698 w 1704975"/>
                <a:gd name="connsiteY429" fmla="*/ 892493 h 1543050"/>
                <a:gd name="connsiteX430" fmla="*/ 260033 w 1704975"/>
                <a:gd name="connsiteY430" fmla="*/ 870585 h 1543050"/>
                <a:gd name="connsiteX431" fmla="*/ 273368 w 1704975"/>
                <a:gd name="connsiteY431" fmla="*/ 852488 h 1543050"/>
                <a:gd name="connsiteX432" fmla="*/ 274320 w 1704975"/>
                <a:gd name="connsiteY432" fmla="*/ 848678 h 1543050"/>
                <a:gd name="connsiteX433" fmla="*/ 273368 w 1704975"/>
                <a:gd name="connsiteY433" fmla="*/ 844868 h 1543050"/>
                <a:gd name="connsiteX434" fmla="*/ 267653 w 1704975"/>
                <a:gd name="connsiteY434" fmla="*/ 837247 h 1543050"/>
                <a:gd name="connsiteX435" fmla="*/ 267653 w 1704975"/>
                <a:gd name="connsiteY435" fmla="*/ 833438 h 1543050"/>
                <a:gd name="connsiteX436" fmla="*/ 269558 w 1704975"/>
                <a:gd name="connsiteY436" fmla="*/ 829628 h 1543050"/>
                <a:gd name="connsiteX437" fmla="*/ 269558 w 1704975"/>
                <a:gd name="connsiteY437" fmla="*/ 826770 h 1543050"/>
                <a:gd name="connsiteX438" fmla="*/ 268605 w 1704975"/>
                <a:gd name="connsiteY438" fmla="*/ 823913 h 1543050"/>
                <a:gd name="connsiteX439" fmla="*/ 264795 w 1704975"/>
                <a:gd name="connsiteY439" fmla="*/ 821055 h 1543050"/>
                <a:gd name="connsiteX440" fmla="*/ 258128 w 1704975"/>
                <a:gd name="connsiteY440" fmla="*/ 817245 h 1543050"/>
                <a:gd name="connsiteX441" fmla="*/ 255270 w 1704975"/>
                <a:gd name="connsiteY441" fmla="*/ 814388 h 1543050"/>
                <a:gd name="connsiteX442" fmla="*/ 254318 w 1704975"/>
                <a:gd name="connsiteY442" fmla="*/ 808672 h 1543050"/>
                <a:gd name="connsiteX443" fmla="*/ 250508 w 1704975"/>
                <a:gd name="connsiteY443" fmla="*/ 801053 h 1543050"/>
                <a:gd name="connsiteX444" fmla="*/ 248603 w 1704975"/>
                <a:gd name="connsiteY444" fmla="*/ 796290 h 1543050"/>
                <a:gd name="connsiteX445" fmla="*/ 248603 w 1704975"/>
                <a:gd name="connsiteY445" fmla="*/ 790575 h 1543050"/>
                <a:gd name="connsiteX446" fmla="*/ 249555 w 1704975"/>
                <a:gd name="connsiteY446" fmla="*/ 786765 h 1543050"/>
                <a:gd name="connsiteX447" fmla="*/ 252413 w 1704975"/>
                <a:gd name="connsiteY447" fmla="*/ 780097 h 1543050"/>
                <a:gd name="connsiteX448" fmla="*/ 253365 w 1704975"/>
                <a:gd name="connsiteY448" fmla="*/ 778193 h 1543050"/>
                <a:gd name="connsiteX449" fmla="*/ 255270 w 1704975"/>
                <a:gd name="connsiteY449" fmla="*/ 776288 h 1543050"/>
                <a:gd name="connsiteX450" fmla="*/ 263843 w 1704975"/>
                <a:gd name="connsiteY450" fmla="*/ 774383 h 1543050"/>
                <a:gd name="connsiteX451" fmla="*/ 268605 w 1704975"/>
                <a:gd name="connsiteY451" fmla="*/ 772478 h 1543050"/>
                <a:gd name="connsiteX452" fmla="*/ 271463 w 1704975"/>
                <a:gd name="connsiteY452" fmla="*/ 771525 h 1543050"/>
                <a:gd name="connsiteX453" fmla="*/ 274320 w 1704975"/>
                <a:gd name="connsiteY453" fmla="*/ 772478 h 1543050"/>
                <a:gd name="connsiteX454" fmla="*/ 304800 w 1704975"/>
                <a:gd name="connsiteY454" fmla="*/ 780097 h 1543050"/>
                <a:gd name="connsiteX455" fmla="*/ 307658 w 1704975"/>
                <a:gd name="connsiteY455" fmla="*/ 780097 h 1543050"/>
                <a:gd name="connsiteX456" fmla="*/ 309563 w 1704975"/>
                <a:gd name="connsiteY456" fmla="*/ 778193 h 1543050"/>
                <a:gd name="connsiteX457" fmla="*/ 312420 w 1704975"/>
                <a:gd name="connsiteY457" fmla="*/ 773430 h 1543050"/>
                <a:gd name="connsiteX458" fmla="*/ 314325 w 1704975"/>
                <a:gd name="connsiteY458" fmla="*/ 771525 h 1543050"/>
                <a:gd name="connsiteX459" fmla="*/ 317183 w 1704975"/>
                <a:gd name="connsiteY459" fmla="*/ 770572 h 1543050"/>
                <a:gd name="connsiteX460" fmla="*/ 325755 w 1704975"/>
                <a:gd name="connsiteY460" fmla="*/ 769620 h 1543050"/>
                <a:gd name="connsiteX461" fmla="*/ 328613 w 1704975"/>
                <a:gd name="connsiteY461" fmla="*/ 768668 h 1543050"/>
                <a:gd name="connsiteX462" fmla="*/ 329565 w 1704975"/>
                <a:gd name="connsiteY462" fmla="*/ 767715 h 1543050"/>
                <a:gd name="connsiteX463" fmla="*/ 330518 w 1704975"/>
                <a:gd name="connsiteY463" fmla="*/ 763905 h 1543050"/>
                <a:gd name="connsiteX464" fmla="*/ 328613 w 1704975"/>
                <a:gd name="connsiteY464" fmla="*/ 759143 h 1543050"/>
                <a:gd name="connsiteX465" fmla="*/ 322898 w 1704975"/>
                <a:gd name="connsiteY465" fmla="*/ 753428 h 1543050"/>
                <a:gd name="connsiteX466" fmla="*/ 311468 w 1704975"/>
                <a:gd name="connsiteY466" fmla="*/ 746760 h 1543050"/>
                <a:gd name="connsiteX467" fmla="*/ 302895 w 1704975"/>
                <a:gd name="connsiteY467" fmla="*/ 737235 h 1543050"/>
                <a:gd name="connsiteX468" fmla="*/ 292418 w 1704975"/>
                <a:gd name="connsiteY468" fmla="*/ 731520 h 1543050"/>
                <a:gd name="connsiteX469" fmla="*/ 290513 w 1704975"/>
                <a:gd name="connsiteY469" fmla="*/ 728663 h 1543050"/>
                <a:gd name="connsiteX470" fmla="*/ 289560 w 1704975"/>
                <a:gd name="connsiteY470" fmla="*/ 722947 h 1543050"/>
                <a:gd name="connsiteX471" fmla="*/ 290513 w 1704975"/>
                <a:gd name="connsiteY471" fmla="*/ 721043 h 1543050"/>
                <a:gd name="connsiteX472" fmla="*/ 293370 w 1704975"/>
                <a:gd name="connsiteY472" fmla="*/ 720090 h 1543050"/>
                <a:gd name="connsiteX473" fmla="*/ 318135 w 1704975"/>
                <a:gd name="connsiteY473" fmla="*/ 720090 h 1543050"/>
                <a:gd name="connsiteX474" fmla="*/ 329565 w 1704975"/>
                <a:gd name="connsiteY474" fmla="*/ 718185 h 1543050"/>
                <a:gd name="connsiteX475" fmla="*/ 334328 w 1704975"/>
                <a:gd name="connsiteY475" fmla="*/ 715328 h 1543050"/>
                <a:gd name="connsiteX476" fmla="*/ 332423 w 1704975"/>
                <a:gd name="connsiteY476" fmla="*/ 708660 h 1543050"/>
                <a:gd name="connsiteX477" fmla="*/ 328613 w 1704975"/>
                <a:gd name="connsiteY477" fmla="*/ 697230 h 1543050"/>
                <a:gd name="connsiteX478" fmla="*/ 304800 w 1704975"/>
                <a:gd name="connsiteY478" fmla="*/ 652463 h 1543050"/>
                <a:gd name="connsiteX479" fmla="*/ 302895 w 1704975"/>
                <a:gd name="connsiteY479" fmla="*/ 647700 h 1543050"/>
                <a:gd name="connsiteX480" fmla="*/ 300990 w 1704975"/>
                <a:gd name="connsiteY480" fmla="*/ 641985 h 1543050"/>
                <a:gd name="connsiteX481" fmla="*/ 301943 w 1704975"/>
                <a:gd name="connsiteY481" fmla="*/ 637222 h 1543050"/>
                <a:gd name="connsiteX482" fmla="*/ 302895 w 1704975"/>
                <a:gd name="connsiteY482" fmla="*/ 635318 h 1543050"/>
                <a:gd name="connsiteX483" fmla="*/ 307658 w 1704975"/>
                <a:gd name="connsiteY483" fmla="*/ 632460 h 1543050"/>
                <a:gd name="connsiteX484" fmla="*/ 309563 w 1704975"/>
                <a:gd name="connsiteY484" fmla="*/ 631508 h 1543050"/>
                <a:gd name="connsiteX485" fmla="*/ 309563 w 1704975"/>
                <a:gd name="connsiteY485" fmla="*/ 628650 h 1543050"/>
                <a:gd name="connsiteX486" fmla="*/ 307658 w 1704975"/>
                <a:gd name="connsiteY486" fmla="*/ 617220 h 1543050"/>
                <a:gd name="connsiteX487" fmla="*/ 306705 w 1704975"/>
                <a:gd name="connsiteY487" fmla="*/ 615315 h 1543050"/>
                <a:gd name="connsiteX488" fmla="*/ 304800 w 1704975"/>
                <a:gd name="connsiteY488" fmla="*/ 612458 h 1543050"/>
                <a:gd name="connsiteX489" fmla="*/ 300990 w 1704975"/>
                <a:gd name="connsiteY489" fmla="*/ 611505 h 1543050"/>
                <a:gd name="connsiteX490" fmla="*/ 284798 w 1704975"/>
                <a:gd name="connsiteY490" fmla="*/ 611505 h 1543050"/>
                <a:gd name="connsiteX491" fmla="*/ 281940 w 1704975"/>
                <a:gd name="connsiteY491" fmla="*/ 612458 h 1543050"/>
                <a:gd name="connsiteX492" fmla="*/ 280035 w 1704975"/>
                <a:gd name="connsiteY492" fmla="*/ 614363 h 1543050"/>
                <a:gd name="connsiteX493" fmla="*/ 278130 w 1704975"/>
                <a:gd name="connsiteY493" fmla="*/ 616268 h 1543050"/>
                <a:gd name="connsiteX494" fmla="*/ 276225 w 1704975"/>
                <a:gd name="connsiteY494" fmla="*/ 622935 h 1543050"/>
                <a:gd name="connsiteX495" fmla="*/ 275273 w 1704975"/>
                <a:gd name="connsiteY495" fmla="*/ 625793 h 1543050"/>
                <a:gd name="connsiteX496" fmla="*/ 273368 w 1704975"/>
                <a:gd name="connsiteY496" fmla="*/ 627697 h 1543050"/>
                <a:gd name="connsiteX497" fmla="*/ 270510 w 1704975"/>
                <a:gd name="connsiteY497" fmla="*/ 627697 h 1543050"/>
                <a:gd name="connsiteX498" fmla="*/ 263843 w 1704975"/>
                <a:gd name="connsiteY498" fmla="*/ 626745 h 1543050"/>
                <a:gd name="connsiteX499" fmla="*/ 237173 w 1704975"/>
                <a:gd name="connsiteY499" fmla="*/ 618172 h 1543050"/>
                <a:gd name="connsiteX500" fmla="*/ 234315 w 1704975"/>
                <a:gd name="connsiteY500" fmla="*/ 617220 h 1543050"/>
                <a:gd name="connsiteX501" fmla="*/ 232410 w 1704975"/>
                <a:gd name="connsiteY501" fmla="*/ 614363 h 1543050"/>
                <a:gd name="connsiteX502" fmla="*/ 232410 w 1704975"/>
                <a:gd name="connsiteY502" fmla="*/ 610553 h 1543050"/>
                <a:gd name="connsiteX503" fmla="*/ 231458 w 1704975"/>
                <a:gd name="connsiteY503" fmla="*/ 607695 h 1543050"/>
                <a:gd name="connsiteX504" fmla="*/ 229553 w 1704975"/>
                <a:gd name="connsiteY504" fmla="*/ 604838 h 1543050"/>
                <a:gd name="connsiteX505" fmla="*/ 215265 w 1704975"/>
                <a:gd name="connsiteY505" fmla="*/ 601980 h 1543050"/>
                <a:gd name="connsiteX506" fmla="*/ 211455 w 1704975"/>
                <a:gd name="connsiteY506" fmla="*/ 601028 h 1543050"/>
                <a:gd name="connsiteX507" fmla="*/ 209550 w 1704975"/>
                <a:gd name="connsiteY507" fmla="*/ 598170 h 1543050"/>
                <a:gd name="connsiteX508" fmla="*/ 208598 w 1704975"/>
                <a:gd name="connsiteY508" fmla="*/ 592455 h 1543050"/>
                <a:gd name="connsiteX509" fmla="*/ 207645 w 1704975"/>
                <a:gd name="connsiteY509" fmla="*/ 581978 h 1543050"/>
                <a:gd name="connsiteX510" fmla="*/ 206693 w 1704975"/>
                <a:gd name="connsiteY510" fmla="*/ 579120 h 1543050"/>
                <a:gd name="connsiteX511" fmla="*/ 204788 w 1704975"/>
                <a:gd name="connsiteY511" fmla="*/ 576263 h 1543050"/>
                <a:gd name="connsiteX512" fmla="*/ 194310 w 1704975"/>
                <a:gd name="connsiteY512" fmla="*/ 568643 h 1543050"/>
                <a:gd name="connsiteX513" fmla="*/ 192405 w 1704975"/>
                <a:gd name="connsiteY513" fmla="*/ 566738 h 1543050"/>
                <a:gd name="connsiteX514" fmla="*/ 190500 w 1704975"/>
                <a:gd name="connsiteY514" fmla="*/ 562928 h 1543050"/>
                <a:gd name="connsiteX515" fmla="*/ 187643 w 1704975"/>
                <a:gd name="connsiteY515" fmla="*/ 558165 h 1543050"/>
                <a:gd name="connsiteX516" fmla="*/ 184785 w 1704975"/>
                <a:gd name="connsiteY516" fmla="*/ 544830 h 1543050"/>
                <a:gd name="connsiteX517" fmla="*/ 183833 w 1704975"/>
                <a:gd name="connsiteY517" fmla="*/ 541020 h 1543050"/>
                <a:gd name="connsiteX518" fmla="*/ 183833 w 1704975"/>
                <a:gd name="connsiteY518" fmla="*/ 528638 h 1543050"/>
                <a:gd name="connsiteX519" fmla="*/ 185738 w 1704975"/>
                <a:gd name="connsiteY519" fmla="*/ 505778 h 1543050"/>
                <a:gd name="connsiteX520" fmla="*/ 184785 w 1704975"/>
                <a:gd name="connsiteY520" fmla="*/ 499110 h 1543050"/>
                <a:gd name="connsiteX521" fmla="*/ 183833 w 1704975"/>
                <a:gd name="connsiteY521" fmla="*/ 493395 h 1543050"/>
                <a:gd name="connsiteX522" fmla="*/ 180023 w 1704975"/>
                <a:gd name="connsiteY522" fmla="*/ 486728 h 1543050"/>
                <a:gd name="connsiteX523" fmla="*/ 171450 w 1704975"/>
                <a:gd name="connsiteY523" fmla="*/ 478155 h 1543050"/>
                <a:gd name="connsiteX524" fmla="*/ 167640 w 1704975"/>
                <a:gd name="connsiteY524" fmla="*/ 476250 h 1543050"/>
                <a:gd name="connsiteX525" fmla="*/ 164783 w 1704975"/>
                <a:gd name="connsiteY525" fmla="*/ 475297 h 1543050"/>
                <a:gd name="connsiteX526" fmla="*/ 161925 w 1704975"/>
                <a:gd name="connsiteY526" fmla="*/ 474345 h 1543050"/>
                <a:gd name="connsiteX527" fmla="*/ 156210 w 1704975"/>
                <a:gd name="connsiteY527" fmla="*/ 476250 h 1543050"/>
                <a:gd name="connsiteX528" fmla="*/ 149543 w 1704975"/>
                <a:gd name="connsiteY528" fmla="*/ 481013 h 1543050"/>
                <a:gd name="connsiteX529" fmla="*/ 143828 w 1704975"/>
                <a:gd name="connsiteY529" fmla="*/ 481965 h 1543050"/>
                <a:gd name="connsiteX530" fmla="*/ 138113 w 1704975"/>
                <a:gd name="connsiteY530" fmla="*/ 481013 h 1543050"/>
                <a:gd name="connsiteX531" fmla="*/ 104775 w 1704975"/>
                <a:gd name="connsiteY531" fmla="*/ 464820 h 1543050"/>
                <a:gd name="connsiteX532" fmla="*/ 101918 w 1704975"/>
                <a:gd name="connsiteY532" fmla="*/ 461963 h 1543050"/>
                <a:gd name="connsiteX533" fmla="*/ 95250 w 1704975"/>
                <a:gd name="connsiteY533" fmla="*/ 451485 h 1543050"/>
                <a:gd name="connsiteX534" fmla="*/ 91440 w 1704975"/>
                <a:gd name="connsiteY534" fmla="*/ 449580 h 1543050"/>
                <a:gd name="connsiteX535" fmla="*/ 87630 w 1704975"/>
                <a:gd name="connsiteY535" fmla="*/ 447675 h 1543050"/>
                <a:gd name="connsiteX536" fmla="*/ 65723 w 1704975"/>
                <a:gd name="connsiteY536" fmla="*/ 447675 h 1543050"/>
                <a:gd name="connsiteX537" fmla="*/ 59055 w 1704975"/>
                <a:gd name="connsiteY537" fmla="*/ 446722 h 1543050"/>
                <a:gd name="connsiteX538" fmla="*/ 53340 w 1704975"/>
                <a:gd name="connsiteY538" fmla="*/ 443865 h 1543050"/>
                <a:gd name="connsiteX539" fmla="*/ 49530 w 1704975"/>
                <a:gd name="connsiteY539" fmla="*/ 440055 h 1543050"/>
                <a:gd name="connsiteX540" fmla="*/ 44768 w 1704975"/>
                <a:gd name="connsiteY540" fmla="*/ 434340 h 1543050"/>
                <a:gd name="connsiteX541" fmla="*/ 40005 w 1704975"/>
                <a:gd name="connsiteY541" fmla="*/ 430530 h 1543050"/>
                <a:gd name="connsiteX542" fmla="*/ 29528 w 1704975"/>
                <a:gd name="connsiteY542" fmla="*/ 427672 h 1543050"/>
                <a:gd name="connsiteX543" fmla="*/ 26670 w 1704975"/>
                <a:gd name="connsiteY543" fmla="*/ 426720 h 1543050"/>
                <a:gd name="connsiteX544" fmla="*/ 24765 w 1704975"/>
                <a:gd name="connsiteY544" fmla="*/ 423863 h 1543050"/>
                <a:gd name="connsiteX545" fmla="*/ 19050 w 1704975"/>
                <a:gd name="connsiteY545" fmla="*/ 413385 h 1543050"/>
                <a:gd name="connsiteX546" fmla="*/ 17145 w 1704975"/>
                <a:gd name="connsiteY546" fmla="*/ 411480 h 1543050"/>
                <a:gd name="connsiteX547" fmla="*/ 14288 w 1704975"/>
                <a:gd name="connsiteY547" fmla="*/ 408622 h 1543050"/>
                <a:gd name="connsiteX548" fmla="*/ 11430 w 1704975"/>
                <a:gd name="connsiteY548" fmla="*/ 403860 h 1543050"/>
                <a:gd name="connsiteX549" fmla="*/ 8573 w 1704975"/>
                <a:gd name="connsiteY549" fmla="*/ 381000 h 1543050"/>
                <a:gd name="connsiteX550" fmla="*/ 7620 w 1704975"/>
                <a:gd name="connsiteY550" fmla="*/ 378142 h 1543050"/>
                <a:gd name="connsiteX551" fmla="*/ 0 w 1704975"/>
                <a:gd name="connsiteY551" fmla="*/ 356235 h 1543050"/>
                <a:gd name="connsiteX552" fmla="*/ 0 w 1704975"/>
                <a:gd name="connsiteY552" fmla="*/ 354330 h 1543050"/>
                <a:gd name="connsiteX553" fmla="*/ 5715 w 1704975"/>
                <a:gd name="connsiteY553" fmla="*/ 345758 h 1543050"/>
                <a:gd name="connsiteX554" fmla="*/ 10478 w 1704975"/>
                <a:gd name="connsiteY554" fmla="*/ 338138 h 1543050"/>
                <a:gd name="connsiteX555" fmla="*/ 34290 w 1704975"/>
                <a:gd name="connsiteY555" fmla="*/ 315278 h 1543050"/>
                <a:gd name="connsiteX556" fmla="*/ 38100 w 1704975"/>
                <a:gd name="connsiteY556" fmla="*/ 310515 h 1543050"/>
                <a:gd name="connsiteX557" fmla="*/ 39053 w 1704975"/>
                <a:gd name="connsiteY557" fmla="*/ 303847 h 1543050"/>
                <a:gd name="connsiteX558" fmla="*/ 40005 w 1704975"/>
                <a:gd name="connsiteY558" fmla="*/ 292417 h 1543050"/>
                <a:gd name="connsiteX559" fmla="*/ 40005 w 1704975"/>
                <a:gd name="connsiteY559" fmla="*/ 247650 h 1543050"/>
                <a:gd name="connsiteX560" fmla="*/ 35243 w 1704975"/>
                <a:gd name="connsiteY560" fmla="*/ 236220 h 1543050"/>
                <a:gd name="connsiteX561" fmla="*/ 54293 w 1704975"/>
                <a:gd name="connsiteY561" fmla="*/ 225742 h 1543050"/>
                <a:gd name="connsiteX562" fmla="*/ 60960 w 1704975"/>
                <a:gd name="connsiteY562" fmla="*/ 219075 h 1543050"/>
                <a:gd name="connsiteX563" fmla="*/ 62865 w 1704975"/>
                <a:gd name="connsiteY563" fmla="*/ 211455 h 1543050"/>
                <a:gd name="connsiteX564" fmla="*/ 67628 w 1704975"/>
                <a:gd name="connsiteY564" fmla="*/ 200025 h 1543050"/>
                <a:gd name="connsiteX565" fmla="*/ 70485 w 1704975"/>
                <a:gd name="connsiteY565" fmla="*/ 198120 h 1543050"/>
                <a:gd name="connsiteX566" fmla="*/ 72390 w 1704975"/>
                <a:gd name="connsiteY566" fmla="*/ 198120 h 1543050"/>
                <a:gd name="connsiteX567" fmla="*/ 75248 w 1704975"/>
                <a:gd name="connsiteY567" fmla="*/ 201930 h 1543050"/>
                <a:gd name="connsiteX568" fmla="*/ 79058 w 1704975"/>
                <a:gd name="connsiteY568" fmla="*/ 205740 h 1543050"/>
                <a:gd name="connsiteX569" fmla="*/ 85725 w 1704975"/>
                <a:gd name="connsiteY569" fmla="*/ 211455 h 1543050"/>
                <a:gd name="connsiteX570" fmla="*/ 91440 w 1704975"/>
                <a:gd name="connsiteY570" fmla="*/ 214313 h 1543050"/>
                <a:gd name="connsiteX571" fmla="*/ 96203 w 1704975"/>
                <a:gd name="connsiteY571" fmla="*/ 216217 h 1543050"/>
                <a:gd name="connsiteX572" fmla="*/ 99060 w 1704975"/>
                <a:gd name="connsiteY572" fmla="*/ 215265 h 1543050"/>
                <a:gd name="connsiteX573" fmla="*/ 100965 w 1704975"/>
                <a:gd name="connsiteY573" fmla="*/ 212408 h 1543050"/>
                <a:gd name="connsiteX574" fmla="*/ 102870 w 1704975"/>
                <a:gd name="connsiteY574" fmla="*/ 206692 h 1543050"/>
                <a:gd name="connsiteX575" fmla="*/ 101918 w 1704975"/>
                <a:gd name="connsiteY575" fmla="*/ 201930 h 1543050"/>
                <a:gd name="connsiteX576" fmla="*/ 101918 w 1704975"/>
                <a:gd name="connsiteY576" fmla="*/ 198120 h 1543050"/>
                <a:gd name="connsiteX577" fmla="*/ 102870 w 1704975"/>
                <a:gd name="connsiteY577" fmla="*/ 193358 h 1543050"/>
                <a:gd name="connsiteX578" fmla="*/ 110490 w 1704975"/>
                <a:gd name="connsiteY578" fmla="*/ 183833 h 1543050"/>
                <a:gd name="connsiteX579" fmla="*/ 115253 w 1704975"/>
                <a:gd name="connsiteY579" fmla="*/ 180022 h 1543050"/>
                <a:gd name="connsiteX580" fmla="*/ 119063 w 1704975"/>
                <a:gd name="connsiteY580" fmla="*/ 179070 h 1543050"/>
                <a:gd name="connsiteX581" fmla="*/ 126683 w 1704975"/>
                <a:gd name="connsiteY581" fmla="*/ 184785 h 1543050"/>
                <a:gd name="connsiteX582" fmla="*/ 130493 w 1704975"/>
                <a:gd name="connsiteY582" fmla="*/ 185738 h 1543050"/>
                <a:gd name="connsiteX583" fmla="*/ 132398 w 1704975"/>
                <a:gd name="connsiteY583" fmla="*/ 184785 h 1543050"/>
                <a:gd name="connsiteX584" fmla="*/ 134303 w 1704975"/>
                <a:gd name="connsiteY584" fmla="*/ 182880 h 1543050"/>
                <a:gd name="connsiteX585" fmla="*/ 136208 w 1704975"/>
                <a:gd name="connsiteY585" fmla="*/ 175260 h 1543050"/>
                <a:gd name="connsiteX586" fmla="*/ 138113 w 1704975"/>
                <a:gd name="connsiteY586" fmla="*/ 171450 h 1543050"/>
                <a:gd name="connsiteX587" fmla="*/ 140970 w 1704975"/>
                <a:gd name="connsiteY587" fmla="*/ 166688 h 1543050"/>
                <a:gd name="connsiteX588" fmla="*/ 146685 w 1704975"/>
                <a:gd name="connsiteY588" fmla="*/ 159067 h 1543050"/>
                <a:gd name="connsiteX589" fmla="*/ 150495 w 1704975"/>
                <a:gd name="connsiteY589" fmla="*/ 156210 h 1543050"/>
                <a:gd name="connsiteX590" fmla="*/ 155258 w 1704975"/>
                <a:gd name="connsiteY590" fmla="*/ 154305 h 1543050"/>
                <a:gd name="connsiteX591" fmla="*/ 161925 w 1704975"/>
                <a:gd name="connsiteY591" fmla="*/ 155258 h 1543050"/>
                <a:gd name="connsiteX592" fmla="*/ 168593 w 1704975"/>
                <a:gd name="connsiteY592" fmla="*/ 156210 h 1543050"/>
                <a:gd name="connsiteX593" fmla="*/ 179070 w 1704975"/>
                <a:gd name="connsiteY593" fmla="*/ 161925 h 1543050"/>
                <a:gd name="connsiteX594" fmla="*/ 181928 w 1704975"/>
                <a:gd name="connsiteY594" fmla="*/ 163830 h 1543050"/>
                <a:gd name="connsiteX595" fmla="*/ 185738 w 1704975"/>
                <a:gd name="connsiteY595" fmla="*/ 164783 h 1543050"/>
                <a:gd name="connsiteX596" fmla="*/ 192405 w 1704975"/>
                <a:gd name="connsiteY596" fmla="*/ 165735 h 1543050"/>
                <a:gd name="connsiteX597" fmla="*/ 210503 w 1704975"/>
                <a:gd name="connsiteY597" fmla="*/ 161925 h 1543050"/>
                <a:gd name="connsiteX598" fmla="*/ 215265 w 1704975"/>
                <a:gd name="connsiteY598" fmla="*/ 160020 h 1543050"/>
                <a:gd name="connsiteX599" fmla="*/ 217170 w 1704975"/>
                <a:gd name="connsiteY599" fmla="*/ 158115 h 1543050"/>
                <a:gd name="connsiteX600" fmla="*/ 218123 w 1704975"/>
                <a:gd name="connsiteY600" fmla="*/ 155258 h 1543050"/>
                <a:gd name="connsiteX601" fmla="*/ 217170 w 1704975"/>
                <a:gd name="connsiteY601" fmla="*/ 149542 h 1543050"/>
                <a:gd name="connsiteX602" fmla="*/ 214313 w 1704975"/>
                <a:gd name="connsiteY602" fmla="*/ 141922 h 1543050"/>
                <a:gd name="connsiteX603" fmla="*/ 215265 w 1704975"/>
                <a:gd name="connsiteY603" fmla="*/ 138113 h 1543050"/>
                <a:gd name="connsiteX604" fmla="*/ 216218 w 1704975"/>
                <a:gd name="connsiteY604" fmla="*/ 135255 h 1543050"/>
                <a:gd name="connsiteX605" fmla="*/ 220028 w 1704975"/>
                <a:gd name="connsiteY605" fmla="*/ 129540 h 1543050"/>
                <a:gd name="connsiteX606" fmla="*/ 222885 w 1704975"/>
                <a:gd name="connsiteY606" fmla="*/ 127635 h 1543050"/>
                <a:gd name="connsiteX607" fmla="*/ 224790 w 1704975"/>
                <a:gd name="connsiteY607" fmla="*/ 126683 h 1543050"/>
                <a:gd name="connsiteX608" fmla="*/ 240983 w 1704975"/>
                <a:gd name="connsiteY608" fmla="*/ 130492 h 1543050"/>
                <a:gd name="connsiteX609" fmla="*/ 243840 w 1704975"/>
                <a:gd name="connsiteY609" fmla="*/ 130492 h 1543050"/>
                <a:gd name="connsiteX610" fmla="*/ 246698 w 1704975"/>
                <a:gd name="connsiteY610" fmla="*/ 128588 h 1543050"/>
                <a:gd name="connsiteX611" fmla="*/ 247650 w 1704975"/>
                <a:gd name="connsiteY611" fmla="*/ 126683 h 1543050"/>
                <a:gd name="connsiteX612" fmla="*/ 247650 w 1704975"/>
                <a:gd name="connsiteY612" fmla="*/ 124778 h 1543050"/>
                <a:gd name="connsiteX613" fmla="*/ 244793 w 1704975"/>
                <a:gd name="connsiteY613" fmla="*/ 120967 h 1543050"/>
                <a:gd name="connsiteX614" fmla="*/ 244793 w 1704975"/>
                <a:gd name="connsiteY614" fmla="*/ 118110 h 1543050"/>
                <a:gd name="connsiteX615" fmla="*/ 245745 w 1704975"/>
                <a:gd name="connsiteY615" fmla="*/ 114300 h 1543050"/>
                <a:gd name="connsiteX616" fmla="*/ 252413 w 1704975"/>
                <a:gd name="connsiteY616" fmla="*/ 107633 h 1543050"/>
                <a:gd name="connsiteX617" fmla="*/ 257175 w 1704975"/>
                <a:gd name="connsiteY617" fmla="*/ 105728 h 1543050"/>
                <a:gd name="connsiteX618" fmla="*/ 260985 w 1704975"/>
                <a:gd name="connsiteY618" fmla="*/ 104775 h 1543050"/>
                <a:gd name="connsiteX619" fmla="*/ 263843 w 1704975"/>
                <a:gd name="connsiteY619" fmla="*/ 105728 h 1543050"/>
                <a:gd name="connsiteX620" fmla="*/ 276225 w 1704975"/>
                <a:gd name="connsiteY620" fmla="*/ 113347 h 1543050"/>
                <a:gd name="connsiteX621" fmla="*/ 280035 w 1704975"/>
                <a:gd name="connsiteY621" fmla="*/ 115253 h 1543050"/>
                <a:gd name="connsiteX622" fmla="*/ 283845 w 1704975"/>
                <a:gd name="connsiteY622" fmla="*/ 115253 h 1543050"/>
                <a:gd name="connsiteX623" fmla="*/ 286703 w 1704975"/>
                <a:gd name="connsiteY623" fmla="*/ 114300 h 1543050"/>
                <a:gd name="connsiteX624" fmla="*/ 288608 w 1704975"/>
                <a:gd name="connsiteY624" fmla="*/ 112395 h 1543050"/>
                <a:gd name="connsiteX625" fmla="*/ 289560 w 1704975"/>
                <a:gd name="connsiteY625" fmla="*/ 109538 h 1543050"/>
                <a:gd name="connsiteX626" fmla="*/ 289560 w 1704975"/>
                <a:gd name="connsiteY626" fmla="*/ 105728 h 1543050"/>
                <a:gd name="connsiteX627" fmla="*/ 289560 w 1704975"/>
                <a:gd name="connsiteY627" fmla="*/ 93345 h 1543050"/>
                <a:gd name="connsiteX628" fmla="*/ 289560 w 1704975"/>
                <a:gd name="connsiteY628" fmla="*/ 89535 h 1543050"/>
                <a:gd name="connsiteX629" fmla="*/ 290513 w 1704975"/>
                <a:gd name="connsiteY629" fmla="*/ 84772 h 1543050"/>
                <a:gd name="connsiteX630" fmla="*/ 293370 w 1704975"/>
                <a:gd name="connsiteY630" fmla="*/ 82867 h 1543050"/>
                <a:gd name="connsiteX631" fmla="*/ 296228 w 1704975"/>
                <a:gd name="connsiteY631" fmla="*/ 80963 h 1543050"/>
                <a:gd name="connsiteX632" fmla="*/ 299085 w 1704975"/>
                <a:gd name="connsiteY632" fmla="*/ 80963 h 1543050"/>
                <a:gd name="connsiteX633" fmla="*/ 301943 w 1704975"/>
                <a:gd name="connsiteY633" fmla="*/ 81915 h 1543050"/>
                <a:gd name="connsiteX634" fmla="*/ 307658 w 1704975"/>
                <a:gd name="connsiteY634" fmla="*/ 84772 h 1543050"/>
                <a:gd name="connsiteX635" fmla="*/ 343853 w 1704975"/>
                <a:gd name="connsiteY635" fmla="*/ 107633 h 1543050"/>
                <a:gd name="connsiteX636" fmla="*/ 348615 w 1704975"/>
                <a:gd name="connsiteY636" fmla="*/ 108585 h 1543050"/>
                <a:gd name="connsiteX637" fmla="*/ 350520 w 1704975"/>
                <a:gd name="connsiteY637" fmla="*/ 107633 h 1543050"/>
                <a:gd name="connsiteX638" fmla="*/ 351473 w 1704975"/>
                <a:gd name="connsiteY638" fmla="*/ 105728 h 1543050"/>
                <a:gd name="connsiteX639" fmla="*/ 349568 w 1704975"/>
                <a:gd name="connsiteY639" fmla="*/ 103822 h 1543050"/>
                <a:gd name="connsiteX640" fmla="*/ 345758 w 1704975"/>
                <a:gd name="connsiteY640" fmla="*/ 99060 h 1543050"/>
                <a:gd name="connsiteX641" fmla="*/ 344805 w 1704975"/>
                <a:gd name="connsiteY641" fmla="*/ 97155 h 1543050"/>
                <a:gd name="connsiteX642" fmla="*/ 344805 w 1704975"/>
                <a:gd name="connsiteY642" fmla="*/ 93345 h 1543050"/>
                <a:gd name="connsiteX643" fmla="*/ 347663 w 1704975"/>
                <a:gd name="connsiteY643" fmla="*/ 91440 h 1543050"/>
                <a:gd name="connsiteX644" fmla="*/ 363855 w 1704975"/>
                <a:gd name="connsiteY644" fmla="*/ 95250 h 1543050"/>
                <a:gd name="connsiteX645" fmla="*/ 380048 w 1704975"/>
                <a:gd name="connsiteY645" fmla="*/ 93345 h 1543050"/>
                <a:gd name="connsiteX646" fmla="*/ 387668 w 1704975"/>
                <a:gd name="connsiteY646" fmla="*/ 89535 h 1543050"/>
                <a:gd name="connsiteX647" fmla="*/ 393383 w 1704975"/>
                <a:gd name="connsiteY647" fmla="*/ 88583 h 1543050"/>
                <a:gd name="connsiteX648" fmla="*/ 397193 w 1704975"/>
                <a:gd name="connsiteY648" fmla="*/ 87630 h 1543050"/>
                <a:gd name="connsiteX649" fmla="*/ 414338 w 1704975"/>
                <a:gd name="connsiteY649" fmla="*/ 92392 h 1543050"/>
                <a:gd name="connsiteX650" fmla="*/ 423863 w 1704975"/>
                <a:gd name="connsiteY650" fmla="*/ 94297 h 1543050"/>
                <a:gd name="connsiteX651" fmla="*/ 432435 w 1704975"/>
                <a:gd name="connsiteY651" fmla="*/ 93345 h 1543050"/>
                <a:gd name="connsiteX652" fmla="*/ 437198 w 1704975"/>
                <a:gd name="connsiteY652" fmla="*/ 92392 h 1543050"/>
                <a:gd name="connsiteX653" fmla="*/ 441008 w 1704975"/>
                <a:gd name="connsiteY653" fmla="*/ 91440 h 1543050"/>
                <a:gd name="connsiteX654" fmla="*/ 442913 w 1704975"/>
                <a:gd name="connsiteY654" fmla="*/ 89535 h 1543050"/>
                <a:gd name="connsiteX655" fmla="*/ 445770 w 1704975"/>
                <a:gd name="connsiteY655" fmla="*/ 83820 h 1543050"/>
                <a:gd name="connsiteX656" fmla="*/ 447675 w 1704975"/>
                <a:gd name="connsiteY656" fmla="*/ 77153 h 1543050"/>
                <a:gd name="connsiteX657" fmla="*/ 448628 w 1704975"/>
                <a:gd name="connsiteY657" fmla="*/ 72390 h 1543050"/>
                <a:gd name="connsiteX658" fmla="*/ 450533 w 1704975"/>
                <a:gd name="connsiteY658" fmla="*/ 71438 h 1543050"/>
                <a:gd name="connsiteX659" fmla="*/ 458153 w 1704975"/>
                <a:gd name="connsiteY659" fmla="*/ 62865 h 1543050"/>
                <a:gd name="connsiteX660" fmla="*/ 463868 w 1704975"/>
                <a:gd name="connsiteY660" fmla="*/ 52388 h 1543050"/>
                <a:gd name="connsiteX661" fmla="*/ 472440 w 1704975"/>
                <a:gd name="connsiteY661" fmla="*/ 41910 h 1543050"/>
                <a:gd name="connsiteX662" fmla="*/ 477203 w 1704975"/>
                <a:gd name="connsiteY662" fmla="*/ 40005 h 1543050"/>
                <a:gd name="connsiteX663" fmla="*/ 486728 w 1704975"/>
                <a:gd name="connsiteY663" fmla="*/ 39053 h 1543050"/>
                <a:gd name="connsiteX664" fmla="*/ 491490 w 1704975"/>
                <a:gd name="connsiteY664" fmla="*/ 37147 h 1543050"/>
                <a:gd name="connsiteX665" fmla="*/ 497205 w 1704975"/>
                <a:gd name="connsiteY665" fmla="*/ 31433 h 1543050"/>
                <a:gd name="connsiteX666" fmla="*/ 507683 w 1704975"/>
                <a:gd name="connsiteY666" fmla="*/ 16192 h 1543050"/>
                <a:gd name="connsiteX667" fmla="*/ 515303 w 1704975"/>
                <a:gd name="connsiteY667" fmla="*/ 10478 h 1543050"/>
                <a:gd name="connsiteX668" fmla="*/ 524828 w 1704975"/>
                <a:gd name="connsiteY668" fmla="*/ 7620 h 1543050"/>
                <a:gd name="connsiteX669" fmla="*/ 574358 w 1704975"/>
                <a:gd name="connsiteY669" fmla="*/ 1905 h 1543050"/>
                <a:gd name="connsiteX670" fmla="*/ 666750 w 1704975"/>
                <a:gd name="connsiteY670" fmla="*/ 9525 h 1543050"/>
                <a:gd name="connsiteX671" fmla="*/ 681038 w 1704975"/>
                <a:gd name="connsiteY671" fmla="*/ 17145 h 1543050"/>
                <a:gd name="connsiteX672" fmla="*/ 684848 w 1704975"/>
                <a:gd name="connsiteY672" fmla="*/ 32385 h 1543050"/>
                <a:gd name="connsiteX673" fmla="*/ 700088 w 1704975"/>
                <a:gd name="connsiteY673" fmla="*/ 40005 h 1543050"/>
                <a:gd name="connsiteX674" fmla="*/ 752475 w 1704975"/>
                <a:gd name="connsiteY674" fmla="*/ 124778 h 1543050"/>
                <a:gd name="connsiteX675" fmla="*/ 764858 w 1704975"/>
                <a:gd name="connsiteY675" fmla="*/ 130492 h 1543050"/>
                <a:gd name="connsiteX676" fmla="*/ 777240 w 1704975"/>
                <a:gd name="connsiteY676" fmla="*/ 129540 h 1543050"/>
                <a:gd name="connsiteX677" fmla="*/ 789623 w 1704975"/>
                <a:gd name="connsiteY677" fmla="*/ 124778 h 1543050"/>
                <a:gd name="connsiteX678" fmla="*/ 801053 w 1704975"/>
                <a:gd name="connsiteY678" fmla="*/ 116205 h 1543050"/>
                <a:gd name="connsiteX679" fmla="*/ 811530 w 1704975"/>
                <a:gd name="connsiteY679" fmla="*/ 105728 h 1543050"/>
                <a:gd name="connsiteX680" fmla="*/ 815340 w 1704975"/>
                <a:gd name="connsiteY680" fmla="*/ 103822 h 1543050"/>
                <a:gd name="connsiteX681" fmla="*/ 822008 w 1704975"/>
                <a:gd name="connsiteY681" fmla="*/ 103822 h 1543050"/>
                <a:gd name="connsiteX682" fmla="*/ 826770 w 1704975"/>
                <a:gd name="connsiteY682" fmla="*/ 105728 h 1543050"/>
                <a:gd name="connsiteX683" fmla="*/ 838200 w 1704975"/>
                <a:gd name="connsiteY683" fmla="*/ 111442 h 1543050"/>
                <a:gd name="connsiteX684" fmla="*/ 849630 w 1704975"/>
                <a:gd name="connsiteY684" fmla="*/ 114300 h 1543050"/>
                <a:gd name="connsiteX685" fmla="*/ 863918 w 1704975"/>
                <a:gd name="connsiteY685" fmla="*/ 124778 h 1543050"/>
                <a:gd name="connsiteX686" fmla="*/ 881063 w 1704975"/>
                <a:gd name="connsiteY686" fmla="*/ 128588 h 1543050"/>
                <a:gd name="connsiteX687" fmla="*/ 885825 w 1704975"/>
                <a:gd name="connsiteY687" fmla="*/ 130492 h 1543050"/>
                <a:gd name="connsiteX688" fmla="*/ 893445 w 1704975"/>
                <a:gd name="connsiteY688" fmla="*/ 136208 h 1543050"/>
                <a:gd name="connsiteX689" fmla="*/ 895350 w 1704975"/>
                <a:gd name="connsiteY689" fmla="*/ 138113 h 1543050"/>
                <a:gd name="connsiteX690" fmla="*/ 893445 w 1704975"/>
                <a:gd name="connsiteY690" fmla="*/ 141922 h 1543050"/>
                <a:gd name="connsiteX691" fmla="*/ 892493 w 1704975"/>
                <a:gd name="connsiteY691" fmla="*/ 160020 h 1543050"/>
                <a:gd name="connsiteX692" fmla="*/ 891540 w 1704975"/>
                <a:gd name="connsiteY692" fmla="*/ 167640 h 1543050"/>
                <a:gd name="connsiteX693" fmla="*/ 892493 w 1704975"/>
                <a:gd name="connsiteY693" fmla="*/ 175260 h 1543050"/>
                <a:gd name="connsiteX694" fmla="*/ 900113 w 1704975"/>
                <a:gd name="connsiteY694" fmla="*/ 181928 h 1543050"/>
                <a:gd name="connsiteX695" fmla="*/ 911543 w 1704975"/>
                <a:gd name="connsiteY695" fmla="*/ 185738 h 1543050"/>
                <a:gd name="connsiteX696" fmla="*/ 923925 w 1704975"/>
                <a:gd name="connsiteY696" fmla="*/ 187642 h 1543050"/>
                <a:gd name="connsiteX697" fmla="*/ 936308 w 1704975"/>
                <a:gd name="connsiteY697" fmla="*/ 186690 h 1543050"/>
                <a:gd name="connsiteX698" fmla="*/ 945833 w 1704975"/>
                <a:gd name="connsiteY698" fmla="*/ 180022 h 1543050"/>
                <a:gd name="connsiteX699" fmla="*/ 950595 w 1704975"/>
                <a:gd name="connsiteY699" fmla="*/ 173355 h 1543050"/>
                <a:gd name="connsiteX700" fmla="*/ 959168 w 1704975"/>
                <a:gd name="connsiteY700" fmla="*/ 155258 h 1543050"/>
                <a:gd name="connsiteX701" fmla="*/ 963930 w 1704975"/>
                <a:gd name="connsiteY701" fmla="*/ 147638 h 1543050"/>
                <a:gd name="connsiteX702" fmla="*/ 970598 w 1704975"/>
                <a:gd name="connsiteY702" fmla="*/ 141922 h 1543050"/>
                <a:gd name="connsiteX703" fmla="*/ 1058228 w 1704975"/>
                <a:gd name="connsiteY703" fmla="*/ 89535 h 1543050"/>
                <a:gd name="connsiteX704" fmla="*/ 1092518 w 1704975"/>
                <a:gd name="connsiteY704" fmla="*/ 77153 h 1543050"/>
                <a:gd name="connsiteX705" fmla="*/ 1127760 w 1704975"/>
                <a:gd name="connsiteY705" fmla="*/ 74295 h 1543050"/>
                <a:gd name="connsiteX706" fmla="*/ 1164908 w 1704975"/>
                <a:gd name="connsiteY706" fmla="*/ 80010 h 1543050"/>
                <a:gd name="connsiteX707" fmla="*/ 1242060 w 1704975"/>
                <a:gd name="connsiteY707" fmla="*/ 58103 h 1543050"/>
                <a:gd name="connsiteX708" fmla="*/ 1257300 w 1704975"/>
                <a:gd name="connsiteY708" fmla="*/ 45720 h 1543050"/>
                <a:gd name="connsiteX709" fmla="*/ 1288733 w 1704975"/>
                <a:gd name="connsiteY709" fmla="*/ 14288 h 1543050"/>
                <a:gd name="connsiteX710" fmla="*/ 1303973 w 1704975"/>
                <a:gd name="connsiteY710" fmla="*/ 7620 h 1543050"/>
                <a:gd name="connsiteX711" fmla="*/ 1357313 w 1704975"/>
                <a:gd name="connsiteY711" fmla="*/ 0 h 1543050"/>
                <a:gd name="connsiteX712" fmla="*/ 1367790 w 1704975"/>
                <a:gd name="connsiteY712" fmla="*/ 5715 h 1543050"/>
                <a:gd name="connsiteX713" fmla="*/ 1375410 w 1704975"/>
                <a:gd name="connsiteY713" fmla="*/ 27622 h 1543050"/>
                <a:gd name="connsiteX714" fmla="*/ 1383030 w 1704975"/>
                <a:gd name="connsiteY714" fmla="*/ 54292 h 1543050"/>
                <a:gd name="connsiteX715" fmla="*/ 1391603 w 1704975"/>
                <a:gd name="connsiteY715" fmla="*/ 76200 h 1543050"/>
                <a:gd name="connsiteX716" fmla="*/ 1437323 w 1704975"/>
                <a:gd name="connsiteY716" fmla="*/ 99060 h 1543050"/>
                <a:gd name="connsiteX717" fmla="*/ 1454468 w 1704975"/>
                <a:gd name="connsiteY717" fmla="*/ 117158 h 1543050"/>
                <a:gd name="connsiteX718" fmla="*/ 1455421 w 1704975"/>
                <a:gd name="connsiteY718" fmla="*/ 151447 h 1543050"/>
                <a:gd name="connsiteX719" fmla="*/ 1449705 w 1704975"/>
                <a:gd name="connsiteY719" fmla="*/ 170497 h 1543050"/>
                <a:gd name="connsiteX720" fmla="*/ 1448753 w 1704975"/>
                <a:gd name="connsiteY720" fmla="*/ 180022 h 1543050"/>
                <a:gd name="connsiteX721" fmla="*/ 1449705 w 1704975"/>
                <a:gd name="connsiteY721" fmla="*/ 188595 h 1543050"/>
                <a:gd name="connsiteX722" fmla="*/ 1452563 w 1704975"/>
                <a:gd name="connsiteY722" fmla="*/ 194310 h 1543050"/>
                <a:gd name="connsiteX723" fmla="*/ 1471613 w 1704975"/>
                <a:gd name="connsiteY723" fmla="*/ 213360 h 1543050"/>
                <a:gd name="connsiteX724" fmla="*/ 1522096 w 1704975"/>
                <a:gd name="connsiteY724" fmla="*/ 291465 h 1543050"/>
                <a:gd name="connsiteX725" fmla="*/ 1540193 w 1704975"/>
                <a:gd name="connsiteY725" fmla="*/ 304800 h 1543050"/>
                <a:gd name="connsiteX726" fmla="*/ 1582103 w 1704975"/>
                <a:gd name="connsiteY726" fmla="*/ 323850 h 1543050"/>
                <a:gd name="connsiteX727" fmla="*/ 1603058 w 1704975"/>
                <a:gd name="connsiteY727" fmla="*/ 337185 h 1543050"/>
                <a:gd name="connsiteX728" fmla="*/ 1621155 w 1704975"/>
                <a:gd name="connsiteY728" fmla="*/ 353378 h 1543050"/>
                <a:gd name="connsiteX729" fmla="*/ 1637348 w 1704975"/>
                <a:gd name="connsiteY729" fmla="*/ 374333 h 1543050"/>
                <a:gd name="connsiteX730" fmla="*/ 1654493 w 1704975"/>
                <a:gd name="connsiteY730" fmla="*/ 403860 h 1543050"/>
                <a:gd name="connsiteX731" fmla="*/ 1654493 w 1704975"/>
                <a:gd name="connsiteY731" fmla="*/ 405765 h 1543050"/>
                <a:gd name="connsiteX732" fmla="*/ 1663065 w 1704975"/>
                <a:gd name="connsiteY732" fmla="*/ 421005 h 1543050"/>
                <a:gd name="connsiteX733" fmla="*/ 1663065 w 1704975"/>
                <a:gd name="connsiteY733" fmla="*/ 433388 h 1543050"/>
                <a:gd name="connsiteX734" fmla="*/ 1665923 w 1704975"/>
                <a:gd name="connsiteY734" fmla="*/ 438150 h 1543050"/>
                <a:gd name="connsiteX735" fmla="*/ 1677353 w 1704975"/>
                <a:gd name="connsiteY735" fmla="*/ 430530 h 15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</a:cxnLst>
              <a:rect l="l" t="t" r="r" b="b"/>
              <a:pathLst>
                <a:path w="1704975" h="1543050">
                  <a:moveTo>
                    <a:pt x="1677353" y="430530"/>
                  </a:moveTo>
                  <a:lnTo>
                    <a:pt x="1678305" y="435292"/>
                  </a:lnTo>
                  <a:lnTo>
                    <a:pt x="1680210" y="442913"/>
                  </a:lnTo>
                  <a:lnTo>
                    <a:pt x="1688783" y="462915"/>
                  </a:lnTo>
                  <a:lnTo>
                    <a:pt x="1692593" y="469583"/>
                  </a:lnTo>
                  <a:lnTo>
                    <a:pt x="1696403" y="473392"/>
                  </a:lnTo>
                  <a:lnTo>
                    <a:pt x="1706880" y="480060"/>
                  </a:lnTo>
                  <a:lnTo>
                    <a:pt x="1707833" y="481965"/>
                  </a:lnTo>
                  <a:lnTo>
                    <a:pt x="1707833" y="484822"/>
                  </a:lnTo>
                  <a:lnTo>
                    <a:pt x="1704975" y="487680"/>
                  </a:lnTo>
                  <a:lnTo>
                    <a:pt x="1702118" y="488633"/>
                  </a:lnTo>
                  <a:lnTo>
                    <a:pt x="1699260" y="489585"/>
                  </a:lnTo>
                  <a:lnTo>
                    <a:pt x="1687830" y="490538"/>
                  </a:lnTo>
                  <a:lnTo>
                    <a:pt x="1677353" y="493395"/>
                  </a:lnTo>
                  <a:lnTo>
                    <a:pt x="1667828" y="498158"/>
                  </a:lnTo>
                  <a:lnTo>
                    <a:pt x="1664971" y="501967"/>
                  </a:lnTo>
                  <a:lnTo>
                    <a:pt x="1664018" y="505778"/>
                  </a:lnTo>
                  <a:lnTo>
                    <a:pt x="1665923" y="510540"/>
                  </a:lnTo>
                  <a:lnTo>
                    <a:pt x="1688783" y="527685"/>
                  </a:lnTo>
                  <a:lnTo>
                    <a:pt x="1689735" y="529590"/>
                  </a:lnTo>
                  <a:lnTo>
                    <a:pt x="1688783" y="532447"/>
                  </a:lnTo>
                  <a:lnTo>
                    <a:pt x="1686878" y="535305"/>
                  </a:lnTo>
                  <a:lnTo>
                    <a:pt x="1684973" y="537210"/>
                  </a:lnTo>
                  <a:lnTo>
                    <a:pt x="1677353" y="541020"/>
                  </a:lnTo>
                  <a:lnTo>
                    <a:pt x="1674496" y="545783"/>
                  </a:lnTo>
                  <a:lnTo>
                    <a:pt x="1672590" y="547688"/>
                  </a:lnTo>
                  <a:lnTo>
                    <a:pt x="1667828" y="560070"/>
                  </a:lnTo>
                  <a:lnTo>
                    <a:pt x="1664018" y="561022"/>
                  </a:lnTo>
                  <a:lnTo>
                    <a:pt x="1651635" y="558165"/>
                  </a:lnTo>
                  <a:lnTo>
                    <a:pt x="1648778" y="559118"/>
                  </a:lnTo>
                  <a:lnTo>
                    <a:pt x="1646873" y="560070"/>
                  </a:lnTo>
                  <a:lnTo>
                    <a:pt x="1641158" y="566738"/>
                  </a:lnTo>
                  <a:lnTo>
                    <a:pt x="1634490" y="577215"/>
                  </a:lnTo>
                  <a:lnTo>
                    <a:pt x="1633538" y="580072"/>
                  </a:lnTo>
                  <a:lnTo>
                    <a:pt x="1633538" y="582930"/>
                  </a:lnTo>
                  <a:lnTo>
                    <a:pt x="1634490" y="587693"/>
                  </a:lnTo>
                  <a:lnTo>
                    <a:pt x="1637348" y="589597"/>
                  </a:lnTo>
                  <a:lnTo>
                    <a:pt x="1639253" y="589597"/>
                  </a:lnTo>
                  <a:lnTo>
                    <a:pt x="1653540" y="583883"/>
                  </a:lnTo>
                  <a:lnTo>
                    <a:pt x="1656398" y="583883"/>
                  </a:lnTo>
                  <a:lnTo>
                    <a:pt x="1659255" y="583883"/>
                  </a:lnTo>
                  <a:lnTo>
                    <a:pt x="1661160" y="584835"/>
                  </a:lnTo>
                  <a:lnTo>
                    <a:pt x="1664971" y="588645"/>
                  </a:lnTo>
                  <a:lnTo>
                    <a:pt x="1665923" y="591503"/>
                  </a:lnTo>
                  <a:lnTo>
                    <a:pt x="1665923" y="594360"/>
                  </a:lnTo>
                  <a:lnTo>
                    <a:pt x="1664971" y="617220"/>
                  </a:lnTo>
                  <a:lnTo>
                    <a:pt x="1664971" y="627697"/>
                  </a:lnTo>
                  <a:lnTo>
                    <a:pt x="1665923" y="631508"/>
                  </a:lnTo>
                  <a:lnTo>
                    <a:pt x="1665923" y="637222"/>
                  </a:lnTo>
                  <a:lnTo>
                    <a:pt x="1664971" y="641033"/>
                  </a:lnTo>
                  <a:lnTo>
                    <a:pt x="1661160" y="645795"/>
                  </a:lnTo>
                  <a:lnTo>
                    <a:pt x="1655446" y="653415"/>
                  </a:lnTo>
                  <a:lnTo>
                    <a:pt x="1653540" y="657225"/>
                  </a:lnTo>
                  <a:lnTo>
                    <a:pt x="1648778" y="671513"/>
                  </a:lnTo>
                  <a:lnTo>
                    <a:pt x="1645921" y="675322"/>
                  </a:lnTo>
                  <a:lnTo>
                    <a:pt x="1644015" y="678180"/>
                  </a:lnTo>
                  <a:lnTo>
                    <a:pt x="1639253" y="680085"/>
                  </a:lnTo>
                  <a:lnTo>
                    <a:pt x="1637348" y="681990"/>
                  </a:lnTo>
                  <a:lnTo>
                    <a:pt x="1636396" y="685800"/>
                  </a:lnTo>
                  <a:lnTo>
                    <a:pt x="1636396" y="690563"/>
                  </a:lnTo>
                  <a:lnTo>
                    <a:pt x="1640205" y="701993"/>
                  </a:lnTo>
                  <a:lnTo>
                    <a:pt x="1641158" y="703897"/>
                  </a:lnTo>
                  <a:lnTo>
                    <a:pt x="1645921" y="710565"/>
                  </a:lnTo>
                  <a:lnTo>
                    <a:pt x="1645921" y="712470"/>
                  </a:lnTo>
                  <a:lnTo>
                    <a:pt x="1645921" y="715328"/>
                  </a:lnTo>
                  <a:lnTo>
                    <a:pt x="1640205" y="719138"/>
                  </a:lnTo>
                  <a:lnTo>
                    <a:pt x="1640205" y="722947"/>
                  </a:lnTo>
                  <a:lnTo>
                    <a:pt x="1645921" y="739140"/>
                  </a:lnTo>
                  <a:lnTo>
                    <a:pt x="1646873" y="744855"/>
                  </a:lnTo>
                  <a:lnTo>
                    <a:pt x="1645921" y="747713"/>
                  </a:lnTo>
                  <a:lnTo>
                    <a:pt x="1643063" y="752475"/>
                  </a:lnTo>
                  <a:lnTo>
                    <a:pt x="1641158" y="755333"/>
                  </a:lnTo>
                  <a:lnTo>
                    <a:pt x="1629728" y="762953"/>
                  </a:lnTo>
                  <a:lnTo>
                    <a:pt x="1627823" y="764858"/>
                  </a:lnTo>
                  <a:lnTo>
                    <a:pt x="1625918" y="767715"/>
                  </a:lnTo>
                  <a:lnTo>
                    <a:pt x="1623060" y="780097"/>
                  </a:lnTo>
                  <a:lnTo>
                    <a:pt x="1621155" y="793432"/>
                  </a:lnTo>
                  <a:lnTo>
                    <a:pt x="1618298" y="801053"/>
                  </a:lnTo>
                  <a:lnTo>
                    <a:pt x="1615440" y="804863"/>
                  </a:lnTo>
                  <a:lnTo>
                    <a:pt x="1612583" y="806768"/>
                  </a:lnTo>
                  <a:lnTo>
                    <a:pt x="1604010" y="808672"/>
                  </a:lnTo>
                  <a:lnTo>
                    <a:pt x="1600200" y="811530"/>
                  </a:lnTo>
                  <a:lnTo>
                    <a:pt x="1593533" y="821055"/>
                  </a:lnTo>
                  <a:lnTo>
                    <a:pt x="1592580" y="823913"/>
                  </a:lnTo>
                  <a:lnTo>
                    <a:pt x="1591628" y="826770"/>
                  </a:lnTo>
                  <a:lnTo>
                    <a:pt x="1593533" y="831532"/>
                  </a:lnTo>
                  <a:lnTo>
                    <a:pt x="1595438" y="834390"/>
                  </a:lnTo>
                  <a:lnTo>
                    <a:pt x="1601153" y="841057"/>
                  </a:lnTo>
                  <a:lnTo>
                    <a:pt x="1602105" y="842963"/>
                  </a:lnTo>
                  <a:lnTo>
                    <a:pt x="1604010" y="848678"/>
                  </a:lnTo>
                  <a:lnTo>
                    <a:pt x="1604963" y="853440"/>
                  </a:lnTo>
                  <a:lnTo>
                    <a:pt x="1605915" y="859155"/>
                  </a:lnTo>
                  <a:lnTo>
                    <a:pt x="1603058" y="900113"/>
                  </a:lnTo>
                  <a:lnTo>
                    <a:pt x="1603058" y="909638"/>
                  </a:lnTo>
                  <a:lnTo>
                    <a:pt x="1604963" y="916305"/>
                  </a:lnTo>
                  <a:lnTo>
                    <a:pt x="1607821" y="917257"/>
                  </a:lnTo>
                  <a:lnTo>
                    <a:pt x="1616393" y="918210"/>
                  </a:lnTo>
                  <a:lnTo>
                    <a:pt x="1622108" y="921068"/>
                  </a:lnTo>
                  <a:lnTo>
                    <a:pt x="1624965" y="922972"/>
                  </a:lnTo>
                  <a:lnTo>
                    <a:pt x="1627823" y="926782"/>
                  </a:lnTo>
                  <a:lnTo>
                    <a:pt x="1627823" y="929640"/>
                  </a:lnTo>
                  <a:lnTo>
                    <a:pt x="1627823" y="934403"/>
                  </a:lnTo>
                  <a:lnTo>
                    <a:pt x="1626871" y="940118"/>
                  </a:lnTo>
                  <a:lnTo>
                    <a:pt x="1618298" y="952500"/>
                  </a:lnTo>
                  <a:lnTo>
                    <a:pt x="1611630" y="960120"/>
                  </a:lnTo>
                  <a:lnTo>
                    <a:pt x="1597343" y="970597"/>
                  </a:lnTo>
                  <a:lnTo>
                    <a:pt x="1584960" y="982028"/>
                  </a:lnTo>
                  <a:lnTo>
                    <a:pt x="1583055" y="989647"/>
                  </a:lnTo>
                  <a:lnTo>
                    <a:pt x="1582103" y="996315"/>
                  </a:lnTo>
                  <a:lnTo>
                    <a:pt x="1580198" y="999172"/>
                  </a:lnTo>
                  <a:lnTo>
                    <a:pt x="1577340" y="1001078"/>
                  </a:lnTo>
                  <a:lnTo>
                    <a:pt x="1568768" y="1002982"/>
                  </a:lnTo>
                  <a:lnTo>
                    <a:pt x="1544955" y="1003935"/>
                  </a:lnTo>
                  <a:lnTo>
                    <a:pt x="1477328" y="984885"/>
                  </a:lnTo>
                  <a:lnTo>
                    <a:pt x="1426846" y="985838"/>
                  </a:lnTo>
                  <a:lnTo>
                    <a:pt x="1423035" y="986790"/>
                  </a:lnTo>
                  <a:lnTo>
                    <a:pt x="1420178" y="990600"/>
                  </a:lnTo>
                  <a:lnTo>
                    <a:pt x="1403985" y="1018222"/>
                  </a:lnTo>
                  <a:lnTo>
                    <a:pt x="1403985" y="1020128"/>
                  </a:lnTo>
                  <a:lnTo>
                    <a:pt x="1405890" y="1022032"/>
                  </a:lnTo>
                  <a:lnTo>
                    <a:pt x="1408748" y="1022985"/>
                  </a:lnTo>
                  <a:lnTo>
                    <a:pt x="1415415" y="1024890"/>
                  </a:lnTo>
                  <a:lnTo>
                    <a:pt x="1435418" y="1027747"/>
                  </a:lnTo>
                  <a:lnTo>
                    <a:pt x="1446848" y="1026795"/>
                  </a:lnTo>
                  <a:lnTo>
                    <a:pt x="1449705" y="1027747"/>
                  </a:lnTo>
                  <a:lnTo>
                    <a:pt x="1452563" y="1030605"/>
                  </a:lnTo>
                  <a:lnTo>
                    <a:pt x="1460183" y="1042035"/>
                  </a:lnTo>
                  <a:lnTo>
                    <a:pt x="1461135" y="1043940"/>
                  </a:lnTo>
                  <a:lnTo>
                    <a:pt x="1459230" y="1047750"/>
                  </a:lnTo>
                  <a:lnTo>
                    <a:pt x="1455421" y="1052513"/>
                  </a:lnTo>
                  <a:lnTo>
                    <a:pt x="1335405" y="1126807"/>
                  </a:lnTo>
                  <a:lnTo>
                    <a:pt x="1329690" y="1132523"/>
                  </a:lnTo>
                  <a:lnTo>
                    <a:pt x="1325880" y="1141095"/>
                  </a:lnTo>
                  <a:lnTo>
                    <a:pt x="1324928" y="1145857"/>
                  </a:lnTo>
                  <a:lnTo>
                    <a:pt x="1323975" y="1152525"/>
                  </a:lnTo>
                  <a:lnTo>
                    <a:pt x="1322071" y="1156335"/>
                  </a:lnTo>
                  <a:lnTo>
                    <a:pt x="1319213" y="1159193"/>
                  </a:lnTo>
                  <a:lnTo>
                    <a:pt x="1306830" y="1163955"/>
                  </a:lnTo>
                  <a:lnTo>
                    <a:pt x="1303973" y="1165860"/>
                  </a:lnTo>
                  <a:lnTo>
                    <a:pt x="1301115" y="1169670"/>
                  </a:lnTo>
                  <a:lnTo>
                    <a:pt x="1291590" y="1184910"/>
                  </a:lnTo>
                  <a:lnTo>
                    <a:pt x="1291590" y="1187768"/>
                  </a:lnTo>
                  <a:lnTo>
                    <a:pt x="1291590" y="1190625"/>
                  </a:lnTo>
                  <a:lnTo>
                    <a:pt x="1293496" y="1192530"/>
                  </a:lnTo>
                  <a:lnTo>
                    <a:pt x="1298258" y="1195388"/>
                  </a:lnTo>
                  <a:lnTo>
                    <a:pt x="1299210" y="1198245"/>
                  </a:lnTo>
                  <a:lnTo>
                    <a:pt x="1299210" y="1201103"/>
                  </a:lnTo>
                  <a:lnTo>
                    <a:pt x="1298258" y="1206818"/>
                  </a:lnTo>
                  <a:lnTo>
                    <a:pt x="1298258" y="1210628"/>
                  </a:lnTo>
                  <a:lnTo>
                    <a:pt x="1298258" y="1213485"/>
                  </a:lnTo>
                  <a:lnTo>
                    <a:pt x="1302068" y="1220153"/>
                  </a:lnTo>
                  <a:lnTo>
                    <a:pt x="1303973" y="1224915"/>
                  </a:lnTo>
                  <a:lnTo>
                    <a:pt x="1303973" y="1227773"/>
                  </a:lnTo>
                  <a:lnTo>
                    <a:pt x="1302068" y="1230630"/>
                  </a:lnTo>
                  <a:lnTo>
                    <a:pt x="1299210" y="1232535"/>
                  </a:lnTo>
                  <a:lnTo>
                    <a:pt x="1292543" y="1234440"/>
                  </a:lnTo>
                  <a:lnTo>
                    <a:pt x="1278255" y="1234440"/>
                  </a:lnTo>
                  <a:lnTo>
                    <a:pt x="1274446" y="1236345"/>
                  </a:lnTo>
                  <a:lnTo>
                    <a:pt x="1254443" y="1250632"/>
                  </a:lnTo>
                  <a:lnTo>
                    <a:pt x="1252538" y="1253490"/>
                  </a:lnTo>
                  <a:lnTo>
                    <a:pt x="1249680" y="1261110"/>
                  </a:lnTo>
                  <a:lnTo>
                    <a:pt x="1246823" y="1267778"/>
                  </a:lnTo>
                  <a:lnTo>
                    <a:pt x="1245871" y="1270635"/>
                  </a:lnTo>
                  <a:lnTo>
                    <a:pt x="1243013" y="1272540"/>
                  </a:lnTo>
                  <a:lnTo>
                    <a:pt x="1239203" y="1273493"/>
                  </a:lnTo>
                  <a:lnTo>
                    <a:pt x="1236346" y="1275398"/>
                  </a:lnTo>
                  <a:lnTo>
                    <a:pt x="1233488" y="1280160"/>
                  </a:lnTo>
                  <a:lnTo>
                    <a:pt x="1232535" y="1283970"/>
                  </a:lnTo>
                  <a:lnTo>
                    <a:pt x="1231583" y="1286828"/>
                  </a:lnTo>
                  <a:lnTo>
                    <a:pt x="1233488" y="1301115"/>
                  </a:lnTo>
                  <a:lnTo>
                    <a:pt x="1233488" y="1303973"/>
                  </a:lnTo>
                  <a:lnTo>
                    <a:pt x="1231583" y="1306830"/>
                  </a:lnTo>
                  <a:lnTo>
                    <a:pt x="1227773" y="1308735"/>
                  </a:lnTo>
                  <a:lnTo>
                    <a:pt x="1216343" y="1311593"/>
                  </a:lnTo>
                  <a:lnTo>
                    <a:pt x="1211580" y="1311593"/>
                  </a:lnTo>
                  <a:lnTo>
                    <a:pt x="1205865" y="1310640"/>
                  </a:lnTo>
                  <a:lnTo>
                    <a:pt x="1203960" y="1308735"/>
                  </a:lnTo>
                  <a:lnTo>
                    <a:pt x="1200150" y="1304925"/>
                  </a:lnTo>
                  <a:lnTo>
                    <a:pt x="1195388" y="1298257"/>
                  </a:lnTo>
                  <a:lnTo>
                    <a:pt x="1193483" y="1296353"/>
                  </a:lnTo>
                  <a:lnTo>
                    <a:pt x="1190625" y="1295400"/>
                  </a:lnTo>
                  <a:lnTo>
                    <a:pt x="1187768" y="1295400"/>
                  </a:lnTo>
                  <a:lnTo>
                    <a:pt x="1182053" y="1295400"/>
                  </a:lnTo>
                  <a:lnTo>
                    <a:pt x="1179196" y="1297305"/>
                  </a:lnTo>
                  <a:lnTo>
                    <a:pt x="1177290" y="1300163"/>
                  </a:lnTo>
                  <a:lnTo>
                    <a:pt x="1175385" y="1305878"/>
                  </a:lnTo>
                  <a:lnTo>
                    <a:pt x="1173480" y="1317307"/>
                  </a:lnTo>
                  <a:lnTo>
                    <a:pt x="1171575" y="1320165"/>
                  </a:lnTo>
                  <a:lnTo>
                    <a:pt x="1168718" y="1321118"/>
                  </a:lnTo>
                  <a:lnTo>
                    <a:pt x="1163003" y="1321118"/>
                  </a:lnTo>
                  <a:lnTo>
                    <a:pt x="1159193" y="1320165"/>
                  </a:lnTo>
                  <a:lnTo>
                    <a:pt x="1153478" y="1317307"/>
                  </a:lnTo>
                  <a:lnTo>
                    <a:pt x="1150621" y="1317307"/>
                  </a:lnTo>
                  <a:lnTo>
                    <a:pt x="1147763" y="1318260"/>
                  </a:lnTo>
                  <a:lnTo>
                    <a:pt x="1144905" y="1321118"/>
                  </a:lnTo>
                  <a:lnTo>
                    <a:pt x="1138238" y="1330643"/>
                  </a:lnTo>
                  <a:lnTo>
                    <a:pt x="1137285" y="1333500"/>
                  </a:lnTo>
                  <a:lnTo>
                    <a:pt x="1137285" y="1338263"/>
                  </a:lnTo>
                  <a:lnTo>
                    <a:pt x="1138238" y="1340168"/>
                  </a:lnTo>
                  <a:lnTo>
                    <a:pt x="1141096" y="1343025"/>
                  </a:lnTo>
                  <a:lnTo>
                    <a:pt x="1152525" y="1347788"/>
                  </a:lnTo>
                  <a:lnTo>
                    <a:pt x="1154430" y="1349693"/>
                  </a:lnTo>
                  <a:lnTo>
                    <a:pt x="1155383" y="1351598"/>
                  </a:lnTo>
                  <a:lnTo>
                    <a:pt x="1155383" y="1354455"/>
                  </a:lnTo>
                  <a:lnTo>
                    <a:pt x="1155383" y="1358265"/>
                  </a:lnTo>
                  <a:lnTo>
                    <a:pt x="1153478" y="1360170"/>
                  </a:lnTo>
                  <a:lnTo>
                    <a:pt x="1150621" y="1362075"/>
                  </a:lnTo>
                  <a:lnTo>
                    <a:pt x="1145858" y="1361123"/>
                  </a:lnTo>
                  <a:lnTo>
                    <a:pt x="1143000" y="1360170"/>
                  </a:lnTo>
                  <a:lnTo>
                    <a:pt x="1137285" y="1355407"/>
                  </a:lnTo>
                  <a:lnTo>
                    <a:pt x="1086803" y="1329690"/>
                  </a:lnTo>
                  <a:lnTo>
                    <a:pt x="1080135" y="1328738"/>
                  </a:lnTo>
                  <a:lnTo>
                    <a:pt x="1077278" y="1328738"/>
                  </a:lnTo>
                  <a:lnTo>
                    <a:pt x="1072515" y="1329690"/>
                  </a:lnTo>
                  <a:lnTo>
                    <a:pt x="1066800" y="1331595"/>
                  </a:lnTo>
                  <a:lnTo>
                    <a:pt x="1064896" y="1332548"/>
                  </a:lnTo>
                  <a:lnTo>
                    <a:pt x="1057275" y="1339215"/>
                  </a:lnTo>
                  <a:lnTo>
                    <a:pt x="1051560" y="1344930"/>
                  </a:lnTo>
                  <a:lnTo>
                    <a:pt x="1045845" y="1350645"/>
                  </a:lnTo>
                  <a:lnTo>
                    <a:pt x="1042988" y="1351598"/>
                  </a:lnTo>
                  <a:lnTo>
                    <a:pt x="1018223" y="1349693"/>
                  </a:lnTo>
                  <a:lnTo>
                    <a:pt x="1011555" y="1347788"/>
                  </a:lnTo>
                  <a:lnTo>
                    <a:pt x="996315" y="1339215"/>
                  </a:lnTo>
                  <a:lnTo>
                    <a:pt x="989648" y="1337310"/>
                  </a:lnTo>
                  <a:lnTo>
                    <a:pt x="983933" y="1337310"/>
                  </a:lnTo>
                  <a:lnTo>
                    <a:pt x="981075" y="1338263"/>
                  </a:lnTo>
                  <a:lnTo>
                    <a:pt x="978218" y="1340168"/>
                  </a:lnTo>
                  <a:lnTo>
                    <a:pt x="976313" y="1343978"/>
                  </a:lnTo>
                  <a:lnTo>
                    <a:pt x="974408" y="1346835"/>
                  </a:lnTo>
                  <a:lnTo>
                    <a:pt x="974408" y="1353503"/>
                  </a:lnTo>
                  <a:lnTo>
                    <a:pt x="976313" y="1362075"/>
                  </a:lnTo>
                  <a:lnTo>
                    <a:pt x="984885" y="1397318"/>
                  </a:lnTo>
                  <a:lnTo>
                    <a:pt x="984885" y="1403985"/>
                  </a:lnTo>
                  <a:lnTo>
                    <a:pt x="985838" y="1418273"/>
                  </a:lnTo>
                  <a:lnTo>
                    <a:pt x="983933" y="1440180"/>
                  </a:lnTo>
                  <a:lnTo>
                    <a:pt x="985838" y="1449705"/>
                  </a:lnTo>
                  <a:lnTo>
                    <a:pt x="993458" y="1468755"/>
                  </a:lnTo>
                  <a:lnTo>
                    <a:pt x="962978" y="1472565"/>
                  </a:lnTo>
                  <a:lnTo>
                    <a:pt x="952500" y="1479232"/>
                  </a:lnTo>
                  <a:lnTo>
                    <a:pt x="948690" y="1483995"/>
                  </a:lnTo>
                  <a:lnTo>
                    <a:pt x="943928" y="1485900"/>
                  </a:lnTo>
                  <a:lnTo>
                    <a:pt x="924878" y="1487805"/>
                  </a:lnTo>
                  <a:lnTo>
                    <a:pt x="918210" y="1486853"/>
                  </a:lnTo>
                  <a:lnTo>
                    <a:pt x="914400" y="1484948"/>
                  </a:lnTo>
                  <a:lnTo>
                    <a:pt x="912495" y="1483043"/>
                  </a:lnTo>
                  <a:lnTo>
                    <a:pt x="909638" y="1478280"/>
                  </a:lnTo>
                  <a:lnTo>
                    <a:pt x="906780" y="1474470"/>
                  </a:lnTo>
                  <a:lnTo>
                    <a:pt x="898208" y="1467803"/>
                  </a:lnTo>
                  <a:lnTo>
                    <a:pt x="875348" y="1454468"/>
                  </a:lnTo>
                  <a:lnTo>
                    <a:pt x="866775" y="1451610"/>
                  </a:lnTo>
                  <a:lnTo>
                    <a:pt x="862013" y="1451610"/>
                  </a:lnTo>
                  <a:lnTo>
                    <a:pt x="859155" y="1452563"/>
                  </a:lnTo>
                  <a:lnTo>
                    <a:pt x="850583" y="1458278"/>
                  </a:lnTo>
                  <a:lnTo>
                    <a:pt x="812483" y="1504950"/>
                  </a:lnTo>
                  <a:lnTo>
                    <a:pt x="803910" y="1519238"/>
                  </a:lnTo>
                  <a:lnTo>
                    <a:pt x="802958" y="1522095"/>
                  </a:lnTo>
                  <a:lnTo>
                    <a:pt x="803910" y="1524953"/>
                  </a:lnTo>
                  <a:lnTo>
                    <a:pt x="804863" y="1525905"/>
                  </a:lnTo>
                  <a:lnTo>
                    <a:pt x="809625" y="1529715"/>
                  </a:lnTo>
                  <a:lnTo>
                    <a:pt x="809625" y="1532573"/>
                  </a:lnTo>
                  <a:lnTo>
                    <a:pt x="808673" y="1535430"/>
                  </a:lnTo>
                  <a:lnTo>
                    <a:pt x="799148" y="1542098"/>
                  </a:lnTo>
                  <a:lnTo>
                    <a:pt x="795338" y="1544003"/>
                  </a:lnTo>
                  <a:lnTo>
                    <a:pt x="791528" y="1544003"/>
                  </a:lnTo>
                  <a:lnTo>
                    <a:pt x="788670" y="1542098"/>
                  </a:lnTo>
                  <a:lnTo>
                    <a:pt x="784860" y="1538288"/>
                  </a:lnTo>
                  <a:lnTo>
                    <a:pt x="779145" y="1535430"/>
                  </a:lnTo>
                  <a:lnTo>
                    <a:pt x="777240" y="1536382"/>
                  </a:lnTo>
                  <a:lnTo>
                    <a:pt x="775335" y="1538288"/>
                  </a:lnTo>
                  <a:lnTo>
                    <a:pt x="770573" y="1543050"/>
                  </a:lnTo>
                  <a:lnTo>
                    <a:pt x="765810" y="1546860"/>
                  </a:lnTo>
                  <a:lnTo>
                    <a:pt x="762953" y="1546860"/>
                  </a:lnTo>
                  <a:lnTo>
                    <a:pt x="761048" y="1545907"/>
                  </a:lnTo>
                  <a:lnTo>
                    <a:pt x="755333" y="1540193"/>
                  </a:lnTo>
                  <a:lnTo>
                    <a:pt x="754380" y="1538288"/>
                  </a:lnTo>
                  <a:lnTo>
                    <a:pt x="756285" y="1533525"/>
                  </a:lnTo>
                  <a:lnTo>
                    <a:pt x="770573" y="1517332"/>
                  </a:lnTo>
                  <a:lnTo>
                    <a:pt x="772478" y="1512570"/>
                  </a:lnTo>
                  <a:lnTo>
                    <a:pt x="770573" y="1508760"/>
                  </a:lnTo>
                  <a:lnTo>
                    <a:pt x="762000" y="1499235"/>
                  </a:lnTo>
                  <a:lnTo>
                    <a:pt x="753428" y="1492568"/>
                  </a:lnTo>
                  <a:lnTo>
                    <a:pt x="751523" y="1490663"/>
                  </a:lnTo>
                  <a:lnTo>
                    <a:pt x="751523" y="1487805"/>
                  </a:lnTo>
                  <a:lnTo>
                    <a:pt x="753428" y="1483043"/>
                  </a:lnTo>
                  <a:lnTo>
                    <a:pt x="760095" y="1469707"/>
                  </a:lnTo>
                  <a:lnTo>
                    <a:pt x="762000" y="1463993"/>
                  </a:lnTo>
                  <a:lnTo>
                    <a:pt x="760095" y="1459230"/>
                  </a:lnTo>
                  <a:lnTo>
                    <a:pt x="753428" y="1451610"/>
                  </a:lnTo>
                  <a:lnTo>
                    <a:pt x="716280" y="1420178"/>
                  </a:lnTo>
                  <a:lnTo>
                    <a:pt x="702945" y="1406843"/>
                  </a:lnTo>
                  <a:lnTo>
                    <a:pt x="682943" y="1392555"/>
                  </a:lnTo>
                  <a:lnTo>
                    <a:pt x="681038" y="1390650"/>
                  </a:lnTo>
                  <a:lnTo>
                    <a:pt x="680085" y="1387793"/>
                  </a:lnTo>
                  <a:lnTo>
                    <a:pt x="681038" y="1384935"/>
                  </a:lnTo>
                  <a:lnTo>
                    <a:pt x="682943" y="1379220"/>
                  </a:lnTo>
                  <a:lnTo>
                    <a:pt x="684848" y="1377315"/>
                  </a:lnTo>
                  <a:lnTo>
                    <a:pt x="695325" y="1369695"/>
                  </a:lnTo>
                  <a:lnTo>
                    <a:pt x="698183" y="1366838"/>
                  </a:lnTo>
                  <a:lnTo>
                    <a:pt x="701040" y="1363028"/>
                  </a:lnTo>
                  <a:lnTo>
                    <a:pt x="700088" y="1359218"/>
                  </a:lnTo>
                  <a:lnTo>
                    <a:pt x="697230" y="1355407"/>
                  </a:lnTo>
                  <a:lnTo>
                    <a:pt x="682943" y="1344930"/>
                  </a:lnTo>
                  <a:lnTo>
                    <a:pt x="680085" y="1342073"/>
                  </a:lnTo>
                  <a:lnTo>
                    <a:pt x="677228" y="1335405"/>
                  </a:lnTo>
                  <a:lnTo>
                    <a:pt x="673418" y="1331595"/>
                  </a:lnTo>
                  <a:lnTo>
                    <a:pt x="668655" y="1327785"/>
                  </a:lnTo>
                  <a:lnTo>
                    <a:pt x="657225" y="1321118"/>
                  </a:lnTo>
                  <a:lnTo>
                    <a:pt x="652463" y="1317307"/>
                  </a:lnTo>
                  <a:lnTo>
                    <a:pt x="650558" y="1313498"/>
                  </a:lnTo>
                  <a:lnTo>
                    <a:pt x="650558" y="1309688"/>
                  </a:lnTo>
                  <a:lnTo>
                    <a:pt x="648653" y="1305878"/>
                  </a:lnTo>
                  <a:lnTo>
                    <a:pt x="643890" y="1303020"/>
                  </a:lnTo>
                  <a:lnTo>
                    <a:pt x="630555" y="1299210"/>
                  </a:lnTo>
                  <a:lnTo>
                    <a:pt x="625793" y="1296353"/>
                  </a:lnTo>
                  <a:lnTo>
                    <a:pt x="617220" y="1288732"/>
                  </a:lnTo>
                  <a:lnTo>
                    <a:pt x="613410" y="1285875"/>
                  </a:lnTo>
                  <a:lnTo>
                    <a:pt x="610553" y="1285875"/>
                  </a:lnTo>
                  <a:lnTo>
                    <a:pt x="593408" y="1286828"/>
                  </a:lnTo>
                  <a:lnTo>
                    <a:pt x="590550" y="1284923"/>
                  </a:lnTo>
                  <a:lnTo>
                    <a:pt x="590550" y="1283018"/>
                  </a:lnTo>
                  <a:lnTo>
                    <a:pt x="591503" y="1281113"/>
                  </a:lnTo>
                  <a:lnTo>
                    <a:pt x="597218" y="1275398"/>
                  </a:lnTo>
                  <a:lnTo>
                    <a:pt x="610553" y="1267778"/>
                  </a:lnTo>
                  <a:lnTo>
                    <a:pt x="614363" y="1263968"/>
                  </a:lnTo>
                  <a:lnTo>
                    <a:pt x="620078" y="1253490"/>
                  </a:lnTo>
                  <a:lnTo>
                    <a:pt x="621983" y="1248728"/>
                  </a:lnTo>
                  <a:lnTo>
                    <a:pt x="620078" y="1244918"/>
                  </a:lnTo>
                  <a:lnTo>
                    <a:pt x="610553" y="1233488"/>
                  </a:lnTo>
                  <a:lnTo>
                    <a:pt x="606743" y="1228725"/>
                  </a:lnTo>
                  <a:lnTo>
                    <a:pt x="606743" y="1225868"/>
                  </a:lnTo>
                  <a:lnTo>
                    <a:pt x="606743" y="1219200"/>
                  </a:lnTo>
                  <a:lnTo>
                    <a:pt x="604838" y="1213485"/>
                  </a:lnTo>
                  <a:lnTo>
                    <a:pt x="600075" y="1206818"/>
                  </a:lnTo>
                  <a:lnTo>
                    <a:pt x="585788" y="1193482"/>
                  </a:lnTo>
                  <a:lnTo>
                    <a:pt x="579120" y="1188720"/>
                  </a:lnTo>
                  <a:lnTo>
                    <a:pt x="574358" y="1187768"/>
                  </a:lnTo>
                  <a:lnTo>
                    <a:pt x="567690" y="1191578"/>
                  </a:lnTo>
                  <a:lnTo>
                    <a:pt x="542925" y="1201103"/>
                  </a:lnTo>
                  <a:lnTo>
                    <a:pt x="533400" y="1205865"/>
                  </a:lnTo>
                  <a:lnTo>
                    <a:pt x="524828" y="1212532"/>
                  </a:lnTo>
                  <a:lnTo>
                    <a:pt x="522923" y="1213485"/>
                  </a:lnTo>
                  <a:lnTo>
                    <a:pt x="518160" y="1215390"/>
                  </a:lnTo>
                  <a:lnTo>
                    <a:pt x="515303" y="1215390"/>
                  </a:lnTo>
                  <a:lnTo>
                    <a:pt x="510540" y="1217295"/>
                  </a:lnTo>
                  <a:lnTo>
                    <a:pt x="505778" y="1221105"/>
                  </a:lnTo>
                  <a:lnTo>
                    <a:pt x="501968" y="1221105"/>
                  </a:lnTo>
                  <a:lnTo>
                    <a:pt x="496253" y="1221105"/>
                  </a:lnTo>
                  <a:lnTo>
                    <a:pt x="491490" y="1217295"/>
                  </a:lnTo>
                  <a:lnTo>
                    <a:pt x="480060" y="1212532"/>
                  </a:lnTo>
                  <a:lnTo>
                    <a:pt x="458153" y="1205865"/>
                  </a:lnTo>
                  <a:lnTo>
                    <a:pt x="454343" y="1205865"/>
                  </a:lnTo>
                  <a:lnTo>
                    <a:pt x="449580" y="1208723"/>
                  </a:lnTo>
                  <a:lnTo>
                    <a:pt x="446723" y="1210628"/>
                  </a:lnTo>
                  <a:lnTo>
                    <a:pt x="441960" y="1210628"/>
                  </a:lnTo>
                  <a:lnTo>
                    <a:pt x="438150" y="1208723"/>
                  </a:lnTo>
                  <a:lnTo>
                    <a:pt x="433388" y="1203960"/>
                  </a:lnTo>
                  <a:lnTo>
                    <a:pt x="429578" y="1202055"/>
                  </a:lnTo>
                  <a:lnTo>
                    <a:pt x="425768" y="1201103"/>
                  </a:lnTo>
                  <a:lnTo>
                    <a:pt x="409575" y="1202055"/>
                  </a:lnTo>
                  <a:lnTo>
                    <a:pt x="406718" y="1201103"/>
                  </a:lnTo>
                  <a:lnTo>
                    <a:pt x="403860" y="1199198"/>
                  </a:lnTo>
                  <a:lnTo>
                    <a:pt x="401003" y="1196340"/>
                  </a:lnTo>
                  <a:lnTo>
                    <a:pt x="392430" y="1188720"/>
                  </a:lnTo>
                  <a:lnTo>
                    <a:pt x="388620" y="1187768"/>
                  </a:lnTo>
                  <a:lnTo>
                    <a:pt x="385763" y="1188720"/>
                  </a:lnTo>
                  <a:lnTo>
                    <a:pt x="381000" y="1190625"/>
                  </a:lnTo>
                  <a:lnTo>
                    <a:pt x="378143" y="1191578"/>
                  </a:lnTo>
                  <a:lnTo>
                    <a:pt x="351473" y="1186815"/>
                  </a:lnTo>
                  <a:lnTo>
                    <a:pt x="348615" y="1186815"/>
                  </a:lnTo>
                  <a:lnTo>
                    <a:pt x="338138" y="1189673"/>
                  </a:lnTo>
                  <a:lnTo>
                    <a:pt x="331470" y="1189673"/>
                  </a:lnTo>
                  <a:lnTo>
                    <a:pt x="327660" y="1188720"/>
                  </a:lnTo>
                  <a:lnTo>
                    <a:pt x="323850" y="1187768"/>
                  </a:lnTo>
                  <a:lnTo>
                    <a:pt x="313373" y="1175385"/>
                  </a:lnTo>
                  <a:lnTo>
                    <a:pt x="304800" y="1168718"/>
                  </a:lnTo>
                  <a:lnTo>
                    <a:pt x="274320" y="1150620"/>
                  </a:lnTo>
                  <a:lnTo>
                    <a:pt x="266700" y="1143000"/>
                  </a:lnTo>
                  <a:lnTo>
                    <a:pt x="257175" y="1130618"/>
                  </a:lnTo>
                  <a:lnTo>
                    <a:pt x="255270" y="1127760"/>
                  </a:lnTo>
                  <a:lnTo>
                    <a:pt x="240983" y="1118235"/>
                  </a:lnTo>
                  <a:lnTo>
                    <a:pt x="238125" y="1115378"/>
                  </a:lnTo>
                  <a:lnTo>
                    <a:pt x="236220" y="1111568"/>
                  </a:lnTo>
                  <a:lnTo>
                    <a:pt x="233363" y="1106805"/>
                  </a:lnTo>
                  <a:lnTo>
                    <a:pt x="199073" y="1079182"/>
                  </a:lnTo>
                  <a:lnTo>
                    <a:pt x="197168" y="1076325"/>
                  </a:lnTo>
                  <a:lnTo>
                    <a:pt x="195263" y="1068705"/>
                  </a:lnTo>
                  <a:lnTo>
                    <a:pt x="192405" y="1064895"/>
                  </a:lnTo>
                  <a:lnTo>
                    <a:pt x="188595" y="1061085"/>
                  </a:lnTo>
                  <a:lnTo>
                    <a:pt x="173355" y="1049655"/>
                  </a:lnTo>
                  <a:lnTo>
                    <a:pt x="163830" y="1045845"/>
                  </a:lnTo>
                  <a:lnTo>
                    <a:pt x="160973" y="1044893"/>
                  </a:lnTo>
                  <a:lnTo>
                    <a:pt x="151448" y="1044893"/>
                  </a:lnTo>
                  <a:lnTo>
                    <a:pt x="138113" y="1042035"/>
                  </a:lnTo>
                  <a:lnTo>
                    <a:pt x="134303" y="1042035"/>
                  </a:lnTo>
                  <a:lnTo>
                    <a:pt x="122873" y="1044893"/>
                  </a:lnTo>
                  <a:lnTo>
                    <a:pt x="117158" y="1043940"/>
                  </a:lnTo>
                  <a:lnTo>
                    <a:pt x="113348" y="1042035"/>
                  </a:lnTo>
                  <a:lnTo>
                    <a:pt x="108585" y="1038225"/>
                  </a:lnTo>
                  <a:lnTo>
                    <a:pt x="104775" y="1037272"/>
                  </a:lnTo>
                  <a:lnTo>
                    <a:pt x="101918" y="1037272"/>
                  </a:lnTo>
                  <a:lnTo>
                    <a:pt x="100013" y="1038225"/>
                  </a:lnTo>
                  <a:lnTo>
                    <a:pt x="93345" y="1040130"/>
                  </a:lnTo>
                  <a:lnTo>
                    <a:pt x="75248" y="1036320"/>
                  </a:lnTo>
                  <a:lnTo>
                    <a:pt x="77153" y="1031557"/>
                  </a:lnTo>
                  <a:lnTo>
                    <a:pt x="78105" y="1025843"/>
                  </a:lnTo>
                  <a:lnTo>
                    <a:pt x="77153" y="1016318"/>
                  </a:lnTo>
                  <a:lnTo>
                    <a:pt x="74295" y="1006793"/>
                  </a:lnTo>
                  <a:lnTo>
                    <a:pt x="72390" y="998220"/>
                  </a:lnTo>
                  <a:lnTo>
                    <a:pt x="70485" y="993457"/>
                  </a:lnTo>
                  <a:lnTo>
                    <a:pt x="60008" y="975360"/>
                  </a:lnTo>
                  <a:lnTo>
                    <a:pt x="59055" y="972503"/>
                  </a:lnTo>
                  <a:lnTo>
                    <a:pt x="59055" y="969645"/>
                  </a:lnTo>
                  <a:lnTo>
                    <a:pt x="59055" y="964882"/>
                  </a:lnTo>
                  <a:lnTo>
                    <a:pt x="60960" y="957263"/>
                  </a:lnTo>
                  <a:lnTo>
                    <a:pt x="64770" y="949643"/>
                  </a:lnTo>
                  <a:lnTo>
                    <a:pt x="69533" y="942022"/>
                  </a:lnTo>
                  <a:lnTo>
                    <a:pt x="96203" y="912495"/>
                  </a:lnTo>
                  <a:lnTo>
                    <a:pt x="100965" y="910590"/>
                  </a:lnTo>
                  <a:lnTo>
                    <a:pt x="103823" y="909638"/>
                  </a:lnTo>
                  <a:lnTo>
                    <a:pt x="106680" y="910590"/>
                  </a:lnTo>
                  <a:lnTo>
                    <a:pt x="111443" y="913447"/>
                  </a:lnTo>
                  <a:lnTo>
                    <a:pt x="116205" y="920115"/>
                  </a:lnTo>
                  <a:lnTo>
                    <a:pt x="121920" y="924878"/>
                  </a:lnTo>
                  <a:lnTo>
                    <a:pt x="127635" y="927735"/>
                  </a:lnTo>
                  <a:lnTo>
                    <a:pt x="131445" y="928688"/>
                  </a:lnTo>
                  <a:lnTo>
                    <a:pt x="182880" y="933450"/>
                  </a:lnTo>
                  <a:lnTo>
                    <a:pt x="194310" y="931545"/>
                  </a:lnTo>
                  <a:lnTo>
                    <a:pt x="221933" y="917257"/>
                  </a:lnTo>
                  <a:lnTo>
                    <a:pt x="230505" y="910590"/>
                  </a:lnTo>
                  <a:lnTo>
                    <a:pt x="246698" y="892493"/>
                  </a:lnTo>
                  <a:lnTo>
                    <a:pt x="260033" y="870585"/>
                  </a:lnTo>
                  <a:lnTo>
                    <a:pt x="273368" y="852488"/>
                  </a:lnTo>
                  <a:lnTo>
                    <a:pt x="274320" y="848678"/>
                  </a:lnTo>
                  <a:lnTo>
                    <a:pt x="273368" y="844868"/>
                  </a:lnTo>
                  <a:lnTo>
                    <a:pt x="267653" y="837247"/>
                  </a:lnTo>
                  <a:lnTo>
                    <a:pt x="267653" y="833438"/>
                  </a:lnTo>
                  <a:lnTo>
                    <a:pt x="269558" y="829628"/>
                  </a:lnTo>
                  <a:lnTo>
                    <a:pt x="269558" y="826770"/>
                  </a:lnTo>
                  <a:lnTo>
                    <a:pt x="268605" y="823913"/>
                  </a:lnTo>
                  <a:lnTo>
                    <a:pt x="264795" y="821055"/>
                  </a:lnTo>
                  <a:lnTo>
                    <a:pt x="258128" y="817245"/>
                  </a:lnTo>
                  <a:lnTo>
                    <a:pt x="255270" y="814388"/>
                  </a:lnTo>
                  <a:lnTo>
                    <a:pt x="254318" y="808672"/>
                  </a:lnTo>
                  <a:lnTo>
                    <a:pt x="250508" y="801053"/>
                  </a:lnTo>
                  <a:lnTo>
                    <a:pt x="248603" y="796290"/>
                  </a:lnTo>
                  <a:lnTo>
                    <a:pt x="248603" y="790575"/>
                  </a:lnTo>
                  <a:lnTo>
                    <a:pt x="249555" y="786765"/>
                  </a:lnTo>
                  <a:lnTo>
                    <a:pt x="252413" y="780097"/>
                  </a:lnTo>
                  <a:lnTo>
                    <a:pt x="253365" y="778193"/>
                  </a:lnTo>
                  <a:lnTo>
                    <a:pt x="255270" y="776288"/>
                  </a:lnTo>
                  <a:lnTo>
                    <a:pt x="263843" y="774383"/>
                  </a:lnTo>
                  <a:lnTo>
                    <a:pt x="268605" y="772478"/>
                  </a:lnTo>
                  <a:lnTo>
                    <a:pt x="271463" y="771525"/>
                  </a:lnTo>
                  <a:lnTo>
                    <a:pt x="274320" y="772478"/>
                  </a:lnTo>
                  <a:lnTo>
                    <a:pt x="304800" y="780097"/>
                  </a:lnTo>
                  <a:lnTo>
                    <a:pt x="307658" y="780097"/>
                  </a:lnTo>
                  <a:lnTo>
                    <a:pt x="309563" y="778193"/>
                  </a:lnTo>
                  <a:lnTo>
                    <a:pt x="312420" y="773430"/>
                  </a:lnTo>
                  <a:lnTo>
                    <a:pt x="314325" y="771525"/>
                  </a:lnTo>
                  <a:lnTo>
                    <a:pt x="317183" y="770572"/>
                  </a:lnTo>
                  <a:lnTo>
                    <a:pt x="325755" y="769620"/>
                  </a:lnTo>
                  <a:lnTo>
                    <a:pt x="328613" y="768668"/>
                  </a:lnTo>
                  <a:lnTo>
                    <a:pt x="329565" y="767715"/>
                  </a:lnTo>
                  <a:lnTo>
                    <a:pt x="330518" y="763905"/>
                  </a:lnTo>
                  <a:lnTo>
                    <a:pt x="328613" y="759143"/>
                  </a:lnTo>
                  <a:lnTo>
                    <a:pt x="322898" y="753428"/>
                  </a:lnTo>
                  <a:lnTo>
                    <a:pt x="311468" y="746760"/>
                  </a:lnTo>
                  <a:lnTo>
                    <a:pt x="302895" y="737235"/>
                  </a:lnTo>
                  <a:lnTo>
                    <a:pt x="292418" y="731520"/>
                  </a:lnTo>
                  <a:lnTo>
                    <a:pt x="290513" y="728663"/>
                  </a:lnTo>
                  <a:lnTo>
                    <a:pt x="289560" y="722947"/>
                  </a:lnTo>
                  <a:lnTo>
                    <a:pt x="290513" y="721043"/>
                  </a:lnTo>
                  <a:lnTo>
                    <a:pt x="293370" y="720090"/>
                  </a:lnTo>
                  <a:lnTo>
                    <a:pt x="318135" y="720090"/>
                  </a:lnTo>
                  <a:lnTo>
                    <a:pt x="329565" y="718185"/>
                  </a:lnTo>
                  <a:lnTo>
                    <a:pt x="334328" y="715328"/>
                  </a:lnTo>
                  <a:lnTo>
                    <a:pt x="332423" y="708660"/>
                  </a:lnTo>
                  <a:lnTo>
                    <a:pt x="328613" y="697230"/>
                  </a:lnTo>
                  <a:lnTo>
                    <a:pt x="304800" y="652463"/>
                  </a:lnTo>
                  <a:lnTo>
                    <a:pt x="302895" y="647700"/>
                  </a:lnTo>
                  <a:lnTo>
                    <a:pt x="300990" y="641985"/>
                  </a:lnTo>
                  <a:lnTo>
                    <a:pt x="301943" y="637222"/>
                  </a:lnTo>
                  <a:lnTo>
                    <a:pt x="302895" y="635318"/>
                  </a:lnTo>
                  <a:lnTo>
                    <a:pt x="307658" y="632460"/>
                  </a:lnTo>
                  <a:lnTo>
                    <a:pt x="309563" y="631508"/>
                  </a:lnTo>
                  <a:lnTo>
                    <a:pt x="309563" y="628650"/>
                  </a:lnTo>
                  <a:lnTo>
                    <a:pt x="307658" y="617220"/>
                  </a:lnTo>
                  <a:lnTo>
                    <a:pt x="306705" y="615315"/>
                  </a:lnTo>
                  <a:lnTo>
                    <a:pt x="304800" y="612458"/>
                  </a:lnTo>
                  <a:lnTo>
                    <a:pt x="300990" y="611505"/>
                  </a:lnTo>
                  <a:lnTo>
                    <a:pt x="284798" y="611505"/>
                  </a:lnTo>
                  <a:lnTo>
                    <a:pt x="281940" y="612458"/>
                  </a:lnTo>
                  <a:lnTo>
                    <a:pt x="280035" y="614363"/>
                  </a:lnTo>
                  <a:lnTo>
                    <a:pt x="278130" y="616268"/>
                  </a:lnTo>
                  <a:lnTo>
                    <a:pt x="276225" y="622935"/>
                  </a:lnTo>
                  <a:lnTo>
                    <a:pt x="275273" y="625793"/>
                  </a:lnTo>
                  <a:lnTo>
                    <a:pt x="273368" y="627697"/>
                  </a:lnTo>
                  <a:lnTo>
                    <a:pt x="270510" y="627697"/>
                  </a:lnTo>
                  <a:lnTo>
                    <a:pt x="263843" y="626745"/>
                  </a:lnTo>
                  <a:lnTo>
                    <a:pt x="237173" y="618172"/>
                  </a:lnTo>
                  <a:lnTo>
                    <a:pt x="234315" y="617220"/>
                  </a:lnTo>
                  <a:lnTo>
                    <a:pt x="232410" y="614363"/>
                  </a:lnTo>
                  <a:lnTo>
                    <a:pt x="232410" y="610553"/>
                  </a:lnTo>
                  <a:lnTo>
                    <a:pt x="231458" y="607695"/>
                  </a:lnTo>
                  <a:lnTo>
                    <a:pt x="229553" y="604838"/>
                  </a:lnTo>
                  <a:lnTo>
                    <a:pt x="215265" y="601980"/>
                  </a:lnTo>
                  <a:lnTo>
                    <a:pt x="211455" y="601028"/>
                  </a:lnTo>
                  <a:lnTo>
                    <a:pt x="209550" y="598170"/>
                  </a:lnTo>
                  <a:lnTo>
                    <a:pt x="208598" y="592455"/>
                  </a:lnTo>
                  <a:lnTo>
                    <a:pt x="207645" y="581978"/>
                  </a:lnTo>
                  <a:lnTo>
                    <a:pt x="206693" y="579120"/>
                  </a:lnTo>
                  <a:lnTo>
                    <a:pt x="204788" y="576263"/>
                  </a:lnTo>
                  <a:lnTo>
                    <a:pt x="194310" y="568643"/>
                  </a:lnTo>
                  <a:lnTo>
                    <a:pt x="192405" y="566738"/>
                  </a:lnTo>
                  <a:lnTo>
                    <a:pt x="190500" y="562928"/>
                  </a:lnTo>
                  <a:lnTo>
                    <a:pt x="187643" y="558165"/>
                  </a:lnTo>
                  <a:lnTo>
                    <a:pt x="184785" y="544830"/>
                  </a:lnTo>
                  <a:lnTo>
                    <a:pt x="183833" y="541020"/>
                  </a:lnTo>
                  <a:lnTo>
                    <a:pt x="183833" y="528638"/>
                  </a:lnTo>
                  <a:lnTo>
                    <a:pt x="185738" y="505778"/>
                  </a:lnTo>
                  <a:lnTo>
                    <a:pt x="184785" y="499110"/>
                  </a:lnTo>
                  <a:lnTo>
                    <a:pt x="183833" y="493395"/>
                  </a:lnTo>
                  <a:lnTo>
                    <a:pt x="180023" y="486728"/>
                  </a:lnTo>
                  <a:lnTo>
                    <a:pt x="171450" y="478155"/>
                  </a:lnTo>
                  <a:lnTo>
                    <a:pt x="167640" y="476250"/>
                  </a:lnTo>
                  <a:lnTo>
                    <a:pt x="164783" y="475297"/>
                  </a:lnTo>
                  <a:lnTo>
                    <a:pt x="161925" y="474345"/>
                  </a:lnTo>
                  <a:lnTo>
                    <a:pt x="156210" y="476250"/>
                  </a:lnTo>
                  <a:lnTo>
                    <a:pt x="149543" y="481013"/>
                  </a:lnTo>
                  <a:lnTo>
                    <a:pt x="143828" y="481965"/>
                  </a:lnTo>
                  <a:lnTo>
                    <a:pt x="138113" y="481013"/>
                  </a:lnTo>
                  <a:lnTo>
                    <a:pt x="104775" y="464820"/>
                  </a:lnTo>
                  <a:lnTo>
                    <a:pt x="101918" y="461963"/>
                  </a:lnTo>
                  <a:lnTo>
                    <a:pt x="95250" y="451485"/>
                  </a:lnTo>
                  <a:lnTo>
                    <a:pt x="91440" y="449580"/>
                  </a:lnTo>
                  <a:lnTo>
                    <a:pt x="87630" y="447675"/>
                  </a:lnTo>
                  <a:lnTo>
                    <a:pt x="65723" y="447675"/>
                  </a:lnTo>
                  <a:lnTo>
                    <a:pt x="59055" y="446722"/>
                  </a:lnTo>
                  <a:lnTo>
                    <a:pt x="53340" y="443865"/>
                  </a:lnTo>
                  <a:lnTo>
                    <a:pt x="49530" y="440055"/>
                  </a:lnTo>
                  <a:lnTo>
                    <a:pt x="44768" y="434340"/>
                  </a:lnTo>
                  <a:lnTo>
                    <a:pt x="40005" y="430530"/>
                  </a:lnTo>
                  <a:lnTo>
                    <a:pt x="29528" y="427672"/>
                  </a:lnTo>
                  <a:lnTo>
                    <a:pt x="26670" y="426720"/>
                  </a:lnTo>
                  <a:lnTo>
                    <a:pt x="24765" y="423863"/>
                  </a:lnTo>
                  <a:lnTo>
                    <a:pt x="19050" y="413385"/>
                  </a:lnTo>
                  <a:lnTo>
                    <a:pt x="17145" y="411480"/>
                  </a:lnTo>
                  <a:lnTo>
                    <a:pt x="14288" y="408622"/>
                  </a:lnTo>
                  <a:lnTo>
                    <a:pt x="11430" y="403860"/>
                  </a:lnTo>
                  <a:lnTo>
                    <a:pt x="8573" y="381000"/>
                  </a:lnTo>
                  <a:lnTo>
                    <a:pt x="7620" y="378142"/>
                  </a:lnTo>
                  <a:lnTo>
                    <a:pt x="0" y="356235"/>
                  </a:lnTo>
                  <a:lnTo>
                    <a:pt x="0" y="354330"/>
                  </a:lnTo>
                  <a:lnTo>
                    <a:pt x="5715" y="345758"/>
                  </a:lnTo>
                  <a:lnTo>
                    <a:pt x="10478" y="338138"/>
                  </a:lnTo>
                  <a:lnTo>
                    <a:pt x="34290" y="315278"/>
                  </a:lnTo>
                  <a:lnTo>
                    <a:pt x="38100" y="310515"/>
                  </a:lnTo>
                  <a:lnTo>
                    <a:pt x="39053" y="303847"/>
                  </a:lnTo>
                  <a:lnTo>
                    <a:pt x="40005" y="292417"/>
                  </a:lnTo>
                  <a:lnTo>
                    <a:pt x="40005" y="247650"/>
                  </a:lnTo>
                  <a:lnTo>
                    <a:pt x="35243" y="236220"/>
                  </a:lnTo>
                  <a:lnTo>
                    <a:pt x="54293" y="225742"/>
                  </a:lnTo>
                  <a:lnTo>
                    <a:pt x="60960" y="219075"/>
                  </a:lnTo>
                  <a:lnTo>
                    <a:pt x="62865" y="211455"/>
                  </a:lnTo>
                  <a:lnTo>
                    <a:pt x="67628" y="200025"/>
                  </a:lnTo>
                  <a:lnTo>
                    <a:pt x="70485" y="198120"/>
                  </a:lnTo>
                  <a:lnTo>
                    <a:pt x="72390" y="198120"/>
                  </a:lnTo>
                  <a:lnTo>
                    <a:pt x="75248" y="201930"/>
                  </a:lnTo>
                  <a:lnTo>
                    <a:pt x="79058" y="205740"/>
                  </a:lnTo>
                  <a:lnTo>
                    <a:pt x="85725" y="211455"/>
                  </a:lnTo>
                  <a:lnTo>
                    <a:pt x="91440" y="214313"/>
                  </a:lnTo>
                  <a:lnTo>
                    <a:pt x="96203" y="216217"/>
                  </a:lnTo>
                  <a:lnTo>
                    <a:pt x="99060" y="215265"/>
                  </a:lnTo>
                  <a:lnTo>
                    <a:pt x="100965" y="212408"/>
                  </a:lnTo>
                  <a:lnTo>
                    <a:pt x="102870" y="206692"/>
                  </a:lnTo>
                  <a:lnTo>
                    <a:pt x="101918" y="201930"/>
                  </a:lnTo>
                  <a:lnTo>
                    <a:pt x="101918" y="198120"/>
                  </a:lnTo>
                  <a:lnTo>
                    <a:pt x="102870" y="193358"/>
                  </a:lnTo>
                  <a:lnTo>
                    <a:pt x="110490" y="183833"/>
                  </a:lnTo>
                  <a:lnTo>
                    <a:pt x="115253" y="180022"/>
                  </a:lnTo>
                  <a:lnTo>
                    <a:pt x="119063" y="179070"/>
                  </a:lnTo>
                  <a:lnTo>
                    <a:pt x="126683" y="184785"/>
                  </a:lnTo>
                  <a:lnTo>
                    <a:pt x="130493" y="185738"/>
                  </a:lnTo>
                  <a:lnTo>
                    <a:pt x="132398" y="184785"/>
                  </a:lnTo>
                  <a:lnTo>
                    <a:pt x="134303" y="182880"/>
                  </a:lnTo>
                  <a:lnTo>
                    <a:pt x="136208" y="175260"/>
                  </a:lnTo>
                  <a:lnTo>
                    <a:pt x="138113" y="171450"/>
                  </a:lnTo>
                  <a:lnTo>
                    <a:pt x="140970" y="166688"/>
                  </a:lnTo>
                  <a:lnTo>
                    <a:pt x="146685" y="159067"/>
                  </a:lnTo>
                  <a:lnTo>
                    <a:pt x="150495" y="156210"/>
                  </a:lnTo>
                  <a:lnTo>
                    <a:pt x="155258" y="154305"/>
                  </a:lnTo>
                  <a:lnTo>
                    <a:pt x="161925" y="155258"/>
                  </a:lnTo>
                  <a:lnTo>
                    <a:pt x="168593" y="156210"/>
                  </a:lnTo>
                  <a:lnTo>
                    <a:pt x="179070" y="161925"/>
                  </a:lnTo>
                  <a:lnTo>
                    <a:pt x="181928" y="163830"/>
                  </a:lnTo>
                  <a:lnTo>
                    <a:pt x="185738" y="164783"/>
                  </a:lnTo>
                  <a:lnTo>
                    <a:pt x="192405" y="165735"/>
                  </a:lnTo>
                  <a:lnTo>
                    <a:pt x="210503" y="161925"/>
                  </a:lnTo>
                  <a:lnTo>
                    <a:pt x="215265" y="160020"/>
                  </a:lnTo>
                  <a:lnTo>
                    <a:pt x="217170" y="158115"/>
                  </a:lnTo>
                  <a:lnTo>
                    <a:pt x="218123" y="155258"/>
                  </a:lnTo>
                  <a:lnTo>
                    <a:pt x="217170" y="149542"/>
                  </a:lnTo>
                  <a:lnTo>
                    <a:pt x="214313" y="141922"/>
                  </a:lnTo>
                  <a:lnTo>
                    <a:pt x="215265" y="138113"/>
                  </a:lnTo>
                  <a:lnTo>
                    <a:pt x="216218" y="135255"/>
                  </a:lnTo>
                  <a:lnTo>
                    <a:pt x="220028" y="129540"/>
                  </a:lnTo>
                  <a:lnTo>
                    <a:pt x="222885" y="127635"/>
                  </a:lnTo>
                  <a:lnTo>
                    <a:pt x="224790" y="126683"/>
                  </a:lnTo>
                  <a:lnTo>
                    <a:pt x="240983" y="130492"/>
                  </a:lnTo>
                  <a:lnTo>
                    <a:pt x="243840" y="130492"/>
                  </a:lnTo>
                  <a:lnTo>
                    <a:pt x="246698" y="128588"/>
                  </a:lnTo>
                  <a:lnTo>
                    <a:pt x="247650" y="126683"/>
                  </a:lnTo>
                  <a:lnTo>
                    <a:pt x="247650" y="124778"/>
                  </a:lnTo>
                  <a:lnTo>
                    <a:pt x="244793" y="120967"/>
                  </a:lnTo>
                  <a:lnTo>
                    <a:pt x="244793" y="118110"/>
                  </a:lnTo>
                  <a:lnTo>
                    <a:pt x="245745" y="114300"/>
                  </a:lnTo>
                  <a:lnTo>
                    <a:pt x="252413" y="107633"/>
                  </a:lnTo>
                  <a:lnTo>
                    <a:pt x="257175" y="105728"/>
                  </a:lnTo>
                  <a:lnTo>
                    <a:pt x="260985" y="104775"/>
                  </a:lnTo>
                  <a:lnTo>
                    <a:pt x="263843" y="105728"/>
                  </a:lnTo>
                  <a:lnTo>
                    <a:pt x="276225" y="113347"/>
                  </a:lnTo>
                  <a:lnTo>
                    <a:pt x="280035" y="115253"/>
                  </a:lnTo>
                  <a:lnTo>
                    <a:pt x="283845" y="115253"/>
                  </a:lnTo>
                  <a:lnTo>
                    <a:pt x="286703" y="114300"/>
                  </a:lnTo>
                  <a:lnTo>
                    <a:pt x="288608" y="112395"/>
                  </a:lnTo>
                  <a:lnTo>
                    <a:pt x="289560" y="109538"/>
                  </a:lnTo>
                  <a:lnTo>
                    <a:pt x="289560" y="105728"/>
                  </a:lnTo>
                  <a:lnTo>
                    <a:pt x="289560" y="93345"/>
                  </a:lnTo>
                  <a:lnTo>
                    <a:pt x="289560" y="89535"/>
                  </a:lnTo>
                  <a:lnTo>
                    <a:pt x="290513" y="84772"/>
                  </a:lnTo>
                  <a:lnTo>
                    <a:pt x="293370" y="82867"/>
                  </a:lnTo>
                  <a:lnTo>
                    <a:pt x="296228" y="80963"/>
                  </a:lnTo>
                  <a:lnTo>
                    <a:pt x="299085" y="80963"/>
                  </a:lnTo>
                  <a:lnTo>
                    <a:pt x="301943" y="81915"/>
                  </a:lnTo>
                  <a:lnTo>
                    <a:pt x="307658" y="84772"/>
                  </a:lnTo>
                  <a:lnTo>
                    <a:pt x="343853" y="107633"/>
                  </a:lnTo>
                  <a:lnTo>
                    <a:pt x="348615" y="108585"/>
                  </a:lnTo>
                  <a:lnTo>
                    <a:pt x="350520" y="107633"/>
                  </a:lnTo>
                  <a:lnTo>
                    <a:pt x="351473" y="105728"/>
                  </a:lnTo>
                  <a:lnTo>
                    <a:pt x="349568" y="103822"/>
                  </a:lnTo>
                  <a:lnTo>
                    <a:pt x="345758" y="99060"/>
                  </a:lnTo>
                  <a:lnTo>
                    <a:pt x="344805" y="97155"/>
                  </a:lnTo>
                  <a:lnTo>
                    <a:pt x="344805" y="93345"/>
                  </a:lnTo>
                  <a:lnTo>
                    <a:pt x="347663" y="91440"/>
                  </a:lnTo>
                  <a:lnTo>
                    <a:pt x="363855" y="95250"/>
                  </a:lnTo>
                  <a:lnTo>
                    <a:pt x="380048" y="93345"/>
                  </a:lnTo>
                  <a:lnTo>
                    <a:pt x="387668" y="89535"/>
                  </a:lnTo>
                  <a:lnTo>
                    <a:pt x="393383" y="88583"/>
                  </a:lnTo>
                  <a:lnTo>
                    <a:pt x="397193" y="87630"/>
                  </a:lnTo>
                  <a:lnTo>
                    <a:pt x="414338" y="92392"/>
                  </a:lnTo>
                  <a:lnTo>
                    <a:pt x="423863" y="94297"/>
                  </a:lnTo>
                  <a:lnTo>
                    <a:pt x="432435" y="93345"/>
                  </a:lnTo>
                  <a:lnTo>
                    <a:pt x="437198" y="92392"/>
                  </a:lnTo>
                  <a:lnTo>
                    <a:pt x="441008" y="91440"/>
                  </a:lnTo>
                  <a:lnTo>
                    <a:pt x="442913" y="89535"/>
                  </a:lnTo>
                  <a:lnTo>
                    <a:pt x="445770" y="83820"/>
                  </a:lnTo>
                  <a:lnTo>
                    <a:pt x="447675" y="77153"/>
                  </a:lnTo>
                  <a:lnTo>
                    <a:pt x="448628" y="72390"/>
                  </a:lnTo>
                  <a:lnTo>
                    <a:pt x="450533" y="71438"/>
                  </a:lnTo>
                  <a:lnTo>
                    <a:pt x="458153" y="62865"/>
                  </a:lnTo>
                  <a:lnTo>
                    <a:pt x="463868" y="52388"/>
                  </a:lnTo>
                  <a:lnTo>
                    <a:pt x="472440" y="41910"/>
                  </a:lnTo>
                  <a:lnTo>
                    <a:pt x="477203" y="40005"/>
                  </a:lnTo>
                  <a:lnTo>
                    <a:pt x="486728" y="39053"/>
                  </a:lnTo>
                  <a:lnTo>
                    <a:pt x="491490" y="37147"/>
                  </a:lnTo>
                  <a:lnTo>
                    <a:pt x="497205" y="31433"/>
                  </a:lnTo>
                  <a:lnTo>
                    <a:pt x="507683" y="16192"/>
                  </a:lnTo>
                  <a:lnTo>
                    <a:pt x="515303" y="10478"/>
                  </a:lnTo>
                  <a:lnTo>
                    <a:pt x="524828" y="7620"/>
                  </a:lnTo>
                  <a:lnTo>
                    <a:pt x="574358" y="1905"/>
                  </a:lnTo>
                  <a:lnTo>
                    <a:pt x="666750" y="9525"/>
                  </a:lnTo>
                  <a:lnTo>
                    <a:pt x="681038" y="17145"/>
                  </a:lnTo>
                  <a:lnTo>
                    <a:pt x="684848" y="32385"/>
                  </a:lnTo>
                  <a:lnTo>
                    <a:pt x="700088" y="40005"/>
                  </a:lnTo>
                  <a:lnTo>
                    <a:pt x="752475" y="124778"/>
                  </a:lnTo>
                  <a:lnTo>
                    <a:pt x="764858" y="130492"/>
                  </a:lnTo>
                  <a:lnTo>
                    <a:pt x="777240" y="129540"/>
                  </a:lnTo>
                  <a:lnTo>
                    <a:pt x="789623" y="124778"/>
                  </a:lnTo>
                  <a:lnTo>
                    <a:pt x="801053" y="116205"/>
                  </a:lnTo>
                  <a:lnTo>
                    <a:pt x="811530" y="105728"/>
                  </a:lnTo>
                  <a:lnTo>
                    <a:pt x="815340" y="103822"/>
                  </a:lnTo>
                  <a:lnTo>
                    <a:pt x="822008" y="103822"/>
                  </a:lnTo>
                  <a:lnTo>
                    <a:pt x="826770" y="105728"/>
                  </a:lnTo>
                  <a:lnTo>
                    <a:pt x="838200" y="111442"/>
                  </a:lnTo>
                  <a:lnTo>
                    <a:pt x="849630" y="114300"/>
                  </a:lnTo>
                  <a:lnTo>
                    <a:pt x="863918" y="124778"/>
                  </a:lnTo>
                  <a:lnTo>
                    <a:pt x="881063" y="128588"/>
                  </a:lnTo>
                  <a:lnTo>
                    <a:pt x="885825" y="130492"/>
                  </a:lnTo>
                  <a:lnTo>
                    <a:pt x="893445" y="136208"/>
                  </a:lnTo>
                  <a:lnTo>
                    <a:pt x="895350" y="138113"/>
                  </a:lnTo>
                  <a:lnTo>
                    <a:pt x="893445" y="141922"/>
                  </a:lnTo>
                  <a:lnTo>
                    <a:pt x="892493" y="160020"/>
                  </a:lnTo>
                  <a:lnTo>
                    <a:pt x="891540" y="167640"/>
                  </a:lnTo>
                  <a:lnTo>
                    <a:pt x="892493" y="175260"/>
                  </a:lnTo>
                  <a:lnTo>
                    <a:pt x="900113" y="181928"/>
                  </a:lnTo>
                  <a:lnTo>
                    <a:pt x="911543" y="185738"/>
                  </a:lnTo>
                  <a:lnTo>
                    <a:pt x="923925" y="187642"/>
                  </a:lnTo>
                  <a:lnTo>
                    <a:pt x="936308" y="186690"/>
                  </a:lnTo>
                  <a:lnTo>
                    <a:pt x="945833" y="180022"/>
                  </a:lnTo>
                  <a:lnTo>
                    <a:pt x="950595" y="173355"/>
                  </a:lnTo>
                  <a:lnTo>
                    <a:pt x="959168" y="155258"/>
                  </a:lnTo>
                  <a:lnTo>
                    <a:pt x="963930" y="147638"/>
                  </a:lnTo>
                  <a:lnTo>
                    <a:pt x="970598" y="141922"/>
                  </a:lnTo>
                  <a:lnTo>
                    <a:pt x="1058228" y="89535"/>
                  </a:lnTo>
                  <a:lnTo>
                    <a:pt x="1092518" y="77153"/>
                  </a:lnTo>
                  <a:lnTo>
                    <a:pt x="1127760" y="74295"/>
                  </a:lnTo>
                  <a:lnTo>
                    <a:pt x="1164908" y="80010"/>
                  </a:lnTo>
                  <a:lnTo>
                    <a:pt x="1242060" y="58103"/>
                  </a:lnTo>
                  <a:lnTo>
                    <a:pt x="1257300" y="45720"/>
                  </a:lnTo>
                  <a:lnTo>
                    <a:pt x="1288733" y="14288"/>
                  </a:lnTo>
                  <a:lnTo>
                    <a:pt x="1303973" y="7620"/>
                  </a:lnTo>
                  <a:lnTo>
                    <a:pt x="1357313" y="0"/>
                  </a:lnTo>
                  <a:lnTo>
                    <a:pt x="1367790" y="5715"/>
                  </a:lnTo>
                  <a:lnTo>
                    <a:pt x="1375410" y="27622"/>
                  </a:lnTo>
                  <a:lnTo>
                    <a:pt x="1383030" y="54292"/>
                  </a:lnTo>
                  <a:lnTo>
                    <a:pt x="1391603" y="76200"/>
                  </a:lnTo>
                  <a:lnTo>
                    <a:pt x="1437323" y="99060"/>
                  </a:lnTo>
                  <a:lnTo>
                    <a:pt x="1454468" y="117158"/>
                  </a:lnTo>
                  <a:lnTo>
                    <a:pt x="1455421" y="151447"/>
                  </a:lnTo>
                  <a:lnTo>
                    <a:pt x="1449705" y="170497"/>
                  </a:lnTo>
                  <a:lnTo>
                    <a:pt x="1448753" y="180022"/>
                  </a:lnTo>
                  <a:lnTo>
                    <a:pt x="1449705" y="188595"/>
                  </a:lnTo>
                  <a:lnTo>
                    <a:pt x="1452563" y="194310"/>
                  </a:lnTo>
                  <a:lnTo>
                    <a:pt x="1471613" y="213360"/>
                  </a:lnTo>
                  <a:lnTo>
                    <a:pt x="1522096" y="291465"/>
                  </a:lnTo>
                  <a:lnTo>
                    <a:pt x="1540193" y="304800"/>
                  </a:lnTo>
                  <a:lnTo>
                    <a:pt x="1582103" y="323850"/>
                  </a:lnTo>
                  <a:lnTo>
                    <a:pt x="1603058" y="337185"/>
                  </a:lnTo>
                  <a:lnTo>
                    <a:pt x="1621155" y="353378"/>
                  </a:lnTo>
                  <a:lnTo>
                    <a:pt x="1637348" y="374333"/>
                  </a:lnTo>
                  <a:lnTo>
                    <a:pt x="1654493" y="403860"/>
                  </a:lnTo>
                  <a:lnTo>
                    <a:pt x="1654493" y="405765"/>
                  </a:lnTo>
                  <a:lnTo>
                    <a:pt x="1663065" y="421005"/>
                  </a:lnTo>
                  <a:lnTo>
                    <a:pt x="1663065" y="433388"/>
                  </a:lnTo>
                  <a:lnTo>
                    <a:pt x="1665923" y="438150"/>
                  </a:lnTo>
                  <a:lnTo>
                    <a:pt x="1677353" y="43053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4" name="Полилиния: фигура 24">
              <a:extLst>
                <a:ext uri="{FF2B5EF4-FFF2-40B4-BE49-F238E27FC236}">
                  <a16:creationId xmlns:a16="http://schemas.microsoft.com/office/drawing/2014/main" id="{EE4D4880-44EF-FD2F-C0B2-D7C071394EB4}"/>
                </a:ext>
              </a:extLst>
            </p:cNvPr>
            <p:cNvSpPr/>
            <p:nvPr/>
          </p:nvSpPr>
          <p:spPr>
            <a:xfrm>
              <a:off x="9629775" y="2190750"/>
              <a:ext cx="1219200" cy="1800225"/>
            </a:xfrm>
            <a:custGeom>
              <a:avLst/>
              <a:gdLst>
                <a:gd name="connsiteX0" fmla="*/ 626745 w 1219200"/>
                <a:gd name="connsiteY0" fmla="*/ 1772603 h 1800225"/>
                <a:gd name="connsiteX1" fmla="*/ 627698 w 1219200"/>
                <a:gd name="connsiteY1" fmla="*/ 1765935 h 1800225"/>
                <a:gd name="connsiteX2" fmla="*/ 637223 w 1219200"/>
                <a:gd name="connsiteY2" fmla="*/ 1724978 h 1800225"/>
                <a:gd name="connsiteX3" fmla="*/ 636270 w 1219200"/>
                <a:gd name="connsiteY3" fmla="*/ 1713548 h 1800225"/>
                <a:gd name="connsiteX4" fmla="*/ 631507 w 1219200"/>
                <a:gd name="connsiteY4" fmla="*/ 1710690 h 1800225"/>
                <a:gd name="connsiteX5" fmla="*/ 628650 w 1219200"/>
                <a:gd name="connsiteY5" fmla="*/ 1708785 h 1800225"/>
                <a:gd name="connsiteX6" fmla="*/ 626745 w 1219200"/>
                <a:gd name="connsiteY6" fmla="*/ 1704975 h 1800225"/>
                <a:gd name="connsiteX7" fmla="*/ 623888 w 1219200"/>
                <a:gd name="connsiteY7" fmla="*/ 1699260 h 1800225"/>
                <a:gd name="connsiteX8" fmla="*/ 623888 w 1219200"/>
                <a:gd name="connsiteY8" fmla="*/ 1692593 h 1800225"/>
                <a:gd name="connsiteX9" fmla="*/ 625793 w 1219200"/>
                <a:gd name="connsiteY9" fmla="*/ 1666875 h 1800225"/>
                <a:gd name="connsiteX10" fmla="*/ 623888 w 1219200"/>
                <a:gd name="connsiteY10" fmla="*/ 1659255 h 1800225"/>
                <a:gd name="connsiteX11" fmla="*/ 621982 w 1219200"/>
                <a:gd name="connsiteY11" fmla="*/ 1654493 h 1800225"/>
                <a:gd name="connsiteX12" fmla="*/ 572452 w 1219200"/>
                <a:gd name="connsiteY12" fmla="*/ 1643063 h 1800225"/>
                <a:gd name="connsiteX13" fmla="*/ 535305 w 1219200"/>
                <a:gd name="connsiteY13" fmla="*/ 1644015 h 1800225"/>
                <a:gd name="connsiteX14" fmla="*/ 530543 w 1219200"/>
                <a:gd name="connsiteY14" fmla="*/ 1642110 h 1800225"/>
                <a:gd name="connsiteX15" fmla="*/ 523875 w 1219200"/>
                <a:gd name="connsiteY15" fmla="*/ 1638300 h 1800225"/>
                <a:gd name="connsiteX16" fmla="*/ 510540 w 1219200"/>
                <a:gd name="connsiteY16" fmla="*/ 1625918 h 1800225"/>
                <a:gd name="connsiteX17" fmla="*/ 504825 w 1219200"/>
                <a:gd name="connsiteY17" fmla="*/ 1620203 h 1800225"/>
                <a:gd name="connsiteX18" fmla="*/ 501968 w 1219200"/>
                <a:gd name="connsiteY18" fmla="*/ 1615440 h 1800225"/>
                <a:gd name="connsiteX19" fmla="*/ 503873 w 1219200"/>
                <a:gd name="connsiteY19" fmla="*/ 1608773 h 1800225"/>
                <a:gd name="connsiteX20" fmla="*/ 507682 w 1219200"/>
                <a:gd name="connsiteY20" fmla="*/ 1600200 h 1800225"/>
                <a:gd name="connsiteX21" fmla="*/ 512445 w 1219200"/>
                <a:gd name="connsiteY21" fmla="*/ 1593532 h 1800225"/>
                <a:gd name="connsiteX22" fmla="*/ 513398 w 1219200"/>
                <a:gd name="connsiteY22" fmla="*/ 1589723 h 1800225"/>
                <a:gd name="connsiteX23" fmla="*/ 514350 w 1219200"/>
                <a:gd name="connsiteY23" fmla="*/ 1585913 h 1800225"/>
                <a:gd name="connsiteX24" fmla="*/ 513398 w 1219200"/>
                <a:gd name="connsiteY24" fmla="*/ 1578293 h 1800225"/>
                <a:gd name="connsiteX25" fmla="*/ 511493 w 1219200"/>
                <a:gd name="connsiteY25" fmla="*/ 1574482 h 1800225"/>
                <a:gd name="connsiteX26" fmla="*/ 509588 w 1219200"/>
                <a:gd name="connsiteY26" fmla="*/ 1572578 h 1800225"/>
                <a:gd name="connsiteX27" fmla="*/ 479107 w 1219200"/>
                <a:gd name="connsiteY27" fmla="*/ 1554480 h 1800225"/>
                <a:gd name="connsiteX28" fmla="*/ 412432 w 1219200"/>
                <a:gd name="connsiteY28" fmla="*/ 1528763 h 1800225"/>
                <a:gd name="connsiteX29" fmla="*/ 401955 w 1219200"/>
                <a:gd name="connsiteY29" fmla="*/ 1522095 h 1800225"/>
                <a:gd name="connsiteX30" fmla="*/ 399098 w 1219200"/>
                <a:gd name="connsiteY30" fmla="*/ 1518285 h 1800225"/>
                <a:gd name="connsiteX31" fmla="*/ 397193 w 1219200"/>
                <a:gd name="connsiteY31" fmla="*/ 1515428 h 1800225"/>
                <a:gd name="connsiteX32" fmla="*/ 399098 w 1219200"/>
                <a:gd name="connsiteY32" fmla="*/ 1505903 h 1800225"/>
                <a:gd name="connsiteX33" fmla="*/ 400050 w 1219200"/>
                <a:gd name="connsiteY33" fmla="*/ 1499235 h 1800225"/>
                <a:gd name="connsiteX34" fmla="*/ 401002 w 1219200"/>
                <a:gd name="connsiteY34" fmla="*/ 1496378 h 1800225"/>
                <a:gd name="connsiteX35" fmla="*/ 399098 w 1219200"/>
                <a:gd name="connsiteY35" fmla="*/ 1491615 h 1800225"/>
                <a:gd name="connsiteX36" fmla="*/ 390525 w 1219200"/>
                <a:gd name="connsiteY36" fmla="*/ 1472565 h 1800225"/>
                <a:gd name="connsiteX37" fmla="*/ 388620 w 1219200"/>
                <a:gd name="connsiteY37" fmla="*/ 1464945 h 1800225"/>
                <a:gd name="connsiteX38" fmla="*/ 386715 w 1219200"/>
                <a:gd name="connsiteY38" fmla="*/ 1457325 h 1800225"/>
                <a:gd name="connsiteX39" fmla="*/ 384810 w 1219200"/>
                <a:gd name="connsiteY39" fmla="*/ 1449705 h 1800225"/>
                <a:gd name="connsiteX40" fmla="*/ 381000 w 1219200"/>
                <a:gd name="connsiteY40" fmla="*/ 1443038 h 1800225"/>
                <a:gd name="connsiteX41" fmla="*/ 379095 w 1219200"/>
                <a:gd name="connsiteY41" fmla="*/ 1440180 h 1800225"/>
                <a:gd name="connsiteX42" fmla="*/ 376238 w 1219200"/>
                <a:gd name="connsiteY42" fmla="*/ 1439228 h 1800225"/>
                <a:gd name="connsiteX43" fmla="*/ 323850 w 1219200"/>
                <a:gd name="connsiteY43" fmla="*/ 1444943 h 1800225"/>
                <a:gd name="connsiteX44" fmla="*/ 315277 w 1219200"/>
                <a:gd name="connsiteY44" fmla="*/ 1443038 h 1800225"/>
                <a:gd name="connsiteX45" fmla="*/ 308610 w 1219200"/>
                <a:gd name="connsiteY45" fmla="*/ 1440180 h 1800225"/>
                <a:gd name="connsiteX46" fmla="*/ 305752 w 1219200"/>
                <a:gd name="connsiteY46" fmla="*/ 1437323 h 1800225"/>
                <a:gd name="connsiteX47" fmla="*/ 303848 w 1219200"/>
                <a:gd name="connsiteY47" fmla="*/ 1434465 h 1800225"/>
                <a:gd name="connsiteX48" fmla="*/ 300990 w 1219200"/>
                <a:gd name="connsiteY48" fmla="*/ 1423988 h 1800225"/>
                <a:gd name="connsiteX49" fmla="*/ 298132 w 1219200"/>
                <a:gd name="connsiteY49" fmla="*/ 1414463 h 1800225"/>
                <a:gd name="connsiteX50" fmla="*/ 296227 w 1219200"/>
                <a:gd name="connsiteY50" fmla="*/ 1408748 h 1800225"/>
                <a:gd name="connsiteX51" fmla="*/ 296227 w 1219200"/>
                <a:gd name="connsiteY51" fmla="*/ 1403985 h 1800225"/>
                <a:gd name="connsiteX52" fmla="*/ 298132 w 1219200"/>
                <a:gd name="connsiteY52" fmla="*/ 1402080 h 1800225"/>
                <a:gd name="connsiteX53" fmla="*/ 300990 w 1219200"/>
                <a:gd name="connsiteY53" fmla="*/ 1400175 h 1800225"/>
                <a:gd name="connsiteX54" fmla="*/ 324802 w 1219200"/>
                <a:gd name="connsiteY54" fmla="*/ 1396365 h 1800225"/>
                <a:gd name="connsiteX55" fmla="*/ 328613 w 1219200"/>
                <a:gd name="connsiteY55" fmla="*/ 1394460 h 1800225"/>
                <a:gd name="connsiteX56" fmla="*/ 332423 w 1219200"/>
                <a:gd name="connsiteY56" fmla="*/ 1390650 h 1800225"/>
                <a:gd name="connsiteX57" fmla="*/ 334327 w 1219200"/>
                <a:gd name="connsiteY57" fmla="*/ 1384935 h 1800225"/>
                <a:gd name="connsiteX58" fmla="*/ 335280 w 1219200"/>
                <a:gd name="connsiteY58" fmla="*/ 1381125 h 1800225"/>
                <a:gd name="connsiteX59" fmla="*/ 333375 w 1219200"/>
                <a:gd name="connsiteY59" fmla="*/ 1377315 h 1800225"/>
                <a:gd name="connsiteX60" fmla="*/ 326707 w 1219200"/>
                <a:gd name="connsiteY60" fmla="*/ 1362075 h 1800225"/>
                <a:gd name="connsiteX61" fmla="*/ 320993 w 1219200"/>
                <a:gd name="connsiteY61" fmla="*/ 1354455 h 1800225"/>
                <a:gd name="connsiteX62" fmla="*/ 310515 w 1219200"/>
                <a:gd name="connsiteY62" fmla="*/ 1345882 h 1800225"/>
                <a:gd name="connsiteX63" fmla="*/ 306705 w 1219200"/>
                <a:gd name="connsiteY63" fmla="*/ 1342073 h 1800225"/>
                <a:gd name="connsiteX64" fmla="*/ 304800 w 1219200"/>
                <a:gd name="connsiteY64" fmla="*/ 1339215 h 1800225"/>
                <a:gd name="connsiteX65" fmla="*/ 302895 w 1219200"/>
                <a:gd name="connsiteY65" fmla="*/ 1329690 h 1800225"/>
                <a:gd name="connsiteX66" fmla="*/ 300038 w 1219200"/>
                <a:gd name="connsiteY66" fmla="*/ 1323975 h 1800225"/>
                <a:gd name="connsiteX67" fmla="*/ 294323 w 1219200"/>
                <a:gd name="connsiteY67" fmla="*/ 1313498 h 1800225"/>
                <a:gd name="connsiteX68" fmla="*/ 290513 w 1219200"/>
                <a:gd name="connsiteY68" fmla="*/ 1309688 h 1800225"/>
                <a:gd name="connsiteX69" fmla="*/ 287655 w 1219200"/>
                <a:gd name="connsiteY69" fmla="*/ 1308735 h 1800225"/>
                <a:gd name="connsiteX70" fmla="*/ 285750 w 1219200"/>
                <a:gd name="connsiteY70" fmla="*/ 1310640 h 1800225"/>
                <a:gd name="connsiteX71" fmla="*/ 282893 w 1219200"/>
                <a:gd name="connsiteY71" fmla="*/ 1314450 h 1800225"/>
                <a:gd name="connsiteX72" fmla="*/ 278130 w 1219200"/>
                <a:gd name="connsiteY72" fmla="*/ 1318260 h 1800225"/>
                <a:gd name="connsiteX73" fmla="*/ 275273 w 1219200"/>
                <a:gd name="connsiteY73" fmla="*/ 1318260 h 1800225"/>
                <a:gd name="connsiteX74" fmla="*/ 272415 w 1219200"/>
                <a:gd name="connsiteY74" fmla="*/ 1317307 h 1800225"/>
                <a:gd name="connsiteX75" fmla="*/ 265748 w 1219200"/>
                <a:gd name="connsiteY75" fmla="*/ 1313498 h 1800225"/>
                <a:gd name="connsiteX76" fmla="*/ 262890 w 1219200"/>
                <a:gd name="connsiteY76" fmla="*/ 1312545 h 1800225"/>
                <a:gd name="connsiteX77" fmla="*/ 260032 w 1219200"/>
                <a:gd name="connsiteY77" fmla="*/ 1312545 h 1800225"/>
                <a:gd name="connsiteX78" fmla="*/ 255270 w 1219200"/>
                <a:gd name="connsiteY78" fmla="*/ 1311593 h 1800225"/>
                <a:gd name="connsiteX79" fmla="*/ 251460 w 1219200"/>
                <a:gd name="connsiteY79" fmla="*/ 1308735 h 1800225"/>
                <a:gd name="connsiteX80" fmla="*/ 243840 w 1219200"/>
                <a:gd name="connsiteY80" fmla="*/ 1303973 h 1800225"/>
                <a:gd name="connsiteX81" fmla="*/ 240982 w 1219200"/>
                <a:gd name="connsiteY81" fmla="*/ 1300163 h 1800225"/>
                <a:gd name="connsiteX82" fmla="*/ 240030 w 1219200"/>
                <a:gd name="connsiteY82" fmla="*/ 1296353 h 1800225"/>
                <a:gd name="connsiteX83" fmla="*/ 240030 w 1219200"/>
                <a:gd name="connsiteY83" fmla="*/ 1290638 h 1800225"/>
                <a:gd name="connsiteX84" fmla="*/ 240030 w 1219200"/>
                <a:gd name="connsiteY84" fmla="*/ 1284923 h 1800225"/>
                <a:gd name="connsiteX85" fmla="*/ 240982 w 1219200"/>
                <a:gd name="connsiteY85" fmla="*/ 1274445 h 1800225"/>
                <a:gd name="connsiteX86" fmla="*/ 242888 w 1219200"/>
                <a:gd name="connsiteY86" fmla="*/ 1267778 h 1800225"/>
                <a:gd name="connsiteX87" fmla="*/ 245745 w 1219200"/>
                <a:gd name="connsiteY87" fmla="*/ 1261110 h 1800225"/>
                <a:gd name="connsiteX88" fmla="*/ 246698 w 1219200"/>
                <a:gd name="connsiteY88" fmla="*/ 1255395 h 1800225"/>
                <a:gd name="connsiteX89" fmla="*/ 245745 w 1219200"/>
                <a:gd name="connsiteY89" fmla="*/ 1247775 h 1800225"/>
                <a:gd name="connsiteX90" fmla="*/ 243840 w 1219200"/>
                <a:gd name="connsiteY90" fmla="*/ 1244918 h 1800225"/>
                <a:gd name="connsiteX91" fmla="*/ 240982 w 1219200"/>
                <a:gd name="connsiteY91" fmla="*/ 1243965 h 1800225"/>
                <a:gd name="connsiteX92" fmla="*/ 233363 w 1219200"/>
                <a:gd name="connsiteY92" fmla="*/ 1242060 h 1800225"/>
                <a:gd name="connsiteX93" fmla="*/ 226695 w 1219200"/>
                <a:gd name="connsiteY93" fmla="*/ 1239203 h 1800225"/>
                <a:gd name="connsiteX94" fmla="*/ 220980 w 1219200"/>
                <a:gd name="connsiteY94" fmla="*/ 1234440 h 1800225"/>
                <a:gd name="connsiteX95" fmla="*/ 219075 w 1219200"/>
                <a:gd name="connsiteY95" fmla="*/ 1231582 h 1800225"/>
                <a:gd name="connsiteX96" fmla="*/ 217170 w 1219200"/>
                <a:gd name="connsiteY96" fmla="*/ 1228725 h 1800225"/>
                <a:gd name="connsiteX97" fmla="*/ 218123 w 1219200"/>
                <a:gd name="connsiteY97" fmla="*/ 1222057 h 1800225"/>
                <a:gd name="connsiteX98" fmla="*/ 221932 w 1219200"/>
                <a:gd name="connsiteY98" fmla="*/ 1212532 h 1800225"/>
                <a:gd name="connsiteX99" fmla="*/ 222885 w 1219200"/>
                <a:gd name="connsiteY99" fmla="*/ 1209675 h 1800225"/>
                <a:gd name="connsiteX100" fmla="*/ 222885 w 1219200"/>
                <a:gd name="connsiteY100" fmla="*/ 1204913 h 1800225"/>
                <a:gd name="connsiteX101" fmla="*/ 221932 w 1219200"/>
                <a:gd name="connsiteY101" fmla="*/ 1200150 h 1800225"/>
                <a:gd name="connsiteX102" fmla="*/ 215265 w 1219200"/>
                <a:gd name="connsiteY102" fmla="*/ 1183005 h 1800225"/>
                <a:gd name="connsiteX103" fmla="*/ 214313 w 1219200"/>
                <a:gd name="connsiteY103" fmla="*/ 1180148 h 1800225"/>
                <a:gd name="connsiteX104" fmla="*/ 214313 w 1219200"/>
                <a:gd name="connsiteY104" fmla="*/ 1176338 h 1800225"/>
                <a:gd name="connsiteX105" fmla="*/ 215265 w 1219200"/>
                <a:gd name="connsiteY105" fmla="*/ 1169670 h 1800225"/>
                <a:gd name="connsiteX106" fmla="*/ 215265 w 1219200"/>
                <a:gd name="connsiteY106" fmla="*/ 1165860 h 1800225"/>
                <a:gd name="connsiteX107" fmla="*/ 213360 w 1219200"/>
                <a:gd name="connsiteY107" fmla="*/ 1153478 h 1800225"/>
                <a:gd name="connsiteX108" fmla="*/ 211455 w 1219200"/>
                <a:gd name="connsiteY108" fmla="*/ 1133475 h 1800225"/>
                <a:gd name="connsiteX109" fmla="*/ 211455 w 1219200"/>
                <a:gd name="connsiteY109" fmla="*/ 1130618 h 1800225"/>
                <a:gd name="connsiteX110" fmla="*/ 213360 w 1219200"/>
                <a:gd name="connsiteY110" fmla="*/ 1124903 h 1800225"/>
                <a:gd name="connsiteX111" fmla="*/ 215265 w 1219200"/>
                <a:gd name="connsiteY111" fmla="*/ 1121093 h 1800225"/>
                <a:gd name="connsiteX112" fmla="*/ 218123 w 1219200"/>
                <a:gd name="connsiteY112" fmla="*/ 1117282 h 1800225"/>
                <a:gd name="connsiteX113" fmla="*/ 230505 w 1219200"/>
                <a:gd name="connsiteY113" fmla="*/ 1106805 h 1800225"/>
                <a:gd name="connsiteX114" fmla="*/ 239077 w 1219200"/>
                <a:gd name="connsiteY114" fmla="*/ 1095375 h 1800225"/>
                <a:gd name="connsiteX115" fmla="*/ 240982 w 1219200"/>
                <a:gd name="connsiteY115" fmla="*/ 1088707 h 1800225"/>
                <a:gd name="connsiteX116" fmla="*/ 241935 w 1219200"/>
                <a:gd name="connsiteY116" fmla="*/ 1083945 h 1800225"/>
                <a:gd name="connsiteX117" fmla="*/ 240982 w 1219200"/>
                <a:gd name="connsiteY117" fmla="*/ 1081088 h 1800225"/>
                <a:gd name="connsiteX118" fmla="*/ 238125 w 1219200"/>
                <a:gd name="connsiteY118" fmla="*/ 1080135 h 1800225"/>
                <a:gd name="connsiteX119" fmla="*/ 235268 w 1219200"/>
                <a:gd name="connsiteY119" fmla="*/ 1080135 h 1800225"/>
                <a:gd name="connsiteX120" fmla="*/ 224790 w 1219200"/>
                <a:gd name="connsiteY120" fmla="*/ 1082993 h 1800225"/>
                <a:gd name="connsiteX121" fmla="*/ 222885 w 1219200"/>
                <a:gd name="connsiteY121" fmla="*/ 1082040 h 1800225"/>
                <a:gd name="connsiteX122" fmla="*/ 220980 w 1219200"/>
                <a:gd name="connsiteY122" fmla="*/ 1078230 h 1800225"/>
                <a:gd name="connsiteX123" fmla="*/ 220980 w 1219200"/>
                <a:gd name="connsiteY123" fmla="*/ 1071563 h 1800225"/>
                <a:gd name="connsiteX124" fmla="*/ 222885 w 1219200"/>
                <a:gd name="connsiteY124" fmla="*/ 1064895 h 1800225"/>
                <a:gd name="connsiteX125" fmla="*/ 223838 w 1219200"/>
                <a:gd name="connsiteY125" fmla="*/ 1062990 h 1800225"/>
                <a:gd name="connsiteX126" fmla="*/ 230505 w 1219200"/>
                <a:gd name="connsiteY126" fmla="*/ 1053465 h 1800225"/>
                <a:gd name="connsiteX127" fmla="*/ 233363 w 1219200"/>
                <a:gd name="connsiteY127" fmla="*/ 1047750 h 1800225"/>
                <a:gd name="connsiteX128" fmla="*/ 236220 w 1219200"/>
                <a:gd name="connsiteY128" fmla="*/ 1042035 h 1800225"/>
                <a:gd name="connsiteX129" fmla="*/ 237173 w 1219200"/>
                <a:gd name="connsiteY129" fmla="*/ 1038225 h 1800225"/>
                <a:gd name="connsiteX130" fmla="*/ 236220 w 1219200"/>
                <a:gd name="connsiteY130" fmla="*/ 1032510 h 1800225"/>
                <a:gd name="connsiteX131" fmla="*/ 234315 w 1219200"/>
                <a:gd name="connsiteY131" fmla="*/ 1023938 h 1800225"/>
                <a:gd name="connsiteX132" fmla="*/ 229552 w 1219200"/>
                <a:gd name="connsiteY132" fmla="*/ 1015365 h 1800225"/>
                <a:gd name="connsiteX133" fmla="*/ 227648 w 1219200"/>
                <a:gd name="connsiteY133" fmla="*/ 1009650 h 1800225"/>
                <a:gd name="connsiteX134" fmla="*/ 227648 w 1219200"/>
                <a:gd name="connsiteY134" fmla="*/ 1004888 h 1800225"/>
                <a:gd name="connsiteX135" fmla="*/ 228600 w 1219200"/>
                <a:gd name="connsiteY135" fmla="*/ 1001078 h 1800225"/>
                <a:gd name="connsiteX136" fmla="*/ 228600 w 1219200"/>
                <a:gd name="connsiteY136" fmla="*/ 996315 h 1800225"/>
                <a:gd name="connsiteX137" fmla="*/ 227648 w 1219200"/>
                <a:gd name="connsiteY137" fmla="*/ 992505 h 1800225"/>
                <a:gd name="connsiteX138" fmla="*/ 225743 w 1219200"/>
                <a:gd name="connsiteY138" fmla="*/ 990600 h 1800225"/>
                <a:gd name="connsiteX139" fmla="*/ 219075 w 1219200"/>
                <a:gd name="connsiteY139" fmla="*/ 989647 h 1800225"/>
                <a:gd name="connsiteX140" fmla="*/ 216218 w 1219200"/>
                <a:gd name="connsiteY140" fmla="*/ 988695 h 1800225"/>
                <a:gd name="connsiteX141" fmla="*/ 208598 w 1219200"/>
                <a:gd name="connsiteY141" fmla="*/ 986790 h 1800225"/>
                <a:gd name="connsiteX142" fmla="*/ 203835 w 1219200"/>
                <a:gd name="connsiteY142" fmla="*/ 983932 h 1800225"/>
                <a:gd name="connsiteX143" fmla="*/ 201930 w 1219200"/>
                <a:gd name="connsiteY143" fmla="*/ 981075 h 1800225"/>
                <a:gd name="connsiteX144" fmla="*/ 201930 w 1219200"/>
                <a:gd name="connsiteY144" fmla="*/ 977265 h 1800225"/>
                <a:gd name="connsiteX145" fmla="*/ 201930 w 1219200"/>
                <a:gd name="connsiteY145" fmla="*/ 965835 h 1800225"/>
                <a:gd name="connsiteX146" fmla="*/ 200977 w 1219200"/>
                <a:gd name="connsiteY146" fmla="*/ 960120 h 1800225"/>
                <a:gd name="connsiteX147" fmla="*/ 199073 w 1219200"/>
                <a:gd name="connsiteY147" fmla="*/ 952500 h 1800225"/>
                <a:gd name="connsiteX148" fmla="*/ 193357 w 1219200"/>
                <a:gd name="connsiteY148" fmla="*/ 933450 h 1800225"/>
                <a:gd name="connsiteX149" fmla="*/ 191452 w 1219200"/>
                <a:gd name="connsiteY149" fmla="*/ 924878 h 1800225"/>
                <a:gd name="connsiteX150" fmla="*/ 170498 w 1219200"/>
                <a:gd name="connsiteY150" fmla="*/ 918210 h 1800225"/>
                <a:gd name="connsiteX151" fmla="*/ 110490 w 1219200"/>
                <a:gd name="connsiteY151" fmla="*/ 914400 h 1800225"/>
                <a:gd name="connsiteX152" fmla="*/ 107632 w 1219200"/>
                <a:gd name="connsiteY152" fmla="*/ 913447 h 1800225"/>
                <a:gd name="connsiteX153" fmla="*/ 103823 w 1219200"/>
                <a:gd name="connsiteY153" fmla="*/ 911543 h 1800225"/>
                <a:gd name="connsiteX154" fmla="*/ 99060 w 1219200"/>
                <a:gd name="connsiteY154" fmla="*/ 905828 h 1800225"/>
                <a:gd name="connsiteX155" fmla="*/ 95250 w 1219200"/>
                <a:gd name="connsiteY155" fmla="*/ 903922 h 1800225"/>
                <a:gd name="connsiteX156" fmla="*/ 88582 w 1219200"/>
                <a:gd name="connsiteY156" fmla="*/ 902018 h 1800225"/>
                <a:gd name="connsiteX157" fmla="*/ 85725 w 1219200"/>
                <a:gd name="connsiteY157" fmla="*/ 900113 h 1800225"/>
                <a:gd name="connsiteX158" fmla="*/ 84773 w 1219200"/>
                <a:gd name="connsiteY158" fmla="*/ 898207 h 1800225"/>
                <a:gd name="connsiteX159" fmla="*/ 84773 w 1219200"/>
                <a:gd name="connsiteY159" fmla="*/ 895350 h 1800225"/>
                <a:gd name="connsiteX160" fmla="*/ 87630 w 1219200"/>
                <a:gd name="connsiteY160" fmla="*/ 888682 h 1800225"/>
                <a:gd name="connsiteX161" fmla="*/ 88582 w 1219200"/>
                <a:gd name="connsiteY161" fmla="*/ 886778 h 1800225"/>
                <a:gd name="connsiteX162" fmla="*/ 90488 w 1219200"/>
                <a:gd name="connsiteY162" fmla="*/ 884872 h 1800225"/>
                <a:gd name="connsiteX163" fmla="*/ 93345 w 1219200"/>
                <a:gd name="connsiteY163" fmla="*/ 883920 h 1800225"/>
                <a:gd name="connsiteX164" fmla="*/ 100013 w 1219200"/>
                <a:gd name="connsiteY164" fmla="*/ 884872 h 1800225"/>
                <a:gd name="connsiteX165" fmla="*/ 101918 w 1219200"/>
                <a:gd name="connsiteY165" fmla="*/ 883920 h 1800225"/>
                <a:gd name="connsiteX166" fmla="*/ 102870 w 1219200"/>
                <a:gd name="connsiteY166" fmla="*/ 881063 h 1800225"/>
                <a:gd name="connsiteX167" fmla="*/ 102870 w 1219200"/>
                <a:gd name="connsiteY167" fmla="*/ 876300 h 1800225"/>
                <a:gd name="connsiteX168" fmla="*/ 103823 w 1219200"/>
                <a:gd name="connsiteY168" fmla="*/ 873443 h 1800225"/>
                <a:gd name="connsiteX169" fmla="*/ 106680 w 1219200"/>
                <a:gd name="connsiteY169" fmla="*/ 873443 h 1800225"/>
                <a:gd name="connsiteX170" fmla="*/ 115252 w 1219200"/>
                <a:gd name="connsiteY170" fmla="*/ 872490 h 1800225"/>
                <a:gd name="connsiteX171" fmla="*/ 117157 w 1219200"/>
                <a:gd name="connsiteY171" fmla="*/ 871538 h 1800225"/>
                <a:gd name="connsiteX172" fmla="*/ 119063 w 1219200"/>
                <a:gd name="connsiteY172" fmla="*/ 869632 h 1800225"/>
                <a:gd name="connsiteX173" fmla="*/ 120968 w 1219200"/>
                <a:gd name="connsiteY173" fmla="*/ 867728 h 1800225"/>
                <a:gd name="connsiteX174" fmla="*/ 120968 w 1219200"/>
                <a:gd name="connsiteY174" fmla="*/ 863918 h 1800225"/>
                <a:gd name="connsiteX175" fmla="*/ 120968 w 1219200"/>
                <a:gd name="connsiteY175" fmla="*/ 861060 h 1800225"/>
                <a:gd name="connsiteX176" fmla="*/ 105727 w 1219200"/>
                <a:gd name="connsiteY176" fmla="*/ 823913 h 1800225"/>
                <a:gd name="connsiteX177" fmla="*/ 102870 w 1219200"/>
                <a:gd name="connsiteY177" fmla="*/ 814388 h 1800225"/>
                <a:gd name="connsiteX178" fmla="*/ 101918 w 1219200"/>
                <a:gd name="connsiteY178" fmla="*/ 807720 h 1800225"/>
                <a:gd name="connsiteX179" fmla="*/ 103823 w 1219200"/>
                <a:gd name="connsiteY179" fmla="*/ 804863 h 1800225"/>
                <a:gd name="connsiteX180" fmla="*/ 109538 w 1219200"/>
                <a:gd name="connsiteY180" fmla="*/ 799147 h 1800225"/>
                <a:gd name="connsiteX181" fmla="*/ 112395 w 1219200"/>
                <a:gd name="connsiteY181" fmla="*/ 794385 h 1800225"/>
                <a:gd name="connsiteX182" fmla="*/ 113348 w 1219200"/>
                <a:gd name="connsiteY182" fmla="*/ 787718 h 1800225"/>
                <a:gd name="connsiteX183" fmla="*/ 113348 w 1219200"/>
                <a:gd name="connsiteY183" fmla="*/ 776288 h 1800225"/>
                <a:gd name="connsiteX184" fmla="*/ 113348 w 1219200"/>
                <a:gd name="connsiteY184" fmla="*/ 769620 h 1800225"/>
                <a:gd name="connsiteX185" fmla="*/ 117157 w 1219200"/>
                <a:gd name="connsiteY185" fmla="*/ 748665 h 1800225"/>
                <a:gd name="connsiteX186" fmla="*/ 117157 w 1219200"/>
                <a:gd name="connsiteY186" fmla="*/ 744855 h 1800225"/>
                <a:gd name="connsiteX187" fmla="*/ 115252 w 1219200"/>
                <a:gd name="connsiteY187" fmla="*/ 742950 h 1800225"/>
                <a:gd name="connsiteX188" fmla="*/ 113348 w 1219200"/>
                <a:gd name="connsiteY188" fmla="*/ 741997 h 1800225"/>
                <a:gd name="connsiteX189" fmla="*/ 91440 w 1219200"/>
                <a:gd name="connsiteY189" fmla="*/ 741045 h 1800225"/>
                <a:gd name="connsiteX190" fmla="*/ 88582 w 1219200"/>
                <a:gd name="connsiteY190" fmla="*/ 741997 h 1800225"/>
                <a:gd name="connsiteX191" fmla="*/ 86677 w 1219200"/>
                <a:gd name="connsiteY191" fmla="*/ 742950 h 1800225"/>
                <a:gd name="connsiteX192" fmla="*/ 72390 w 1219200"/>
                <a:gd name="connsiteY192" fmla="*/ 756285 h 1800225"/>
                <a:gd name="connsiteX193" fmla="*/ 70485 w 1219200"/>
                <a:gd name="connsiteY193" fmla="*/ 757238 h 1800225"/>
                <a:gd name="connsiteX194" fmla="*/ 67627 w 1219200"/>
                <a:gd name="connsiteY194" fmla="*/ 758190 h 1800225"/>
                <a:gd name="connsiteX195" fmla="*/ 62865 w 1219200"/>
                <a:gd name="connsiteY195" fmla="*/ 757238 h 1800225"/>
                <a:gd name="connsiteX196" fmla="*/ 48577 w 1219200"/>
                <a:gd name="connsiteY196" fmla="*/ 747713 h 1800225"/>
                <a:gd name="connsiteX197" fmla="*/ 24765 w 1219200"/>
                <a:gd name="connsiteY197" fmla="*/ 738188 h 1800225"/>
                <a:gd name="connsiteX198" fmla="*/ 20955 w 1219200"/>
                <a:gd name="connsiteY198" fmla="*/ 734378 h 1800225"/>
                <a:gd name="connsiteX199" fmla="*/ 19050 w 1219200"/>
                <a:gd name="connsiteY199" fmla="*/ 731520 h 1800225"/>
                <a:gd name="connsiteX200" fmla="*/ 19050 w 1219200"/>
                <a:gd name="connsiteY200" fmla="*/ 727710 h 1800225"/>
                <a:gd name="connsiteX201" fmla="*/ 21907 w 1219200"/>
                <a:gd name="connsiteY201" fmla="*/ 718185 h 1800225"/>
                <a:gd name="connsiteX202" fmla="*/ 24765 w 1219200"/>
                <a:gd name="connsiteY202" fmla="*/ 712470 h 1800225"/>
                <a:gd name="connsiteX203" fmla="*/ 26670 w 1219200"/>
                <a:gd name="connsiteY203" fmla="*/ 711518 h 1800225"/>
                <a:gd name="connsiteX204" fmla="*/ 40957 w 1219200"/>
                <a:gd name="connsiteY204" fmla="*/ 710565 h 1800225"/>
                <a:gd name="connsiteX205" fmla="*/ 43815 w 1219200"/>
                <a:gd name="connsiteY205" fmla="*/ 709613 h 1800225"/>
                <a:gd name="connsiteX206" fmla="*/ 45720 w 1219200"/>
                <a:gd name="connsiteY206" fmla="*/ 707707 h 1800225"/>
                <a:gd name="connsiteX207" fmla="*/ 45720 w 1219200"/>
                <a:gd name="connsiteY207" fmla="*/ 702945 h 1800225"/>
                <a:gd name="connsiteX208" fmla="*/ 42863 w 1219200"/>
                <a:gd name="connsiteY208" fmla="*/ 701040 h 1800225"/>
                <a:gd name="connsiteX209" fmla="*/ 40005 w 1219200"/>
                <a:gd name="connsiteY209" fmla="*/ 699135 h 1800225"/>
                <a:gd name="connsiteX210" fmla="*/ 30480 w 1219200"/>
                <a:gd name="connsiteY210" fmla="*/ 698182 h 1800225"/>
                <a:gd name="connsiteX211" fmla="*/ 27623 w 1219200"/>
                <a:gd name="connsiteY211" fmla="*/ 697230 h 1800225"/>
                <a:gd name="connsiteX212" fmla="*/ 24765 w 1219200"/>
                <a:gd name="connsiteY212" fmla="*/ 696278 h 1800225"/>
                <a:gd name="connsiteX213" fmla="*/ 20002 w 1219200"/>
                <a:gd name="connsiteY213" fmla="*/ 689610 h 1800225"/>
                <a:gd name="connsiteX214" fmla="*/ 17145 w 1219200"/>
                <a:gd name="connsiteY214" fmla="*/ 685800 h 1800225"/>
                <a:gd name="connsiteX215" fmla="*/ 10477 w 1219200"/>
                <a:gd name="connsiteY215" fmla="*/ 680085 h 1800225"/>
                <a:gd name="connsiteX216" fmla="*/ 5715 w 1219200"/>
                <a:gd name="connsiteY216" fmla="*/ 677228 h 1800225"/>
                <a:gd name="connsiteX217" fmla="*/ 0 w 1219200"/>
                <a:gd name="connsiteY217" fmla="*/ 677228 h 1800225"/>
                <a:gd name="connsiteX218" fmla="*/ 12382 w 1219200"/>
                <a:gd name="connsiteY218" fmla="*/ 665797 h 1800225"/>
                <a:gd name="connsiteX219" fmla="*/ 26670 w 1219200"/>
                <a:gd name="connsiteY219" fmla="*/ 655320 h 1800225"/>
                <a:gd name="connsiteX220" fmla="*/ 33338 w 1219200"/>
                <a:gd name="connsiteY220" fmla="*/ 647700 h 1800225"/>
                <a:gd name="connsiteX221" fmla="*/ 41910 w 1219200"/>
                <a:gd name="connsiteY221" fmla="*/ 635318 h 1800225"/>
                <a:gd name="connsiteX222" fmla="*/ 42863 w 1219200"/>
                <a:gd name="connsiteY222" fmla="*/ 629603 h 1800225"/>
                <a:gd name="connsiteX223" fmla="*/ 42863 w 1219200"/>
                <a:gd name="connsiteY223" fmla="*/ 624840 h 1800225"/>
                <a:gd name="connsiteX224" fmla="*/ 42863 w 1219200"/>
                <a:gd name="connsiteY224" fmla="*/ 621982 h 1800225"/>
                <a:gd name="connsiteX225" fmla="*/ 40005 w 1219200"/>
                <a:gd name="connsiteY225" fmla="*/ 618172 h 1800225"/>
                <a:gd name="connsiteX226" fmla="*/ 37148 w 1219200"/>
                <a:gd name="connsiteY226" fmla="*/ 616268 h 1800225"/>
                <a:gd name="connsiteX227" fmla="*/ 31432 w 1219200"/>
                <a:gd name="connsiteY227" fmla="*/ 613410 h 1800225"/>
                <a:gd name="connsiteX228" fmla="*/ 22860 w 1219200"/>
                <a:gd name="connsiteY228" fmla="*/ 612457 h 1800225"/>
                <a:gd name="connsiteX229" fmla="*/ 20002 w 1219200"/>
                <a:gd name="connsiteY229" fmla="*/ 611505 h 1800225"/>
                <a:gd name="connsiteX230" fmla="*/ 18098 w 1219200"/>
                <a:gd name="connsiteY230" fmla="*/ 604838 h 1800225"/>
                <a:gd name="connsiteX231" fmla="*/ 18098 w 1219200"/>
                <a:gd name="connsiteY231" fmla="*/ 595313 h 1800225"/>
                <a:gd name="connsiteX232" fmla="*/ 20955 w 1219200"/>
                <a:gd name="connsiteY232" fmla="*/ 554355 h 1800225"/>
                <a:gd name="connsiteX233" fmla="*/ 20002 w 1219200"/>
                <a:gd name="connsiteY233" fmla="*/ 548640 h 1800225"/>
                <a:gd name="connsiteX234" fmla="*/ 19050 w 1219200"/>
                <a:gd name="connsiteY234" fmla="*/ 543878 h 1800225"/>
                <a:gd name="connsiteX235" fmla="*/ 17145 w 1219200"/>
                <a:gd name="connsiteY235" fmla="*/ 538163 h 1800225"/>
                <a:gd name="connsiteX236" fmla="*/ 16193 w 1219200"/>
                <a:gd name="connsiteY236" fmla="*/ 536257 h 1800225"/>
                <a:gd name="connsiteX237" fmla="*/ 10477 w 1219200"/>
                <a:gd name="connsiteY237" fmla="*/ 529590 h 1800225"/>
                <a:gd name="connsiteX238" fmla="*/ 8573 w 1219200"/>
                <a:gd name="connsiteY238" fmla="*/ 526732 h 1800225"/>
                <a:gd name="connsiteX239" fmla="*/ 6668 w 1219200"/>
                <a:gd name="connsiteY239" fmla="*/ 521970 h 1800225"/>
                <a:gd name="connsiteX240" fmla="*/ 7620 w 1219200"/>
                <a:gd name="connsiteY240" fmla="*/ 519113 h 1800225"/>
                <a:gd name="connsiteX241" fmla="*/ 8573 w 1219200"/>
                <a:gd name="connsiteY241" fmla="*/ 516255 h 1800225"/>
                <a:gd name="connsiteX242" fmla="*/ 15240 w 1219200"/>
                <a:gd name="connsiteY242" fmla="*/ 506730 h 1800225"/>
                <a:gd name="connsiteX243" fmla="*/ 19050 w 1219200"/>
                <a:gd name="connsiteY243" fmla="*/ 503872 h 1800225"/>
                <a:gd name="connsiteX244" fmla="*/ 27623 w 1219200"/>
                <a:gd name="connsiteY244" fmla="*/ 501968 h 1800225"/>
                <a:gd name="connsiteX245" fmla="*/ 30480 w 1219200"/>
                <a:gd name="connsiteY245" fmla="*/ 500063 h 1800225"/>
                <a:gd name="connsiteX246" fmla="*/ 33338 w 1219200"/>
                <a:gd name="connsiteY246" fmla="*/ 496253 h 1800225"/>
                <a:gd name="connsiteX247" fmla="*/ 36195 w 1219200"/>
                <a:gd name="connsiteY247" fmla="*/ 488632 h 1800225"/>
                <a:gd name="connsiteX248" fmla="*/ 38100 w 1219200"/>
                <a:gd name="connsiteY248" fmla="*/ 475297 h 1800225"/>
                <a:gd name="connsiteX249" fmla="*/ 40957 w 1219200"/>
                <a:gd name="connsiteY249" fmla="*/ 462915 h 1800225"/>
                <a:gd name="connsiteX250" fmla="*/ 42863 w 1219200"/>
                <a:gd name="connsiteY250" fmla="*/ 460058 h 1800225"/>
                <a:gd name="connsiteX251" fmla="*/ 44768 w 1219200"/>
                <a:gd name="connsiteY251" fmla="*/ 458153 h 1800225"/>
                <a:gd name="connsiteX252" fmla="*/ 56198 w 1219200"/>
                <a:gd name="connsiteY252" fmla="*/ 450533 h 1800225"/>
                <a:gd name="connsiteX253" fmla="*/ 58102 w 1219200"/>
                <a:gd name="connsiteY253" fmla="*/ 447675 h 1800225"/>
                <a:gd name="connsiteX254" fmla="*/ 60960 w 1219200"/>
                <a:gd name="connsiteY254" fmla="*/ 442913 h 1800225"/>
                <a:gd name="connsiteX255" fmla="*/ 61913 w 1219200"/>
                <a:gd name="connsiteY255" fmla="*/ 440055 h 1800225"/>
                <a:gd name="connsiteX256" fmla="*/ 60960 w 1219200"/>
                <a:gd name="connsiteY256" fmla="*/ 434340 h 1800225"/>
                <a:gd name="connsiteX257" fmla="*/ 55245 w 1219200"/>
                <a:gd name="connsiteY257" fmla="*/ 418147 h 1800225"/>
                <a:gd name="connsiteX258" fmla="*/ 55245 w 1219200"/>
                <a:gd name="connsiteY258" fmla="*/ 414338 h 1800225"/>
                <a:gd name="connsiteX259" fmla="*/ 60960 w 1219200"/>
                <a:gd name="connsiteY259" fmla="*/ 410528 h 1800225"/>
                <a:gd name="connsiteX260" fmla="*/ 60960 w 1219200"/>
                <a:gd name="connsiteY260" fmla="*/ 407670 h 1800225"/>
                <a:gd name="connsiteX261" fmla="*/ 60960 w 1219200"/>
                <a:gd name="connsiteY261" fmla="*/ 405765 h 1800225"/>
                <a:gd name="connsiteX262" fmla="*/ 56198 w 1219200"/>
                <a:gd name="connsiteY262" fmla="*/ 399097 h 1800225"/>
                <a:gd name="connsiteX263" fmla="*/ 55245 w 1219200"/>
                <a:gd name="connsiteY263" fmla="*/ 397192 h 1800225"/>
                <a:gd name="connsiteX264" fmla="*/ 51435 w 1219200"/>
                <a:gd name="connsiteY264" fmla="*/ 385763 h 1800225"/>
                <a:gd name="connsiteX265" fmla="*/ 51435 w 1219200"/>
                <a:gd name="connsiteY265" fmla="*/ 381000 h 1800225"/>
                <a:gd name="connsiteX266" fmla="*/ 52388 w 1219200"/>
                <a:gd name="connsiteY266" fmla="*/ 377190 h 1800225"/>
                <a:gd name="connsiteX267" fmla="*/ 54293 w 1219200"/>
                <a:gd name="connsiteY267" fmla="*/ 375285 h 1800225"/>
                <a:gd name="connsiteX268" fmla="*/ 59055 w 1219200"/>
                <a:gd name="connsiteY268" fmla="*/ 373380 h 1800225"/>
                <a:gd name="connsiteX269" fmla="*/ 60960 w 1219200"/>
                <a:gd name="connsiteY269" fmla="*/ 370522 h 1800225"/>
                <a:gd name="connsiteX270" fmla="*/ 63818 w 1219200"/>
                <a:gd name="connsiteY270" fmla="*/ 366713 h 1800225"/>
                <a:gd name="connsiteX271" fmla="*/ 68580 w 1219200"/>
                <a:gd name="connsiteY271" fmla="*/ 352425 h 1800225"/>
                <a:gd name="connsiteX272" fmla="*/ 70485 w 1219200"/>
                <a:gd name="connsiteY272" fmla="*/ 348615 h 1800225"/>
                <a:gd name="connsiteX273" fmla="*/ 76200 w 1219200"/>
                <a:gd name="connsiteY273" fmla="*/ 340995 h 1800225"/>
                <a:gd name="connsiteX274" fmla="*/ 80010 w 1219200"/>
                <a:gd name="connsiteY274" fmla="*/ 336233 h 1800225"/>
                <a:gd name="connsiteX275" fmla="*/ 80963 w 1219200"/>
                <a:gd name="connsiteY275" fmla="*/ 332422 h 1800225"/>
                <a:gd name="connsiteX276" fmla="*/ 80963 w 1219200"/>
                <a:gd name="connsiteY276" fmla="*/ 326708 h 1800225"/>
                <a:gd name="connsiteX277" fmla="*/ 80010 w 1219200"/>
                <a:gd name="connsiteY277" fmla="*/ 322897 h 1800225"/>
                <a:gd name="connsiteX278" fmla="*/ 80010 w 1219200"/>
                <a:gd name="connsiteY278" fmla="*/ 312420 h 1800225"/>
                <a:gd name="connsiteX279" fmla="*/ 80963 w 1219200"/>
                <a:gd name="connsiteY279" fmla="*/ 289560 h 1800225"/>
                <a:gd name="connsiteX280" fmla="*/ 80963 w 1219200"/>
                <a:gd name="connsiteY280" fmla="*/ 286703 h 1800225"/>
                <a:gd name="connsiteX281" fmla="*/ 80010 w 1219200"/>
                <a:gd name="connsiteY281" fmla="*/ 283845 h 1800225"/>
                <a:gd name="connsiteX282" fmla="*/ 76200 w 1219200"/>
                <a:gd name="connsiteY282" fmla="*/ 280035 h 1800225"/>
                <a:gd name="connsiteX283" fmla="*/ 74295 w 1219200"/>
                <a:gd name="connsiteY283" fmla="*/ 279083 h 1800225"/>
                <a:gd name="connsiteX284" fmla="*/ 71438 w 1219200"/>
                <a:gd name="connsiteY284" fmla="*/ 279083 h 1800225"/>
                <a:gd name="connsiteX285" fmla="*/ 68580 w 1219200"/>
                <a:gd name="connsiteY285" fmla="*/ 279083 h 1800225"/>
                <a:gd name="connsiteX286" fmla="*/ 54293 w 1219200"/>
                <a:gd name="connsiteY286" fmla="*/ 284797 h 1800225"/>
                <a:gd name="connsiteX287" fmla="*/ 52388 w 1219200"/>
                <a:gd name="connsiteY287" fmla="*/ 284797 h 1800225"/>
                <a:gd name="connsiteX288" fmla="*/ 49530 w 1219200"/>
                <a:gd name="connsiteY288" fmla="*/ 282892 h 1800225"/>
                <a:gd name="connsiteX289" fmla="*/ 48577 w 1219200"/>
                <a:gd name="connsiteY289" fmla="*/ 278130 h 1800225"/>
                <a:gd name="connsiteX290" fmla="*/ 48577 w 1219200"/>
                <a:gd name="connsiteY290" fmla="*/ 275272 h 1800225"/>
                <a:gd name="connsiteX291" fmla="*/ 49530 w 1219200"/>
                <a:gd name="connsiteY291" fmla="*/ 272415 h 1800225"/>
                <a:gd name="connsiteX292" fmla="*/ 56198 w 1219200"/>
                <a:gd name="connsiteY292" fmla="*/ 261938 h 1800225"/>
                <a:gd name="connsiteX293" fmla="*/ 61913 w 1219200"/>
                <a:gd name="connsiteY293" fmla="*/ 255270 h 1800225"/>
                <a:gd name="connsiteX294" fmla="*/ 63818 w 1219200"/>
                <a:gd name="connsiteY294" fmla="*/ 254317 h 1800225"/>
                <a:gd name="connsiteX295" fmla="*/ 66675 w 1219200"/>
                <a:gd name="connsiteY295" fmla="*/ 253365 h 1800225"/>
                <a:gd name="connsiteX296" fmla="*/ 79057 w 1219200"/>
                <a:gd name="connsiteY296" fmla="*/ 256222 h 1800225"/>
                <a:gd name="connsiteX297" fmla="*/ 82868 w 1219200"/>
                <a:gd name="connsiteY297" fmla="*/ 255270 h 1800225"/>
                <a:gd name="connsiteX298" fmla="*/ 87630 w 1219200"/>
                <a:gd name="connsiteY298" fmla="*/ 242888 h 1800225"/>
                <a:gd name="connsiteX299" fmla="*/ 89535 w 1219200"/>
                <a:gd name="connsiteY299" fmla="*/ 240983 h 1800225"/>
                <a:gd name="connsiteX300" fmla="*/ 92393 w 1219200"/>
                <a:gd name="connsiteY300" fmla="*/ 236220 h 1800225"/>
                <a:gd name="connsiteX301" fmla="*/ 100013 w 1219200"/>
                <a:gd name="connsiteY301" fmla="*/ 232410 h 1800225"/>
                <a:gd name="connsiteX302" fmla="*/ 101918 w 1219200"/>
                <a:gd name="connsiteY302" fmla="*/ 230505 h 1800225"/>
                <a:gd name="connsiteX303" fmla="*/ 103823 w 1219200"/>
                <a:gd name="connsiteY303" fmla="*/ 227647 h 1800225"/>
                <a:gd name="connsiteX304" fmla="*/ 104775 w 1219200"/>
                <a:gd name="connsiteY304" fmla="*/ 224790 h 1800225"/>
                <a:gd name="connsiteX305" fmla="*/ 103823 w 1219200"/>
                <a:gd name="connsiteY305" fmla="*/ 222885 h 1800225"/>
                <a:gd name="connsiteX306" fmla="*/ 80963 w 1219200"/>
                <a:gd name="connsiteY306" fmla="*/ 205740 h 1800225"/>
                <a:gd name="connsiteX307" fmla="*/ 79057 w 1219200"/>
                <a:gd name="connsiteY307" fmla="*/ 200978 h 1800225"/>
                <a:gd name="connsiteX308" fmla="*/ 80010 w 1219200"/>
                <a:gd name="connsiteY308" fmla="*/ 197167 h 1800225"/>
                <a:gd name="connsiteX309" fmla="*/ 82868 w 1219200"/>
                <a:gd name="connsiteY309" fmla="*/ 193358 h 1800225"/>
                <a:gd name="connsiteX310" fmla="*/ 92393 w 1219200"/>
                <a:gd name="connsiteY310" fmla="*/ 188595 h 1800225"/>
                <a:gd name="connsiteX311" fmla="*/ 102870 w 1219200"/>
                <a:gd name="connsiteY311" fmla="*/ 185738 h 1800225"/>
                <a:gd name="connsiteX312" fmla="*/ 114300 w 1219200"/>
                <a:gd name="connsiteY312" fmla="*/ 184785 h 1800225"/>
                <a:gd name="connsiteX313" fmla="*/ 117157 w 1219200"/>
                <a:gd name="connsiteY313" fmla="*/ 183833 h 1800225"/>
                <a:gd name="connsiteX314" fmla="*/ 120015 w 1219200"/>
                <a:gd name="connsiteY314" fmla="*/ 182880 h 1800225"/>
                <a:gd name="connsiteX315" fmla="*/ 122873 w 1219200"/>
                <a:gd name="connsiteY315" fmla="*/ 180022 h 1800225"/>
                <a:gd name="connsiteX316" fmla="*/ 122873 w 1219200"/>
                <a:gd name="connsiteY316" fmla="*/ 177165 h 1800225"/>
                <a:gd name="connsiteX317" fmla="*/ 121920 w 1219200"/>
                <a:gd name="connsiteY317" fmla="*/ 175260 h 1800225"/>
                <a:gd name="connsiteX318" fmla="*/ 111443 w 1219200"/>
                <a:gd name="connsiteY318" fmla="*/ 168592 h 1800225"/>
                <a:gd name="connsiteX319" fmla="*/ 107632 w 1219200"/>
                <a:gd name="connsiteY319" fmla="*/ 164783 h 1800225"/>
                <a:gd name="connsiteX320" fmla="*/ 103823 w 1219200"/>
                <a:gd name="connsiteY320" fmla="*/ 158115 h 1800225"/>
                <a:gd name="connsiteX321" fmla="*/ 95250 w 1219200"/>
                <a:gd name="connsiteY321" fmla="*/ 138113 h 1800225"/>
                <a:gd name="connsiteX322" fmla="*/ 93345 w 1219200"/>
                <a:gd name="connsiteY322" fmla="*/ 130492 h 1800225"/>
                <a:gd name="connsiteX323" fmla="*/ 92393 w 1219200"/>
                <a:gd name="connsiteY323" fmla="*/ 125730 h 1800225"/>
                <a:gd name="connsiteX324" fmla="*/ 115252 w 1219200"/>
                <a:gd name="connsiteY324" fmla="*/ 111442 h 1800225"/>
                <a:gd name="connsiteX325" fmla="*/ 121920 w 1219200"/>
                <a:gd name="connsiteY325" fmla="*/ 108585 h 1800225"/>
                <a:gd name="connsiteX326" fmla="*/ 127635 w 1219200"/>
                <a:gd name="connsiteY326" fmla="*/ 110490 h 1800225"/>
                <a:gd name="connsiteX327" fmla="*/ 137160 w 1219200"/>
                <a:gd name="connsiteY327" fmla="*/ 116205 h 1800225"/>
                <a:gd name="connsiteX328" fmla="*/ 142875 w 1219200"/>
                <a:gd name="connsiteY328" fmla="*/ 118110 h 1800225"/>
                <a:gd name="connsiteX329" fmla="*/ 167640 w 1219200"/>
                <a:gd name="connsiteY329" fmla="*/ 100013 h 1800225"/>
                <a:gd name="connsiteX330" fmla="*/ 170498 w 1219200"/>
                <a:gd name="connsiteY330" fmla="*/ 64770 h 1800225"/>
                <a:gd name="connsiteX331" fmla="*/ 166688 w 1219200"/>
                <a:gd name="connsiteY331" fmla="*/ 26670 h 1800225"/>
                <a:gd name="connsiteX332" fmla="*/ 172402 w 1219200"/>
                <a:gd name="connsiteY332" fmla="*/ 1905 h 1800225"/>
                <a:gd name="connsiteX333" fmla="*/ 180975 w 1219200"/>
                <a:gd name="connsiteY333" fmla="*/ 0 h 1800225"/>
                <a:gd name="connsiteX334" fmla="*/ 214313 w 1219200"/>
                <a:gd name="connsiteY334" fmla="*/ 2858 h 1800225"/>
                <a:gd name="connsiteX335" fmla="*/ 228600 w 1219200"/>
                <a:gd name="connsiteY335" fmla="*/ 0 h 1800225"/>
                <a:gd name="connsiteX336" fmla="*/ 238125 w 1219200"/>
                <a:gd name="connsiteY336" fmla="*/ 1905 h 1800225"/>
                <a:gd name="connsiteX337" fmla="*/ 245745 w 1219200"/>
                <a:gd name="connsiteY337" fmla="*/ 10478 h 1800225"/>
                <a:gd name="connsiteX338" fmla="*/ 261938 w 1219200"/>
                <a:gd name="connsiteY338" fmla="*/ 58103 h 1800225"/>
                <a:gd name="connsiteX339" fmla="*/ 268605 w 1219200"/>
                <a:gd name="connsiteY339" fmla="*/ 67628 h 1800225"/>
                <a:gd name="connsiteX340" fmla="*/ 279082 w 1219200"/>
                <a:gd name="connsiteY340" fmla="*/ 72390 h 1800225"/>
                <a:gd name="connsiteX341" fmla="*/ 301943 w 1219200"/>
                <a:gd name="connsiteY341" fmla="*/ 74295 h 1800225"/>
                <a:gd name="connsiteX342" fmla="*/ 311468 w 1219200"/>
                <a:gd name="connsiteY342" fmla="*/ 78105 h 1800225"/>
                <a:gd name="connsiteX343" fmla="*/ 323850 w 1219200"/>
                <a:gd name="connsiteY343" fmla="*/ 86678 h 1800225"/>
                <a:gd name="connsiteX344" fmla="*/ 342900 w 1219200"/>
                <a:gd name="connsiteY344" fmla="*/ 94297 h 1800225"/>
                <a:gd name="connsiteX345" fmla="*/ 381000 w 1219200"/>
                <a:gd name="connsiteY345" fmla="*/ 86678 h 1800225"/>
                <a:gd name="connsiteX346" fmla="*/ 406718 w 1219200"/>
                <a:gd name="connsiteY346" fmla="*/ 91440 h 1800225"/>
                <a:gd name="connsiteX347" fmla="*/ 412432 w 1219200"/>
                <a:gd name="connsiteY347" fmla="*/ 89535 h 1800225"/>
                <a:gd name="connsiteX348" fmla="*/ 417195 w 1219200"/>
                <a:gd name="connsiteY348" fmla="*/ 86678 h 1800225"/>
                <a:gd name="connsiteX349" fmla="*/ 429577 w 1219200"/>
                <a:gd name="connsiteY349" fmla="*/ 81915 h 1800225"/>
                <a:gd name="connsiteX350" fmla="*/ 430530 w 1219200"/>
                <a:gd name="connsiteY350" fmla="*/ 81915 h 1800225"/>
                <a:gd name="connsiteX351" fmla="*/ 435293 w 1219200"/>
                <a:gd name="connsiteY351" fmla="*/ 98108 h 1800225"/>
                <a:gd name="connsiteX352" fmla="*/ 436245 w 1219200"/>
                <a:gd name="connsiteY352" fmla="*/ 111442 h 1800225"/>
                <a:gd name="connsiteX353" fmla="*/ 439102 w 1219200"/>
                <a:gd name="connsiteY353" fmla="*/ 118110 h 1800225"/>
                <a:gd name="connsiteX354" fmla="*/ 442913 w 1219200"/>
                <a:gd name="connsiteY354" fmla="*/ 121920 h 1800225"/>
                <a:gd name="connsiteX355" fmla="*/ 474345 w 1219200"/>
                <a:gd name="connsiteY355" fmla="*/ 145733 h 1800225"/>
                <a:gd name="connsiteX356" fmla="*/ 529590 w 1219200"/>
                <a:gd name="connsiteY356" fmla="*/ 160972 h 1800225"/>
                <a:gd name="connsiteX357" fmla="*/ 547688 w 1219200"/>
                <a:gd name="connsiteY357" fmla="*/ 178117 h 1800225"/>
                <a:gd name="connsiteX358" fmla="*/ 561023 w 1219200"/>
                <a:gd name="connsiteY358" fmla="*/ 198120 h 1800225"/>
                <a:gd name="connsiteX359" fmla="*/ 574357 w 1219200"/>
                <a:gd name="connsiteY359" fmla="*/ 212408 h 1800225"/>
                <a:gd name="connsiteX360" fmla="*/ 624840 w 1219200"/>
                <a:gd name="connsiteY360" fmla="*/ 209550 h 1800225"/>
                <a:gd name="connsiteX361" fmla="*/ 633413 w 1219200"/>
                <a:gd name="connsiteY361" fmla="*/ 206692 h 1800225"/>
                <a:gd name="connsiteX362" fmla="*/ 643890 w 1219200"/>
                <a:gd name="connsiteY362" fmla="*/ 198120 h 1800225"/>
                <a:gd name="connsiteX363" fmla="*/ 660082 w 1219200"/>
                <a:gd name="connsiteY363" fmla="*/ 173355 h 1800225"/>
                <a:gd name="connsiteX364" fmla="*/ 669607 w 1219200"/>
                <a:gd name="connsiteY364" fmla="*/ 162878 h 1800225"/>
                <a:gd name="connsiteX365" fmla="*/ 689610 w 1219200"/>
                <a:gd name="connsiteY365" fmla="*/ 155258 h 1800225"/>
                <a:gd name="connsiteX366" fmla="*/ 703898 w 1219200"/>
                <a:gd name="connsiteY366" fmla="*/ 167640 h 1800225"/>
                <a:gd name="connsiteX367" fmla="*/ 733425 w 1219200"/>
                <a:gd name="connsiteY367" fmla="*/ 243840 h 1800225"/>
                <a:gd name="connsiteX368" fmla="*/ 744855 w 1219200"/>
                <a:gd name="connsiteY368" fmla="*/ 260985 h 1800225"/>
                <a:gd name="connsiteX369" fmla="*/ 761048 w 1219200"/>
                <a:gd name="connsiteY369" fmla="*/ 270510 h 1800225"/>
                <a:gd name="connsiteX370" fmla="*/ 780098 w 1219200"/>
                <a:gd name="connsiteY370" fmla="*/ 275272 h 1800225"/>
                <a:gd name="connsiteX371" fmla="*/ 801052 w 1219200"/>
                <a:gd name="connsiteY371" fmla="*/ 270510 h 1800225"/>
                <a:gd name="connsiteX372" fmla="*/ 822007 w 1219200"/>
                <a:gd name="connsiteY372" fmla="*/ 260985 h 1800225"/>
                <a:gd name="connsiteX373" fmla="*/ 842010 w 1219200"/>
                <a:gd name="connsiteY373" fmla="*/ 256222 h 1800225"/>
                <a:gd name="connsiteX374" fmla="*/ 861060 w 1219200"/>
                <a:gd name="connsiteY374" fmla="*/ 269558 h 1800225"/>
                <a:gd name="connsiteX375" fmla="*/ 870585 w 1219200"/>
                <a:gd name="connsiteY375" fmla="*/ 274320 h 1800225"/>
                <a:gd name="connsiteX376" fmla="*/ 902018 w 1219200"/>
                <a:gd name="connsiteY376" fmla="*/ 277178 h 1800225"/>
                <a:gd name="connsiteX377" fmla="*/ 908685 w 1219200"/>
                <a:gd name="connsiteY377" fmla="*/ 285750 h 1800225"/>
                <a:gd name="connsiteX378" fmla="*/ 914400 w 1219200"/>
                <a:gd name="connsiteY378" fmla="*/ 304800 h 1800225"/>
                <a:gd name="connsiteX379" fmla="*/ 922973 w 1219200"/>
                <a:gd name="connsiteY379" fmla="*/ 339090 h 1800225"/>
                <a:gd name="connsiteX380" fmla="*/ 936307 w 1219200"/>
                <a:gd name="connsiteY380" fmla="*/ 367665 h 1800225"/>
                <a:gd name="connsiteX381" fmla="*/ 952500 w 1219200"/>
                <a:gd name="connsiteY381" fmla="*/ 378142 h 1800225"/>
                <a:gd name="connsiteX382" fmla="*/ 970598 w 1219200"/>
                <a:gd name="connsiteY382" fmla="*/ 383858 h 1800225"/>
                <a:gd name="connsiteX383" fmla="*/ 992505 w 1219200"/>
                <a:gd name="connsiteY383" fmla="*/ 394335 h 1800225"/>
                <a:gd name="connsiteX384" fmla="*/ 1019175 w 1219200"/>
                <a:gd name="connsiteY384" fmla="*/ 420053 h 1800225"/>
                <a:gd name="connsiteX385" fmla="*/ 1030605 w 1219200"/>
                <a:gd name="connsiteY385" fmla="*/ 425767 h 1800225"/>
                <a:gd name="connsiteX386" fmla="*/ 1044893 w 1219200"/>
                <a:gd name="connsiteY386" fmla="*/ 425767 h 1800225"/>
                <a:gd name="connsiteX387" fmla="*/ 1061085 w 1219200"/>
                <a:gd name="connsiteY387" fmla="*/ 422910 h 1800225"/>
                <a:gd name="connsiteX388" fmla="*/ 1076325 w 1219200"/>
                <a:gd name="connsiteY388" fmla="*/ 416242 h 1800225"/>
                <a:gd name="connsiteX389" fmla="*/ 1089660 w 1219200"/>
                <a:gd name="connsiteY389" fmla="*/ 408622 h 1800225"/>
                <a:gd name="connsiteX390" fmla="*/ 1121093 w 1219200"/>
                <a:gd name="connsiteY390" fmla="*/ 376238 h 1800225"/>
                <a:gd name="connsiteX391" fmla="*/ 1134427 w 1219200"/>
                <a:gd name="connsiteY391" fmla="*/ 371475 h 1800225"/>
                <a:gd name="connsiteX392" fmla="*/ 1143952 w 1219200"/>
                <a:gd name="connsiteY392" fmla="*/ 372428 h 1800225"/>
                <a:gd name="connsiteX393" fmla="*/ 1196340 w 1219200"/>
                <a:gd name="connsiteY393" fmla="*/ 385763 h 1800225"/>
                <a:gd name="connsiteX394" fmla="*/ 1203960 w 1219200"/>
                <a:gd name="connsiteY394" fmla="*/ 394335 h 1800225"/>
                <a:gd name="connsiteX395" fmla="*/ 1201102 w 1219200"/>
                <a:gd name="connsiteY395" fmla="*/ 411480 h 1800225"/>
                <a:gd name="connsiteX396" fmla="*/ 1193482 w 1219200"/>
                <a:gd name="connsiteY396" fmla="*/ 422910 h 1800225"/>
                <a:gd name="connsiteX397" fmla="*/ 1173480 w 1219200"/>
                <a:gd name="connsiteY397" fmla="*/ 434340 h 1800225"/>
                <a:gd name="connsiteX398" fmla="*/ 1163955 w 1219200"/>
                <a:gd name="connsiteY398" fmla="*/ 443865 h 1800225"/>
                <a:gd name="connsiteX399" fmla="*/ 1153477 w 1219200"/>
                <a:gd name="connsiteY399" fmla="*/ 470535 h 1800225"/>
                <a:gd name="connsiteX400" fmla="*/ 1156335 w 1219200"/>
                <a:gd name="connsiteY400" fmla="*/ 496253 h 1800225"/>
                <a:gd name="connsiteX401" fmla="*/ 1167765 w 1219200"/>
                <a:gd name="connsiteY401" fmla="*/ 520065 h 1800225"/>
                <a:gd name="connsiteX402" fmla="*/ 1188720 w 1219200"/>
                <a:gd name="connsiteY402" fmla="*/ 552450 h 1800225"/>
                <a:gd name="connsiteX403" fmla="*/ 1213485 w 1219200"/>
                <a:gd name="connsiteY403" fmla="*/ 581978 h 1800225"/>
                <a:gd name="connsiteX404" fmla="*/ 1219200 w 1219200"/>
                <a:gd name="connsiteY404" fmla="*/ 594360 h 1800225"/>
                <a:gd name="connsiteX405" fmla="*/ 1218248 w 1219200"/>
                <a:gd name="connsiteY405" fmla="*/ 608647 h 1800225"/>
                <a:gd name="connsiteX406" fmla="*/ 1210627 w 1219200"/>
                <a:gd name="connsiteY406" fmla="*/ 636270 h 1800225"/>
                <a:gd name="connsiteX407" fmla="*/ 1209675 w 1219200"/>
                <a:gd name="connsiteY407" fmla="*/ 665797 h 1800225"/>
                <a:gd name="connsiteX408" fmla="*/ 1205865 w 1219200"/>
                <a:gd name="connsiteY408" fmla="*/ 673418 h 1800225"/>
                <a:gd name="connsiteX409" fmla="*/ 1193482 w 1219200"/>
                <a:gd name="connsiteY409" fmla="*/ 680085 h 1800225"/>
                <a:gd name="connsiteX410" fmla="*/ 1183005 w 1219200"/>
                <a:gd name="connsiteY410" fmla="*/ 688657 h 1800225"/>
                <a:gd name="connsiteX411" fmla="*/ 1165860 w 1219200"/>
                <a:gd name="connsiteY411" fmla="*/ 716280 h 1800225"/>
                <a:gd name="connsiteX412" fmla="*/ 1155382 w 1219200"/>
                <a:gd name="connsiteY412" fmla="*/ 727710 h 1800225"/>
                <a:gd name="connsiteX413" fmla="*/ 1123950 w 1219200"/>
                <a:gd name="connsiteY413" fmla="*/ 749618 h 1800225"/>
                <a:gd name="connsiteX414" fmla="*/ 1109663 w 1219200"/>
                <a:gd name="connsiteY414" fmla="*/ 763905 h 1800225"/>
                <a:gd name="connsiteX415" fmla="*/ 1098232 w 1219200"/>
                <a:gd name="connsiteY415" fmla="*/ 782955 h 1800225"/>
                <a:gd name="connsiteX416" fmla="*/ 1096327 w 1219200"/>
                <a:gd name="connsiteY416" fmla="*/ 794385 h 1800225"/>
                <a:gd name="connsiteX417" fmla="*/ 1094423 w 1219200"/>
                <a:gd name="connsiteY417" fmla="*/ 817245 h 1800225"/>
                <a:gd name="connsiteX418" fmla="*/ 1092518 w 1219200"/>
                <a:gd name="connsiteY418" fmla="*/ 825818 h 1800225"/>
                <a:gd name="connsiteX419" fmla="*/ 1085850 w 1219200"/>
                <a:gd name="connsiteY419" fmla="*/ 829628 h 1800225"/>
                <a:gd name="connsiteX420" fmla="*/ 1078230 w 1219200"/>
                <a:gd name="connsiteY420" fmla="*/ 830580 h 1800225"/>
                <a:gd name="connsiteX421" fmla="*/ 1062038 w 1219200"/>
                <a:gd name="connsiteY421" fmla="*/ 827722 h 1800225"/>
                <a:gd name="connsiteX422" fmla="*/ 1045845 w 1219200"/>
                <a:gd name="connsiteY422" fmla="*/ 827722 h 1800225"/>
                <a:gd name="connsiteX423" fmla="*/ 1002982 w 1219200"/>
                <a:gd name="connsiteY423" fmla="*/ 842963 h 1800225"/>
                <a:gd name="connsiteX424" fmla="*/ 976313 w 1219200"/>
                <a:gd name="connsiteY424" fmla="*/ 841057 h 1800225"/>
                <a:gd name="connsiteX425" fmla="*/ 966788 w 1219200"/>
                <a:gd name="connsiteY425" fmla="*/ 847725 h 1800225"/>
                <a:gd name="connsiteX426" fmla="*/ 962977 w 1219200"/>
                <a:gd name="connsiteY426" fmla="*/ 887730 h 1800225"/>
                <a:gd name="connsiteX427" fmla="*/ 970598 w 1219200"/>
                <a:gd name="connsiteY427" fmla="*/ 898207 h 1800225"/>
                <a:gd name="connsiteX428" fmla="*/ 981075 w 1219200"/>
                <a:gd name="connsiteY428" fmla="*/ 904875 h 1800225"/>
                <a:gd name="connsiteX429" fmla="*/ 990600 w 1219200"/>
                <a:gd name="connsiteY429" fmla="*/ 914400 h 1800225"/>
                <a:gd name="connsiteX430" fmla="*/ 997268 w 1219200"/>
                <a:gd name="connsiteY430" fmla="*/ 928688 h 1800225"/>
                <a:gd name="connsiteX431" fmla="*/ 1002030 w 1219200"/>
                <a:gd name="connsiteY431" fmla="*/ 940118 h 1800225"/>
                <a:gd name="connsiteX432" fmla="*/ 1007745 w 1219200"/>
                <a:gd name="connsiteY432" fmla="*/ 947738 h 1800225"/>
                <a:gd name="connsiteX433" fmla="*/ 1020127 w 1219200"/>
                <a:gd name="connsiteY433" fmla="*/ 953453 h 1800225"/>
                <a:gd name="connsiteX434" fmla="*/ 1062038 w 1219200"/>
                <a:gd name="connsiteY434" fmla="*/ 962978 h 1800225"/>
                <a:gd name="connsiteX435" fmla="*/ 1080135 w 1219200"/>
                <a:gd name="connsiteY435" fmla="*/ 960120 h 1800225"/>
                <a:gd name="connsiteX436" fmla="*/ 1086802 w 1219200"/>
                <a:gd name="connsiteY436" fmla="*/ 961072 h 1800225"/>
                <a:gd name="connsiteX437" fmla="*/ 1092518 w 1219200"/>
                <a:gd name="connsiteY437" fmla="*/ 965835 h 1800225"/>
                <a:gd name="connsiteX438" fmla="*/ 1102043 w 1219200"/>
                <a:gd name="connsiteY438" fmla="*/ 979170 h 1800225"/>
                <a:gd name="connsiteX439" fmla="*/ 1108710 w 1219200"/>
                <a:gd name="connsiteY439" fmla="*/ 982028 h 1800225"/>
                <a:gd name="connsiteX440" fmla="*/ 1120140 w 1219200"/>
                <a:gd name="connsiteY440" fmla="*/ 976313 h 1800225"/>
                <a:gd name="connsiteX441" fmla="*/ 1129665 w 1219200"/>
                <a:gd name="connsiteY441" fmla="*/ 963930 h 1800225"/>
                <a:gd name="connsiteX442" fmla="*/ 1140143 w 1219200"/>
                <a:gd name="connsiteY442" fmla="*/ 954405 h 1800225"/>
                <a:gd name="connsiteX443" fmla="*/ 1153477 w 1219200"/>
                <a:gd name="connsiteY443" fmla="*/ 955357 h 1800225"/>
                <a:gd name="connsiteX444" fmla="*/ 1163002 w 1219200"/>
                <a:gd name="connsiteY444" fmla="*/ 968693 h 1800225"/>
                <a:gd name="connsiteX445" fmla="*/ 1163002 w 1219200"/>
                <a:gd name="connsiteY445" fmla="*/ 984885 h 1800225"/>
                <a:gd name="connsiteX446" fmla="*/ 1155382 w 1219200"/>
                <a:gd name="connsiteY446" fmla="*/ 1000125 h 1800225"/>
                <a:gd name="connsiteX447" fmla="*/ 1145857 w 1219200"/>
                <a:gd name="connsiteY447" fmla="*/ 1013460 h 1800225"/>
                <a:gd name="connsiteX448" fmla="*/ 1122045 w 1219200"/>
                <a:gd name="connsiteY448" fmla="*/ 1032510 h 1800225"/>
                <a:gd name="connsiteX449" fmla="*/ 1101090 w 1219200"/>
                <a:gd name="connsiteY449" fmla="*/ 1035368 h 1800225"/>
                <a:gd name="connsiteX450" fmla="*/ 1042035 w 1219200"/>
                <a:gd name="connsiteY450" fmla="*/ 1011555 h 1800225"/>
                <a:gd name="connsiteX451" fmla="*/ 1030605 w 1219200"/>
                <a:gd name="connsiteY451" fmla="*/ 1012507 h 1800225"/>
                <a:gd name="connsiteX452" fmla="*/ 1019175 w 1219200"/>
                <a:gd name="connsiteY452" fmla="*/ 1018222 h 1800225"/>
                <a:gd name="connsiteX453" fmla="*/ 1007745 w 1219200"/>
                <a:gd name="connsiteY453" fmla="*/ 1029653 h 1800225"/>
                <a:gd name="connsiteX454" fmla="*/ 1003935 w 1219200"/>
                <a:gd name="connsiteY454" fmla="*/ 1039178 h 1800225"/>
                <a:gd name="connsiteX455" fmla="*/ 1000125 w 1219200"/>
                <a:gd name="connsiteY455" fmla="*/ 1047750 h 1800225"/>
                <a:gd name="connsiteX456" fmla="*/ 996315 w 1219200"/>
                <a:gd name="connsiteY456" fmla="*/ 1055370 h 1800225"/>
                <a:gd name="connsiteX457" fmla="*/ 982980 w 1219200"/>
                <a:gd name="connsiteY457" fmla="*/ 1060132 h 1800225"/>
                <a:gd name="connsiteX458" fmla="*/ 978218 w 1219200"/>
                <a:gd name="connsiteY458" fmla="*/ 1066800 h 1800225"/>
                <a:gd name="connsiteX459" fmla="*/ 945832 w 1219200"/>
                <a:gd name="connsiteY459" fmla="*/ 1174432 h 1800225"/>
                <a:gd name="connsiteX460" fmla="*/ 941070 w 1219200"/>
                <a:gd name="connsiteY460" fmla="*/ 1194435 h 1800225"/>
                <a:gd name="connsiteX461" fmla="*/ 961073 w 1219200"/>
                <a:gd name="connsiteY461" fmla="*/ 1193482 h 1800225"/>
                <a:gd name="connsiteX462" fmla="*/ 971550 w 1219200"/>
                <a:gd name="connsiteY462" fmla="*/ 1189673 h 1800225"/>
                <a:gd name="connsiteX463" fmla="*/ 1034415 w 1219200"/>
                <a:gd name="connsiteY463" fmla="*/ 1197293 h 1800225"/>
                <a:gd name="connsiteX464" fmla="*/ 1048702 w 1219200"/>
                <a:gd name="connsiteY464" fmla="*/ 1204913 h 1800225"/>
                <a:gd name="connsiteX465" fmla="*/ 1058227 w 1219200"/>
                <a:gd name="connsiteY465" fmla="*/ 1219200 h 1800225"/>
                <a:gd name="connsiteX466" fmla="*/ 1062990 w 1219200"/>
                <a:gd name="connsiteY466" fmla="*/ 1240155 h 1800225"/>
                <a:gd name="connsiteX467" fmla="*/ 1062990 w 1219200"/>
                <a:gd name="connsiteY467" fmla="*/ 1245870 h 1800225"/>
                <a:gd name="connsiteX468" fmla="*/ 1065848 w 1219200"/>
                <a:gd name="connsiteY468" fmla="*/ 1256348 h 1800225"/>
                <a:gd name="connsiteX469" fmla="*/ 1063943 w 1219200"/>
                <a:gd name="connsiteY469" fmla="*/ 1263015 h 1800225"/>
                <a:gd name="connsiteX470" fmla="*/ 1059180 w 1219200"/>
                <a:gd name="connsiteY470" fmla="*/ 1263968 h 1800225"/>
                <a:gd name="connsiteX471" fmla="*/ 1054418 w 1219200"/>
                <a:gd name="connsiteY471" fmla="*/ 1263968 h 1800225"/>
                <a:gd name="connsiteX472" fmla="*/ 1051560 w 1219200"/>
                <a:gd name="connsiteY472" fmla="*/ 1264920 h 1800225"/>
                <a:gd name="connsiteX473" fmla="*/ 1053465 w 1219200"/>
                <a:gd name="connsiteY473" fmla="*/ 1277303 h 1800225"/>
                <a:gd name="connsiteX474" fmla="*/ 1058227 w 1219200"/>
                <a:gd name="connsiteY474" fmla="*/ 1283018 h 1800225"/>
                <a:gd name="connsiteX475" fmla="*/ 1063943 w 1219200"/>
                <a:gd name="connsiteY475" fmla="*/ 1287780 h 1800225"/>
                <a:gd name="connsiteX476" fmla="*/ 1080135 w 1219200"/>
                <a:gd name="connsiteY476" fmla="*/ 1323975 h 1800225"/>
                <a:gd name="connsiteX477" fmla="*/ 1085850 w 1219200"/>
                <a:gd name="connsiteY477" fmla="*/ 1344930 h 1800225"/>
                <a:gd name="connsiteX478" fmla="*/ 1089660 w 1219200"/>
                <a:gd name="connsiteY478" fmla="*/ 1355407 h 1800225"/>
                <a:gd name="connsiteX479" fmla="*/ 1095375 w 1219200"/>
                <a:gd name="connsiteY479" fmla="*/ 1362075 h 1800225"/>
                <a:gd name="connsiteX480" fmla="*/ 1082993 w 1219200"/>
                <a:gd name="connsiteY480" fmla="*/ 1374457 h 1800225"/>
                <a:gd name="connsiteX481" fmla="*/ 1074420 w 1219200"/>
                <a:gd name="connsiteY481" fmla="*/ 1385888 h 1800225"/>
                <a:gd name="connsiteX482" fmla="*/ 1038225 w 1219200"/>
                <a:gd name="connsiteY482" fmla="*/ 1416368 h 1800225"/>
                <a:gd name="connsiteX483" fmla="*/ 1074420 w 1219200"/>
                <a:gd name="connsiteY483" fmla="*/ 1439228 h 1800225"/>
                <a:gd name="connsiteX484" fmla="*/ 1084898 w 1219200"/>
                <a:gd name="connsiteY484" fmla="*/ 1438275 h 1800225"/>
                <a:gd name="connsiteX485" fmla="*/ 1112520 w 1219200"/>
                <a:gd name="connsiteY485" fmla="*/ 1427798 h 1800225"/>
                <a:gd name="connsiteX486" fmla="*/ 1123950 w 1219200"/>
                <a:gd name="connsiteY486" fmla="*/ 1430655 h 1800225"/>
                <a:gd name="connsiteX487" fmla="*/ 1131570 w 1219200"/>
                <a:gd name="connsiteY487" fmla="*/ 1443990 h 1800225"/>
                <a:gd name="connsiteX488" fmla="*/ 1130618 w 1219200"/>
                <a:gd name="connsiteY488" fmla="*/ 1459230 h 1800225"/>
                <a:gd name="connsiteX489" fmla="*/ 1122998 w 1219200"/>
                <a:gd name="connsiteY489" fmla="*/ 1473518 h 1800225"/>
                <a:gd name="connsiteX490" fmla="*/ 1114425 w 1219200"/>
                <a:gd name="connsiteY490" fmla="*/ 1484948 h 1800225"/>
                <a:gd name="connsiteX491" fmla="*/ 1088707 w 1219200"/>
                <a:gd name="connsiteY491" fmla="*/ 1503998 h 1800225"/>
                <a:gd name="connsiteX492" fmla="*/ 1079182 w 1219200"/>
                <a:gd name="connsiteY492" fmla="*/ 1515428 h 1800225"/>
                <a:gd name="connsiteX493" fmla="*/ 1052513 w 1219200"/>
                <a:gd name="connsiteY493" fmla="*/ 1565910 h 1800225"/>
                <a:gd name="connsiteX494" fmla="*/ 1045845 w 1219200"/>
                <a:gd name="connsiteY494" fmla="*/ 1581150 h 1800225"/>
                <a:gd name="connsiteX495" fmla="*/ 1044893 w 1219200"/>
                <a:gd name="connsiteY495" fmla="*/ 1599248 h 1800225"/>
                <a:gd name="connsiteX496" fmla="*/ 1052513 w 1219200"/>
                <a:gd name="connsiteY496" fmla="*/ 1624013 h 1800225"/>
                <a:gd name="connsiteX497" fmla="*/ 1052513 w 1219200"/>
                <a:gd name="connsiteY497" fmla="*/ 1631632 h 1800225"/>
                <a:gd name="connsiteX498" fmla="*/ 1050607 w 1219200"/>
                <a:gd name="connsiteY498" fmla="*/ 1632585 h 1800225"/>
                <a:gd name="connsiteX499" fmla="*/ 1047750 w 1219200"/>
                <a:gd name="connsiteY499" fmla="*/ 1631632 h 1800225"/>
                <a:gd name="connsiteX500" fmla="*/ 1018223 w 1219200"/>
                <a:gd name="connsiteY500" fmla="*/ 1637348 h 1800225"/>
                <a:gd name="connsiteX501" fmla="*/ 1012507 w 1219200"/>
                <a:gd name="connsiteY501" fmla="*/ 1641157 h 1800225"/>
                <a:gd name="connsiteX502" fmla="*/ 1008698 w 1219200"/>
                <a:gd name="connsiteY502" fmla="*/ 1647825 h 1800225"/>
                <a:gd name="connsiteX503" fmla="*/ 1009650 w 1219200"/>
                <a:gd name="connsiteY503" fmla="*/ 1652588 h 1800225"/>
                <a:gd name="connsiteX504" fmla="*/ 1013460 w 1219200"/>
                <a:gd name="connsiteY504" fmla="*/ 1656398 h 1800225"/>
                <a:gd name="connsiteX505" fmla="*/ 1019175 w 1219200"/>
                <a:gd name="connsiteY505" fmla="*/ 1665923 h 1800225"/>
                <a:gd name="connsiteX506" fmla="*/ 1026795 w 1219200"/>
                <a:gd name="connsiteY506" fmla="*/ 1683068 h 1800225"/>
                <a:gd name="connsiteX507" fmla="*/ 1027748 w 1219200"/>
                <a:gd name="connsiteY507" fmla="*/ 1690688 h 1800225"/>
                <a:gd name="connsiteX508" fmla="*/ 1026795 w 1219200"/>
                <a:gd name="connsiteY508" fmla="*/ 1703070 h 1800225"/>
                <a:gd name="connsiteX509" fmla="*/ 1024890 w 1219200"/>
                <a:gd name="connsiteY509" fmla="*/ 1708785 h 1800225"/>
                <a:gd name="connsiteX510" fmla="*/ 1019175 w 1219200"/>
                <a:gd name="connsiteY510" fmla="*/ 1721168 h 1800225"/>
                <a:gd name="connsiteX511" fmla="*/ 1017270 w 1219200"/>
                <a:gd name="connsiteY511" fmla="*/ 1727835 h 1800225"/>
                <a:gd name="connsiteX512" fmla="*/ 1018223 w 1219200"/>
                <a:gd name="connsiteY512" fmla="*/ 1733550 h 1800225"/>
                <a:gd name="connsiteX513" fmla="*/ 1020127 w 1219200"/>
                <a:gd name="connsiteY513" fmla="*/ 1744028 h 1800225"/>
                <a:gd name="connsiteX514" fmla="*/ 1020127 w 1219200"/>
                <a:gd name="connsiteY514" fmla="*/ 1749743 h 1800225"/>
                <a:gd name="connsiteX515" fmla="*/ 1016318 w 1219200"/>
                <a:gd name="connsiteY515" fmla="*/ 1771650 h 1800225"/>
                <a:gd name="connsiteX516" fmla="*/ 1007745 w 1219200"/>
                <a:gd name="connsiteY516" fmla="*/ 1791653 h 1800225"/>
                <a:gd name="connsiteX517" fmla="*/ 994410 w 1219200"/>
                <a:gd name="connsiteY517" fmla="*/ 1804988 h 1800225"/>
                <a:gd name="connsiteX518" fmla="*/ 977265 w 1219200"/>
                <a:gd name="connsiteY518" fmla="*/ 1808798 h 1800225"/>
                <a:gd name="connsiteX519" fmla="*/ 924877 w 1219200"/>
                <a:gd name="connsiteY519" fmla="*/ 1794510 h 1800225"/>
                <a:gd name="connsiteX520" fmla="*/ 908685 w 1219200"/>
                <a:gd name="connsiteY520" fmla="*/ 1793557 h 1800225"/>
                <a:gd name="connsiteX521" fmla="*/ 876300 w 1219200"/>
                <a:gd name="connsiteY521" fmla="*/ 1799273 h 1800225"/>
                <a:gd name="connsiteX522" fmla="*/ 861060 w 1219200"/>
                <a:gd name="connsiteY522" fmla="*/ 1797368 h 1800225"/>
                <a:gd name="connsiteX523" fmla="*/ 848677 w 1219200"/>
                <a:gd name="connsiteY523" fmla="*/ 1792605 h 1800225"/>
                <a:gd name="connsiteX524" fmla="*/ 825818 w 1219200"/>
                <a:gd name="connsiteY524" fmla="*/ 1799273 h 1800225"/>
                <a:gd name="connsiteX525" fmla="*/ 814388 w 1219200"/>
                <a:gd name="connsiteY525" fmla="*/ 1799273 h 1800225"/>
                <a:gd name="connsiteX526" fmla="*/ 804863 w 1219200"/>
                <a:gd name="connsiteY526" fmla="*/ 1795463 h 1800225"/>
                <a:gd name="connsiteX527" fmla="*/ 786765 w 1219200"/>
                <a:gd name="connsiteY527" fmla="*/ 1783080 h 1800225"/>
                <a:gd name="connsiteX528" fmla="*/ 776288 w 1219200"/>
                <a:gd name="connsiteY528" fmla="*/ 1781175 h 1800225"/>
                <a:gd name="connsiteX529" fmla="*/ 699135 w 1219200"/>
                <a:gd name="connsiteY529" fmla="*/ 1788795 h 1800225"/>
                <a:gd name="connsiteX530" fmla="*/ 678180 w 1219200"/>
                <a:gd name="connsiteY530" fmla="*/ 1794510 h 1800225"/>
                <a:gd name="connsiteX531" fmla="*/ 667702 w 1219200"/>
                <a:gd name="connsiteY531" fmla="*/ 1795463 h 1800225"/>
                <a:gd name="connsiteX532" fmla="*/ 657225 w 1219200"/>
                <a:gd name="connsiteY532" fmla="*/ 1792605 h 1800225"/>
                <a:gd name="connsiteX533" fmla="*/ 628650 w 1219200"/>
                <a:gd name="connsiteY533" fmla="*/ 1772603 h 1800225"/>
                <a:gd name="connsiteX534" fmla="*/ 626745 w 1219200"/>
                <a:gd name="connsiteY534" fmla="*/ 1772603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</a:cxnLst>
              <a:rect l="l" t="t" r="r" b="b"/>
              <a:pathLst>
                <a:path w="1219200" h="1800225">
                  <a:moveTo>
                    <a:pt x="626745" y="1772603"/>
                  </a:moveTo>
                  <a:lnTo>
                    <a:pt x="627698" y="1765935"/>
                  </a:lnTo>
                  <a:lnTo>
                    <a:pt x="637223" y="1724978"/>
                  </a:lnTo>
                  <a:lnTo>
                    <a:pt x="636270" y="1713548"/>
                  </a:lnTo>
                  <a:lnTo>
                    <a:pt x="631507" y="1710690"/>
                  </a:lnTo>
                  <a:lnTo>
                    <a:pt x="628650" y="1708785"/>
                  </a:lnTo>
                  <a:lnTo>
                    <a:pt x="626745" y="1704975"/>
                  </a:lnTo>
                  <a:lnTo>
                    <a:pt x="623888" y="1699260"/>
                  </a:lnTo>
                  <a:lnTo>
                    <a:pt x="623888" y="1692593"/>
                  </a:lnTo>
                  <a:lnTo>
                    <a:pt x="625793" y="1666875"/>
                  </a:lnTo>
                  <a:lnTo>
                    <a:pt x="623888" y="1659255"/>
                  </a:lnTo>
                  <a:lnTo>
                    <a:pt x="621982" y="1654493"/>
                  </a:lnTo>
                  <a:lnTo>
                    <a:pt x="572452" y="1643063"/>
                  </a:lnTo>
                  <a:lnTo>
                    <a:pt x="535305" y="1644015"/>
                  </a:lnTo>
                  <a:lnTo>
                    <a:pt x="530543" y="1642110"/>
                  </a:lnTo>
                  <a:lnTo>
                    <a:pt x="523875" y="1638300"/>
                  </a:lnTo>
                  <a:lnTo>
                    <a:pt x="510540" y="1625918"/>
                  </a:lnTo>
                  <a:lnTo>
                    <a:pt x="504825" y="1620203"/>
                  </a:lnTo>
                  <a:lnTo>
                    <a:pt x="501968" y="1615440"/>
                  </a:lnTo>
                  <a:lnTo>
                    <a:pt x="503873" y="1608773"/>
                  </a:lnTo>
                  <a:lnTo>
                    <a:pt x="507682" y="1600200"/>
                  </a:lnTo>
                  <a:lnTo>
                    <a:pt x="512445" y="1593532"/>
                  </a:lnTo>
                  <a:lnTo>
                    <a:pt x="513398" y="1589723"/>
                  </a:lnTo>
                  <a:lnTo>
                    <a:pt x="514350" y="1585913"/>
                  </a:lnTo>
                  <a:lnTo>
                    <a:pt x="513398" y="1578293"/>
                  </a:lnTo>
                  <a:lnTo>
                    <a:pt x="511493" y="1574482"/>
                  </a:lnTo>
                  <a:lnTo>
                    <a:pt x="509588" y="1572578"/>
                  </a:lnTo>
                  <a:lnTo>
                    <a:pt x="479107" y="1554480"/>
                  </a:lnTo>
                  <a:lnTo>
                    <a:pt x="412432" y="1528763"/>
                  </a:lnTo>
                  <a:lnTo>
                    <a:pt x="401955" y="1522095"/>
                  </a:lnTo>
                  <a:lnTo>
                    <a:pt x="399098" y="1518285"/>
                  </a:lnTo>
                  <a:lnTo>
                    <a:pt x="397193" y="1515428"/>
                  </a:lnTo>
                  <a:lnTo>
                    <a:pt x="399098" y="1505903"/>
                  </a:lnTo>
                  <a:lnTo>
                    <a:pt x="400050" y="1499235"/>
                  </a:lnTo>
                  <a:lnTo>
                    <a:pt x="401002" y="1496378"/>
                  </a:lnTo>
                  <a:lnTo>
                    <a:pt x="399098" y="1491615"/>
                  </a:lnTo>
                  <a:lnTo>
                    <a:pt x="390525" y="1472565"/>
                  </a:lnTo>
                  <a:lnTo>
                    <a:pt x="388620" y="1464945"/>
                  </a:lnTo>
                  <a:lnTo>
                    <a:pt x="386715" y="1457325"/>
                  </a:lnTo>
                  <a:lnTo>
                    <a:pt x="384810" y="1449705"/>
                  </a:lnTo>
                  <a:lnTo>
                    <a:pt x="381000" y="1443038"/>
                  </a:lnTo>
                  <a:lnTo>
                    <a:pt x="379095" y="1440180"/>
                  </a:lnTo>
                  <a:lnTo>
                    <a:pt x="376238" y="1439228"/>
                  </a:lnTo>
                  <a:lnTo>
                    <a:pt x="323850" y="1444943"/>
                  </a:lnTo>
                  <a:lnTo>
                    <a:pt x="315277" y="1443038"/>
                  </a:lnTo>
                  <a:lnTo>
                    <a:pt x="308610" y="1440180"/>
                  </a:lnTo>
                  <a:lnTo>
                    <a:pt x="305752" y="1437323"/>
                  </a:lnTo>
                  <a:lnTo>
                    <a:pt x="303848" y="1434465"/>
                  </a:lnTo>
                  <a:lnTo>
                    <a:pt x="300990" y="1423988"/>
                  </a:lnTo>
                  <a:lnTo>
                    <a:pt x="298132" y="1414463"/>
                  </a:lnTo>
                  <a:lnTo>
                    <a:pt x="296227" y="1408748"/>
                  </a:lnTo>
                  <a:lnTo>
                    <a:pt x="296227" y="1403985"/>
                  </a:lnTo>
                  <a:lnTo>
                    <a:pt x="298132" y="1402080"/>
                  </a:lnTo>
                  <a:lnTo>
                    <a:pt x="300990" y="1400175"/>
                  </a:lnTo>
                  <a:lnTo>
                    <a:pt x="324802" y="1396365"/>
                  </a:lnTo>
                  <a:lnTo>
                    <a:pt x="328613" y="1394460"/>
                  </a:lnTo>
                  <a:lnTo>
                    <a:pt x="332423" y="1390650"/>
                  </a:lnTo>
                  <a:lnTo>
                    <a:pt x="334327" y="1384935"/>
                  </a:lnTo>
                  <a:lnTo>
                    <a:pt x="335280" y="1381125"/>
                  </a:lnTo>
                  <a:lnTo>
                    <a:pt x="333375" y="1377315"/>
                  </a:lnTo>
                  <a:lnTo>
                    <a:pt x="326707" y="1362075"/>
                  </a:lnTo>
                  <a:lnTo>
                    <a:pt x="320993" y="1354455"/>
                  </a:lnTo>
                  <a:lnTo>
                    <a:pt x="310515" y="1345882"/>
                  </a:lnTo>
                  <a:lnTo>
                    <a:pt x="306705" y="1342073"/>
                  </a:lnTo>
                  <a:lnTo>
                    <a:pt x="304800" y="1339215"/>
                  </a:lnTo>
                  <a:lnTo>
                    <a:pt x="302895" y="1329690"/>
                  </a:lnTo>
                  <a:lnTo>
                    <a:pt x="300038" y="1323975"/>
                  </a:lnTo>
                  <a:lnTo>
                    <a:pt x="294323" y="1313498"/>
                  </a:lnTo>
                  <a:lnTo>
                    <a:pt x="290513" y="1309688"/>
                  </a:lnTo>
                  <a:lnTo>
                    <a:pt x="287655" y="1308735"/>
                  </a:lnTo>
                  <a:lnTo>
                    <a:pt x="285750" y="1310640"/>
                  </a:lnTo>
                  <a:lnTo>
                    <a:pt x="282893" y="1314450"/>
                  </a:lnTo>
                  <a:lnTo>
                    <a:pt x="278130" y="1318260"/>
                  </a:lnTo>
                  <a:lnTo>
                    <a:pt x="275273" y="1318260"/>
                  </a:lnTo>
                  <a:lnTo>
                    <a:pt x="272415" y="1317307"/>
                  </a:lnTo>
                  <a:lnTo>
                    <a:pt x="265748" y="1313498"/>
                  </a:lnTo>
                  <a:lnTo>
                    <a:pt x="262890" y="1312545"/>
                  </a:lnTo>
                  <a:lnTo>
                    <a:pt x="260032" y="1312545"/>
                  </a:lnTo>
                  <a:lnTo>
                    <a:pt x="255270" y="1311593"/>
                  </a:lnTo>
                  <a:lnTo>
                    <a:pt x="251460" y="1308735"/>
                  </a:lnTo>
                  <a:lnTo>
                    <a:pt x="243840" y="1303973"/>
                  </a:lnTo>
                  <a:lnTo>
                    <a:pt x="240982" y="1300163"/>
                  </a:lnTo>
                  <a:lnTo>
                    <a:pt x="240030" y="1296353"/>
                  </a:lnTo>
                  <a:lnTo>
                    <a:pt x="240030" y="1290638"/>
                  </a:lnTo>
                  <a:lnTo>
                    <a:pt x="240030" y="1284923"/>
                  </a:lnTo>
                  <a:lnTo>
                    <a:pt x="240982" y="1274445"/>
                  </a:lnTo>
                  <a:lnTo>
                    <a:pt x="242888" y="1267778"/>
                  </a:lnTo>
                  <a:lnTo>
                    <a:pt x="245745" y="1261110"/>
                  </a:lnTo>
                  <a:lnTo>
                    <a:pt x="246698" y="1255395"/>
                  </a:lnTo>
                  <a:lnTo>
                    <a:pt x="245745" y="1247775"/>
                  </a:lnTo>
                  <a:lnTo>
                    <a:pt x="243840" y="1244918"/>
                  </a:lnTo>
                  <a:lnTo>
                    <a:pt x="240982" y="1243965"/>
                  </a:lnTo>
                  <a:lnTo>
                    <a:pt x="233363" y="1242060"/>
                  </a:lnTo>
                  <a:lnTo>
                    <a:pt x="226695" y="1239203"/>
                  </a:lnTo>
                  <a:lnTo>
                    <a:pt x="220980" y="1234440"/>
                  </a:lnTo>
                  <a:lnTo>
                    <a:pt x="219075" y="1231582"/>
                  </a:lnTo>
                  <a:lnTo>
                    <a:pt x="217170" y="1228725"/>
                  </a:lnTo>
                  <a:lnTo>
                    <a:pt x="218123" y="1222057"/>
                  </a:lnTo>
                  <a:lnTo>
                    <a:pt x="221932" y="1212532"/>
                  </a:lnTo>
                  <a:lnTo>
                    <a:pt x="222885" y="1209675"/>
                  </a:lnTo>
                  <a:lnTo>
                    <a:pt x="222885" y="1204913"/>
                  </a:lnTo>
                  <a:lnTo>
                    <a:pt x="221932" y="1200150"/>
                  </a:lnTo>
                  <a:lnTo>
                    <a:pt x="215265" y="1183005"/>
                  </a:lnTo>
                  <a:lnTo>
                    <a:pt x="214313" y="1180148"/>
                  </a:lnTo>
                  <a:lnTo>
                    <a:pt x="214313" y="1176338"/>
                  </a:lnTo>
                  <a:lnTo>
                    <a:pt x="215265" y="1169670"/>
                  </a:lnTo>
                  <a:lnTo>
                    <a:pt x="215265" y="1165860"/>
                  </a:lnTo>
                  <a:lnTo>
                    <a:pt x="213360" y="1153478"/>
                  </a:lnTo>
                  <a:lnTo>
                    <a:pt x="211455" y="1133475"/>
                  </a:lnTo>
                  <a:lnTo>
                    <a:pt x="211455" y="1130618"/>
                  </a:lnTo>
                  <a:lnTo>
                    <a:pt x="213360" y="1124903"/>
                  </a:lnTo>
                  <a:lnTo>
                    <a:pt x="215265" y="1121093"/>
                  </a:lnTo>
                  <a:lnTo>
                    <a:pt x="218123" y="1117282"/>
                  </a:lnTo>
                  <a:lnTo>
                    <a:pt x="230505" y="1106805"/>
                  </a:lnTo>
                  <a:lnTo>
                    <a:pt x="239077" y="1095375"/>
                  </a:lnTo>
                  <a:lnTo>
                    <a:pt x="240982" y="1088707"/>
                  </a:lnTo>
                  <a:lnTo>
                    <a:pt x="241935" y="1083945"/>
                  </a:lnTo>
                  <a:lnTo>
                    <a:pt x="240982" y="1081088"/>
                  </a:lnTo>
                  <a:lnTo>
                    <a:pt x="238125" y="1080135"/>
                  </a:lnTo>
                  <a:lnTo>
                    <a:pt x="235268" y="1080135"/>
                  </a:lnTo>
                  <a:lnTo>
                    <a:pt x="224790" y="1082993"/>
                  </a:lnTo>
                  <a:lnTo>
                    <a:pt x="222885" y="1082040"/>
                  </a:lnTo>
                  <a:lnTo>
                    <a:pt x="220980" y="1078230"/>
                  </a:lnTo>
                  <a:lnTo>
                    <a:pt x="220980" y="1071563"/>
                  </a:lnTo>
                  <a:lnTo>
                    <a:pt x="222885" y="1064895"/>
                  </a:lnTo>
                  <a:lnTo>
                    <a:pt x="223838" y="1062990"/>
                  </a:lnTo>
                  <a:lnTo>
                    <a:pt x="230505" y="1053465"/>
                  </a:lnTo>
                  <a:lnTo>
                    <a:pt x="233363" y="1047750"/>
                  </a:lnTo>
                  <a:lnTo>
                    <a:pt x="236220" y="1042035"/>
                  </a:lnTo>
                  <a:lnTo>
                    <a:pt x="237173" y="1038225"/>
                  </a:lnTo>
                  <a:lnTo>
                    <a:pt x="236220" y="1032510"/>
                  </a:lnTo>
                  <a:lnTo>
                    <a:pt x="234315" y="1023938"/>
                  </a:lnTo>
                  <a:lnTo>
                    <a:pt x="229552" y="1015365"/>
                  </a:lnTo>
                  <a:lnTo>
                    <a:pt x="227648" y="1009650"/>
                  </a:lnTo>
                  <a:lnTo>
                    <a:pt x="227648" y="1004888"/>
                  </a:lnTo>
                  <a:lnTo>
                    <a:pt x="228600" y="1001078"/>
                  </a:lnTo>
                  <a:lnTo>
                    <a:pt x="228600" y="996315"/>
                  </a:lnTo>
                  <a:lnTo>
                    <a:pt x="227648" y="992505"/>
                  </a:lnTo>
                  <a:lnTo>
                    <a:pt x="225743" y="990600"/>
                  </a:lnTo>
                  <a:lnTo>
                    <a:pt x="219075" y="989647"/>
                  </a:lnTo>
                  <a:lnTo>
                    <a:pt x="216218" y="988695"/>
                  </a:lnTo>
                  <a:lnTo>
                    <a:pt x="208598" y="986790"/>
                  </a:lnTo>
                  <a:lnTo>
                    <a:pt x="203835" y="983932"/>
                  </a:lnTo>
                  <a:lnTo>
                    <a:pt x="201930" y="981075"/>
                  </a:lnTo>
                  <a:lnTo>
                    <a:pt x="201930" y="977265"/>
                  </a:lnTo>
                  <a:lnTo>
                    <a:pt x="201930" y="965835"/>
                  </a:lnTo>
                  <a:lnTo>
                    <a:pt x="200977" y="960120"/>
                  </a:lnTo>
                  <a:lnTo>
                    <a:pt x="199073" y="952500"/>
                  </a:lnTo>
                  <a:lnTo>
                    <a:pt x="193357" y="933450"/>
                  </a:lnTo>
                  <a:lnTo>
                    <a:pt x="191452" y="924878"/>
                  </a:lnTo>
                  <a:lnTo>
                    <a:pt x="170498" y="918210"/>
                  </a:lnTo>
                  <a:lnTo>
                    <a:pt x="110490" y="914400"/>
                  </a:lnTo>
                  <a:lnTo>
                    <a:pt x="107632" y="913447"/>
                  </a:lnTo>
                  <a:lnTo>
                    <a:pt x="103823" y="911543"/>
                  </a:lnTo>
                  <a:lnTo>
                    <a:pt x="99060" y="905828"/>
                  </a:lnTo>
                  <a:lnTo>
                    <a:pt x="95250" y="903922"/>
                  </a:lnTo>
                  <a:lnTo>
                    <a:pt x="88582" y="902018"/>
                  </a:lnTo>
                  <a:lnTo>
                    <a:pt x="85725" y="900113"/>
                  </a:lnTo>
                  <a:lnTo>
                    <a:pt x="84773" y="898207"/>
                  </a:lnTo>
                  <a:lnTo>
                    <a:pt x="84773" y="895350"/>
                  </a:lnTo>
                  <a:lnTo>
                    <a:pt x="87630" y="888682"/>
                  </a:lnTo>
                  <a:lnTo>
                    <a:pt x="88582" y="886778"/>
                  </a:lnTo>
                  <a:lnTo>
                    <a:pt x="90488" y="884872"/>
                  </a:lnTo>
                  <a:lnTo>
                    <a:pt x="93345" y="883920"/>
                  </a:lnTo>
                  <a:lnTo>
                    <a:pt x="100013" y="884872"/>
                  </a:lnTo>
                  <a:lnTo>
                    <a:pt x="101918" y="883920"/>
                  </a:lnTo>
                  <a:lnTo>
                    <a:pt x="102870" y="881063"/>
                  </a:lnTo>
                  <a:lnTo>
                    <a:pt x="102870" y="876300"/>
                  </a:lnTo>
                  <a:lnTo>
                    <a:pt x="103823" y="873443"/>
                  </a:lnTo>
                  <a:lnTo>
                    <a:pt x="106680" y="873443"/>
                  </a:lnTo>
                  <a:lnTo>
                    <a:pt x="115252" y="872490"/>
                  </a:lnTo>
                  <a:lnTo>
                    <a:pt x="117157" y="871538"/>
                  </a:lnTo>
                  <a:lnTo>
                    <a:pt x="119063" y="869632"/>
                  </a:lnTo>
                  <a:lnTo>
                    <a:pt x="120968" y="867728"/>
                  </a:lnTo>
                  <a:lnTo>
                    <a:pt x="120968" y="863918"/>
                  </a:lnTo>
                  <a:lnTo>
                    <a:pt x="120968" y="861060"/>
                  </a:lnTo>
                  <a:lnTo>
                    <a:pt x="105727" y="823913"/>
                  </a:lnTo>
                  <a:lnTo>
                    <a:pt x="102870" y="814388"/>
                  </a:lnTo>
                  <a:lnTo>
                    <a:pt x="101918" y="807720"/>
                  </a:lnTo>
                  <a:lnTo>
                    <a:pt x="103823" y="804863"/>
                  </a:lnTo>
                  <a:lnTo>
                    <a:pt x="109538" y="799147"/>
                  </a:lnTo>
                  <a:lnTo>
                    <a:pt x="112395" y="794385"/>
                  </a:lnTo>
                  <a:lnTo>
                    <a:pt x="113348" y="787718"/>
                  </a:lnTo>
                  <a:lnTo>
                    <a:pt x="113348" y="776288"/>
                  </a:lnTo>
                  <a:lnTo>
                    <a:pt x="113348" y="769620"/>
                  </a:lnTo>
                  <a:lnTo>
                    <a:pt x="117157" y="748665"/>
                  </a:lnTo>
                  <a:lnTo>
                    <a:pt x="117157" y="744855"/>
                  </a:lnTo>
                  <a:lnTo>
                    <a:pt x="115252" y="742950"/>
                  </a:lnTo>
                  <a:lnTo>
                    <a:pt x="113348" y="741997"/>
                  </a:lnTo>
                  <a:lnTo>
                    <a:pt x="91440" y="741045"/>
                  </a:lnTo>
                  <a:lnTo>
                    <a:pt x="88582" y="741997"/>
                  </a:lnTo>
                  <a:lnTo>
                    <a:pt x="86677" y="742950"/>
                  </a:lnTo>
                  <a:lnTo>
                    <a:pt x="72390" y="756285"/>
                  </a:lnTo>
                  <a:lnTo>
                    <a:pt x="70485" y="757238"/>
                  </a:lnTo>
                  <a:lnTo>
                    <a:pt x="67627" y="758190"/>
                  </a:lnTo>
                  <a:lnTo>
                    <a:pt x="62865" y="757238"/>
                  </a:lnTo>
                  <a:lnTo>
                    <a:pt x="48577" y="747713"/>
                  </a:lnTo>
                  <a:lnTo>
                    <a:pt x="24765" y="738188"/>
                  </a:lnTo>
                  <a:lnTo>
                    <a:pt x="20955" y="734378"/>
                  </a:lnTo>
                  <a:lnTo>
                    <a:pt x="19050" y="731520"/>
                  </a:lnTo>
                  <a:lnTo>
                    <a:pt x="19050" y="727710"/>
                  </a:lnTo>
                  <a:lnTo>
                    <a:pt x="21907" y="718185"/>
                  </a:lnTo>
                  <a:lnTo>
                    <a:pt x="24765" y="712470"/>
                  </a:lnTo>
                  <a:lnTo>
                    <a:pt x="26670" y="711518"/>
                  </a:lnTo>
                  <a:lnTo>
                    <a:pt x="40957" y="710565"/>
                  </a:lnTo>
                  <a:lnTo>
                    <a:pt x="43815" y="709613"/>
                  </a:lnTo>
                  <a:lnTo>
                    <a:pt x="45720" y="707707"/>
                  </a:lnTo>
                  <a:lnTo>
                    <a:pt x="45720" y="702945"/>
                  </a:lnTo>
                  <a:lnTo>
                    <a:pt x="42863" y="701040"/>
                  </a:lnTo>
                  <a:lnTo>
                    <a:pt x="40005" y="699135"/>
                  </a:lnTo>
                  <a:lnTo>
                    <a:pt x="30480" y="698182"/>
                  </a:lnTo>
                  <a:lnTo>
                    <a:pt x="27623" y="697230"/>
                  </a:lnTo>
                  <a:lnTo>
                    <a:pt x="24765" y="696278"/>
                  </a:lnTo>
                  <a:lnTo>
                    <a:pt x="20002" y="689610"/>
                  </a:lnTo>
                  <a:lnTo>
                    <a:pt x="17145" y="685800"/>
                  </a:lnTo>
                  <a:lnTo>
                    <a:pt x="10477" y="680085"/>
                  </a:lnTo>
                  <a:lnTo>
                    <a:pt x="5715" y="677228"/>
                  </a:lnTo>
                  <a:lnTo>
                    <a:pt x="0" y="677228"/>
                  </a:lnTo>
                  <a:lnTo>
                    <a:pt x="12382" y="665797"/>
                  </a:lnTo>
                  <a:lnTo>
                    <a:pt x="26670" y="655320"/>
                  </a:lnTo>
                  <a:lnTo>
                    <a:pt x="33338" y="647700"/>
                  </a:lnTo>
                  <a:lnTo>
                    <a:pt x="41910" y="635318"/>
                  </a:lnTo>
                  <a:lnTo>
                    <a:pt x="42863" y="629603"/>
                  </a:lnTo>
                  <a:lnTo>
                    <a:pt x="42863" y="624840"/>
                  </a:lnTo>
                  <a:lnTo>
                    <a:pt x="42863" y="621982"/>
                  </a:lnTo>
                  <a:lnTo>
                    <a:pt x="40005" y="618172"/>
                  </a:lnTo>
                  <a:lnTo>
                    <a:pt x="37148" y="616268"/>
                  </a:lnTo>
                  <a:lnTo>
                    <a:pt x="31432" y="613410"/>
                  </a:lnTo>
                  <a:lnTo>
                    <a:pt x="22860" y="612457"/>
                  </a:lnTo>
                  <a:lnTo>
                    <a:pt x="20002" y="611505"/>
                  </a:lnTo>
                  <a:lnTo>
                    <a:pt x="18098" y="604838"/>
                  </a:lnTo>
                  <a:lnTo>
                    <a:pt x="18098" y="595313"/>
                  </a:lnTo>
                  <a:lnTo>
                    <a:pt x="20955" y="554355"/>
                  </a:lnTo>
                  <a:lnTo>
                    <a:pt x="20002" y="548640"/>
                  </a:lnTo>
                  <a:lnTo>
                    <a:pt x="19050" y="543878"/>
                  </a:lnTo>
                  <a:lnTo>
                    <a:pt x="17145" y="538163"/>
                  </a:lnTo>
                  <a:lnTo>
                    <a:pt x="16193" y="536257"/>
                  </a:lnTo>
                  <a:lnTo>
                    <a:pt x="10477" y="529590"/>
                  </a:lnTo>
                  <a:lnTo>
                    <a:pt x="8573" y="526732"/>
                  </a:lnTo>
                  <a:lnTo>
                    <a:pt x="6668" y="521970"/>
                  </a:lnTo>
                  <a:lnTo>
                    <a:pt x="7620" y="519113"/>
                  </a:lnTo>
                  <a:lnTo>
                    <a:pt x="8573" y="516255"/>
                  </a:lnTo>
                  <a:lnTo>
                    <a:pt x="15240" y="506730"/>
                  </a:lnTo>
                  <a:lnTo>
                    <a:pt x="19050" y="503872"/>
                  </a:lnTo>
                  <a:lnTo>
                    <a:pt x="27623" y="501968"/>
                  </a:lnTo>
                  <a:lnTo>
                    <a:pt x="30480" y="500063"/>
                  </a:lnTo>
                  <a:lnTo>
                    <a:pt x="33338" y="496253"/>
                  </a:lnTo>
                  <a:lnTo>
                    <a:pt x="36195" y="488632"/>
                  </a:lnTo>
                  <a:lnTo>
                    <a:pt x="38100" y="475297"/>
                  </a:lnTo>
                  <a:lnTo>
                    <a:pt x="40957" y="462915"/>
                  </a:lnTo>
                  <a:lnTo>
                    <a:pt x="42863" y="460058"/>
                  </a:lnTo>
                  <a:lnTo>
                    <a:pt x="44768" y="458153"/>
                  </a:lnTo>
                  <a:lnTo>
                    <a:pt x="56198" y="450533"/>
                  </a:lnTo>
                  <a:lnTo>
                    <a:pt x="58102" y="447675"/>
                  </a:lnTo>
                  <a:lnTo>
                    <a:pt x="60960" y="442913"/>
                  </a:lnTo>
                  <a:lnTo>
                    <a:pt x="61913" y="440055"/>
                  </a:lnTo>
                  <a:lnTo>
                    <a:pt x="60960" y="434340"/>
                  </a:lnTo>
                  <a:lnTo>
                    <a:pt x="55245" y="418147"/>
                  </a:lnTo>
                  <a:lnTo>
                    <a:pt x="55245" y="414338"/>
                  </a:lnTo>
                  <a:lnTo>
                    <a:pt x="60960" y="410528"/>
                  </a:lnTo>
                  <a:lnTo>
                    <a:pt x="60960" y="407670"/>
                  </a:lnTo>
                  <a:lnTo>
                    <a:pt x="60960" y="405765"/>
                  </a:lnTo>
                  <a:lnTo>
                    <a:pt x="56198" y="399097"/>
                  </a:lnTo>
                  <a:lnTo>
                    <a:pt x="55245" y="397192"/>
                  </a:lnTo>
                  <a:lnTo>
                    <a:pt x="51435" y="385763"/>
                  </a:lnTo>
                  <a:lnTo>
                    <a:pt x="51435" y="381000"/>
                  </a:lnTo>
                  <a:lnTo>
                    <a:pt x="52388" y="377190"/>
                  </a:lnTo>
                  <a:lnTo>
                    <a:pt x="54293" y="375285"/>
                  </a:lnTo>
                  <a:lnTo>
                    <a:pt x="59055" y="373380"/>
                  </a:lnTo>
                  <a:lnTo>
                    <a:pt x="60960" y="370522"/>
                  </a:lnTo>
                  <a:lnTo>
                    <a:pt x="63818" y="366713"/>
                  </a:lnTo>
                  <a:lnTo>
                    <a:pt x="68580" y="352425"/>
                  </a:lnTo>
                  <a:lnTo>
                    <a:pt x="70485" y="348615"/>
                  </a:lnTo>
                  <a:lnTo>
                    <a:pt x="76200" y="340995"/>
                  </a:lnTo>
                  <a:lnTo>
                    <a:pt x="80010" y="336233"/>
                  </a:lnTo>
                  <a:lnTo>
                    <a:pt x="80963" y="332422"/>
                  </a:lnTo>
                  <a:lnTo>
                    <a:pt x="80963" y="326708"/>
                  </a:lnTo>
                  <a:lnTo>
                    <a:pt x="80010" y="322897"/>
                  </a:lnTo>
                  <a:lnTo>
                    <a:pt x="80010" y="312420"/>
                  </a:lnTo>
                  <a:lnTo>
                    <a:pt x="80963" y="289560"/>
                  </a:lnTo>
                  <a:lnTo>
                    <a:pt x="80963" y="286703"/>
                  </a:lnTo>
                  <a:lnTo>
                    <a:pt x="80010" y="283845"/>
                  </a:lnTo>
                  <a:lnTo>
                    <a:pt x="76200" y="280035"/>
                  </a:lnTo>
                  <a:lnTo>
                    <a:pt x="74295" y="279083"/>
                  </a:lnTo>
                  <a:lnTo>
                    <a:pt x="71438" y="279083"/>
                  </a:lnTo>
                  <a:lnTo>
                    <a:pt x="68580" y="279083"/>
                  </a:lnTo>
                  <a:lnTo>
                    <a:pt x="54293" y="284797"/>
                  </a:lnTo>
                  <a:lnTo>
                    <a:pt x="52388" y="284797"/>
                  </a:lnTo>
                  <a:lnTo>
                    <a:pt x="49530" y="282892"/>
                  </a:lnTo>
                  <a:lnTo>
                    <a:pt x="48577" y="278130"/>
                  </a:lnTo>
                  <a:lnTo>
                    <a:pt x="48577" y="275272"/>
                  </a:lnTo>
                  <a:lnTo>
                    <a:pt x="49530" y="272415"/>
                  </a:lnTo>
                  <a:lnTo>
                    <a:pt x="56198" y="261938"/>
                  </a:lnTo>
                  <a:lnTo>
                    <a:pt x="61913" y="255270"/>
                  </a:lnTo>
                  <a:lnTo>
                    <a:pt x="63818" y="254317"/>
                  </a:lnTo>
                  <a:lnTo>
                    <a:pt x="66675" y="253365"/>
                  </a:lnTo>
                  <a:lnTo>
                    <a:pt x="79057" y="256222"/>
                  </a:lnTo>
                  <a:lnTo>
                    <a:pt x="82868" y="255270"/>
                  </a:lnTo>
                  <a:lnTo>
                    <a:pt x="87630" y="242888"/>
                  </a:lnTo>
                  <a:lnTo>
                    <a:pt x="89535" y="240983"/>
                  </a:lnTo>
                  <a:lnTo>
                    <a:pt x="92393" y="236220"/>
                  </a:lnTo>
                  <a:lnTo>
                    <a:pt x="100013" y="232410"/>
                  </a:lnTo>
                  <a:lnTo>
                    <a:pt x="101918" y="230505"/>
                  </a:lnTo>
                  <a:lnTo>
                    <a:pt x="103823" y="227647"/>
                  </a:lnTo>
                  <a:lnTo>
                    <a:pt x="104775" y="224790"/>
                  </a:lnTo>
                  <a:lnTo>
                    <a:pt x="103823" y="222885"/>
                  </a:lnTo>
                  <a:lnTo>
                    <a:pt x="80963" y="205740"/>
                  </a:lnTo>
                  <a:lnTo>
                    <a:pt x="79057" y="200978"/>
                  </a:lnTo>
                  <a:lnTo>
                    <a:pt x="80010" y="197167"/>
                  </a:lnTo>
                  <a:lnTo>
                    <a:pt x="82868" y="193358"/>
                  </a:lnTo>
                  <a:lnTo>
                    <a:pt x="92393" y="188595"/>
                  </a:lnTo>
                  <a:lnTo>
                    <a:pt x="102870" y="185738"/>
                  </a:lnTo>
                  <a:lnTo>
                    <a:pt x="114300" y="184785"/>
                  </a:lnTo>
                  <a:lnTo>
                    <a:pt x="117157" y="183833"/>
                  </a:lnTo>
                  <a:lnTo>
                    <a:pt x="120015" y="182880"/>
                  </a:lnTo>
                  <a:lnTo>
                    <a:pt x="122873" y="180022"/>
                  </a:lnTo>
                  <a:lnTo>
                    <a:pt x="122873" y="177165"/>
                  </a:lnTo>
                  <a:lnTo>
                    <a:pt x="121920" y="175260"/>
                  </a:lnTo>
                  <a:lnTo>
                    <a:pt x="111443" y="168592"/>
                  </a:lnTo>
                  <a:lnTo>
                    <a:pt x="107632" y="164783"/>
                  </a:lnTo>
                  <a:lnTo>
                    <a:pt x="103823" y="158115"/>
                  </a:lnTo>
                  <a:lnTo>
                    <a:pt x="95250" y="138113"/>
                  </a:lnTo>
                  <a:lnTo>
                    <a:pt x="93345" y="130492"/>
                  </a:lnTo>
                  <a:lnTo>
                    <a:pt x="92393" y="125730"/>
                  </a:lnTo>
                  <a:lnTo>
                    <a:pt x="115252" y="111442"/>
                  </a:lnTo>
                  <a:lnTo>
                    <a:pt x="121920" y="108585"/>
                  </a:lnTo>
                  <a:lnTo>
                    <a:pt x="127635" y="110490"/>
                  </a:lnTo>
                  <a:lnTo>
                    <a:pt x="137160" y="116205"/>
                  </a:lnTo>
                  <a:lnTo>
                    <a:pt x="142875" y="118110"/>
                  </a:lnTo>
                  <a:lnTo>
                    <a:pt x="167640" y="100013"/>
                  </a:lnTo>
                  <a:lnTo>
                    <a:pt x="170498" y="64770"/>
                  </a:lnTo>
                  <a:lnTo>
                    <a:pt x="166688" y="26670"/>
                  </a:lnTo>
                  <a:lnTo>
                    <a:pt x="172402" y="1905"/>
                  </a:lnTo>
                  <a:lnTo>
                    <a:pt x="180975" y="0"/>
                  </a:lnTo>
                  <a:lnTo>
                    <a:pt x="214313" y="2858"/>
                  </a:lnTo>
                  <a:lnTo>
                    <a:pt x="228600" y="0"/>
                  </a:lnTo>
                  <a:lnTo>
                    <a:pt x="238125" y="1905"/>
                  </a:lnTo>
                  <a:lnTo>
                    <a:pt x="245745" y="10478"/>
                  </a:lnTo>
                  <a:lnTo>
                    <a:pt x="261938" y="58103"/>
                  </a:lnTo>
                  <a:lnTo>
                    <a:pt x="268605" y="67628"/>
                  </a:lnTo>
                  <a:lnTo>
                    <a:pt x="279082" y="72390"/>
                  </a:lnTo>
                  <a:lnTo>
                    <a:pt x="301943" y="74295"/>
                  </a:lnTo>
                  <a:lnTo>
                    <a:pt x="311468" y="78105"/>
                  </a:lnTo>
                  <a:lnTo>
                    <a:pt x="323850" y="86678"/>
                  </a:lnTo>
                  <a:lnTo>
                    <a:pt x="342900" y="94297"/>
                  </a:lnTo>
                  <a:lnTo>
                    <a:pt x="381000" y="86678"/>
                  </a:lnTo>
                  <a:lnTo>
                    <a:pt x="406718" y="91440"/>
                  </a:lnTo>
                  <a:lnTo>
                    <a:pt x="412432" y="89535"/>
                  </a:lnTo>
                  <a:lnTo>
                    <a:pt x="417195" y="86678"/>
                  </a:lnTo>
                  <a:lnTo>
                    <a:pt x="429577" y="81915"/>
                  </a:lnTo>
                  <a:lnTo>
                    <a:pt x="430530" y="81915"/>
                  </a:lnTo>
                  <a:lnTo>
                    <a:pt x="435293" y="98108"/>
                  </a:lnTo>
                  <a:lnTo>
                    <a:pt x="436245" y="111442"/>
                  </a:lnTo>
                  <a:lnTo>
                    <a:pt x="439102" y="118110"/>
                  </a:lnTo>
                  <a:lnTo>
                    <a:pt x="442913" y="121920"/>
                  </a:lnTo>
                  <a:lnTo>
                    <a:pt x="474345" y="145733"/>
                  </a:lnTo>
                  <a:lnTo>
                    <a:pt x="529590" y="160972"/>
                  </a:lnTo>
                  <a:lnTo>
                    <a:pt x="547688" y="178117"/>
                  </a:lnTo>
                  <a:lnTo>
                    <a:pt x="561023" y="198120"/>
                  </a:lnTo>
                  <a:lnTo>
                    <a:pt x="574357" y="212408"/>
                  </a:lnTo>
                  <a:lnTo>
                    <a:pt x="624840" y="209550"/>
                  </a:lnTo>
                  <a:lnTo>
                    <a:pt x="633413" y="206692"/>
                  </a:lnTo>
                  <a:lnTo>
                    <a:pt x="643890" y="198120"/>
                  </a:lnTo>
                  <a:lnTo>
                    <a:pt x="660082" y="173355"/>
                  </a:lnTo>
                  <a:lnTo>
                    <a:pt x="669607" y="162878"/>
                  </a:lnTo>
                  <a:lnTo>
                    <a:pt x="689610" y="155258"/>
                  </a:lnTo>
                  <a:lnTo>
                    <a:pt x="703898" y="167640"/>
                  </a:lnTo>
                  <a:lnTo>
                    <a:pt x="733425" y="243840"/>
                  </a:lnTo>
                  <a:lnTo>
                    <a:pt x="744855" y="260985"/>
                  </a:lnTo>
                  <a:lnTo>
                    <a:pt x="761048" y="270510"/>
                  </a:lnTo>
                  <a:lnTo>
                    <a:pt x="780098" y="275272"/>
                  </a:lnTo>
                  <a:lnTo>
                    <a:pt x="801052" y="270510"/>
                  </a:lnTo>
                  <a:lnTo>
                    <a:pt x="822007" y="260985"/>
                  </a:lnTo>
                  <a:lnTo>
                    <a:pt x="842010" y="256222"/>
                  </a:lnTo>
                  <a:lnTo>
                    <a:pt x="861060" y="269558"/>
                  </a:lnTo>
                  <a:lnTo>
                    <a:pt x="870585" y="274320"/>
                  </a:lnTo>
                  <a:lnTo>
                    <a:pt x="902018" y="277178"/>
                  </a:lnTo>
                  <a:lnTo>
                    <a:pt x="908685" y="285750"/>
                  </a:lnTo>
                  <a:lnTo>
                    <a:pt x="914400" y="304800"/>
                  </a:lnTo>
                  <a:lnTo>
                    <a:pt x="922973" y="339090"/>
                  </a:lnTo>
                  <a:lnTo>
                    <a:pt x="936307" y="367665"/>
                  </a:lnTo>
                  <a:lnTo>
                    <a:pt x="952500" y="378142"/>
                  </a:lnTo>
                  <a:lnTo>
                    <a:pt x="970598" y="383858"/>
                  </a:lnTo>
                  <a:lnTo>
                    <a:pt x="992505" y="394335"/>
                  </a:lnTo>
                  <a:lnTo>
                    <a:pt x="1019175" y="420053"/>
                  </a:lnTo>
                  <a:lnTo>
                    <a:pt x="1030605" y="425767"/>
                  </a:lnTo>
                  <a:lnTo>
                    <a:pt x="1044893" y="425767"/>
                  </a:lnTo>
                  <a:lnTo>
                    <a:pt x="1061085" y="422910"/>
                  </a:lnTo>
                  <a:lnTo>
                    <a:pt x="1076325" y="416242"/>
                  </a:lnTo>
                  <a:lnTo>
                    <a:pt x="1089660" y="408622"/>
                  </a:lnTo>
                  <a:lnTo>
                    <a:pt x="1121093" y="376238"/>
                  </a:lnTo>
                  <a:lnTo>
                    <a:pt x="1134427" y="371475"/>
                  </a:lnTo>
                  <a:lnTo>
                    <a:pt x="1143952" y="372428"/>
                  </a:lnTo>
                  <a:lnTo>
                    <a:pt x="1196340" y="385763"/>
                  </a:lnTo>
                  <a:lnTo>
                    <a:pt x="1203960" y="394335"/>
                  </a:lnTo>
                  <a:lnTo>
                    <a:pt x="1201102" y="411480"/>
                  </a:lnTo>
                  <a:lnTo>
                    <a:pt x="1193482" y="422910"/>
                  </a:lnTo>
                  <a:lnTo>
                    <a:pt x="1173480" y="434340"/>
                  </a:lnTo>
                  <a:lnTo>
                    <a:pt x="1163955" y="443865"/>
                  </a:lnTo>
                  <a:lnTo>
                    <a:pt x="1153477" y="470535"/>
                  </a:lnTo>
                  <a:lnTo>
                    <a:pt x="1156335" y="496253"/>
                  </a:lnTo>
                  <a:lnTo>
                    <a:pt x="1167765" y="520065"/>
                  </a:lnTo>
                  <a:lnTo>
                    <a:pt x="1188720" y="552450"/>
                  </a:lnTo>
                  <a:lnTo>
                    <a:pt x="1213485" y="581978"/>
                  </a:lnTo>
                  <a:lnTo>
                    <a:pt x="1219200" y="594360"/>
                  </a:lnTo>
                  <a:lnTo>
                    <a:pt x="1218248" y="608647"/>
                  </a:lnTo>
                  <a:lnTo>
                    <a:pt x="1210627" y="636270"/>
                  </a:lnTo>
                  <a:lnTo>
                    <a:pt x="1209675" y="665797"/>
                  </a:lnTo>
                  <a:lnTo>
                    <a:pt x="1205865" y="673418"/>
                  </a:lnTo>
                  <a:lnTo>
                    <a:pt x="1193482" y="680085"/>
                  </a:lnTo>
                  <a:lnTo>
                    <a:pt x="1183005" y="688657"/>
                  </a:lnTo>
                  <a:lnTo>
                    <a:pt x="1165860" y="716280"/>
                  </a:lnTo>
                  <a:lnTo>
                    <a:pt x="1155382" y="727710"/>
                  </a:lnTo>
                  <a:lnTo>
                    <a:pt x="1123950" y="749618"/>
                  </a:lnTo>
                  <a:lnTo>
                    <a:pt x="1109663" y="763905"/>
                  </a:lnTo>
                  <a:lnTo>
                    <a:pt x="1098232" y="782955"/>
                  </a:lnTo>
                  <a:lnTo>
                    <a:pt x="1096327" y="794385"/>
                  </a:lnTo>
                  <a:lnTo>
                    <a:pt x="1094423" y="817245"/>
                  </a:lnTo>
                  <a:lnTo>
                    <a:pt x="1092518" y="825818"/>
                  </a:lnTo>
                  <a:lnTo>
                    <a:pt x="1085850" y="829628"/>
                  </a:lnTo>
                  <a:lnTo>
                    <a:pt x="1078230" y="830580"/>
                  </a:lnTo>
                  <a:lnTo>
                    <a:pt x="1062038" y="827722"/>
                  </a:lnTo>
                  <a:lnTo>
                    <a:pt x="1045845" y="827722"/>
                  </a:lnTo>
                  <a:lnTo>
                    <a:pt x="1002982" y="842963"/>
                  </a:lnTo>
                  <a:lnTo>
                    <a:pt x="976313" y="841057"/>
                  </a:lnTo>
                  <a:lnTo>
                    <a:pt x="966788" y="847725"/>
                  </a:lnTo>
                  <a:lnTo>
                    <a:pt x="962977" y="887730"/>
                  </a:lnTo>
                  <a:lnTo>
                    <a:pt x="970598" y="898207"/>
                  </a:lnTo>
                  <a:lnTo>
                    <a:pt x="981075" y="904875"/>
                  </a:lnTo>
                  <a:lnTo>
                    <a:pt x="990600" y="914400"/>
                  </a:lnTo>
                  <a:lnTo>
                    <a:pt x="997268" y="928688"/>
                  </a:lnTo>
                  <a:lnTo>
                    <a:pt x="1002030" y="940118"/>
                  </a:lnTo>
                  <a:lnTo>
                    <a:pt x="1007745" y="947738"/>
                  </a:lnTo>
                  <a:lnTo>
                    <a:pt x="1020127" y="953453"/>
                  </a:lnTo>
                  <a:lnTo>
                    <a:pt x="1062038" y="962978"/>
                  </a:lnTo>
                  <a:lnTo>
                    <a:pt x="1080135" y="960120"/>
                  </a:lnTo>
                  <a:lnTo>
                    <a:pt x="1086802" y="961072"/>
                  </a:lnTo>
                  <a:lnTo>
                    <a:pt x="1092518" y="965835"/>
                  </a:lnTo>
                  <a:lnTo>
                    <a:pt x="1102043" y="979170"/>
                  </a:lnTo>
                  <a:lnTo>
                    <a:pt x="1108710" y="982028"/>
                  </a:lnTo>
                  <a:lnTo>
                    <a:pt x="1120140" y="976313"/>
                  </a:lnTo>
                  <a:lnTo>
                    <a:pt x="1129665" y="963930"/>
                  </a:lnTo>
                  <a:lnTo>
                    <a:pt x="1140143" y="954405"/>
                  </a:lnTo>
                  <a:lnTo>
                    <a:pt x="1153477" y="955357"/>
                  </a:lnTo>
                  <a:lnTo>
                    <a:pt x="1163002" y="968693"/>
                  </a:lnTo>
                  <a:lnTo>
                    <a:pt x="1163002" y="984885"/>
                  </a:lnTo>
                  <a:lnTo>
                    <a:pt x="1155382" y="1000125"/>
                  </a:lnTo>
                  <a:lnTo>
                    <a:pt x="1145857" y="1013460"/>
                  </a:lnTo>
                  <a:lnTo>
                    <a:pt x="1122045" y="1032510"/>
                  </a:lnTo>
                  <a:lnTo>
                    <a:pt x="1101090" y="1035368"/>
                  </a:lnTo>
                  <a:lnTo>
                    <a:pt x="1042035" y="1011555"/>
                  </a:lnTo>
                  <a:lnTo>
                    <a:pt x="1030605" y="1012507"/>
                  </a:lnTo>
                  <a:lnTo>
                    <a:pt x="1019175" y="1018222"/>
                  </a:lnTo>
                  <a:lnTo>
                    <a:pt x="1007745" y="1029653"/>
                  </a:lnTo>
                  <a:lnTo>
                    <a:pt x="1003935" y="1039178"/>
                  </a:lnTo>
                  <a:lnTo>
                    <a:pt x="1000125" y="1047750"/>
                  </a:lnTo>
                  <a:lnTo>
                    <a:pt x="996315" y="1055370"/>
                  </a:lnTo>
                  <a:lnTo>
                    <a:pt x="982980" y="1060132"/>
                  </a:lnTo>
                  <a:lnTo>
                    <a:pt x="978218" y="1066800"/>
                  </a:lnTo>
                  <a:lnTo>
                    <a:pt x="945832" y="1174432"/>
                  </a:lnTo>
                  <a:lnTo>
                    <a:pt x="941070" y="1194435"/>
                  </a:lnTo>
                  <a:lnTo>
                    <a:pt x="961073" y="1193482"/>
                  </a:lnTo>
                  <a:lnTo>
                    <a:pt x="971550" y="1189673"/>
                  </a:lnTo>
                  <a:lnTo>
                    <a:pt x="1034415" y="1197293"/>
                  </a:lnTo>
                  <a:lnTo>
                    <a:pt x="1048702" y="1204913"/>
                  </a:lnTo>
                  <a:lnTo>
                    <a:pt x="1058227" y="1219200"/>
                  </a:lnTo>
                  <a:lnTo>
                    <a:pt x="1062990" y="1240155"/>
                  </a:lnTo>
                  <a:lnTo>
                    <a:pt x="1062990" y="1245870"/>
                  </a:lnTo>
                  <a:lnTo>
                    <a:pt x="1065848" y="1256348"/>
                  </a:lnTo>
                  <a:lnTo>
                    <a:pt x="1063943" y="1263015"/>
                  </a:lnTo>
                  <a:lnTo>
                    <a:pt x="1059180" y="1263968"/>
                  </a:lnTo>
                  <a:lnTo>
                    <a:pt x="1054418" y="1263968"/>
                  </a:lnTo>
                  <a:lnTo>
                    <a:pt x="1051560" y="1264920"/>
                  </a:lnTo>
                  <a:lnTo>
                    <a:pt x="1053465" y="1277303"/>
                  </a:lnTo>
                  <a:lnTo>
                    <a:pt x="1058227" y="1283018"/>
                  </a:lnTo>
                  <a:lnTo>
                    <a:pt x="1063943" y="1287780"/>
                  </a:lnTo>
                  <a:lnTo>
                    <a:pt x="1080135" y="1323975"/>
                  </a:lnTo>
                  <a:lnTo>
                    <a:pt x="1085850" y="1344930"/>
                  </a:lnTo>
                  <a:lnTo>
                    <a:pt x="1089660" y="1355407"/>
                  </a:lnTo>
                  <a:lnTo>
                    <a:pt x="1095375" y="1362075"/>
                  </a:lnTo>
                  <a:lnTo>
                    <a:pt x="1082993" y="1374457"/>
                  </a:lnTo>
                  <a:lnTo>
                    <a:pt x="1074420" y="1385888"/>
                  </a:lnTo>
                  <a:lnTo>
                    <a:pt x="1038225" y="1416368"/>
                  </a:lnTo>
                  <a:lnTo>
                    <a:pt x="1074420" y="1439228"/>
                  </a:lnTo>
                  <a:lnTo>
                    <a:pt x="1084898" y="1438275"/>
                  </a:lnTo>
                  <a:lnTo>
                    <a:pt x="1112520" y="1427798"/>
                  </a:lnTo>
                  <a:lnTo>
                    <a:pt x="1123950" y="1430655"/>
                  </a:lnTo>
                  <a:lnTo>
                    <a:pt x="1131570" y="1443990"/>
                  </a:lnTo>
                  <a:lnTo>
                    <a:pt x="1130618" y="1459230"/>
                  </a:lnTo>
                  <a:lnTo>
                    <a:pt x="1122998" y="1473518"/>
                  </a:lnTo>
                  <a:lnTo>
                    <a:pt x="1114425" y="1484948"/>
                  </a:lnTo>
                  <a:lnTo>
                    <a:pt x="1088707" y="1503998"/>
                  </a:lnTo>
                  <a:lnTo>
                    <a:pt x="1079182" y="1515428"/>
                  </a:lnTo>
                  <a:lnTo>
                    <a:pt x="1052513" y="1565910"/>
                  </a:lnTo>
                  <a:lnTo>
                    <a:pt x="1045845" y="1581150"/>
                  </a:lnTo>
                  <a:lnTo>
                    <a:pt x="1044893" y="1599248"/>
                  </a:lnTo>
                  <a:lnTo>
                    <a:pt x="1052513" y="1624013"/>
                  </a:lnTo>
                  <a:lnTo>
                    <a:pt x="1052513" y="1631632"/>
                  </a:lnTo>
                  <a:lnTo>
                    <a:pt x="1050607" y="1632585"/>
                  </a:lnTo>
                  <a:lnTo>
                    <a:pt x="1047750" y="1631632"/>
                  </a:lnTo>
                  <a:lnTo>
                    <a:pt x="1018223" y="1637348"/>
                  </a:lnTo>
                  <a:lnTo>
                    <a:pt x="1012507" y="1641157"/>
                  </a:lnTo>
                  <a:lnTo>
                    <a:pt x="1008698" y="1647825"/>
                  </a:lnTo>
                  <a:lnTo>
                    <a:pt x="1009650" y="1652588"/>
                  </a:lnTo>
                  <a:lnTo>
                    <a:pt x="1013460" y="1656398"/>
                  </a:lnTo>
                  <a:lnTo>
                    <a:pt x="1019175" y="1665923"/>
                  </a:lnTo>
                  <a:lnTo>
                    <a:pt x="1026795" y="1683068"/>
                  </a:lnTo>
                  <a:lnTo>
                    <a:pt x="1027748" y="1690688"/>
                  </a:lnTo>
                  <a:lnTo>
                    <a:pt x="1026795" y="1703070"/>
                  </a:lnTo>
                  <a:lnTo>
                    <a:pt x="1024890" y="1708785"/>
                  </a:lnTo>
                  <a:lnTo>
                    <a:pt x="1019175" y="1721168"/>
                  </a:lnTo>
                  <a:lnTo>
                    <a:pt x="1017270" y="1727835"/>
                  </a:lnTo>
                  <a:lnTo>
                    <a:pt x="1018223" y="1733550"/>
                  </a:lnTo>
                  <a:lnTo>
                    <a:pt x="1020127" y="1744028"/>
                  </a:lnTo>
                  <a:lnTo>
                    <a:pt x="1020127" y="1749743"/>
                  </a:lnTo>
                  <a:lnTo>
                    <a:pt x="1016318" y="1771650"/>
                  </a:lnTo>
                  <a:lnTo>
                    <a:pt x="1007745" y="1791653"/>
                  </a:lnTo>
                  <a:lnTo>
                    <a:pt x="994410" y="1804988"/>
                  </a:lnTo>
                  <a:lnTo>
                    <a:pt x="977265" y="1808798"/>
                  </a:lnTo>
                  <a:lnTo>
                    <a:pt x="924877" y="1794510"/>
                  </a:lnTo>
                  <a:lnTo>
                    <a:pt x="908685" y="1793557"/>
                  </a:lnTo>
                  <a:lnTo>
                    <a:pt x="876300" y="1799273"/>
                  </a:lnTo>
                  <a:lnTo>
                    <a:pt x="861060" y="1797368"/>
                  </a:lnTo>
                  <a:lnTo>
                    <a:pt x="848677" y="1792605"/>
                  </a:lnTo>
                  <a:lnTo>
                    <a:pt x="825818" y="1799273"/>
                  </a:lnTo>
                  <a:lnTo>
                    <a:pt x="814388" y="1799273"/>
                  </a:lnTo>
                  <a:lnTo>
                    <a:pt x="804863" y="1795463"/>
                  </a:lnTo>
                  <a:lnTo>
                    <a:pt x="786765" y="1783080"/>
                  </a:lnTo>
                  <a:lnTo>
                    <a:pt x="776288" y="1781175"/>
                  </a:lnTo>
                  <a:lnTo>
                    <a:pt x="699135" y="1788795"/>
                  </a:lnTo>
                  <a:lnTo>
                    <a:pt x="678180" y="1794510"/>
                  </a:lnTo>
                  <a:lnTo>
                    <a:pt x="667702" y="1795463"/>
                  </a:lnTo>
                  <a:lnTo>
                    <a:pt x="657225" y="1792605"/>
                  </a:lnTo>
                  <a:lnTo>
                    <a:pt x="628650" y="1772603"/>
                  </a:lnTo>
                  <a:lnTo>
                    <a:pt x="626745" y="177260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5" name="Полилиния: фигура 25">
              <a:extLst>
                <a:ext uri="{FF2B5EF4-FFF2-40B4-BE49-F238E27FC236}">
                  <a16:creationId xmlns:a16="http://schemas.microsoft.com/office/drawing/2014/main" id="{4F21B3DF-3CF6-C09B-E845-EA198FD9CDD4}"/>
                </a:ext>
              </a:extLst>
            </p:cNvPr>
            <p:cNvSpPr/>
            <p:nvPr/>
          </p:nvSpPr>
          <p:spPr>
            <a:xfrm>
              <a:off x="6582727" y="1790700"/>
              <a:ext cx="1790700" cy="1466850"/>
            </a:xfrm>
            <a:custGeom>
              <a:avLst/>
              <a:gdLst>
                <a:gd name="connsiteX0" fmla="*/ 1497330 w 1790700"/>
                <a:gd name="connsiteY0" fmla="*/ 331470 h 1466850"/>
                <a:gd name="connsiteX1" fmla="*/ 1502093 w 1790700"/>
                <a:gd name="connsiteY1" fmla="*/ 342900 h 1466850"/>
                <a:gd name="connsiteX2" fmla="*/ 1502093 w 1790700"/>
                <a:gd name="connsiteY2" fmla="*/ 387667 h 1466850"/>
                <a:gd name="connsiteX3" fmla="*/ 1501140 w 1790700"/>
                <a:gd name="connsiteY3" fmla="*/ 399097 h 1466850"/>
                <a:gd name="connsiteX4" fmla="*/ 1500188 w 1790700"/>
                <a:gd name="connsiteY4" fmla="*/ 405765 h 1466850"/>
                <a:gd name="connsiteX5" fmla="*/ 1496378 w 1790700"/>
                <a:gd name="connsiteY5" fmla="*/ 410528 h 1466850"/>
                <a:gd name="connsiteX6" fmla="*/ 1472565 w 1790700"/>
                <a:gd name="connsiteY6" fmla="*/ 433388 h 1466850"/>
                <a:gd name="connsiteX7" fmla="*/ 1467803 w 1790700"/>
                <a:gd name="connsiteY7" fmla="*/ 441008 h 1466850"/>
                <a:gd name="connsiteX8" fmla="*/ 1462088 w 1790700"/>
                <a:gd name="connsiteY8" fmla="*/ 449580 h 1466850"/>
                <a:gd name="connsiteX9" fmla="*/ 1462088 w 1790700"/>
                <a:gd name="connsiteY9" fmla="*/ 451485 h 1466850"/>
                <a:gd name="connsiteX10" fmla="*/ 1469708 w 1790700"/>
                <a:gd name="connsiteY10" fmla="*/ 473392 h 1466850"/>
                <a:gd name="connsiteX11" fmla="*/ 1470660 w 1790700"/>
                <a:gd name="connsiteY11" fmla="*/ 476250 h 1466850"/>
                <a:gd name="connsiteX12" fmla="*/ 1473518 w 1790700"/>
                <a:gd name="connsiteY12" fmla="*/ 499110 h 1466850"/>
                <a:gd name="connsiteX13" fmla="*/ 1476375 w 1790700"/>
                <a:gd name="connsiteY13" fmla="*/ 503872 h 1466850"/>
                <a:gd name="connsiteX14" fmla="*/ 1479233 w 1790700"/>
                <a:gd name="connsiteY14" fmla="*/ 506730 h 1466850"/>
                <a:gd name="connsiteX15" fmla="*/ 1481138 w 1790700"/>
                <a:gd name="connsiteY15" fmla="*/ 508635 h 1466850"/>
                <a:gd name="connsiteX16" fmla="*/ 1486853 w 1790700"/>
                <a:gd name="connsiteY16" fmla="*/ 519113 h 1466850"/>
                <a:gd name="connsiteX17" fmla="*/ 1488758 w 1790700"/>
                <a:gd name="connsiteY17" fmla="*/ 521970 h 1466850"/>
                <a:gd name="connsiteX18" fmla="*/ 1491615 w 1790700"/>
                <a:gd name="connsiteY18" fmla="*/ 522922 h 1466850"/>
                <a:gd name="connsiteX19" fmla="*/ 1502093 w 1790700"/>
                <a:gd name="connsiteY19" fmla="*/ 525780 h 1466850"/>
                <a:gd name="connsiteX20" fmla="*/ 1506855 w 1790700"/>
                <a:gd name="connsiteY20" fmla="*/ 529590 h 1466850"/>
                <a:gd name="connsiteX21" fmla="*/ 1511618 w 1790700"/>
                <a:gd name="connsiteY21" fmla="*/ 535305 h 1466850"/>
                <a:gd name="connsiteX22" fmla="*/ 1515428 w 1790700"/>
                <a:gd name="connsiteY22" fmla="*/ 539115 h 1466850"/>
                <a:gd name="connsiteX23" fmla="*/ 1521143 w 1790700"/>
                <a:gd name="connsiteY23" fmla="*/ 541972 h 1466850"/>
                <a:gd name="connsiteX24" fmla="*/ 1527810 w 1790700"/>
                <a:gd name="connsiteY24" fmla="*/ 542925 h 1466850"/>
                <a:gd name="connsiteX25" fmla="*/ 1549718 w 1790700"/>
                <a:gd name="connsiteY25" fmla="*/ 542925 h 1466850"/>
                <a:gd name="connsiteX26" fmla="*/ 1553528 w 1790700"/>
                <a:gd name="connsiteY26" fmla="*/ 544830 h 1466850"/>
                <a:gd name="connsiteX27" fmla="*/ 1557338 w 1790700"/>
                <a:gd name="connsiteY27" fmla="*/ 546735 h 1466850"/>
                <a:gd name="connsiteX28" fmla="*/ 1564005 w 1790700"/>
                <a:gd name="connsiteY28" fmla="*/ 557213 h 1466850"/>
                <a:gd name="connsiteX29" fmla="*/ 1566863 w 1790700"/>
                <a:gd name="connsiteY29" fmla="*/ 560070 h 1466850"/>
                <a:gd name="connsiteX30" fmla="*/ 1600200 w 1790700"/>
                <a:gd name="connsiteY30" fmla="*/ 576263 h 1466850"/>
                <a:gd name="connsiteX31" fmla="*/ 1605915 w 1790700"/>
                <a:gd name="connsiteY31" fmla="*/ 577215 h 1466850"/>
                <a:gd name="connsiteX32" fmla="*/ 1611630 w 1790700"/>
                <a:gd name="connsiteY32" fmla="*/ 576263 h 1466850"/>
                <a:gd name="connsiteX33" fmla="*/ 1618298 w 1790700"/>
                <a:gd name="connsiteY33" fmla="*/ 571500 h 1466850"/>
                <a:gd name="connsiteX34" fmla="*/ 1624013 w 1790700"/>
                <a:gd name="connsiteY34" fmla="*/ 569595 h 1466850"/>
                <a:gd name="connsiteX35" fmla="*/ 1626871 w 1790700"/>
                <a:gd name="connsiteY35" fmla="*/ 570547 h 1466850"/>
                <a:gd name="connsiteX36" fmla="*/ 1629728 w 1790700"/>
                <a:gd name="connsiteY36" fmla="*/ 571500 h 1466850"/>
                <a:gd name="connsiteX37" fmla="*/ 1633538 w 1790700"/>
                <a:gd name="connsiteY37" fmla="*/ 573405 h 1466850"/>
                <a:gd name="connsiteX38" fmla="*/ 1642110 w 1790700"/>
                <a:gd name="connsiteY38" fmla="*/ 581978 h 1466850"/>
                <a:gd name="connsiteX39" fmla="*/ 1645921 w 1790700"/>
                <a:gd name="connsiteY39" fmla="*/ 588645 h 1466850"/>
                <a:gd name="connsiteX40" fmla="*/ 1646873 w 1790700"/>
                <a:gd name="connsiteY40" fmla="*/ 594360 h 1466850"/>
                <a:gd name="connsiteX41" fmla="*/ 1647825 w 1790700"/>
                <a:gd name="connsiteY41" fmla="*/ 601028 h 1466850"/>
                <a:gd name="connsiteX42" fmla="*/ 1645921 w 1790700"/>
                <a:gd name="connsiteY42" fmla="*/ 623888 h 1466850"/>
                <a:gd name="connsiteX43" fmla="*/ 1645921 w 1790700"/>
                <a:gd name="connsiteY43" fmla="*/ 636270 h 1466850"/>
                <a:gd name="connsiteX44" fmla="*/ 1646873 w 1790700"/>
                <a:gd name="connsiteY44" fmla="*/ 640080 h 1466850"/>
                <a:gd name="connsiteX45" fmla="*/ 1649730 w 1790700"/>
                <a:gd name="connsiteY45" fmla="*/ 653415 h 1466850"/>
                <a:gd name="connsiteX46" fmla="*/ 1652588 w 1790700"/>
                <a:gd name="connsiteY46" fmla="*/ 658178 h 1466850"/>
                <a:gd name="connsiteX47" fmla="*/ 1654493 w 1790700"/>
                <a:gd name="connsiteY47" fmla="*/ 661988 h 1466850"/>
                <a:gd name="connsiteX48" fmla="*/ 1656398 w 1790700"/>
                <a:gd name="connsiteY48" fmla="*/ 663893 h 1466850"/>
                <a:gd name="connsiteX49" fmla="*/ 1666875 w 1790700"/>
                <a:gd name="connsiteY49" fmla="*/ 671513 h 1466850"/>
                <a:gd name="connsiteX50" fmla="*/ 1668780 w 1790700"/>
                <a:gd name="connsiteY50" fmla="*/ 674370 h 1466850"/>
                <a:gd name="connsiteX51" fmla="*/ 1669733 w 1790700"/>
                <a:gd name="connsiteY51" fmla="*/ 677228 h 1466850"/>
                <a:gd name="connsiteX52" fmla="*/ 1670685 w 1790700"/>
                <a:gd name="connsiteY52" fmla="*/ 687705 h 1466850"/>
                <a:gd name="connsiteX53" fmla="*/ 1671638 w 1790700"/>
                <a:gd name="connsiteY53" fmla="*/ 693420 h 1466850"/>
                <a:gd name="connsiteX54" fmla="*/ 1673543 w 1790700"/>
                <a:gd name="connsiteY54" fmla="*/ 696278 h 1466850"/>
                <a:gd name="connsiteX55" fmla="*/ 1677353 w 1790700"/>
                <a:gd name="connsiteY55" fmla="*/ 697230 h 1466850"/>
                <a:gd name="connsiteX56" fmla="*/ 1691640 w 1790700"/>
                <a:gd name="connsiteY56" fmla="*/ 700088 h 1466850"/>
                <a:gd name="connsiteX57" fmla="*/ 1693546 w 1790700"/>
                <a:gd name="connsiteY57" fmla="*/ 702945 h 1466850"/>
                <a:gd name="connsiteX58" fmla="*/ 1694498 w 1790700"/>
                <a:gd name="connsiteY58" fmla="*/ 705803 h 1466850"/>
                <a:gd name="connsiteX59" fmla="*/ 1694498 w 1790700"/>
                <a:gd name="connsiteY59" fmla="*/ 709613 h 1466850"/>
                <a:gd name="connsiteX60" fmla="*/ 1696403 w 1790700"/>
                <a:gd name="connsiteY60" fmla="*/ 712470 h 1466850"/>
                <a:gd name="connsiteX61" fmla="*/ 1699260 w 1790700"/>
                <a:gd name="connsiteY61" fmla="*/ 713422 h 1466850"/>
                <a:gd name="connsiteX62" fmla="*/ 1725930 w 1790700"/>
                <a:gd name="connsiteY62" fmla="*/ 721995 h 1466850"/>
                <a:gd name="connsiteX63" fmla="*/ 1732598 w 1790700"/>
                <a:gd name="connsiteY63" fmla="*/ 722947 h 1466850"/>
                <a:gd name="connsiteX64" fmla="*/ 1735455 w 1790700"/>
                <a:gd name="connsiteY64" fmla="*/ 722947 h 1466850"/>
                <a:gd name="connsiteX65" fmla="*/ 1737360 w 1790700"/>
                <a:gd name="connsiteY65" fmla="*/ 721043 h 1466850"/>
                <a:gd name="connsiteX66" fmla="*/ 1738313 w 1790700"/>
                <a:gd name="connsiteY66" fmla="*/ 718185 h 1466850"/>
                <a:gd name="connsiteX67" fmla="*/ 1740218 w 1790700"/>
                <a:gd name="connsiteY67" fmla="*/ 711518 h 1466850"/>
                <a:gd name="connsiteX68" fmla="*/ 1742123 w 1790700"/>
                <a:gd name="connsiteY68" fmla="*/ 709613 h 1466850"/>
                <a:gd name="connsiteX69" fmla="*/ 1744028 w 1790700"/>
                <a:gd name="connsiteY69" fmla="*/ 707708 h 1466850"/>
                <a:gd name="connsiteX70" fmla="*/ 1746885 w 1790700"/>
                <a:gd name="connsiteY70" fmla="*/ 706755 h 1466850"/>
                <a:gd name="connsiteX71" fmla="*/ 1763078 w 1790700"/>
                <a:gd name="connsiteY71" fmla="*/ 706755 h 1466850"/>
                <a:gd name="connsiteX72" fmla="*/ 1766888 w 1790700"/>
                <a:gd name="connsiteY72" fmla="*/ 707708 h 1466850"/>
                <a:gd name="connsiteX73" fmla="*/ 1768793 w 1790700"/>
                <a:gd name="connsiteY73" fmla="*/ 710565 h 1466850"/>
                <a:gd name="connsiteX74" fmla="*/ 1769746 w 1790700"/>
                <a:gd name="connsiteY74" fmla="*/ 712470 h 1466850"/>
                <a:gd name="connsiteX75" fmla="*/ 1771650 w 1790700"/>
                <a:gd name="connsiteY75" fmla="*/ 723900 h 1466850"/>
                <a:gd name="connsiteX76" fmla="*/ 1771650 w 1790700"/>
                <a:gd name="connsiteY76" fmla="*/ 726758 h 1466850"/>
                <a:gd name="connsiteX77" fmla="*/ 1769746 w 1790700"/>
                <a:gd name="connsiteY77" fmla="*/ 727710 h 1466850"/>
                <a:gd name="connsiteX78" fmla="*/ 1764983 w 1790700"/>
                <a:gd name="connsiteY78" fmla="*/ 730568 h 1466850"/>
                <a:gd name="connsiteX79" fmla="*/ 1764030 w 1790700"/>
                <a:gd name="connsiteY79" fmla="*/ 732472 h 1466850"/>
                <a:gd name="connsiteX80" fmla="*/ 1763078 w 1790700"/>
                <a:gd name="connsiteY80" fmla="*/ 737235 h 1466850"/>
                <a:gd name="connsiteX81" fmla="*/ 1764983 w 1790700"/>
                <a:gd name="connsiteY81" fmla="*/ 742950 h 1466850"/>
                <a:gd name="connsiteX82" fmla="*/ 1766888 w 1790700"/>
                <a:gd name="connsiteY82" fmla="*/ 747713 h 1466850"/>
                <a:gd name="connsiteX83" fmla="*/ 1790700 w 1790700"/>
                <a:gd name="connsiteY83" fmla="*/ 792480 h 1466850"/>
                <a:gd name="connsiteX84" fmla="*/ 1794510 w 1790700"/>
                <a:gd name="connsiteY84" fmla="*/ 803910 h 1466850"/>
                <a:gd name="connsiteX85" fmla="*/ 1796415 w 1790700"/>
                <a:gd name="connsiteY85" fmla="*/ 810578 h 1466850"/>
                <a:gd name="connsiteX86" fmla="*/ 1791653 w 1790700"/>
                <a:gd name="connsiteY86" fmla="*/ 813435 h 1466850"/>
                <a:gd name="connsiteX87" fmla="*/ 1780223 w 1790700"/>
                <a:gd name="connsiteY87" fmla="*/ 815340 h 1466850"/>
                <a:gd name="connsiteX88" fmla="*/ 1755458 w 1790700"/>
                <a:gd name="connsiteY88" fmla="*/ 815340 h 1466850"/>
                <a:gd name="connsiteX89" fmla="*/ 1752600 w 1790700"/>
                <a:gd name="connsiteY89" fmla="*/ 816293 h 1466850"/>
                <a:gd name="connsiteX90" fmla="*/ 1751648 w 1790700"/>
                <a:gd name="connsiteY90" fmla="*/ 818197 h 1466850"/>
                <a:gd name="connsiteX91" fmla="*/ 1752600 w 1790700"/>
                <a:gd name="connsiteY91" fmla="*/ 823913 h 1466850"/>
                <a:gd name="connsiteX92" fmla="*/ 1754505 w 1790700"/>
                <a:gd name="connsiteY92" fmla="*/ 826770 h 1466850"/>
                <a:gd name="connsiteX93" fmla="*/ 1764983 w 1790700"/>
                <a:gd name="connsiteY93" fmla="*/ 832485 h 1466850"/>
                <a:gd name="connsiteX94" fmla="*/ 1773555 w 1790700"/>
                <a:gd name="connsiteY94" fmla="*/ 842010 h 1466850"/>
                <a:gd name="connsiteX95" fmla="*/ 1784985 w 1790700"/>
                <a:gd name="connsiteY95" fmla="*/ 848678 h 1466850"/>
                <a:gd name="connsiteX96" fmla="*/ 1790700 w 1790700"/>
                <a:gd name="connsiteY96" fmla="*/ 854393 h 1466850"/>
                <a:gd name="connsiteX97" fmla="*/ 1792605 w 1790700"/>
                <a:gd name="connsiteY97" fmla="*/ 859155 h 1466850"/>
                <a:gd name="connsiteX98" fmla="*/ 1791653 w 1790700"/>
                <a:gd name="connsiteY98" fmla="*/ 862965 h 1466850"/>
                <a:gd name="connsiteX99" fmla="*/ 1790700 w 1790700"/>
                <a:gd name="connsiteY99" fmla="*/ 863918 h 1466850"/>
                <a:gd name="connsiteX100" fmla="*/ 1787843 w 1790700"/>
                <a:gd name="connsiteY100" fmla="*/ 864870 h 1466850"/>
                <a:gd name="connsiteX101" fmla="*/ 1779271 w 1790700"/>
                <a:gd name="connsiteY101" fmla="*/ 865822 h 1466850"/>
                <a:gd name="connsiteX102" fmla="*/ 1776413 w 1790700"/>
                <a:gd name="connsiteY102" fmla="*/ 866775 h 1466850"/>
                <a:gd name="connsiteX103" fmla="*/ 1774508 w 1790700"/>
                <a:gd name="connsiteY103" fmla="*/ 868680 h 1466850"/>
                <a:gd name="connsiteX104" fmla="*/ 1771650 w 1790700"/>
                <a:gd name="connsiteY104" fmla="*/ 873443 h 1466850"/>
                <a:gd name="connsiteX105" fmla="*/ 1769746 w 1790700"/>
                <a:gd name="connsiteY105" fmla="*/ 875347 h 1466850"/>
                <a:gd name="connsiteX106" fmla="*/ 1766888 w 1790700"/>
                <a:gd name="connsiteY106" fmla="*/ 875347 h 1466850"/>
                <a:gd name="connsiteX107" fmla="*/ 1736408 w 1790700"/>
                <a:gd name="connsiteY107" fmla="*/ 867728 h 1466850"/>
                <a:gd name="connsiteX108" fmla="*/ 1733550 w 1790700"/>
                <a:gd name="connsiteY108" fmla="*/ 866775 h 1466850"/>
                <a:gd name="connsiteX109" fmla="*/ 1730693 w 1790700"/>
                <a:gd name="connsiteY109" fmla="*/ 867728 h 1466850"/>
                <a:gd name="connsiteX110" fmla="*/ 1725930 w 1790700"/>
                <a:gd name="connsiteY110" fmla="*/ 869633 h 1466850"/>
                <a:gd name="connsiteX111" fmla="*/ 1717358 w 1790700"/>
                <a:gd name="connsiteY111" fmla="*/ 871538 h 1466850"/>
                <a:gd name="connsiteX112" fmla="*/ 1715453 w 1790700"/>
                <a:gd name="connsiteY112" fmla="*/ 873443 h 1466850"/>
                <a:gd name="connsiteX113" fmla="*/ 1714500 w 1790700"/>
                <a:gd name="connsiteY113" fmla="*/ 875347 h 1466850"/>
                <a:gd name="connsiteX114" fmla="*/ 1711643 w 1790700"/>
                <a:gd name="connsiteY114" fmla="*/ 882015 h 1466850"/>
                <a:gd name="connsiteX115" fmla="*/ 1710690 w 1790700"/>
                <a:gd name="connsiteY115" fmla="*/ 885825 h 1466850"/>
                <a:gd name="connsiteX116" fmla="*/ 1710690 w 1790700"/>
                <a:gd name="connsiteY116" fmla="*/ 891540 h 1466850"/>
                <a:gd name="connsiteX117" fmla="*/ 1712596 w 1790700"/>
                <a:gd name="connsiteY117" fmla="*/ 896303 h 1466850"/>
                <a:gd name="connsiteX118" fmla="*/ 1716405 w 1790700"/>
                <a:gd name="connsiteY118" fmla="*/ 903922 h 1466850"/>
                <a:gd name="connsiteX119" fmla="*/ 1717358 w 1790700"/>
                <a:gd name="connsiteY119" fmla="*/ 909638 h 1466850"/>
                <a:gd name="connsiteX120" fmla="*/ 1720215 w 1790700"/>
                <a:gd name="connsiteY120" fmla="*/ 912495 h 1466850"/>
                <a:gd name="connsiteX121" fmla="*/ 1726883 w 1790700"/>
                <a:gd name="connsiteY121" fmla="*/ 916305 h 1466850"/>
                <a:gd name="connsiteX122" fmla="*/ 1730693 w 1790700"/>
                <a:gd name="connsiteY122" fmla="*/ 919163 h 1466850"/>
                <a:gd name="connsiteX123" fmla="*/ 1731646 w 1790700"/>
                <a:gd name="connsiteY123" fmla="*/ 922020 h 1466850"/>
                <a:gd name="connsiteX124" fmla="*/ 1731646 w 1790700"/>
                <a:gd name="connsiteY124" fmla="*/ 924878 h 1466850"/>
                <a:gd name="connsiteX125" fmla="*/ 1729740 w 1790700"/>
                <a:gd name="connsiteY125" fmla="*/ 928688 h 1466850"/>
                <a:gd name="connsiteX126" fmla="*/ 1729740 w 1790700"/>
                <a:gd name="connsiteY126" fmla="*/ 932497 h 1466850"/>
                <a:gd name="connsiteX127" fmla="*/ 1735455 w 1790700"/>
                <a:gd name="connsiteY127" fmla="*/ 940118 h 1466850"/>
                <a:gd name="connsiteX128" fmla="*/ 1736408 w 1790700"/>
                <a:gd name="connsiteY128" fmla="*/ 943928 h 1466850"/>
                <a:gd name="connsiteX129" fmla="*/ 1735455 w 1790700"/>
                <a:gd name="connsiteY129" fmla="*/ 947738 h 1466850"/>
                <a:gd name="connsiteX130" fmla="*/ 1722121 w 1790700"/>
                <a:gd name="connsiteY130" fmla="*/ 965835 h 1466850"/>
                <a:gd name="connsiteX131" fmla="*/ 1708785 w 1790700"/>
                <a:gd name="connsiteY131" fmla="*/ 987743 h 1466850"/>
                <a:gd name="connsiteX132" fmla="*/ 1692593 w 1790700"/>
                <a:gd name="connsiteY132" fmla="*/ 1005840 h 1466850"/>
                <a:gd name="connsiteX133" fmla="*/ 1684021 w 1790700"/>
                <a:gd name="connsiteY133" fmla="*/ 1012507 h 1466850"/>
                <a:gd name="connsiteX134" fmla="*/ 1656398 w 1790700"/>
                <a:gd name="connsiteY134" fmla="*/ 1026795 h 1466850"/>
                <a:gd name="connsiteX135" fmla="*/ 1644968 w 1790700"/>
                <a:gd name="connsiteY135" fmla="*/ 1028700 h 1466850"/>
                <a:gd name="connsiteX136" fmla="*/ 1593533 w 1790700"/>
                <a:gd name="connsiteY136" fmla="*/ 1023938 h 1466850"/>
                <a:gd name="connsiteX137" fmla="*/ 1589723 w 1790700"/>
                <a:gd name="connsiteY137" fmla="*/ 1022985 h 1466850"/>
                <a:gd name="connsiteX138" fmla="*/ 1584008 w 1790700"/>
                <a:gd name="connsiteY138" fmla="*/ 1020128 h 1466850"/>
                <a:gd name="connsiteX139" fmla="*/ 1578293 w 1790700"/>
                <a:gd name="connsiteY139" fmla="*/ 1015365 h 1466850"/>
                <a:gd name="connsiteX140" fmla="*/ 1573530 w 1790700"/>
                <a:gd name="connsiteY140" fmla="*/ 1008697 h 1466850"/>
                <a:gd name="connsiteX141" fmla="*/ 1568768 w 1790700"/>
                <a:gd name="connsiteY141" fmla="*/ 1005840 h 1466850"/>
                <a:gd name="connsiteX142" fmla="*/ 1565910 w 1790700"/>
                <a:gd name="connsiteY142" fmla="*/ 1004888 h 1466850"/>
                <a:gd name="connsiteX143" fmla="*/ 1563053 w 1790700"/>
                <a:gd name="connsiteY143" fmla="*/ 1005840 h 1466850"/>
                <a:gd name="connsiteX144" fmla="*/ 1558290 w 1790700"/>
                <a:gd name="connsiteY144" fmla="*/ 1007745 h 1466850"/>
                <a:gd name="connsiteX145" fmla="*/ 1531621 w 1790700"/>
                <a:gd name="connsiteY145" fmla="*/ 1037272 h 1466850"/>
                <a:gd name="connsiteX146" fmla="*/ 1526858 w 1790700"/>
                <a:gd name="connsiteY146" fmla="*/ 1044893 h 1466850"/>
                <a:gd name="connsiteX147" fmla="*/ 1523048 w 1790700"/>
                <a:gd name="connsiteY147" fmla="*/ 1052513 h 1466850"/>
                <a:gd name="connsiteX148" fmla="*/ 1521143 w 1790700"/>
                <a:gd name="connsiteY148" fmla="*/ 1060132 h 1466850"/>
                <a:gd name="connsiteX149" fmla="*/ 1521143 w 1790700"/>
                <a:gd name="connsiteY149" fmla="*/ 1064895 h 1466850"/>
                <a:gd name="connsiteX150" fmla="*/ 1521143 w 1790700"/>
                <a:gd name="connsiteY150" fmla="*/ 1067753 h 1466850"/>
                <a:gd name="connsiteX151" fmla="*/ 1522096 w 1790700"/>
                <a:gd name="connsiteY151" fmla="*/ 1070610 h 1466850"/>
                <a:gd name="connsiteX152" fmla="*/ 1532573 w 1790700"/>
                <a:gd name="connsiteY152" fmla="*/ 1088707 h 1466850"/>
                <a:gd name="connsiteX153" fmla="*/ 1534478 w 1790700"/>
                <a:gd name="connsiteY153" fmla="*/ 1093470 h 1466850"/>
                <a:gd name="connsiteX154" fmla="*/ 1536383 w 1790700"/>
                <a:gd name="connsiteY154" fmla="*/ 1102043 h 1466850"/>
                <a:gd name="connsiteX155" fmla="*/ 1539240 w 1790700"/>
                <a:gd name="connsiteY155" fmla="*/ 1111568 h 1466850"/>
                <a:gd name="connsiteX156" fmla="*/ 1540193 w 1790700"/>
                <a:gd name="connsiteY156" fmla="*/ 1121093 h 1466850"/>
                <a:gd name="connsiteX157" fmla="*/ 1539240 w 1790700"/>
                <a:gd name="connsiteY157" fmla="*/ 1126807 h 1466850"/>
                <a:gd name="connsiteX158" fmla="*/ 1537335 w 1790700"/>
                <a:gd name="connsiteY158" fmla="*/ 1131570 h 1466850"/>
                <a:gd name="connsiteX159" fmla="*/ 1521143 w 1790700"/>
                <a:gd name="connsiteY159" fmla="*/ 1121093 h 1466850"/>
                <a:gd name="connsiteX160" fmla="*/ 1515428 w 1790700"/>
                <a:gd name="connsiteY160" fmla="*/ 1118235 h 1466850"/>
                <a:gd name="connsiteX161" fmla="*/ 1509713 w 1790700"/>
                <a:gd name="connsiteY161" fmla="*/ 1116330 h 1466850"/>
                <a:gd name="connsiteX162" fmla="*/ 1506855 w 1790700"/>
                <a:gd name="connsiteY162" fmla="*/ 1116330 h 1466850"/>
                <a:gd name="connsiteX163" fmla="*/ 1503046 w 1790700"/>
                <a:gd name="connsiteY163" fmla="*/ 1117282 h 1466850"/>
                <a:gd name="connsiteX164" fmla="*/ 1500188 w 1790700"/>
                <a:gd name="connsiteY164" fmla="*/ 1119188 h 1466850"/>
                <a:gd name="connsiteX165" fmla="*/ 1495425 w 1790700"/>
                <a:gd name="connsiteY165" fmla="*/ 1123950 h 1466850"/>
                <a:gd name="connsiteX166" fmla="*/ 1493521 w 1790700"/>
                <a:gd name="connsiteY166" fmla="*/ 1128713 h 1466850"/>
                <a:gd name="connsiteX167" fmla="*/ 1490663 w 1790700"/>
                <a:gd name="connsiteY167" fmla="*/ 1139190 h 1466850"/>
                <a:gd name="connsiteX168" fmla="*/ 1487805 w 1790700"/>
                <a:gd name="connsiteY168" fmla="*/ 1144905 h 1466850"/>
                <a:gd name="connsiteX169" fmla="*/ 1484948 w 1790700"/>
                <a:gd name="connsiteY169" fmla="*/ 1145857 h 1466850"/>
                <a:gd name="connsiteX170" fmla="*/ 1482090 w 1790700"/>
                <a:gd name="connsiteY170" fmla="*/ 1147763 h 1466850"/>
                <a:gd name="connsiteX171" fmla="*/ 1475423 w 1790700"/>
                <a:gd name="connsiteY171" fmla="*/ 1146810 h 1466850"/>
                <a:gd name="connsiteX172" fmla="*/ 1472565 w 1790700"/>
                <a:gd name="connsiteY172" fmla="*/ 1145857 h 1466850"/>
                <a:gd name="connsiteX173" fmla="*/ 1470660 w 1790700"/>
                <a:gd name="connsiteY173" fmla="*/ 1143000 h 1466850"/>
                <a:gd name="connsiteX174" fmla="*/ 1469708 w 1790700"/>
                <a:gd name="connsiteY174" fmla="*/ 1141095 h 1466850"/>
                <a:gd name="connsiteX175" fmla="*/ 1470660 w 1790700"/>
                <a:gd name="connsiteY175" fmla="*/ 1138238 h 1466850"/>
                <a:gd name="connsiteX176" fmla="*/ 1472565 w 1790700"/>
                <a:gd name="connsiteY176" fmla="*/ 1136332 h 1466850"/>
                <a:gd name="connsiteX177" fmla="*/ 1476375 w 1790700"/>
                <a:gd name="connsiteY177" fmla="*/ 1132523 h 1466850"/>
                <a:gd name="connsiteX178" fmla="*/ 1477328 w 1790700"/>
                <a:gd name="connsiteY178" fmla="*/ 1130618 h 1466850"/>
                <a:gd name="connsiteX179" fmla="*/ 1477328 w 1790700"/>
                <a:gd name="connsiteY179" fmla="*/ 1127760 h 1466850"/>
                <a:gd name="connsiteX180" fmla="*/ 1476375 w 1790700"/>
                <a:gd name="connsiteY180" fmla="*/ 1125855 h 1466850"/>
                <a:gd name="connsiteX181" fmla="*/ 1474471 w 1790700"/>
                <a:gd name="connsiteY181" fmla="*/ 1123950 h 1466850"/>
                <a:gd name="connsiteX182" fmla="*/ 1459230 w 1790700"/>
                <a:gd name="connsiteY182" fmla="*/ 1118235 h 1466850"/>
                <a:gd name="connsiteX183" fmla="*/ 1456373 w 1790700"/>
                <a:gd name="connsiteY183" fmla="*/ 1118235 h 1466850"/>
                <a:gd name="connsiteX184" fmla="*/ 1453515 w 1790700"/>
                <a:gd name="connsiteY184" fmla="*/ 1119188 h 1466850"/>
                <a:gd name="connsiteX185" fmla="*/ 1448753 w 1790700"/>
                <a:gd name="connsiteY185" fmla="*/ 1122998 h 1466850"/>
                <a:gd name="connsiteX186" fmla="*/ 1444943 w 1790700"/>
                <a:gd name="connsiteY186" fmla="*/ 1123950 h 1466850"/>
                <a:gd name="connsiteX187" fmla="*/ 1431608 w 1790700"/>
                <a:gd name="connsiteY187" fmla="*/ 1122998 h 1466850"/>
                <a:gd name="connsiteX188" fmla="*/ 1428750 w 1790700"/>
                <a:gd name="connsiteY188" fmla="*/ 1123950 h 1466850"/>
                <a:gd name="connsiteX189" fmla="*/ 1423988 w 1790700"/>
                <a:gd name="connsiteY189" fmla="*/ 1125855 h 1466850"/>
                <a:gd name="connsiteX190" fmla="*/ 1420178 w 1790700"/>
                <a:gd name="connsiteY190" fmla="*/ 1128713 h 1466850"/>
                <a:gd name="connsiteX191" fmla="*/ 1414463 w 1790700"/>
                <a:gd name="connsiteY191" fmla="*/ 1134428 h 1466850"/>
                <a:gd name="connsiteX192" fmla="*/ 1409700 w 1790700"/>
                <a:gd name="connsiteY192" fmla="*/ 1141095 h 1466850"/>
                <a:gd name="connsiteX193" fmla="*/ 1405890 w 1790700"/>
                <a:gd name="connsiteY193" fmla="*/ 1143953 h 1466850"/>
                <a:gd name="connsiteX194" fmla="*/ 1401128 w 1790700"/>
                <a:gd name="connsiteY194" fmla="*/ 1145857 h 1466850"/>
                <a:gd name="connsiteX195" fmla="*/ 1358265 w 1790700"/>
                <a:gd name="connsiteY195" fmla="*/ 1159193 h 1466850"/>
                <a:gd name="connsiteX196" fmla="*/ 1340168 w 1790700"/>
                <a:gd name="connsiteY196" fmla="*/ 1162050 h 1466850"/>
                <a:gd name="connsiteX197" fmla="*/ 1244918 w 1790700"/>
                <a:gd name="connsiteY197" fmla="*/ 1203960 h 1466850"/>
                <a:gd name="connsiteX198" fmla="*/ 1239203 w 1790700"/>
                <a:gd name="connsiteY198" fmla="*/ 1201103 h 1466850"/>
                <a:gd name="connsiteX199" fmla="*/ 1236346 w 1790700"/>
                <a:gd name="connsiteY199" fmla="*/ 1201103 h 1466850"/>
                <a:gd name="connsiteX200" fmla="*/ 1233488 w 1790700"/>
                <a:gd name="connsiteY200" fmla="*/ 1202055 h 1466850"/>
                <a:gd name="connsiteX201" fmla="*/ 1231583 w 1790700"/>
                <a:gd name="connsiteY201" fmla="*/ 1205865 h 1466850"/>
                <a:gd name="connsiteX202" fmla="*/ 1231583 w 1790700"/>
                <a:gd name="connsiteY202" fmla="*/ 1208723 h 1466850"/>
                <a:gd name="connsiteX203" fmla="*/ 1232535 w 1790700"/>
                <a:gd name="connsiteY203" fmla="*/ 1214438 h 1466850"/>
                <a:gd name="connsiteX204" fmla="*/ 1231583 w 1790700"/>
                <a:gd name="connsiteY204" fmla="*/ 1221105 h 1466850"/>
                <a:gd name="connsiteX205" fmla="*/ 1230630 w 1790700"/>
                <a:gd name="connsiteY205" fmla="*/ 1223963 h 1466850"/>
                <a:gd name="connsiteX206" fmla="*/ 1223963 w 1790700"/>
                <a:gd name="connsiteY206" fmla="*/ 1233488 h 1466850"/>
                <a:gd name="connsiteX207" fmla="*/ 1216343 w 1790700"/>
                <a:gd name="connsiteY207" fmla="*/ 1241107 h 1466850"/>
                <a:gd name="connsiteX208" fmla="*/ 1203008 w 1790700"/>
                <a:gd name="connsiteY208" fmla="*/ 1252538 h 1466850"/>
                <a:gd name="connsiteX209" fmla="*/ 1201103 w 1790700"/>
                <a:gd name="connsiteY209" fmla="*/ 1254443 h 1466850"/>
                <a:gd name="connsiteX210" fmla="*/ 1199198 w 1790700"/>
                <a:gd name="connsiteY210" fmla="*/ 1259205 h 1466850"/>
                <a:gd name="connsiteX211" fmla="*/ 1200150 w 1790700"/>
                <a:gd name="connsiteY211" fmla="*/ 1263968 h 1466850"/>
                <a:gd name="connsiteX212" fmla="*/ 1203960 w 1790700"/>
                <a:gd name="connsiteY212" fmla="*/ 1264920 h 1466850"/>
                <a:gd name="connsiteX213" fmla="*/ 1209675 w 1790700"/>
                <a:gd name="connsiteY213" fmla="*/ 1264920 h 1466850"/>
                <a:gd name="connsiteX214" fmla="*/ 1211580 w 1790700"/>
                <a:gd name="connsiteY214" fmla="*/ 1265873 h 1466850"/>
                <a:gd name="connsiteX215" fmla="*/ 1212533 w 1790700"/>
                <a:gd name="connsiteY215" fmla="*/ 1267778 h 1466850"/>
                <a:gd name="connsiteX216" fmla="*/ 1212533 w 1790700"/>
                <a:gd name="connsiteY216" fmla="*/ 1270635 h 1466850"/>
                <a:gd name="connsiteX217" fmla="*/ 1209675 w 1790700"/>
                <a:gd name="connsiteY217" fmla="*/ 1273493 h 1466850"/>
                <a:gd name="connsiteX218" fmla="*/ 1205865 w 1790700"/>
                <a:gd name="connsiteY218" fmla="*/ 1275398 h 1466850"/>
                <a:gd name="connsiteX219" fmla="*/ 1199198 w 1790700"/>
                <a:gd name="connsiteY219" fmla="*/ 1275398 h 1466850"/>
                <a:gd name="connsiteX220" fmla="*/ 1189673 w 1790700"/>
                <a:gd name="connsiteY220" fmla="*/ 1279207 h 1466850"/>
                <a:gd name="connsiteX221" fmla="*/ 1183958 w 1790700"/>
                <a:gd name="connsiteY221" fmla="*/ 1283970 h 1466850"/>
                <a:gd name="connsiteX222" fmla="*/ 1181100 w 1790700"/>
                <a:gd name="connsiteY222" fmla="*/ 1286828 h 1466850"/>
                <a:gd name="connsiteX223" fmla="*/ 1177290 w 1790700"/>
                <a:gd name="connsiteY223" fmla="*/ 1292543 h 1466850"/>
                <a:gd name="connsiteX224" fmla="*/ 1169671 w 1790700"/>
                <a:gd name="connsiteY224" fmla="*/ 1315403 h 1466850"/>
                <a:gd name="connsiteX225" fmla="*/ 1164908 w 1790700"/>
                <a:gd name="connsiteY225" fmla="*/ 1325880 h 1466850"/>
                <a:gd name="connsiteX226" fmla="*/ 1163003 w 1790700"/>
                <a:gd name="connsiteY226" fmla="*/ 1332548 h 1466850"/>
                <a:gd name="connsiteX227" fmla="*/ 1162050 w 1790700"/>
                <a:gd name="connsiteY227" fmla="*/ 1343025 h 1466850"/>
                <a:gd name="connsiteX228" fmla="*/ 1162050 w 1790700"/>
                <a:gd name="connsiteY228" fmla="*/ 1348740 h 1466850"/>
                <a:gd name="connsiteX229" fmla="*/ 1163955 w 1790700"/>
                <a:gd name="connsiteY229" fmla="*/ 1353503 h 1466850"/>
                <a:gd name="connsiteX230" fmla="*/ 1179196 w 1790700"/>
                <a:gd name="connsiteY230" fmla="*/ 1368743 h 1466850"/>
                <a:gd name="connsiteX231" fmla="*/ 1181100 w 1790700"/>
                <a:gd name="connsiteY231" fmla="*/ 1370648 h 1466850"/>
                <a:gd name="connsiteX232" fmla="*/ 1183005 w 1790700"/>
                <a:gd name="connsiteY232" fmla="*/ 1375410 h 1466850"/>
                <a:gd name="connsiteX233" fmla="*/ 1184910 w 1790700"/>
                <a:gd name="connsiteY233" fmla="*/ 1392555 h 1466850"/>
                <a:gd name="connsiteX234" fmla="*/ 1183958 w 1790700"/>
                <a:gd name="connsiteY234" fmla="*/ 1395413 h 1466850"/>
                <a:gd name="connsiteX235" fmla="*/ 1181100 w 1790700"/>
                <a:gd name="connsiteY235" fmla="*/ 1398270 h 1466850"/>
                <a:gd name="connsiteX236" fmla="*/ 1175385 w 1790700"/>
                <a:gd name="connsiteY236" fmla="*/ 1402080 h 1466850"/>
                <a:gd name="connsiteX237" fmla="*/ 1164908 w 1790700"/>
                <a:gd name="connsiteY237" fmla="*/ 1413510 h 1466850"/>
                <a:gd name="connsiteX238" fmla="*/ 1163955 w 1790700"/>
                <a:gd name="connsiteY238" fmla="*/ 1416368 h 1466850"/>
                <a:gd name="connsiteX239" fmla="*/ 1163003 w 1790700"/>
                <a:gd name="connsiteY239" fmla="*/ 1419225 h 1466850"/>
                <a:gd name="connsiteX240" fmla="*/ 1163003 w 1790700"/>
                <a:gd name="connsiteY240" fmla="*/ 1424940 h 1466850"/>
                <a:gd name="connsiteX241" fmla="*/ 1163955 w 1790700"/>
                <a:gd name="connsiteY241" fmla="*/ 1427798 h 1466850"/>
                <a:gd name="connsiteX242" fmla="*/ 1165860 w 1790700"/>
                <a:gd name="connsiteY242" fmla="*/ 1429703 h 1466850"/>
                <a:gd name="connsiteX243" fmla="*/ 1172528 w 1790700"/>
                <a:gd name="connsiteY243" fmla="*/ 1434465 h 1466850"/>
                <a:gd name="connsiteX244" fmla="*/ 1173480 w 1790700"/>
                <a:gd name="connsiteY244" fmla="*/ 1437323 h 1466850"/>
                <a:gd name="connsiteX245" fmla="*/ 1174433 w 1790700"/>
                <a:gd name="connsiteY245" fmla="*/ 1439228 h 1466850"/>
                <a:gd name="connsiteX246" fmla="*/ 1173480 w 1790700"/>
                <a:gd name="connsiteY246" fmla="*/ 1442085 h 1466850"/>
                <a:gd name="connsiteX247" fmla="*/ 1169671 w 1790700"/>
                <a:gd name="connsiteY247" fmla="*/ 1445895 h 1466850"/>
                <a:gd name="connsiteX248" fmla="*/ 1158240 w 1790700"/>
                <a:gd name="connsiteY248" fmla="*/ 1457325 h 1466850"/>
                <a:gd name="connsiteX249" fmla="*/ 1143000 w 1790700"/>
                <a:gd name="connsiteY249" fmla="*/ 1467803 h 1466850"/>
                <a:gd name="connsiteX250" fmla="*/ 1136333 w 1790700"/>
                <a:gd name="connsiteY250" fmla="*/ 1466850 h 1466850"/>
                <a:gd name="connsiteX251" fmla="*/ 1120140 w 1790700"/>
                <a:gd name="connsiteY251" fmla="*/ 1445895 h 1466850"/>
                <a:gd name="connsiteX252" fmla="*/ 1103948 w 1790700"/>
                <a:gd name="connsiteY252" fmla="*/ 1437323 h 1466850"/>
                <a:gd name="connsiteX253" fmla="*/ 1076325 w 1790700"/>
                <a:gd name="connsiteY253" fmla="*/ 1432560 h 1466850"/>
                <a:gd name="connsiteX254" fmla="*/ 1066800 w 1790700"/>
                <a:gd name="connsiteY254" fmla="*/ 1428750 h 1466850"/>
                <a:gd name="connsiteX255" fmla="*/ 1063943 w 1790700"/>
                <a:gd name="connsiteY255" fmla="*/ 1425893 h 1466850"/>
                <a:gd name="connsiteX256" fmla="*/ 1057275 w 1790700"/>
                <a:gd name="connsiteY256" fmla="*/ 1420178 h 1466850"/>
                <a:gd name="connsiteX257" fmla="*/ 1054418 w 1790700"/>
                <a:gd name="connsiteY257" fmla="*/ 1418273 h 1466850"/>
                <a:gd name="connsiteX258" fmla="*/ 1050608 w 1790700"/>
                <a:gd name="connsiteY258" fmla="*/ 1418273 h 1466850"/>
                <a:gd name="connsiteX259" fmla="*/ 1042988 w 1790700"/>
                <a:gd name="connsiteY259" fmla="*/ 1419225 h 1466850"/>
                <a:gd name="connsiteX260" fmla="*/ 1039178 w 1790700"/>
                <a:gd name="connsiteY260" fmla="*/ 1418273 h 1466850"/>
                <a:gd name="connsiteX261" fmla="*/ 980123 w 1790700"/>
                <a:gd name="connsiteY261" fmla="*/ 1376363 h 1466850"/>
                <a:gd name="connsiteX262" fmla="*/ 975360 w 1790700"/>
                <a:gd name="connsiteY262" fmla="*/ 1371600 h 1466850"/>
                <a:gd name="connsiteX263" fmla="*/ 964883 w 1790700"/>
                <a:gd name="connsiteY263" fmla="*/ 1355407 h 1466850"/>
                <a:gd name="connsiteX264" fmla="*/ 961073 w 1790700"/>
                <a:gd name="connsiteY264" fmla="*/ 1350645 h 1466850"/>
                <a:gd name="connsiteX265" fmla="*/ 952500 w 1790700"/>
                <a:gd name="connsiteY265" fmla="*/ 1345882 h 1466850"/>
                <a:gd name="connsiteX266" fmla="*/ 943928 w 1790700"/>
                <a:gd name="connsiteY266" fmla="*/ 1344930 h 1466850"/>
                <a:gd name="connsiteX267" fmla="*/ 925830 w 1790700"/>
                <a:gd name="connsiteY267" fmla="*/ 1343978 h 1466850"/>
                <a:gd name="connsiteX268" fmla="*/ 916305 w 1790700"/>
                <a:gd name="connsiteY268" fmla="*/ 1341120 h 1466850"/>
                <a:gd name="connsiteX269" fmla="*/ 901065 w 1790700"/>
                <a:gd name="connsiteY269" fmla="*/ 1325880 h 1466850"/>
                <a:gd name="connsiteX270" fmla="*/ 884873 w 1790700"/>
                <a:gd name="connsiteY270" fmla="*/ 1328738 h 1466850"/>
                <a:gd name="connsiteX271" fmla="*/ 883920 w 1790700"/>
                <a:gd name="connsiteY271" fmla="*/ 1331595 h 1466850"/>
                <a:gd name="connsiteX272" fmla="*/ 880110 w 1790700"/>
                <a:gd name="connsiteY272" fmla="*/ 1333500 h 1466850"/>
                <a:gd name="connsiteX273" fmla="*/ 875348 w 1790700"/>
                <a:gd name="connsiteY273" fmla="*/ 1335405 h 1466850"/>
                <a:gd name="connsiteX274" fmla="*/ 865823 w 1790700"/>
                <a:gd name="connsiteY274" fmla="*/ 1336357 h 1466850"/>
                <a:gd name="connsiteX275" fmla="*/ 860108 w 1790700"/>
                <a:gd name="connsiteY275" fmla="*/ 1337310 h 1466850"/>
                <a:gd name="connsiteX276" fmla="*/ 857250 w 1790700"/>
                <a:gd name="connsiteY276" fmla="*/ 1339215 h 1466850"/>
                <a:gd name="connsiteX277" fmla="*/ 854393 w 1790700"/>
                <a:gd name="connsiteY277" fmla="*/ 1344930 h 1466850"/>
                <a:gd name="connsiteX278" fmla="*/ 852488 w 1790700"/>
                <a:gd name="connsiteY278" fmla="*/ 1359218 h 1466850"/>
                <a:gd name="connsiteX279" fmla="*/ 851535 w 1790700"/>
                <a:gd name="connsiteY279" fmla="*/ 1363028 h 1466850"/>
                <a:gd name="connsiteX280" fmla="*/ 849630 w 1790700"/>
                <a:gd name="connsiteY280" fmla="*/ 1365885 h 1466850"/>
                <a:gd name="connsiteX281" fmla="*/ 845820 w 1790700"/>
                <a:gd name="connsiteY281" fmla="*/ 1368743 h 1466850"/>
                <a:gd name="connsiteX282" fmla="*/ 843915 w 1790700"/>
                <a:gd name="connsiteY282" fmla="*/ 1368743 h 1466850"/>
                <a:gd name="connsiteX283" fmla="*/ 842010 w 1790700"/>
                <a:gd name="connsiteY283" fmla="*/ 1366838 h 1466850"/>
                <a:gd name="connsiteX284" fmla="*/ 842010 w 1790700"/>
                <a:gd name="connsiteY284" fmla="*/ 1362075 h 1466850"/>
                <a:gd name="connsiteX285" fmla="*/ 840105 w 1790700"/>
                <a:gd name="connsiteY285" fmla="*/ 1356360 h 1466850"/>
                <a:gd name="connsiteX286" fmla="*/ 836295 w 1790700"/>
                <a:gd name="connsiteY286" fmla="*/ 1346835 h 1466850"/>
                <a:gd name="connsiteX287" fmla="*/ 834390 w 1790700"/>
                <a:gd name="connsiteY287" fmla="*/ 1344930 h 1466850"/>
                <a:gd name="connsiteX288" fmla="*/ 828675 w 1790700"/>
                <a:gd name="connsiteY288" fmla="*/ 1339215 h 1466850"/>
                <a:gd name="connsiteX289" fmla="*/ 824865 w 1790700"/>
                <a:gd name="connsiteY289" fmla="*/ 1335405 h 1466850"/>
                <a:gd name="connsiteX290" fmla="*/ 805815 w 1790700"/>
                <a:gd name="connsiteY290" fmla="*/ 1325880 h 1466850"/>
                <a:gd name="connsiteX291" fmla="*/ 801053 w 1790700"/>
                <a:gd name="connsiteY291" fmla="*/ 1325880 h 1466850"/>
                <a:gd name="connsiteX292" fmla="*/ 797243 w 1790700"/>
                <a:gd name="connsiteY292" fmla="*/ 1326832 h 1466850"/>
                <a:gd name="connsiteX293" fmla="*/ 791528 w 1790700"/>
                <a:gd name="connsiteY293" fmla="*/ 1337310 h 1466850"/>
                <a:gd name="connsiteX294" fmla="*/ 789623 w 1790700"/>
                <a:gd name="connsiteY294" fmla="*/ 1339215 h 1466850"/>
                <a:gd name="connsiteX295" fmla="*/ 785813 w 1790700"/>
                <a:gd name="connsiteY295" fmla="*/ 1341120 h 1466850"/>
                <a:gd name="connsiteX296" fmla="*/ 780098 w 1790700"/>
                <a:gd name="connsiteY296" fmla="*/ 1343025 h 1466850"/>
                <a:gd name="connsiteX297" fmla="*/ 777240 w 1790700"/>
                <a:gd name="connsiteY297" fmla="*/ 1342073 h 1466850"/>
                <a:gd name="connsiteX298" fmla="*/ 775335 w 1790700"/>
                <a:gd name="connsiteY298" fmla="*/ 1339215 h 1466850"/>
                <a:gd name="connsiteX299" fmla="*/ 772478 w 1790700"/>
                <a:gd name="connsiteY299" fmla="*/ 1336357 h 1466850"/>
                <a:gd name="connsiteX300" fmla="*/ 767715 w 1790700"/>
                <a:gd name="connsiteY300" fmla="*/ 1331595 h 1466850"/>
                <a:gd name="connsiteX301" fmla="*/ 744855 w 1790700"/>
                <a:gd name="connsiteY301" fmla="*/ 1322070 h 1466850"/>
                <a:gd name="connsiteX302" fmla="*/ 741045 w 1790700"/>
                <a:gd name="connsiteY302" fmla="*/ 1319213 h 1466850"/>
                <a:gd name="connsiteX303" fmla="*/ 737235 w 1790700"/>
                <a:gd name="connsiteY303" fmla="*/ 1315403 h 1466850"/>
                <a:gd name="connsiteX304" fmla="*/ 731520 w 1790700"/>
                <a:gd name="connsiteY304" fmla="*/ 1310640 h 1466850"/>
                <a:gd name="connsiteX305" fmla="*/ 715328 w 1790700"/>
                <a:gd name="connsiteY305" fmla="*/ 1303020 h 1466850"/>
                <a:gd name="connsiteX306" fmla="*/ 707708 w 1790700"/>
                <a:gd name="connsiteY306" fmla="*/ 1301115 h 1466850"/>
                <a:gd name="connsiteX307" fmla="*/ 701993 w 1790700"/>
                <a:gd name="connsiteY307" fmla="*/ 1301115 h 1466850"/>
                <a:gd name="connsiteX308" fmla="*/ 697230 w 1790700"/>
                <a:gd name="connsiteY308" fmla="*/ 1309688 h 1466850"/>
                <a:gd name="connsiteX309" fmla="*/ 692468 w 1790700"/>
                <a:gd name="connsiteY309" fmla="*/ 1312545 h 1466850"/>
                <a:gd name="connsiteX310" fmla="*/ 690563 w 1790700"/>
                <a:gd name="connsiteY310" fmla="*/ 1312545 h 1466850"/>
                <a:gd name="connsiteX311" fmla="*/ 688658 w 1790700"/>
                <a:gd name="connsiteY311" fmla="*/ 1310640 h 1466850"/>
                <a:gd name="connsiteX312" fmla="*/ 686753 w 1790700"/>
                <a:gd name="connsiteY312" fmla="*/ 1306830 h 1466850"/>
                <a:gd name="connsiteX313" fmla="*/ 683895 w 1790700"/>
                <a:gd name="connsiteY313" fmla="*/ 1304925 h 1466850"/>
                <a:gd name="connsiteX314" fmla="*/ 674370 w 1790700"/>
                <a:gd name="connsiteY314" fmla="*/ 1298257 h 1466850"/>
                <a:gd name="connsiteX315" fmla="*/ 672465 w 1790700"/>
                <a:gd name="connsiteY315" fmla="*/ 1296353 h 1466850"/>
                <a:gd name="connsiteX316" fmla="*/ 670560 w 1790700"/>
                <a:gd name="connsiteY316" fmla="*/ 1291590 h 1466850"/>
                <a:gd name="connsiteX317" fmla="*/ 661035 w 1790700"/>
                <a:gd name="connsiteY317" fmla="*/ 1279207 h 1466850"/>
                <a:gd name="connsiteX318" fmla="*/ 659130 w 1790700"/>
                <a:gd name="connsiteY318" fmla="*/ 1277303 h 1466850"/>
                <a:gd name="connsiteX319" fmla="*/ 651510 w 1790700"/>
                <a:gd name="connsiteY319" fmla="*/ 1270635 h 1466850"/>
                <a:gd name="connsiteX320" fmla="*/ 648653 w 1790700"/>
                <a:gd name="connsiteY320" fmla="*/ 1267778 h 1466850"/>
                <a:gd name="connsiteX321" fmla="*/ 649605 w 1790700"/>
                <a:gd name="connsiteY321" fmla="*/ 1265873 h 1466850"/>
                <a:gd name="connsiteX322" fmla="*/ 654368 w 1790700"/>
                <a:gd name="connsiteY322" fmla="*/ 1263015 h 1466850"/>
                <a:gd name="connsiteX323" fmla="*/ 657225 w 1790700"/>
                <a:gd name="connsiteY323" fmla="*/ 1259205 h 1466850"/>
                <a:gd name="connsiteX324" fmla="*/ 659130 w 1790700"/>
                <a:gd name="connsiteY324" fmla="*/ 1257300 h 1466850"/>
                <a:gd name="connsiteX325" fmla="*/ 659130 w 1790700"/>
                <a:gd name="connsiteY325" fmla="*/ 1254443 h 1466850"/>
                <a:gd name="connsiteX326" fmla="*/ 659130 w 1790700"/>
                <a:gd name="connsiteY326" fmla="*/ 1245870 h 1466850"/>
                <a:gd name="connsiteX327" fmla="*/ 659130 w 1790700"/>
                <a:gd name="connsiteY327" fmla="*/ 1243013 h 1466850"/>
                <a:gd name="connsiteX328" fmla="*/ 661035 w 1790700"/>
                <a:gd name="connsiteY328" fmla="*/ 1242060 h 1466850"/>
                <a:gd name="connsiteX329" fmla="*/ 668655 w 1790700"/>
                <a:gd name="connsiteY329" fmla="*/ 1240155 h 1466850"/>
                <a:gd name="connsiteX330" fmla="*/ 671513 w 1790700"/>
                <a:gd name="connsiteY330" fmla="*/ 1239203 h 1466850"/>
                <a:gd name="connsiteX331" fmla="*/ 673418 w 1790700"/>
                <a:gd name="connsiteY331" fmla="*/ 1237298 h 1466850"/>
                <a:gd name="connsiteX332" fmla="*/ 674370 w 1790700"/>
                <a:gd name="connsiteY332" fmla="*/ 1234440 h 1466850"/>
                <a:gd name="connsiteX333" fmla="*/ 673418 w 1790700"/>
                <a:gd name="connsiteY333" fmla="*/ 1231582 h 1466850"/>
                <a:gd name="connsiteX334" fmla="*/ 670560 w 1790700"/>
                <a:gd name="connsiteY334" fmla="*/ 1228725 h 1466850"/>
                <a:gd name="connsiteX335" fmla="*/ 658178 w 1790700"/>
                <a:gd name="connsiteY335" fmla="*/ 1224915 h 1466850"/>
                <a:gd name="connsiteX336" fmla="*/ 654368 w 1790700"/>
                <a:gd name="connsiteY336" fmla="*/ 1223010 h 1466850"/>
                <a:gd name="connsiteX337" fmla="*/ 651510 w 1790700"/>
                <a:gd name="connsiteY337" fmla="*/ 1220153 h 1466850"/>
                <a:gd name="connsiteX338" fmla="*/ 649605 w 1790700"/>
                <a:gd name="connsiteY338" fmla="*/ 1212532 h 1466850"/>
                <a:gd name="connsiteX339" fmla="*/ 647700 w 1790700"/>
                <a:gd name="connsiteY339" fmla="*/ 1211580 h 1466850"/>
                <a:gd name="connsiteX340" fmla="*/ 598170 w 1790700"/>
                <a:gd name="connsiteY340" fmla="*/ 1206818 h 1466850"/>
                <a:gd name="connsiteX341" fmla="*/ 594360 w 1790700"/>
                <a:gd name="connsiteY341" fmla="*/ 1203960 h 1466850"/>
                <a:gd name="connsiteX342" fmla="*/ 592455 w 1790700"/>
                <a:gd name="connsiteY342" fmla="*/ 1201103 h 1466850"/>
                <a:gd name="connsiteX343" fmla="*/ 586740 w 1790700"/>
                <a:gd name="connsiteY343" fmla="*/ 1191578 h 1466850"/>
                <a:gd name="connsiteX344" fmla="*/ 582930 w 1790700"/>
                <a:gd name="connsiteY344" fmla="*/ 1182053 h 1466850"/>
                <a:gd name="connsiteX345" fmla="*/ 573405 w 1790700"/>
                <a:gd name="connsiteY345" fmla="*/ 1166813 h 1466850"/>
                <a:gd name="connsiteX346" fmla="*/ 569595 w 1790700"/>
                <a:gd name="connsiteY346" fmla="*/ 1163003 h 1466850"/>
                <a:gd name="connsiteX347" fmla="*/ 565785 w 1790700"/>
                <a:gd name="connsiteY347" fmla="*/ 1159193 h 1466850"/>
                <a:gd name="connsiteX348" fmla="*/ 510540 w 1790700"/>
                <a:gd name="connsiteY348" fmla="*/ 1117282 h 1466850"/>
                <a:gd name="connsiteX349" fmla="*/ 379095 w 1790700"/>
                <a:gd name="connsiteY349" fmla="*/ 1052513 h 1466850"/>
                <a:gd name="connsiteX350" fmla="*/ 381000 w 1790700"/>
                <a:gd name="connsiteY350" fmla="*/ 1014413 h 1466850"/>
                <a:gd name="connsiteX351" fmla="*/ 381000 w 1790700"/>
                <a:gd name="connsiteY351" fmla="*/ 1001078 h 1466850"/>
                <a:gd name="connsiteX352" fmla="*/ 380048 w 1790700"/>
                <a:gd name="connsiteY352" fmla="*/ 994410 h 1466850"/>
                <a:gd name="connsiteX353" fmla="*/ 358140 w 1790700"/>
                <a:gd name="connsiteY353" fmla="*/ 936307 h 1466850"/>
                <a:gd name="connsiteX354" fmla="*/ 355283 w 1790700"/>
                <a:gd name="connsiteY354" fmla="*/ 931545 h 1466850"/>
                <a:gd name="connsiteX355" fmla="*/ 334328 w 1790700"/>
                <a:gd name="connsiteY355" fmla="*/ 903922 h 1466850"/>
                <a:gd name="connsiteX356" fmla="*/ 331470 w 1790700"/>
                <a:gd name="connsiteY356" fmla="*/ 900113 h 1466850"/>
                <a:gd name="connsiteX357" fmla="*/ 325755 w 1790700"/>
                <a:gd name="connsiteY357" fmla="*/ 892493 h 1466850"/>
                <a:gd name="connsiteX358" fmla="*/ 320993 w 1790700"/>
                <a:gd name="connsiteY358" fmla="*/ 882968 h 1466850"/>
                <a:gd name="connsiteX359" fmla="*/ 320040 w 1790700"/>
                <a:gd name="connsiteY359" fmla="*/ 878205 h 1466850"/>
                <a:gd name="connsiteX360" fmla="*/ 320040 w 1790700"/>
                <a:gd name="connsiteY360" fmla="*/ 874395 h 1466850"/>
                <a:gd name="connsiteX361" fmla="*/ 340995 w 1790700"/>
                <a:gd name="connsiteY361" fmla="*/ 839153 h 1466850"/>
                <a:gd name="connsiteX362" fmla="*/ 341948 w 1790700"/>
                <a:gd name="connsiteY362" fmla="*/ 837247 h 1466850"/>
                <a:gd name="connsiteX363" fmla="*/ 346710 w 1790700"/>
                <a:gd name="connsiteY363" fmla="*/ 833438 h 1466850"/>
                <a:gd name="connsiteX364" fmla="*/ 358140 w 1790700"/>
                <a:gd name="connsiteY364" fmla="*/ 826770 h 1466850"/>
                <a:gd name="connsiteX365" fmla="*/ 359093 w 1790700"/>
                <a:gd name="connsiteY365" fmla="*/ 824865 h 1466850"/>
                <a:gd name="connsiteX366" fmla="*/ 360998 w 1790700"/>
                <a:gd name="connsiteY366" fmla="*/ 821055 h 1466850"/>
                <a:gd name="connsiteX367" fmla="*/ 362903 w 1790700"/>
                <a:gd name="connsiteY367" fmla="*/ 816293 h 1466850"/>
                <a:gd name="connsiteX368" fmla="*/ 363855 w 1790700"/>
                <a:gd name="connsiteY368" fmla="*/ 807720 h 1466850"/>
                <a:gd name="connsiteX369" fmla="*/ 363855 w 1790700"/>
                <a:gd name="connsiteY369" fmla="*/ 802005 h 1466850"/>
                <a:gd name="connsiteX370" fmla="*/ 363855 w 1790700"/>
                <a:gd name="connsiteY370" fmla="*/ 798195 h 1466850"/>
                <a:gd name="connsiteX371" fmla="*/ 360045 w 1790700"/>
                <a:gd name="connsiteY371" fmla="*/ 783908 h 1466850"/>
                <a:gd name="connsiteX372" fmla="*/ 356235 w 1790700"/>
                <a:gd name="connsiteY372" fmla="*/ 778193 h 1466850"/>
                <a:gd name="connsiteX373" fmla="*/ 342900 w 1790700"/>
                <a:gd name="connsiteY373" fmla="*/ 767715 h 1466850"/>
                <a:gd name="connsiteX374" fmla="*/ 340043 w 1790700"/>
                <a:gd name="connsiteY374" fmla="*/ 765810 h 1466850"/>
                <a:gd name="connsiteX375" fmla="*/ 338138 w 1790700"/>
                <a:gd name="connsiteY375" fmla="*/ 762000 h 1466850"/>
                <a:gd name="connsiteX376" fmla="*/ 335280 w 1790700"/>
                <a:gd name="connsiteY376" fmla="*/ 756285 h 1466850"/>
                <a:gd name="connsiteX377" fmla="*/ 334328 w 1790700"/>
                <a:gd name="connsiteY377" fmla="*/ 752475 h 1466850"/>
                <a:gd name="connsiteX378" fmla="*/ 333375 w 1790700"/>
                <a:gd name="connsiteY378" fmla="*/ 728663 h 1466850"/>
                <a:gd name="connsiteX379" fmla="*/ 331470 w 1790700"/>
                <a:gd name="connsiteY379" fmla="*/ 723900 h 1466850"/>
                <a:gd name="connsiteX380" fmla="*/ 328613 w 1790700"/>
                <a:gd name="connsiteY380" fmla="*/ 720090 h 1466850"/>
                <a:gd name="connsiteX381" fmla="*/ 271463 w 1790700"/>
                <a:gd name="connsiteY381" fmla="*/ 698183 h 1466850"/>
                <a:gd name="connsiteX382" fmla="*/ 268605 w 1790700"/>
                <a:gd name="connsiteY382" fmla="*/ 695325 h 1466850"/>
                <a:gd name="connsiteX383" fmla="*/ 264795 w 1790700"/>
                <a:gd name="connsiteY383" fmla="*/ 692468 h 1466850"/>
                <a:gd name="connsiteX384" fmla="*/ 262890 w 1790700"/>
                <a:gd name="connsiteY384" fmla="*/ 685800 h 1466850"/>
                <a:gd name="connsiteX385" fmla="*/ 263843 w 1790700"/>
                <a:gd name="connsiteY385" fmla="*/ 663893 h 1466850"/>
                <a:gd name="connsiteX386" fmla="*/ 263843 w 1790700"/>
                <a:gd name="connsiteY386" fmla="*/ 659130 h 1466850"/>
                <a:gd name="connsiteX387" fmla="*/ 262890 w 1790700"/>
                <a:gd name="connsiteY387" fmla="*/ 650558 h 1466850"/>
                <a:gd name="connsiteX388" fmla="*/ 261938 w 1790700"/>
                <a:gd name="connsiteY388" fmla="*/ 645795 h 1466850"/>
                <a:gd name="connsiteX389" fmla="*/ 260033 w 1790700"/>
                <a:gd name="connsiteY389" fmla="*/ 642938 h 1466850"/>
                <a:gd name="connsiteX390" fmla="*/ 242888 w 1790700"/>
                <a:gd name="connsiteY390" fmla="*/ 628650 h 1466850"/>
                <a:gd name="connsiteX391" fmla="*/ 240030 w 1790700"/>
                <a:gd name="connsiteY391" fmla="*/ 627697 h 1466850"/>
                <a:gd name="connsiteX392" fmla="*/ 238125 w 1790700"/>
                <a:gd name="connsiteY392" fmla="*/ 628650 h 1466850"/>
                <a:gd name="connsiteX393" fmla="*/ 233363 w 1790700"/>
                <a:gd name="connsiteY393" fmla="*/ 630555 h 1466850"/>
                <a:gd name="connsiteX394" fmla="*/ 228600 w 1790700"/>
                <a:gd name="connsiteY394" fmla="*/ 631508 h 1466850"/>
                <a:gd name="connsiteX395" fmla="*/ 225743 w 1790700"/>
                <a:gd name="connsiteY395" fmla="*/ 628650 h 1466850"/>
                <a:gd name="connsiteX396" fmla="*/ 223838 w 1790700"/>
                <a:gd name="connsiteY396" fmla="*/ 624840 h 1466850"/>
                <a:gd name="connsiteX397" fmla="*/ 220028 w 1790700"/>
                <a:gd name="connsiteY397" fmla="*/ 619125 h 1466850"/>
                <a:gd name="connsiteX398" fmla="*/ 212408 w 1790700"/>
                <a:gd name="connsiteY398" fmla="*/ 611505 h 1466850"/>
                <a:gd name="connsiteX399" fmla="*/ 210503 w 1790700"/>
                <a:gd name="connsiteY399" fmla="*/ 609600 h 1466850"/>
                <a:gd name="connsiteX400" fmla="*/ 207645 w 1790700"/>
                <a:gd name="connsiteY400" fmla="*/ 608647 h 1466850"/>
                <a:gd name="connsiteX401" fmla="*/ 205740 w 1790700"/>
                <a:gd name="connsiteY401" fmla="*/ 608647 h 1466850"/>
                <a:gd name="connsiteX402" fmla="*/ 202883 w 1790700"/>
                <a:gd name="connsiteY402" fmla="*/ 609600 h 1466850"/>
                <a:gd name="connsiteX403" fmla="*/ 198120 w 1790700"/>
                <a:gd name="connsiteY403" fmla="*/ 612458 h 1466850"/>
                <a:gd name="connsiteX404" fmla="*/ 195263 w 1790700"/>
                <a:gd name="connsiteY404" fmla="*/ 612458 h 1466850"/>
                <a:gd name="connsiteX405" fmla="*/ 193358 w 1790700"/>
                <a:gd name="connsiteY405" fmla="*/ 612458 h 1466850"/>
                <a:gd name="connsiteX406" fmla="*/ 188595 w 1790700"/>
                <a:gd name="connsiteY406" fmla="*/ 609600 h 1466850"/>
                <a:gd name="connsiteX407" fmla="*/ 179070 w 1790700"/>
                <a:gd name="connsiteY407" fmla="*/ 597218 h 1466850"/>
                <a:gd name="connsiteX408" fmla="*/ 160020 w 1790700"/>
                <a:gd name="connsiteY408" fmla="*/ 562928 h 1466850"/>
                <a:gd name="connsiteX409" fmla="*/ 157163 w 1790700"/>
                <a:gd name="connsiteY409" fmla="*/ 555308 h 1466850"/>
                <a:gd name="connsiteX410" fmla="*/ 155258 w 1790700"/>
                <a:gd name="connsiteY410" fmla="*/ 548640 h 1466850"/>
                <a:gd name="connsiteX411" fmla="*/ 156210 w 1790700"/>
                <a:gd name="connsiteY411" fmla="*/ 545783 h 1466850"/>
                <a:gd name="connsiteX412" fmla="*/ 158115 w 1790700"/>
                <a:gd name="connsiteY412" fmla="*/ 543878 h 1466850"/>
                <a:gd name="connsiteX413" fmla="*/ 160020 w 1790700"/>
                <a:gd name="connsiteY413" fmla="*/ 541972 h 1466850"/>
                <a:gd name="connsiteX414" fmla="*/ 162878 w 1790700"/>
                <a:gd name="connsiteY414" fmla="*/ 541020 h 1466850"/>
                <a:gd name="connsiteX415" fmla="*/ 165735 w 1790700"/>
                <a:gd name="connsiteY415" fmla="*/ 541972 h 1466850"/>
                <a:gd name="connsiteX416" fmla="*/ 170498 w 1790700"/>
                <a:gd name="connsiteY416" fmla="*/ 543878 h 1466850"/>
                <a:gd name="connsiteX417" fmla="*/ 172403 w 1790700"/>
                <a:gd name="connsiteY417" fmla="*/ 543878 h 1466850"/>
                <a:gd name="connsiteX418" fmla="*/ 176213 w 1790700"/>
                <a:gd name="connsiteY418" fmla="*/ 541972 h 1466850"/>
                <a:gd name="connsiteX419" fmla="*/ 178118 w 1790700"/>
                <a:gd name="connsiteY419" fmla="*/ 539115 h 1466850"/>
                <a:gd name="connsiteX420" fmla="*/ 179070 w 1790700"/>
                <a:gd name="connsiteY420" fmla="*/ 534353 h 1466850"/>
                <a:gd name="connsiteX421" fmla="*/ 178118 w 1790700"/>
                <a:gd name="connsiteY421" fmla="*/ 520065 h 1466850"/>
                <a:gd name="connsiteX422" fmla="*/ 178118 w 1790700"/>
                <a:gd name="connsiteY422" fmla="*/ 512445 h 1466850"/>
                <a:gd name="connsiteX423" fmla="*/ 182880 w 1790700"/>
                <a:gd name="connsiteY423" fmla="*/ 495300 h 1466850"/>
                <a:gd name="connsiteX424" fmla="*/ 182880 w 1790700"/>
                <a:gd name="connsiteY424" fmla="*/ 490538 h 1466850"/>
                <a:gd name="connsiteX425" fmla="*/ 183833 w 1790700"/>
                <a:gd name="connsiteY425" fmla="*/ 485775 h 1466850"/>
                <a:gd name="connsiteX426" fmla="*/ 182880 w 1790700"/>
                <a:gd name="connsiteY426" fmla="*/ 478155 h 1466850"/>
                <a:gd name="connsiteX427" fmla="*/ 180975 w 1790700"/>
                <a:gd name="connsiteY427" fmla="*/ 474345 h 1466850"/>
                <a:gd name="connsiteX428" fmla="*/ 179070 w 1790700"/>
                <a:gd name="connsiteY428" fmla="*/ 471488 h 1466850"/>
                <a:gd name="connsiteX429" fmla="*/ 166688 w 1790700"/>
                <a:gd name="connsiteY429" fmla="*/ 463867 h 1466850"/>
                <a:gd name="connsiteX430" fmla="*/ 164783 w 1790700"/>
                <a:gd name="connsiteY430" fmla="*/ 461963 h 1466850"/>
                <a:gd name="connsiteX431" fmla="*/ 160973 w 1790700"/>
                <a:gd name="connsiteY431" fmla="*/ 456247 h 1466850"/>
                <a:gd name="connsiteX432" fmla="*/ 137160 w 1790700"/>
                <a:gd name="connsiteY432" fmla="*/ 408622 h 1466850"/>
                <a:gd name="connsiteX433" fmla="*/ 134303 w 1790700"/>
                <a:gd name="connsiteY433" fmla="*/ 407670 h 1466850"/>
                <a:gd name="connsiteX434" fmla="*/ 131445 w 1790700"/>
                <a:gd name="connsiteY434" fmla="*/ 407670 h 1466850"/>
                <a:gd name="connsiteX435" fmla="*/ 123825 w 1790700"/>
                <a:gd name="connsiteY435" fmla="*/ 410528 h 1466850"/>
                <a:gd name="connsiteX436" fmla="*/ 120968 w 1790700"/>
                <a:gd name="connsiteY436" fmla="*/ 410528 h 1466850"/>
                <a:gd name="connsiteX437" fmla="*/ 118110 w 1790700"/>
                <a:gd name="connsiteY437" fmla="*/ 410528 h 1466850"/>
                <a:gd name="connsiteX438" fmla="*/ 105728 w 1790700"/>
                <a:gd name="connsiteY438" fmla="*/ 404813 h 1466850"/>
                <a:gd name="connsiteX439" fmla="*/ 101918 w 1790700"/>
                <a:gd name="connsiteY439" fmla="*/ 402908 h 1466850"/>
                <a:gd name="connsiteX440" fmla="*/ 98108 w 1790700"/>
                <a:gd name="connsiteY440" fmla="*/ 400050 h 1466850"/>
                <a:gd name="connsiteX441" fmla="*/ 96203 w 1790700"/>
                <a:gd name="connsiteY441" fmla="*/ 396240 h 1466850"/>
                <a:gd name="connsiteX442" fmla="*/ 85725 w 1790700"/>
                <a:gd name="connsiteY442" fmla="*/ 359092 h 1466850"/>
                <a:gd name="connsiteX443" fmla="*/ 84773 w 1790700"/>
                <a:gd name="connsiteY443" fmla="*/ 354330 h 1466850"/>
                <a:gd name="connsiteX444" fmla="*/ 86678 w 1790700"/>
                <a:gd name="connsiteY444" fmla="*/ 352425 h 1466850"/>
                <a:gd name="connsiteX445" fmla="*/ 104775 w 1790700"/>
                <a:gd name="connsiteY445" fmla="*/ 346710 h 1466850"/>
                <a:gd name="connsiteX446" fmla="*/ 106680 w 1790700"/>
                <a:gd name="connsiteY446" fmla="*/ 343853 h 1466850"/>
                <a:gd name="connsiteX447" fmla="*/ 108585 w 1790700"/>
                <a:gd name="connsiteY447" fmla="*/ 339090 h 1466850"/>
                <a:gd name="connsiteX448" fmla="*/ 107633 w 1790700"/>
                <a:gd name="connsiteY448" fmla="*/ 329565 h 1466850"/>
                <a:gd name="connsiteX449" fmla="*/ 106680 w 1790700"/>
                <a:gd name="connsiteY449" fmla="*/ 325755 h 1466850"/>
                <a:gd name="connsiteX450" fmla="*/ 105728 w 1790700"/>
                <a:gd name="connsiteY450" fmla="*/ 322897 h 1466850"/>
                <a:gd name="connsiteX451" fmla="*/ 101918 w 1790700"/>
                <a:gd name="connsiteY451" fmla="*/ 319088 h 1466850"/>
                <a:gd name="connsiteX452" fmla="*/ 100013 w 1790700"/>
                <a:gd name="connsiteY452" fmla="*/ 318135 h 1466850"/>
                <a:gd name="connsiteX453" fmla="*/ 97155 w 1790700"/>
                <a:gd name="connsiteY453" fmla="*/ 318135 h 1466850"/>
                <a:gd name="connsiteX454" fmla="*/ 92393 w 1790700"/>
                <a:gd name="connsiteY454" fmla="*/ 320992 h 1466850"/>
                <a:gd name="connsiteX455" fmla="*/ 89535 w 1790700"/>
                <a:gd name="connsiteY455" fmla="*/ 324803 h 1466850"/>
                <a:gd name="connsiteX456" fmla="*/ 84773 w 1790700"/>
                <a:gd name="connsiteY456" fmla="*/ 327660 h 1466850"/>
                <a:gd name="connsiteX457" fmla="*/ 80010 w 1790700"/>
                <a:gd name="connsiteY457" fmla="*/ 330517 h 1466850"/>
                <a:gd name="connsiteX458" fmla="*/ 77153 w 1790700"/>
                <a:gd name="connsiteY458" fmla="*/ 330517 h 1466850"/>
                <a:gd name="connsiteX459" fmla="*/ 74295 w 1790700"/>
                <a:gd name="connsiteY459" fmla="*/ 328613 h 1466850"/>
                <a:gd name="connsiteX460" fmla="*/ 64770 w 1790700"/>
                <a:gd name="connsiteY460" fmla="*/ 314325 h 1466850"/>
                <a:gd name="connsiteX461" fmla="*/ 61913 w 1790700"/>
                <a:gd name="connsiteY461" fmla="*/ 312420 h 1466850"/>
                <a:gd name="connsiteX462" fmla="*/ 56198 w 1790700"/>
                <a:gd name="connsiteY462" fmla="*/ 309563 h 1466850"/>
                <a:gd name="connsiteX463" fmla="*/ 44768 w 1790700"/>
                <a:gd name="connsiteY463" fmla="*/ 307658 h 1466850"/>
                <a:gd name="connsiteX464" fmla="*/ 41910 w 1790700"/>
                <a:gd name="connsiteY464" fmla="*/ 305753 h 1466850"/>
                <a:gd name="connsiteX465" fmla="*/ 38100 w 1790700"/>
                <a:gd name="connsiteY465" fmla="*/ 301942 h 1466850"/>
                <a:gd name="connsiteX466" fmla="*/ 36195 w 1790700"/>
                <a:gd name="connsiteY466" fmla="*/ 297180 h 1466850"/>
                <a:gd name="connsiteX467" fmla="*/ 34290 w 1790700"/>
                <a:gd name="connsiteY467" fmla="*/ 291465 h 1466850"/>
                <a:gd name="connsiteX468" fmla="*/ 33338 w 1790700"/>
                <a:gd name="connsiteY468" fmla="*/ 287655 h 1466850"/>
                <a:gd name="connsiteX469" fmla="*/ 31433 w 1790700"/>
                <a:gd name="connsiteY469" fmla="*/ 284797 h 1466850"/>
                <a:gd name="connsiteX470" fmla="*/ 29528 w 1790700"/>
                <a:gd name="connsiteY470" fmla="*/ 282892 h 1466850"/>
                <a:gd name="connsiteX471" fmla="*/ 21908 w 1790700"/>
                <a:gd name="connsiteY471" fmla="*/ 273367 h 1466850"/>
                <a:gd name="connsiteX472" fmla="*/ 19050 w 1790700"/>
                <a:gd name="connsiteY472" fmla="*/ 264795 h 1466850"/>
                <a:gd name="connsiteX473" fmla="*/ 16193 w 1790700"/>
                <a:gd name="connsiteY473" fmla="*/ 259080 h 1466850"/>
                <a:gd name="connsiteX474" fmla="*/ 13335 w 1790700"/>
                <a:gd name="connsiteY474" fmla="*/ 256222 h 1466850"/>
                <a:gd name="connsiteX475" fmla="*/ 10478 w 1790700"/>
                <a:gd name="connsiteY475" fmla="*/ 256222 h 1466850"/>
                <a:gd name="connsiteX476" fmla="*/ 5715 w 1790700"/>
                <a:gd name="connsiteY476" fmla="*/ 256222 h 1466850"/>
                <a:gd name="connsiteX477" fmla="*/ 0 w 1790700"/>
                <a:gd name="connsiteY477" fmla="*/ 255270 h 1466850"/>
                <a:gd name="connsiteX478" fmla="*/ 14288 w 1790700"/>
                <a:gd name="connsiteY478" fmla="*/ 234315 h 1466850"/>
                <a:gd name="connsiteX479" fmla="*/ 17145 w 1790700"/>
                <a:gd name="connsiteY479" fmla="*/ 227647 h 1466850"/>
                <a:gd name="connsiteX480" fmla="*/ 16193 w 1790700"/>
                <a:gd name="connsiteY480" fmla="*/ 224790 h 1466850"/>
                <a:gd name="connsiteX481" fmla="*/ 13335 w 1790700"/>
                <a:gd name="connsiteY481" fmla="*/ 220028 h 1466850"/>
                <a:gd name="connsiteX482" fmla="*/ 12383 w 1790700"/>
                <a:gd name="connsiteY482" fmla="*/ 216217 h 1466850"/>
                <a:gd name="connsiteX483" fmla="*/ 13335 w 1790700"/>
                <a:gd name="connsiteY483" fmla="*/ 214313 h 1466850"/>
                <a:gd name="connsiteX484" fmla="*/ 15240 w 1790700"/>
                <a:gd name="connsiteY484" fmla="*/ 211455 h 1466850"/>
                <a:gd name="connsiteX485" fmla="*/ 23813 w 1790700"/>
                <a:gd name="connsiteY485" fmla="*/ 199072 h 1466850"/>
                <a:gd name="connsiteX486" fmla="*/ 37148 w 1790700"/>
                <a:gd name="connsiteY486" fmla="*/ 162878 h 1466850"/>
                <a:gd name="connsiteX487" fmla="*/ 68580 w 1790700"/>
                <a:gd name="connsiteY487" fmla="*/ 162878 h 1466850"/>
                <a:gd name="connsiteX488" fmla="*/ 71438 w 1790700"/>
                <a:gd name="connsiteY488" fmla="*/ 163830 h 1466850"/>
                <a:gd name="connsiteX489" fmla="*/ 75248 w 1790700"/>
                <a:gd name="connsiteY489" fmla="*/ 167640 h 1466850"/>
                <a:gd name="connsiteX490" fmla="*/ 78105 w 1790700"/>
                <a:gd name="connsiteY490" fmla="*/ 168592 h 1466850"/>
                <a:gd name="connsiteX491" fmla="*/ 80963 w 1790700"/>
                <a:gd name="connsiteY491" fmla="*/ 168592 h 1466850"/>
                <a:gd name="connsiteX492" fmla="*/ 85725 w 1790700"/>
                <a:gd name="connsiteY492" fmla="*/ 166688 h 1466850"/>
                <a:gd name="connsiteX493" fmla="*/ 91440 w 1790700"/>
                <a:gd name="connsiteY493" fmla="*/ 162878 h 1466850"/>
                <a:gd name="connsiteX494" fmla="*/ 97155 w 1790700"/>
                <a:gd name="connsiteY494" fmla="*/ 156210 h 1466850"/>
                <a:gd name="connsiteX495" fmla="*/ 107633 w 1790700"/>
                <a:gd name="connsiteY495" fmla="*/ 138113 h 1466850"/>
                <a:gd name="connsiteX496" fmla="*/ 111443 w 1790700"/>
                <a:gd name="connsiteY496" fmla="*/ 134303 h 1466850"/>
                <a:gd name="connsiteX497" fmla="*/ 115253 w 1790700"/>
                <a:gd name="connsiteY497" fmla="*/ 130492 h 1466850"/>
                <a:gd name="connsiteX498" fmla="*/ 148590 w 1790700"/>
                <a:gd name="connsiteY498" fmla="*/ 115253 h 1466850"/>
                <a:gd name="connsiteX499" fmla="*/ 161925 w 1790700"/>
                <a:gd name="connsiteY499" fmla="*/ 114300 h 1466850"/>
                <a:gd name="connsiteX500" fmla="*/ 165735 w 1790700"/>
                <a:gd name="connsiteY500" fmla="*/ 115253 h 1466850"/>
                <a:gd name="connsiteX501" fmla="*/ 167640 w 1790700"/>
                <a:gd name="connsiteY501" fmla="*/ 117158 h 1466850"/>
                <a:gd name="connsiteX502" fmla="*/ 172403 w 1790700"/>
                <a:gd name="connsiteY502" fmla="*/ 122872 h 1466850"/>
                <a:gd name="connsiteX503" fmla="*/ 176213 w 1790700"/>
                <a:gd name="connsiteY503" fmla="*/ 127635 h 1466850"/>
                <a:gd name="connsiteX504" fmla="*/ 178118 w 1790700"/>
                <a:gd name="connsiteY504" fmla="*/ 128588 h 1466850"/>
                <a:gd name="connsiteX505" fmla="*/ 180975 w 1790700"/>
                <a:gd name="connsiteY505" fmla="*/ 127635 h 1466850"/>
                <a:gd name="connsiteX506" fmla="*/ 197168 w 1790700"/>
                <a:gd name="connsiteY506" fmla="*/ 116205 h 1466850"/>
                <a:gd name="connsiteX507" fmla="*/ 200978 w 1790700"/>
                <a:gd name="connsiteY507" fmla="*/ 115253 h 1466850"/>
                <a:gd name="connsiteX508" fmla="*/ 208598 w 1790700"/>
                <a:gd name="connsiteY508" fmla="*/ 115253 h 1466850"/>
                <a:gd name="connsiteX509" fmla="*/ 212408 w 1790700"/>
                <a:gd name="connsiteY509" fmla="*/ 115253 h 1466850"/>
                <a:gd name="connsiteX510" fmla="*/ 215265 w 1790700"/>
                <a:gd name="connsiteY510" fmla="*/ 116205 h 1466850"/>
                <a:gd name="connsiteX511" fmla="*/ 218123 w 1790700"/>
                <a:gd name="connsiteY511" fmla="*/ 120015 h 1466850"/>
                <a:gd name="connsiteX512" fmla="*/ 220028 w 1790700"/>
                <a:gd name="connsiteY512" fmla="*/ 125730 h 1466850"/>
                <a:gd name="connsiteX513" fmla="*/ 221933 w 1790700"/>
                <a:gd name="connsiteY513" fmla="*/ 134303 h 1466850"/>
                <a:gd name="connsiteX514" fmla="*/ 223838 w 1790700"/>
                <a:gd name="connsiteY514" fmla="*/ 139065 h 1466850"/>
                <a:gd name="connsiteX515" fmla="*/ 226695 w 1790700"/>
                <a:gd name="connsiteY515" fmla="*/ 143828 h 1466850"/>
                <a:gd name="connsiteX516" fmla="*/ 228600 w 1790700"/>
                <a:gd name="connsiteY516" fmla="*/ 146685 h 1466850"/>
                <a:gd name="connsiteX517" fmla="*/ 240983 w 1790700"/>
                <a:gd name="connsiteY517" fmla="*/ 150495 h 1466850"/>
                <a:gd name="connsiteX518" fmla="*/ 294323 w 1790700"/>
                <a:gd name="connsiteY518" fmla="*/ 152400 h 1466850"/>
                <a:gd name="connsiteX519" fmla="*/ 315278 w 1790700"/>
                <a:gd name="connsiteY519" fmla="*/ 148590 h 1466850"/>
                <a:gd name="connsiteX520" fmla="*/ 320040 w 1790700"/>
                <a:gd name="connsiteY520" fmla="*/ 148590 h 1466850"/>
                <a:gd name="connsiteX521" fmla="*/ 322898 w 1790700"/>
                <a:gd name="connsiteY521" fmla="*/ 150495 h 1466850"/>
                <a:gd name="connsiteX522" fmla="*/ 324803 w 1790700"/>
                <a:gd name="connsiteY522" fmla="*/ 155258 h 1466850"/>
                <a:gd name="connsiteX523" fmla="*/ 327660 w 1790700"/>
                <a:gd name="connsiteY523" fmla="*/ 156210 h 1466850"/>
                <a:gd name="connsiteX524" fmla="*/ 346710 w 1790700"/>
                <a:gd name="connsiteY524" fmla="*/ 156210 h 1466850"/>
                <a:gd name="connsiteX525" fmla="*/ 391478 w 1790700"/>
                <a:gd name="connsiteY525" fmla="*/ 131445 h 1466850"/>
                <a:gd name="connsiteX526" fmla="*/ 400050 w 1790700"/>
                <a:gd name="connsiteY526" fmla="*/ 129540 h 1466850"/>
                <a:gd name="connsiteX527" fmla="*/ 419100 w 1790700"/>
                <a:gd name="connsiteY527" fmla="*/ 127635 h 1466850"/>
                <a:gd name="connsiteX528" fmla="*/ 423863 w 1790700"/>
                <a:gd name="connsiteY528" fmla="*/ 125730 h 1466850"/>
                <a:gd name="connsiteX529" fmla="*/ 426720 w 1790700"/>
                <a:gd name="connsiteY529" fmla="*/ 123825 h 1466850"/>
                <a:gd name="connsiteX530" fmla="*/ 429578 w 1790700"/>
                <a:gd name="connsiteY530" fmla="*/ 120967 h 1466850"/>
                <a:gd name="connsiteX531" fmla="*/ 432435 w 1790700"/>
                <a:gd name="connsiteY531" fmla="*/ 113347 h 1466850"/>
                <a:gd name="connsiteX532" fmla="*/ 435293 w 1790700"/>
                <a:gd name="connsiteY532" fmla="*/ 104775 h 1466850"/>
                <a:gd name="connsiteX533" fmla="*/ 438150 w 1790700"/>
                <a:gd name="connsiteY533" fmla="*/ 100965 h 1466850"/>
                <a:gd name="connsiteX534" fmla="*/ 441008 w 1790700"/>
                <a:gd name="connsiteY534" fmla="*/ 97155 h 1466850"/>
                <a:gd name="connsiteX535" fmla="*/ 453390 w 1790700"/>
                <a:gd name="connsiteY535" fmla="*/ 89535 h 1466850"/>
                <a:gd name="connsiteX536" fmla="*/ 461963 w 1790700"/>
                <a:gd name="connsiteY536" fmla="*/ 86678 h 1466850"/>
                <a:gd name="connsiteX537" fmla="*/ 464820 w 1790700"/>
                <a:gd name="connsiteY537" fmla="*/ 84772 h 1466850"/>
                <a:gd name="connsiteX538" fmla="*/ 467678 w 1790700"/>
                <a:gd name="connsiteY538" fmla="*/ 81915 h 1466850"/>
                <a:gd name="connsiteX539" fmla="*/ 470535 w 1790700"/>
                <a:gd name="connsiteY539" fmla="*/ 72390 h 1466850"/>
                <a:gd name="connsiteX540" fmla="*/ 473393 w 1790700"/>
                <a:gd name="connsiteY540" fmla="*/ 68580 h 1466850"/>
                <a:gd name="connsiteX541" fmla="*/ 476250 w 1790700"/>
                <a:gd name="connsiteY541" fmla="*/ 64770 h 1466850"/>
                <a:gd name="connsiteX542" fmla="*/ 482918 w 1790700"/>
                <a:gd name="connsiteY542" fmla="*/ 60960 h 1466850"/>
                <a:gd name="connsiteX543" fmla="*/ 495300 w 1790700"/>
                <a:gd name="connsiteY543" fmla="*/ 55245 h 1466850"/>
                <a:gd name="connsiteX544" fmla="*/ 502920 w 1790700"/>
                <a:gd name="connsiteY544" fmla="*/ 45720 h 1466850"/>
                <a:gd name="connsiteX545" fmla="*/ 522923 w 1790700"/>
                <a:gd name="connsiteY545" fmla="*/ 6667 h 1466850"/>
                <a:gd name="connsiteX546" fmla="*/ 542925 w 1790700"/>
                <a:gd name="connsiteY546" fmla="*/ 18097 h 1466850"/>
                <a:gd name="connsiteX547" fmla="*/ 593408 w 1790700"/>
                <a:gd name="connsiteY547" fmla="*/ 24765 h 1466850"/>
                <a:gd name="connsiteX548" fmla="*/ 599123 w 1790700"/>
                <a:gd name="connsiteY548" fmla="*/ 23813 h 1466850"/>
                <a:gd name="connsiteX549" fmla="*/ 601028 w 1790700"/>
                <a:gd name="connsiteY549" fmla="*/ 21908 h 1466850"/>
                <a:gd name="connsiteX550" fmla="*/ 603885 w 1790700"/>
                <a:gd name="connsiteY550" fmla="*/ 16192 h 1466850"/>
                <a:gd name="connsiteX551" fmla="*/ 604838 w 1790700"/>
                <a:gd name="connsiteY551" fmla="*/ 13335 h 1466850"/>
                <a:gd name="connsiteX552" fmla="*/ 608648 w 1790700"/>
                <a:gd name="connsiteY552" fmla="*/ 9525 h 1466850"/>
                <a:gd name="connsiteX553" fmla="*/ 614363 w 1790700"/>
                <a:gd name="connsiteY553" fmla="*/ 5715 h 1466850"/>
                <a:gd name="connsiteX554" fmla="*/ 628650 w 1790700"/>
                <a:gd name="connsiteY554" fmla="*/ 953 h 1466850"/>
                <a:gd name="connsiteX555" fmla="*/ 636270 w 1790700"/>
                <a:gd name="connsiteY555" fmla="*/ 0 h 1466850"/>
                <a:gd name="connsiteX556" fmla="*/ 641033 w 1790700"/>
                <a:gd name="connsiteY556" fmla="*/ 953 h 1466850"/>
                <a:gd name="connsiteX557" fmla="*/ 642938 w 1790700"/>
                <a:gd name="connsiteY557" fmla="*/ 2858 h 1466850"/>
                <a:gd name="connsiteX558" fmla="*/ 647700 w 1790700"/>
                <a:gd name="connsiteY558" fmla="*/ 6667 h 1466850"/>
                <a:gd name="connsiteX559" fmla="*/ 652463 w 1790700"/>
                <a:gd name="connsiteY559" fmla="*/ 9525 h 1466850"/>
                <a:gd name="connsiteX560" fmla="*/ 666750 w 1790700"/>
                <a:gd name="connsiteY560" fmla="*/ 16192 h 1466850"/>
                <a:gd name="connsiteX561" fmla="*/ 670560 w 1790700"/>
                <a:gd name="connsiteY561" fmla="*/ 18097 h 1466850"/>
                <a:gd name="connsiteX562" fmla="*/ 830580 w 1790700"/>
                <a:gd name="connsiteY562" fmla="*/ 51435 h 1466850"/>
                <a:gd name="connsiteX563" fmla="*/ 870585 w 1790700"/>
                <a:gd name="connsiteY563" fmla="*/ 69533 h 1466850"/>
                <a:gd name="connsiteX564" fmla="*/ 876300 w 1790700"/>
                <a:gd name="connsiteY564" fmla="*/ 70485 h 1466850"/>
                <a:gd name="connsiteX565" fmla="*/ 880110 w 1790700"/>
                <a:gd name="connsiteY565" fmla="*/ 70485 h 1466850"/>
                <a:gd name="connsiteX566" fmla="*/ 884873 w 1790700"/>
                <a:gd name="connsiteY566" fmla="*/ 63817 h 1466850"/>
                <a:gd name="connsiteX567" fmla="*/ 900113 w 1790700"/>
                <a:gd name="connsiteY567" fmla="*/ 60008 h 1466850"/>
                <a:gd name="connsiteX568" fmla="*/ 922020 w 1790700"/>
                <a:gd name="connsiteY568" fmla="*/ 59055 h 1466850"/>
                <a:gd name="connsiteX569" fmla="*/ 929640 w 1790700"/>
                <a:gd name="connsiteY569" fmla="*/ 56197 h 1466850"/>
                <a:gd name="connsiteX570" fmla="*/ 934403 w 1790700"/>
                <a:gd name="connsiteY570" fmla="*/ 53340 h 1466850"/>
                <a:gd name="connsiteX571" fmla="*/ 934403 w 1790700"/>
                <a:gd name="connsiteY571" fmla="*/ 50483 h 1466850"/>
                <a:gd name="connsiteX572" fmla="*/ 932498 w 1790700"/>
                <a:gd name="connsiteY572" fmla="*/ 48578 h 1466850"/>
                <a:gd name="connsiteX573" fmla="*/ 916305 w 1790700"/>
                <a:gd name="connsiteY573" fmla="*/ 39053 h 1466850"/>
                <a:gd name="connsiteX574" fmla="*/ 915353 w 1790700"/>
                <a:gd name="connsiteY574" fmla="*/ 35242 h 1466850"/>
                <a:gd name="connsiteX575" fmla="*/ 916305 w 1790700"/>
                <a:gd name="connsiteY575" fmla="*/ 32385 h 1466850"/>
                <a:gd name="connsiteX576" fmla="*/ 919163 w 1790700"/>
                <a:gd name="connsiteY576" fmla="*/ 28575 h 1466850"/>
                <a:gd name="connsiteX577" fmla="*/ 946785 w 1790700"/>
                <a:gd name="connsiteY577" fmla="*/ 16192 h 1466850"/>
                <a:gd name="connsiteX578" fmla="*/ 964883 w 1790700"/>
                <a:gd name="connsiteY578" fmla="*/ 11430 h 1466850"/>
                <a:gd name="connsiteX579" fmla="*/ 969645 w 1790700"/>
                <a:gd name="connsiteY579" fmla="*/ 12383 h 1466850"/>
                <a:gd name="connsiteX580" fmla="*/ 972503 w 1790700"/>
                <a:gd name="connsiteY580" fmla="*/ 13335 h 1466850"/>
                <a:gd name="connsiteX581" fmla="*/ 978218 w 1790700"/>
                <a:gd name="connsiteY581" fmla="*/ 22860 h 1466850"/>
                <a:gd name="connsiteX582" fmla="*/ 985838 w 1790700"/>
                <a:gd name="connsiteY582" fmla="*/ 30480 h 1466850"/>
                <a:gd name="connsiteX583" fmla="*/ 1002983 w 1790700"/>
                <a:gd name="connsiteY583" fmla="*/ 44767 h 1466850"/>
                <a:gd name="connsiteX584" fmla="*/ 1042988 w 1790700"/>
                <a:gd name="connsiteY584" fmla="*/ 62865 h 1466850"/>
                <a:gd name="connsiteX585" fmla="*/ 1046798 w 1790700"/>
                <a:gd name="connsiteY585" fmla="*/ 62865 h 1466850"/>
                <a:gd name="connsiteX586" fmla="*/ 1049655 w 1790700"/>
                <a:gd name="connsiteY586" fmla="*/ 61913 h 1466850"/>
                <a:gd name="connsiteX587" fmla="*/ 1050608 w 1790700"/>
                <a:gd name="connsiteY587" fmla="*/ 59055 h 1466850"/>
                <a:gd name="connsiteX588" fmla="*/ 1049655 w 1790700"/>
                <a:gd name="connsiteY588" fmla="*/ 50483 h 1466850"/>
                <a:gd name="connsiteX589" fmla="*/ 1050608 w 1790700"/>
                <a:gd name="connsiteY589" fmla="*/ 47625 h 1466850"/>
                <a:gd name="connsiteX590" fmla="*/ 1052513 w 1790700"/>
                <a:gd name="connsiteY590" fmla="*/ 45720 h 1466850"/>
                <a:gd name="connsiteX591" fmla="*/ 1055371 w 1790700"/>
                <a:gd name="connsiteY591" fmla="*/ 42863 h 1466850"/>
                <a:gd name="connsiteX592" fmla="*/ 1060133 w 1790700"/>
                <a:gd name="connsiteY592" fmla="*/ 40958 h 1466850"/>
                <a:gd name="connsiteX593" fmla="*/ 1063943 w 1790700"/>
                <a:gd name="connsiteY593" fmla="*/ 41910 h 1466850"/>
                <a:gd name="connsiteX594" fmla="*/ 1075373 w 1790700"/>
                <a:gd name="connsiteY594" fmla="*/ 44767 h 1466850"/>
                <a:gd name="connsiteX595" fmla="*/ 1078230 w 1790700"/>
                <a:gd name="connsiteY595" fmla="*/ 43815 h 1466850"/>
                <a:gd name="connsiteX596" fmla="*/ 1080135 w 1790700"/>
                <a:gd name="connsiteY596" fmla="*/ 41910 h 1466850"/>
                <a:gd name="connsiteX597" fmla="*/ 1080135 w 1790700"/>
                <a:gd name="connsiteY597" fmla="*/ 38100 h 1466850"/>
                <a:gd name="connsiteX598" fmla="*/ 1079183 w 1790700"/>
                <a:gd name="connsiteY598" fmla="*/ 32385 h 1466850"/>
                <a:gd name="connsiteX599" fmla="*/ 1080135 w 1790700"/>
                <a:gd name="connsiteY599" fmla="*/ 29528 h 1466850"/>
                <a:gd name="connsiteX600" fmla="*/ 1082040 w 1790700"/>
                <a:gd name="connsiteY600" fmla="*/ 27622 h 1466850"/>
                <a:gd name="connsiteX601" fmla="*/ 1093471 w 1790700"/>
                <a:gd name="connsiteY601" fmla="*/ 24765 h 1466850"/>
                <a:gd name="connsiteX602" fmla="*/ 1097280 w 1790700"/>
                <a:gd name="connsiteY602" fmla="*/ 23813 h 1466850"/>
                <a:gd name="connsiteX603" fmla="*/ 1100138 w 1790700"/>
                <a:gd name="connsiteY603" fmla="*/ 20955 h 1466850"/>
                <a:gd name="connsiteX604" fmla="*/ 1104900 w 1790700"/>
                <a:gd name="connsiteY604" fmla="*/ 18097 h 1466850"/>
                <a:gd name="connsiteX605" fmla="*/ 1116330 w 1790700"/>
                <a:gd name="connsiteY605" fmla="*/ 16192 h 1466850"/>
                <a:gd name="connsiteX606" fmla="*/ 1121093 w 1790700"/>
                <a:gd name="connsiteY606" fmla="*/ 13335 h 1466850"/>
                <a:gd name="connsiteX607" fmla="*/ 1123950 w 1790700"/>
                <a:gd name="connsiteY607" fmla="*/ 10478 h 1466850"/>
                <a:gd name="connsiteX608" fmla="*/ 1124903 w 1790700"/>
                <a:gd name="connsiteY608" fmla="*/ 6667 h 1466850"/>
                <a:gd name="connsiteX609" fmla="*/ 1126808 w 1790700"/>
                <a:gd name="connsiteY609" fmla="*/ 3810 h 1466850"/>
                <a:gd name="connsiteX610" fmla="*/ 1130618 w 1790700"/>
                <a:gd name="connsiteY610" fmla="*/ 3810 h 1466850"/>
                <a:gd name="connsiteX611" fmla="*/ 1147763 w 1790700"/>
                <a:gd name="connsiteY611" fmla="*/ 10478 h 1466850"/>
                <a:gd name="connsiteX612" fmla="*/ 1149668 w 1790700"/>
                <a:gd name="connsiteY612" fmla="*/ 12383 h 1466850"/>
                <a:gd name="connsiteX613" fmla="*/ 1151573 w 1790700"/>
                <a:gd name="connsiteY613" fmla="*/ 14288 h 1466850"/>
                <a:gd name="connsiteX614" fmla="*/ 1151573 w 1790700"/>
                <a:gd name="connsiteY614" fmla="*/ 17145 h 1466850"/>
                <a:gd name="connsiteX615" fmla="*/ 1149668 w 1790700"/>
                <a:gd name="connsiteY615" fmla="*/ 34290 h 1466850"/>
                <a:gd name="connsiteX616" fmla="*/ 1150621 w 1790700"/>
                <a:gd name="connsiteY616" fmla="*/ 76200 h 1466850"/>
                <a:gd name="connsiteX617" fmla="*/ 1150621 w 1790700"/>
                <a:gd name="connsiteY617" fmla="*/ 81915 h 1466850"/>
                <a:gd name="connsiteX618" fmla="*/ 1152525 w 1790700"/>
                <a:gd name="connsiteY618" fmla="*/ 86678 h 1466850"/>
                <a:gd name="connsiteX619" fmla="*/ 1154430 w 1790700"/>
                <a:gd name="connsiteY619" fmla="*/ 92392 h 1466850"/>
                <a:gd name="connsiteX620" fmla="*/ 1166813 w 1790700"/>
                <a:gd name="connsiteY620" fmla="*/ 109538 h 1466850"/>
                <a:gd name="connsiteX621" fmla="*/ 1184910 w 1790700"/>
                <a:gd name="connsiteY621" fmla="*/ 130492 h 1466850"/>
                <a:gd name="connsiteX622" fmla="*/ 1207771 w 1790700"/>
                <a:gd name="connsiteY622" fmla="*/ 150495 h 1466850"/>
                <a:gd name="connsiteX623" fmla="*/ 1211580 w 1790700"/>
                <a:gd name="connsiteY623" fmla="*/ 154305 h 1466850"/>
                <a:gd name="connsiteX624" fmla="*/ 1214438 w 1790700"/>
                <a:gd name="connsiteY624" fmla="*/ 159067 h 1466850"/>
                <a:gd name="connsiteX625" fmla="*/ 1216343 w 1790700"/>
                <a:gd name="connsiteY625" fmla="*/ 163830 h 1466850"/>
                <a:gd name="connsiteX626" fmla="*/ 1217296 w 1790700"/>
                <a:gd name="connsiteY626" fmla="*/ 169545 h 1466850"/>
                <a:gd name="connsiteX627" fmla="*/ 1216343 w 1790700"/>
                <a:gd name="connsiteY627" fmla="*/ 175260 h 1466850"/>
                <a:gd name="connsiteX628" fmla="*/ 1211580 w 1790700"/>
                <a:gd name="connsiteY628" fmla="*/ 183833 h 1466850"/>
                <a:gd name="connsiteX629" fmla="*/ 1209675 w 1790700"/>
                <a:gd name="connsiteY629" fmla="*/ 190500 h 1466850"/>
                <a:gd name="connsiteX630" fmla="*/ 1208723 w 1790700"/>
                <a:gd name="connsiteY630" fmla="*/ 196215 h 1466850"/>
                <a:gd name="connsiteX631" fmla="*/ 1210628 w 1790700"/>
                <a:gd name="connsiteY631" fmla="*/ 218122 h 1466850"/>
                <a:gd name="connsiteX632" fmla="*/ 1211580 w 1790700"/>
                <a:gd name="connsiteY632" fmla="*/ 223838 h 1466850"/>
                <a:gd name="connsiteX633" fmla="*/ 1212533 w 1790700"/>
                <a:gd name="connsiteY633" fmla="*/ 226695 h 1466850"/>
                <a:gd name="connsiteX634" fmla="*/ 1215390 w 1790700"/>
                <a:gd name="connsiteY634" fmla="*/ 230505 h 1466850"/>
                <a:gd name="connsiteX635" fmla="*/ 1219200 w 1790700"/>
                <a:gd name="connsiteY635" fmla="*/ 234315 h 1466850"/>
                <a:gd name="connsiteX636" fmla="*/ 1222058 w 1790700"/>
                <a:gd name="connsiteY636" fmla="*/ 235267 h 1466850"/>
                <a:gd name="connsiteX637" fmla="*/ 1223963 w 1790700"/>
                <a:gd name="connsiteY637" fmla="*/ 234315 h 1466850"/>
                <a:gd name="connsiteX638" fmla="*/ 1227773 w 1790700"/>
                <a:gd name="connsiteY638" fmla="*/ 228600 h 1466850"/>
                <a:gd name="connsiteX639" fmla="*/ 1230630 w 1790700"/>
                <a:gd name="connsiteY639" fmla="*/ 226695 h 1466850"/>
                <a:gd name="connsiteX640" fmla="*/ 1236346 w 1790700"/>
                <a:gd name="connsiteY640" fmla="*/ 224790 h 1466850"/>
                <a:gd name="connsiteX641" fmla="*/ 1240155 w 1790700"/>
                <a:gd name="connsiteY641" fmla="*/ 225742 h 1466850"/>
                <a:gd name="connsiteX642" fmla="*/ 1243013 w 1790700"/>
                <a:gd name="connsiteY642" fmla="*/ 227647 h 1466850"/>
                <a:gd name="connsiteX643" fmla="*/ 1245871 w 1790700"/>
                <a:gd name="connsiteY643" fmla="*/ 232410 h 1466850"/>
                <a:gd name="connsiteX644" fmla="*/ 1245871 w 1790700"/>
                <a:gd name="connsiteY644" fmla="*/ 235267 h 1466850"/>
                <a:gd name="connsiteX645" fmla="*/ 1246823 w 1790700"/>
                <a:gd name="connsiteY645" fmla="*/ 240983 h 1466850"/>
                <a:gd name="connsiteX646" fmla="*/ 1246823 w 1790700"/>
                <a:gd name="connsiteY646" fmla="*/ 243840 h 1466850"/>
                <a:gd name="connsiteX647" fmla="*/ 1248728 w 1790700"/>
                <a:gd name="connsiteY647" fmla="*/ 246697 h 1466850"/>
                <a:gd name="connsiteX648" fmla="*/ 1253490 w 1790700"/>
                <a:gd name="connsiteY648" fmla="*/ 251460 h 1466850"/>
                <a:gd name="connsiteX649" fmla="*/ 1255396 w 1790700"/>
                <a:gd name="connsiteY649" fmla="*/ 254317 h 1466850"/>
                <a:gd name="connsiteX650" fmla="*/ 1255396 w 1790700"/>
                <a:gd name="connsiteY650" fmla="*/ 257175 h 1466850"/>
                <a:gd name="connsiteX651" fmla="*/ 1257300 w 1790700"/>
                <a:gd name="connsiteY651" fmla="*/ 260985 h 1466850"/>
                <a:gd name="connsiteX652" fmla="*/ 1260158 w 1790700"/>
                <a:gd name="connsiteY652" fmla="*/ 265747 h 1466850"/>
                <a:gd name="connsiteX653" fmla="*/ 1279208 w 1790700"/>
                <a:gd name="connsiteY653" fmla="*/ 280035 h 1466850"/>
                <a:gd name="connsiteX654" fmla="*/ 1283018 w 1790700"/>
                <a:gd name="connsiteY654" fmla="*/ 283845 h 1466850"/>
                <a:gd name="connsiteX655" fmla="*/ 1284923 w 1790700"/>
                <a:gd name="connsiteY655" fmla="*/ 288608 h 1466850"/>
                <a:gd name="connsiteX656" fmla="*/ 1285875 w 1790700"/>
                <a:gd name="connsiteY656" fmla="*/ 294322 h 1466850"/>
                <a:gd name="connsiteX657" fmla="*/ 1285875 w 1790700"/>
                <a:gd name="connsiteY657" fmla="*/ 300990 h 1466850"/>
                <a:gd name="connsiteX658" fmla="*/ 1283971 w 1790700"/>
                <a:gd name="connsiteY658" fmla="*/ 307658 h 1466850"/>
                <a:gd name="connsiteX659" fmla="*/ 1280160 w 1790700"/>
                <a:gd name="connsiteY659" fmla="*/ 312420 h 1466850"/>
                <a:gd name="connsiteX660" fmla="*/ 1275398 w 1790700"/>
                <a:gd name="connsiteY660" fmla="*/ 314325 h 1466850"/>
                <a:gd name="connsiteX661" fmla="*/ 1263968 w 1790700"/>
                <a:gd name="connsiteY661" fmla="*/ 316230 h 1466850"/>
                <a:gd name="connsiteX662" fmla="*/ 1262063 w 1790700"/>
                <a:gd name="connsiteY662" fmla="*/ 317183 h 1466850"/>
                <a:gd name="connsiteX663" fmla="*/ 1260158 w 1790700"/>
                <a:gd name="connsiteY663" fmla="*/ 320040 h 1466850"/>
                <a:gd name="connsiteX664" fmla="*/ 1259205 w 1790700"/>
                <a:gd name="connsiteY664" fmla="*/ 330517 h 1466850"/>
                <a:gd name="connsiteX665" fmla="*/ 1259205 w 1790700"/>
                <a:gd name="connsiteY665" fmla="*/ 334328 h 1466850"/>
                <a:gd name="connsiteX666" fmla="*/ 1260158 w 1790700"/>
                <a:gd name="connsiteY666" fmla="*/ 339090 h 1466850"/>
                <a:gd name="connsiteX667" fmla="*/ 1264921 w 1790700"/>
                <a:gd name="connsiteY667" fmla="*/ 344805 h 1466850"/>
                <a:gd name="connsiteX668" fmla="*/ 1266825 w 1790700"/>
                <a:gd name="connsiteY668" fmla="*/ 347663 h 1466850"/>
                <a:gd name="connsiteX669" fmla="*/ 1266825 w 1790700"/>
                <a:gd name="connsiteY669" fmla="*/ 351472 h 1466850"/>
                <a:gd name="connsiteX670" fmla="*/ 1266825 w 1790700"/>
                <a:gd name="connsiteY670" fmla="*/ 358140 h 1466850"/>
                <a:gd name="connsiteX671" fmla="*/ 1267778 w 1790700"/>
                <a:gd name="connsiteY671" fmla="*/ 362903 h 1466850"/>
                <a:gd name="connsiteX672" fmla="*/ 1270635 w 1790700"/>
                <a:gd name="connsiteY672" fmla="*/ 362903 h 1466850"/>
                <a:gd name="connsiteX673" fmla="*/ 1272540 w 1790700"/>
                <a:gd name="connsiteY673" fmla="*/ 362903 h 1466850"/>
                <a:gd name="connsiteX674" fmla="*/ 1280160 w 1790700"/>
                <a:gd name="connsiteY674" fmla="*/ 356235 h 1466850"/>
                <a:gd name="connsiteX675" fmla="*/ 1283018 w 1790700"/>
                <a:gd name="connsiteY675" fmla="*/ 354330 h 1466850"/>
                <a:gd name="connsiteX676" fmla="*/ 1292543 w 1790700"/>
                <a:gd name="connsiteY676" fmla="*/ 350520 h 1466850"/>
                <a:gd name="connsiteX677" fmla="*/ 1301115 w 1790700"/>
                <a:gd name="connsiteY677" fmla="*/ 349567 h 1466850"/>
                <a:gd name="connsiteX678" fmla="*/ 1352550 w 1790700"/>
                <a:gd name="connsiteY678" fmla="*/ 357188 h 1466850"/>
                <a:gd name="connsiteX679" fmla="*/ 1371600 w 1790700"/>
                <a:gd name="connsiteY679" fmla="*/ 356235 h 1466850"/>
                <a:gd name="connsiteX680" fmla="*/ 1373505 w 1790700"/>
                <a:gd name="connsiteY680" fmla="*/ 355283 h 1466850"/>
                <a:gd name="connsiteX681" fmla="*/ 1377315 w 1790700"/>
                <a:gd name="connsiteY681" fmla="*/ 351472 h 1466850"/>
                <a:gd name="connsiteX682" fmla="*/ 1379221 w 1790700"/>
                <a:gd name="connsiteY682" fmla="*/ 348615 h 1466850"/>
                <a:gd name="connsiteX683" fmla="*/ 1381125 w 1790700"/>
                <a:gd name="connsiteY683" fmla="*/ 342900 h 1466850"/>
                <a:gd name="connsiteX684" fmla="*/ 1382078 w 1790700"/>
                <a:gd name="connsiteY684" fmla="*/ 335280 h 1466850"/>
                <a:gd name="connsiteX685" fmla="*/ 1383983 w 1790700"/>
                <a:gd name="connsiteY685" fmla="*/ 332422 h 1466850"/>
                <a:gd name="connsiteX686" fmla="*/ 1385888 w 1790700"/>
                <a:gd name="connsiteY686" fmla="*/ 329565 h 1466850"/>
                <a:gd name="connsiteX687" fmla="*/ 1389698 w 1790700"/>
                <a:gd name="connsiteY687" fmla="*/ 327660 h 1466850"/>
                <a:gd name="connsiteX688" fmla="*/ 1392555 w 1790700"/>
                <a:gd name="connsiteY688" fmla="*/ 327660 h 1466850"/>
                <a:gd name="connsiteX689" fmla="*/ 1396365 w 1790700"/>
                <a:gd name="connsiteY689" fmla="*/ 329565 h 1466850"/>
                <a:gd name="connsiteX690" fmla="*/ 1403985 w 1790700"/>
                <a:gd name="connsiteY690" fmla="*/ 336233 h 1466850"/>
                <a:gd name="connsiteX691" fmla="*/ 1407796 w 1790700"/>
                <a:gd name="connsiteY691" fmla="*/ 338138 h 1466850"/>
                <a:gd name="connsiteX692" fmla="*/ 1410653 w 1790700"/>
                <a:gd name="connsiteY692" fmla="*/ 338138 h 1466850"/>
                <a:gd name="connsiteX693" fmla="*/ 1420178 w 1790700"/>
                <a:gd name="connsiteY693" fmla="*/ 333375 h 1466850"/>
                <a:gd name="connsiteX694" fmla="*/ 1433513 w 1790700"/>
                <a:gd name="connsiteY694" fmla="*/ 321945 h 1466850"/>
                <a:gd name="connsiteX695" fmla="*/ 1447800 w 1790700"/>
                <a:gd name="connsiteY695" fmla="*/ 320040 h 1466850"/>
                <a:gd name="connsiteX696" fmla="*/ 1497330 w 1790700"/>
                <a:gd name="connsiteY696" fmla="*/ 331470 h 146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</a:cxnLst>
              <a:rect l="l" t="t" r="r" b="b"/>
              <a:pathLst>
                <a:path w="1790700" h="1466850">
                  <a:moveTo>
                    <a:pt x="1497330" y="331470"/>
                  </a:moveTo>
                  <a:lnTo>
                    <a:pt x="1502093" y="342900"/>
                  </a:lnTo>
                  <a:lnTo>
                    <a:pt x="1502093" y="387667"/>
                  </a:lnTo>
                  <a:lnTo>
                    <a:pt x="1501140" y="399097"/>
                  </a:lnTo>
                  <a:lnTo>
                    <a:pt x="1500188" y="405765"/>
                  </a:lnTo>
                  <a:lnTo>
                    <a:pt x="1496378" y="410528"/>
                  </a:lnTo>
                  <a:lnTo>
                    <a:pt x="1472565" y="433388"/>
                  </a:lnTo>
                  <a:lnTo>
                    <a:pt x="1467803" y="441008"/>
                  </a:lnTo>
                  <a:lnTo>
                    <a:pt x="1462088" y="449580"/>
                  </a:lnTo>
                  <a:lnTo>
                    <a:pt x="1462088" y="451485"/>
                  </a:lnTo>
                  <a:lnTo>
                    <a:pt x="1469708" y="473392"/>
                  </a:lnTo>
                  <a:lnTo>
                    <a:pt x="1470660" y="476250"/>
                  </a:lnTo>
                  <a:lnTo>
                    <a:pt x="1473518" y="499110"/>
                  </a:lnTo>
                  <a:lnTo>
                    <a:pt x="1476375" y="503872"/>
                  </a:lnTo>
                  <a:lnTo>
                    <a:pt x="1479233" y="506730"/>
                  </a:lnTo>
                  <a:lnTo>
                    <a:pt x="1481138" y="508635"/>
                  </a:lnTo>
                  <a:lnTo>
                    <a:pt x="1486853" y="519113"/>
                  </a:lnTo>
                  <a:lnTo>
                    <a:pt x="1488758" y="521970"/>
                  </a:lnTo>
                  <a:lnTo>
                    <a:pt x="1491615" y="522922"/>
                  </a:lnTo>
                  <a:lnTo>
                    <a:pt x="1502093" y="525780"/>
                  </a:lnTo>
                  <a:lnTo>
                    <a:pt x="1506855" y="529590"/>
                  </a:lnTo>
                  <a:lnTo>
                    <a:pt x="1511618" y="535305"/>
                  </a:lnTo>
                  <a:lnTo>
                    <a:pt x="1515428" y="539115"/>
                  </a:lnTo>
                  <a:lnTo>
                    <a:pt x="1521143" y="541972"/>
                  </a:lnTo>
                  <a:lnTo>
                    <a:pt x="1527810" y="542925"/>
                  </a:lnTo>
                  <a:lnTo>
                    <a:pt x="1549718" y="542925"/>
                  </a:lnTo>
                  <a:lnTo>
                    <a:pt x="1553528" y="544830"/>
                  </a:lnTo>
                  <a:lnTo>
                    <a:pt x="1557338" y="546735"/>
                  </a:lnTo>
                  <a:lnTo>
                    <a:pt x="1564005" y="557213"/>
                  </a:lnTo>
                  <a:lnTo>
                    <a:pt x="1566863" y="560070"/>
                  </a:lnTo>
                  <a:lnTo>
                    <a:pt x="1600200" y="576263"/>
                  </a:lnTo>
                  <a:lnTo>
                    <a:pt x="1605915" y="577215"/>
                  </a:lnTo>
                  <a:lnTo>
                    <a:pt x="1611630" y="576263"/>
                  </a:lnTo>
                  <a:lnTo>
                    <a:pt x="1618298" y="571500"/>
                  </a:lnTo>
                  <a:lnTo>
                    <a:pt x="1624013" y="569595"/>
                  </a:lnTo>
                  <a:lnTo>
                    <a:pt x="1626871" y="570547"/>
                  </a:lnTo>
                  <a:lnTo>
                    <a:pt x="1629728" y="571500"/>
                  </a:lnTo>
                  <a:lnTo>
                    <a:pt x="1633538" y="573405"/>
                  </a:lnTo>
                  <a:lnTo>
                    <a:pt x="1642110" y="581978"/>
                  </a:lnTo>
                  <a:lnTo>
                    <a:pt x="1645921" y="588645"/>
                  </a:lnTo>
                  <a:lnTo>
                    <a:pt x="1646873" y="594360"/>
                  </a:lnTo>
                  <a:lnTo>
                    <a:pt x="1647825" y="601028"/>
                  </a:lnTo>
                  <a:lnTo>
                    <a:pt x="1645921" y="623888"/>
                  </a:lnTo>
                  <a:lnTo>
                    <a:pt x="1645921" y="636270"/>
                  </a:lnTo>
                  <a:lnTo>
                    <a:pt x="1646873" y="640080"/>
                  </a:lnTo>
                  <a:lnTo>
                    <a:pt x="1649730" y="653415"/>
                  </a:lnTo>
                  <a:lnTo>
                    <a:pt x="1652588" y="658178"/>
                  </a:lnTo>
                  <a:lnTo>
                    <a:pt x="1654493" y="661988"/>
                  </a:lnTo>
                  <a:lnTo>
                    <a:pt x="1656398" y="663893"/>
                  </a:lnTo>
                  <a:lnTo>
                    <a:pt x="1666875" y="671513"/>
                  </a:lnTo>
                  <a:lnTo>
                    <a:pt x="1668780" y="674370"/>
                  </a:lnTo>
                  <a:lnTo>
                    <a:pt x="1669733" y="677228"/>
                  </a:lnTo>
                  <a:lnTo>
                    <a:pt x="1670685" y="687705"/>
                  </a:lnTo>
                  <a:lnTo>
                    <a:pt x="1671638" y="693420"/>
                  </a:lnTo>
                  <a:lnTo>
                    <a:pt x="1673543" y="696278"/>
                  </a:lnTo>
                  <a:lnTo>
                    <a:pt x="1677353" y="697230"/>
                  </a:lnTo>
                  <a:lnTo>
                    <a:pt x="1691640" y="700088"/>
                  </a:lnTo>
                  <a:lnTo>
                    <a:pt x="1693546" y="702945"/>
                  </a:lnTo>
                  <a:lnTo>
                    <a:pt x="1694498" y="705803"/>
                  </a:lnTo>
                  <a:lnTo>
                    <a:pt x="1694498" y="709613"/>
                  </a:lnTo>
                  <a:lnTo>
                    <a:pt x="1696403" y="712470"/>
                  </a:lnTo>
                  <a:lnTo>
                    <a:pt x="1699260" y="713422"/>
                  </a:lnTo>
                  <a:lnTo>
                    <a:pt x="1725930" y="721995"/>
                  </a:lnTo>
                  <a:lnTo>
                    <a:pt x="1732598" y="722947"/>
                  </a:lnTo>
                  <a:lnTo>
                    <a:pt x="1735455" y="722947"/>
                  </a:lnTo>
                  <a:lnTo>
                    <a:pt x="1737360" y="721043"/>
                  </a:lnTo>
                  <a:lnTo>
                    <a:pt x="1738313" y="718185"/>
                  </a:lnTo>
                  <a:lnTo>
                    <a:pt x="1740218" y="711518"/>
                  </a:lnTo>
                  <a:lnTo>
                    <a:pt x="1742123" y="709613"/>
                  </a:lnTo>
                  <a:lnTo>
                    <a:pt x="1744028" y="707708"/>
                  </a:lnTo>
                  <a:lnTo>
                    <a:pt x="1746885" y="706755"/>
                  </a:lnTo>
                  <a:lnTo>
                    <a:pt x="1763078" y="706755"/>
                  </a:lnTo>
                  <a:lnTo>
                    <a:pt x="1766888" y="707708"/>
                  </a:lnTo>
                  <a:lnTo>
                    <a:pt x="1768793" y="710565"/>
                  </a:lnTo>
                  <a:lnTo>
                    <a:pt x="1769746" y="712470"/>
                  </a:lnTo>
                  <a:lnTo>
                    <a:pt x="1771650" y="723900"/>
                  </a:lnTo>
                  <a:lnTo>
                    <a:pt x="1771650" y="726758"/>
                  </a:lnTo>
                  <a:lnTo>
                    <a:pt x="1769746" y="727710"/>
                  </a:lnTo>
                  <a:lnTo>
                    <a:pt x="1764983" y="730568"/>
                  </a:lnTo>
                  <a:lnTo>
                    <a:pt x="1764030" y="732472"/>
                  </a:lnTo>
                  <a:lnTo>
                    <a:pt x="1763078" y="737235"/>
                  </a:lnTo>
                  <a:lnTo>
                    <a:pt x="1764983" y="742950"/>
                  </a:lnTo>
                  <a:lnTo>
                    <a:pt x="1766888" y="747713"/>
                  </a:lnTo>
                  <a:lnTo>
                    <a:pt x="1790700" y="792480"/>
                  </a:lnTo>
                  <a:lnTo>
                    <a:pt x="1794510" y="803910"/>
                  </a:lnTo>
                  <a:lnTo>
                    <a:pt x="1796415" y="810578"/>
                  </a:lnTo>
                  <a:lnTo>
                    <a:pt x="1791653" y="813435"/>
                  </a:lnTo>
                  <a:lnTo>
                    <a:pt x="1780223" y="815340"/>
                  </a:lnTo>
                  <a:lnTo>
                    <a:pt x="1755458" y="815340"/>
                  </a:lnTo>
                  <a:lnTo>
                    <a:pt x="1752600" y="816293"/>
                  </a:lnTo>
                  <a:lnTo>
                    <a:pt x="1751648" y="818197"/>
                  </a:lnTo>
                  <a:lnTo>
                    <a:pt x="1752600" y="823913"/>
                  </a:lnTo>
                  <a:lnTo>
                    <a:pt x="1754505" y="826770"/>
                  </a:lnTo>
                  <a:lnTo>
                    <a:pt x="1764983" y="832485"/>
                  </a:lnTo>
                  <a:lnTo>
                    <a:pt x="1773555" y="842010"/>
                  </a:lnTo>
                  <a:lnTo>
                    <a:pt x="1784985" y="848678"/>
                  </a:lnTo>
                  <a:lnTo>
                    <a:pt x="1790700" y="854393"/>
                  </a:lnTo>
                  <a:lnTo>
                    <a:pt x="1792605" y="859155"/>
                  </a:lnTo>
                  <a:lnTo>
                    <a:pt x="1791653" y="862965"/>
                  </a:lnTo>
                  <a:lnTo>
                    <a:pt x="1790700" y="863918"/>
                  </a:lnTo>
                  <a:lnTo>
                    <a:pt x="1787843" y="864870"/>
                  </a:lnTo>
                  <a:lnTo>
                    <a:pt x="1779271" y="865822"/>
                  </a:lnTo>
                  <a:lnTo>
                    <a:pt x="1776413" y="866775"/>
                  </a:lnTo>
                  <a:lnTo>
                    <a:pt x="1774508" y="868680"/>
                  </a:lnTo>
                  <a:lnTo>
                    <a:pt x="1771650" y="873443"/>
                  </a:lnTo>
                  <a:lnTo>
                    <a:pt x="1769746" y="875347"/>
                  </a:lnTo>
                  <a:lnTo>
                    <a:pt x="1766888" y="875347"/>
                  </a:lnTo>
                  <a:lnTo>
                    <a:pt x="1736408" y="867728"/>
                  </a:lnTo>
                  <a:lnTo>
                    <a:pt x="1733550" y="866775"/>
                  </a:lnTo>
                  <a:lnTo>
                    <a:pt x="1730693" y="867728"/>
                  </a:lnTo>
                  <a:lnTo>
                    <a:pt x="1725930" y="869633"/>
                  </a:lnTo>
                  <a:lnTo>
                    <a:pt x="1717358" y="871538"/>
                  </a:lnTo>
                  <a:lnTo>
                    <a:pt x="1715453" y="873443"/>
                  </a:lnTo>
                  <a:lnTo>
                    <a:pt x="1714500" y="875347"/>
                  </a:lnTo>
                  <a:lnTo>
                    <a:pt x="1711643" y="882015"/>
                  </a:lnTo>
                  <a:lnTo>
                    <a:pt x="1710690" y="885825"/>
                  </a:lnTo>
                  <a:lnTo>
                    <a:pt x="1710690" y="891540"/>
                  </a:lnTo>
                  <a:lnTo>
                    <a:pt x="1712596" y="896303"/>
                  </a:lnTo>
                  <a:lnTo>
                    <a:pt x="1716405" y="903922"/>
                  </a:lnTo>
                  <a:lnTo>
                    <a:pt x="1717358" y="909638"/>
                  </a:lnTo>
                  <a:lnTo>
                    <a:pt x="1720215" y="912495"/>
                  </a:lnTo>
                  <a:lnTo>
                    <a:pt x="1726883" y="916305"/>
                  </a:lnTo>
                  <a:lnTo>
                    <a:pt x="1730693" y="919163"/>
                  </a:lnTo>
                  <a:lnTo>
                    <a:pt x="1731646" y="922020"/>
                  </a:lnTo>
                  <a:lnTo>
                    <a:pt x="1731646" y="924878"/>
                  </a:lnTo>
                  <a:lnTo>
                    <a:pt x="1729740" y="928688"/>
                  </a:lnTo>
                  <a:lnTo>
                    <a:pt x="1729740" y="932497"/>
                  </a:lnTo>
                  <a:lnTo>
                    <a:pt x="1735455" y="940118"/>
                  </a:lnTo>
                  <a:lnTo>
                    <a:pt x="1736408" y="943928"/>
                  </a:lnTo>
                  <a:lnTo>
                    <a:pt x="1735455" y="947738"/>
                  </a:lnTo>
                  <a:lnTo>
                    <a:pt x="1722121" y="965835"/>
                  </a:lnTo>
                  <a:lnTo>
                    <a:pt x="1708785" y="987743"/>
                  </a:lnTo>
                  <a:lnTo>
                    <a:pt x="1692593" y="1005840"/>
                  </a:lnTo>
                  <a:lnTo>
                    <a:pt x="1684021" y="1012507"/>
                  </a:lnTo>
                  <a:lnTo>
                    <a:pt x="1656398" y="1026795"/>
                  </a:lnTo>
                  <a:lnTo>
                    <a:pt x="1644968" y="1028700"/>
                  </a:lnTo>
                  <a:lnTo>
                    <a:pt x="1593533" y="1023938"/>
                  </a:lnTo>
                  <a:lnTo>
                    <a:pt x="1589723" y="1022985"/>
                  </a:lnTo>
                  <a:lnTo>
                    <a:pt x="1584008" y="1020128"/>
                  </a:lnTo>
                  <a:lnTo>
                    <a:pt x="1578293" y="1015365"/>
                  </a:lnTo>
                  <a:lnTo>
                    <a:pt x="1573530" y="1008697"/>
                  </a:lnTo>
                  <a:lnTo>
                    <a:pt x="1568768" y="1005840"/>
                  </a:lnTo>
                  <a:lnTo>
                    <a:pt x="1565910" y="1004888"/>
                  </a:lnTo>
                  <a:lnTo>
                    <a:pt x="1563053" y="1005840"/>
                  </a:lnTo>
                  <a:lnTo>
                    <a:pt x="1558290" y="1007745"/>
                  </a:lnTo>
                  <a:lnTo>
                    <a:pt x="1531621" y="1037272"/>
                  </a:lnTo>
                  <a:lnTo>
                    <a:pt x="1526858" y="1044893"/>
                  </a:lnTo>
                  <a:lnTo>
                    <a:pt x="1523048" y="1052513"/>
                  </a:lnTo>
                  <a:lnTo>
                    <a:pt x="1521143" y="1060132"/>
                  </a:lnTo>
                  <a:lnTo>
                    <a:pt x="1521143" y="1064895"/>
                  </a:lnTo>
                  <a:lnTo>
                    <a:pt x="1521143" y="1067753"/>
                  </a:lnTo>
                  <a:lnTo>
                    <a:pt x="1522096" y="1070610"/>
                  </a:lnTo>
                  <a:lnTo>
                    <a:pt x="1532573" y="1088707"/>
                  </a:lnTo>
                  <a:lnTo>
                    <a:pt x="1534478" y="1093470"/>
                  </a:lnTo>
                  <a:lnTo>
                    <a:pt x="1536383" y="1102043"/>
                  </a:lnTo>
                  <a:lnTo>
                    <a:pt x="1539240" y="1111568"/>
                  </a:lnTo>
                  <a:lnTo>
                    <a:pt x="1540193" y="1121093"/>
                  </a:lnTo>
                  <a:lnTo>
                    <a:pt x="1539240" y="1126807"/>
                  </a:lnTo>
                  <a:lnTo>
                    <a:pt x="1537335" y="1131570"/>
                  </a:lnTo>
                  <a:lnTo>
                    <a:pt x="1521143" y="1121093"/>
                  </a:lnTo>
                  <a:lnTo>
                    <a:pt x="1515428" y="1118235"/>
                  </a:lnTo>
                  <a:lnTo>
                    <a:pt x="1509713" y="1116330"/>
                  </a:lnTo>
                  <a:lnTo>
                    <a:pt x="1506855" y="1116330"/>
                  </a:lnTo>
                  <a:lnTo>
                    <a:pt x="1503046" y="1117282"/>
                  </a:lnTo>
                  <a:lnTo>
                    <a:pt x="1500188" y="1119188"/>
                  </a:lnTo>
                  <a:lnTo>
                    <a:pt x="1495425" y="1123950"/>
                  </a:lnTo>
                  <a:lnTo>
                    <a:pt x="1493521" y="1128713"/>
                  </a:lnTo>
                  <a:lnTo>
                    <a:pt x="1490663" y="1139190"/>
                  </a:lnTo>
                  <a:lnTo>
                    <a:pt x="1487805" y="1144905"/>
                  </a:lnTo>
                  <a:lnTo>
                    <a:pt x="1484948" y="1145857"/>
                  </a:lnTo>
                  <a:lnTo>
                    <a:pt x="1482090" y="1147763"/>
                  </a:lnTo>
                  <a:lnTo>
                    <a:pt x="1475423" y="1146810"/>
                  </a:lnTo>
                  <a:lnTo>
                    <a:pt x="1472565" y="1145857"/>
                  </a:lnTo>
                  <a:lnTo>
                    <a:pt x="1470660" y="1143000"/>
                  </a:lnTo>
                  <a:lnTo>
                    <a:pt x="1469708" y="1141095"/>
                  </a:lnTo>
                  <a:lnTo>
                    <a:pt x="1470660" y="1138238"/>
                  </a:lnTo>
                  <a:lnTo>
                    <a:pt x="1472565" y="1136332"/>
                  </a:lnTo>
                  <a:lnTo>
                    <a:pt x="1476375" y="1132523"/>
                  </a:lnTo>
                  <a:lnTo>
                    <a:pt x="1477328" y="1130618"/>
                  </a:lnTo>
                  <a:lnTo>
                    <a:pt x="1477328" y="1127760"/>
                  </a:lnTo>
                  <a:lnTo>
                    <a:pt x="1476375" y="1125855"/>
                  </a:lnTo>
                  <a:lnTo>
                    <a:pt x="1474471" y="1123950"/>
                  </a:lnTo>
                  <a:lnTo>
                    <a:pt x="1459230" y="1118235"/>
                  </a:lnTo>
                  <a:lnTo>
                    <a:pt x="1456373" y="1118235"/>
                  </a:lnTo>
                  <a:lnTo>
                    <a:pt x="1453515" y="1119188"/>
                  </a:lnTo>
                  <a:lnTo>
                    <a:pt x="1448753" y="1122998"/>
                  </a:lnTo>
                  <a:lnTo>
                    <a:pt x="1444943" y="1123950"/>
                  </a:lnTo>
                  <a:lnTo>
                    <a:pt x="1431608" y="1122998"/>
                  </a:lnTo>
                  <a:lnTo>
                    <a:pt x="1428750" y="1123950"/>
                  </a:lnTo>
                  <a:lnTo>
                    <a:pt x="1423988" y="1125855"/>
                  </a:lnTo>
                  <a:lnTo>
                    <a:pt x="1420178" y="1128713"/>
                  </a:lnTo>
                  <a:lnTo>
                    <a:pt x="1414463" y="1134428"/>
                  </a:lnTo>
                  <a:lnTo>
                    <a:pt x="1409700" y="1141095"/>
                  </a:lnTo>
                  <a:lnTo>
                    <a:pt x="1405890" y="1143953"/>
                  </a:lnTo>
                  <a:lnTo>
                    <a:pt x="1401128" y="1145857"/>
                  </a:lnTo>
                  <a:lnTo>
                    <a:pt x="1358265" y="1159193"/>
                  </a:lnTo>
                  <a:lnTo>
                    <a:pt x="1340168" y="1162050"/>
                  </a:lnTo>
                  <a:lnTo>
                    <a:pt x="1244918" y="1203960"/>
                  </a:lnTo>
                  <a:lnTo>
                    <a:pt x="1239203" y="1201103"/>
                  </a:lnTo>
                  <a:lnTo>
                    <a:pt x="1236346" y="1201103"/>
                  </a:lnTo>
                  <a:lnTo>
                    <a:pt x="1233488" y="1202055"/>
                  </a:lnTo>
                  <a:lnTo>
                    <a:pt x="1231583" y="1205865"/>
                  </a:lnTo>
                  <a:lnTo>
                    <a:pt x="1231583" y="1208723"/>
                  </a:lnTo>
                  <a:lnTo>
                    <a:pt x="1232535" y="1214438"/>
                  </a:lnTo>
                  <a:lnTo>
                    <a:pt x="1231583" y="1221105"/>
                  </a:lnTo>
                  <a:lnTo>
                    <a:pt x="1230630" y="1223963"/>
                  </a:lnTo>
                  <a:lnTo>
                    <a:pt x="1223963" y="1233488"/>
                  </a:lnTo>
                  <a:lnTo>
                    <a:pt x="1216343" y="1241107"/>
                  </a:lnTo>
                  <a:lnTo>
                    <a:pt x="1203008" y="1252538"/>
                  </a:lnTo>
                  <a:lnTo>
                    <a:pt x="1201103" y="1254443"/>
                  </a:lnTo>
                  <a:lnTo>
                    <a:pt x="1199198" y="1259205"/>
                  </a:lnTo>
                  <a:lnTo>
                    <a:pt x="1200150" y="1263968"/>
                  </a:lnTo>
                  <a:lnTo>
                    <a:pt x="1203960" y="1264920"/>
                  </a:lnTo>
                  <a:lnTo>
                    <a:pt x="1209675" y="1264920"/>
                  </a:lnTo>
                  <a:lnTo>
                    <a:pt x="1211580" y="1265873"/>
                  </a:lnTo>
                  <a:lnTo>
                    <a:pt x="1212533" y="1267778"/>
                  </a:lnTo>
                  <a:lnTo>
                    <a:pt x="1212533" y="1270635"/>
                  </a:lnTo>
                  <a:lnTo>
                    <a:pt x="1209675" y="1273493"/>
                  </a:lnTo>
                  <a:lnTo>
                    <a:pt x="1205865" y="1275398"/>
                  </a:lnTo>
                  <a:lnTo>
                    <a:pt x="1199198" y="1275398"/>
                  </a:lnTo>
                  <a:lnTo>
                    <a:pt x="1189673" y="1279207"/>
                  </a:lnTo>
                  <a:lnTo>
                    <a:pt x="1183958" y="1283970"/>
                  </a:lnTo>
                  <a:lnTo>
                    <a:pt x="1181100" y="1286828"/>
                  </a:lnTo>
                  <a:lnTo>
                    <a:pt x="1177290" y="1292543"/>
                  </a:lnTo>
                  <a:lnTo>
                    <a:pt x="1169671" y="1315403"/>
                  </a:lnTo>
                  <a:lnTo>
                    <a:pt x="1164908" y="1325880"/>
                  </a:lnTo>
                  <a:lnTo>
                    <a:pt x="1163003" y="1332548"/>
                  </a:lnTo>
                  <a:lnTo>
                    <a:pt x="1162050" y="1343025"/>
                  </a:lnTo>
                  <a:lnTo>
                    <a:pt x="1162050" y="1348740"/>
                  </a:lnTo>
                  <a:lnTo>
                    <a:pt x="1163955" y="1353503"/>
                  </a:lnTo>
                  <a:lnTo>
                    <a:pt x="1179196" y="1368743"/>
                  </a:lnTo>
                  <a:lnTo>
                    <a:pt x="1181100" y="1370648"/>
                  </a:lnTo>
                  <a:lnTo>
                    <a:pt x="1183005" y="1375410"/>
                  </a:lnTo>
                  <a:lnTo>
                    <a:pt x="1184910" y="1392555"/>
                  </a:lnTo>
                  <a:lnTo>
                    <a:pt x="1183958" y="1395413"/>
                  </a:lnTo>
                  <a:lnTo>
                    <a:pt x="1181100" y="1398270"/>
                  </a:lnTo>
                  <a:lnTo>
                    <a:pt x="1175385" y="1402080"/>
                  </a:lnTo>
                  <a:lnTo>
                    <a:pt x="1164908" y="1413510"/>
                  </a:lnTo>
                  <a:lnTo>
                    <a:pt x="1163955" y="1416368"/>
                  </a:lnTo>
                  <a:lnTo>
                    <a:pt x="1163003" y="1419225"/>
                  </a:lnTo>
                  <a:lnTo>
                    <a:pt x="1163003" y="1424940"/>
                  </a:lnTo>
                  <a:lnTo>
                    <a:pt x="1163955" y="1427798"/>
                  </a:lnTo>
                  <a:lnTo>
                    <a:pt x="1165860" y="1429703"/>
                  </a:lnTo>
                  <a:lnTo>
                    <a:pt x="1172528" y="1434465"/>
                  </a:lnTo>
                  <a:lnTo>
                    <a:pt x="1173480" y="1437323"/>
                  </a:lnTo>
                  <a:lnTo>
                    <a:pt x="1174433" y="1439228"/>
                  </a:lnTo>
                  <a:lnTo>
                    <a:pt x="1173480" y="1442085"/>
                  </a:lnTo>
                  <a:lnTo>
                    <a:pt x="1169671" y="1445895"/>
                  </a:lnTo>
                  <a:lnTo>
                    <a:pt x="1158240" y="1457325"/>
                  </a:lnTo>
                  <a:lnTo>
                    <a:pt x="1143000" y="1467803"/>
                  </a:lnTo>
                  <a:lnTo>
                    <a:pt x="1136333" y="1466850"/>
                  </a:lnTo>
                  <a:lnTo>
                    <a:pt x="1120140" y="1445895"/>
                  </a:lnTo>
                  <a:lnTo>
                    <a:pt x="1103948" y="1437323"/>
                  </a:lnTo>
                  <a:lnTo>
                    <a:pt x="1076325" y="1432560"/>
                  </a:lnTo>
                  <a:lnTo>
                    <a:pt x="1066800" y="1428750"/>
                  </a:lnTo>
                  <a:lnTo>
                    <a:pt x="1063943" y="1425893"/>
                  </a:lnTo>
                  <a:lnTo>
                    <a:pt x="1057275" y="1420178"/>
                  </a:lnTo>
                  <a:lnTo>
                    <a:pt x="1054418" y="1418273"/>
                  </a:lnTo>
                  <a:lnTo>
                    <a:pt x="1050608" y="1418273"/>
                  </a:lnTo>
                  <a:lnTo>
                    <a:pt x="1042988" y="1419225"/>
                  </a:lnTo>
                  <a:lnTo>
                    <a:pt x="1039178" y="1418273"/>
                  </a:lnTo>
                  <a:lnTo>
                    <a:pt x="980123" y="1376363"/>
                  </a:lnTo>
                  <a:lnTo>
                    <a:pt x="975360" y="1371600"/>
                  </a:lnTo>
                  <a:lnTo>
                    <a:pt x="964883" y="1355407"/>
                  </a:lnTo>
                  <a:lnTo>
                    <a:pt x="961073" y="1350645"/>
                  </a:lnTo>
                  <a:lnTo>
                    <a:pt x="952500" y="1345882"/>
                  </a:lnTo>
                  <a:lnTo>
                    <a:pt x="943928" y="1344930"/>
                  </a:lnTo>
                  <a:lnTo>
                    <a:pt x="925830" y="1343978"/>
                  </a:lnTo>
                  <a:lnTo>
                    <a:pt x="916305" y="1341120"/>
                  </a:lnTo>
                  <a:lnTo>
                    <a:pt x="901065" y="1325880"/>
                  </a:lnTo>
                  <a:lnTo>
                    <a:pt x="884873" y="1328738"/>
                  </a:lnTo>
                  <a:lnTo>
                    <a:pt x="883920" y="1331595"/>
                  </a:lnTo>
                  <a:lnTo>
                    <a:pt x="880110" y="1333500"/>
                  </a:lnTo>
                  <a:lnTo>
                    <a:pt x="875348" y="1335405"/>
                  </a:lnTo>
                  <a:lnTo>
                    <a:pt x="865823" y="1336357"/>
                  </a:lnTo>
                  <a:lnTo>
                    <a:pt x="860108" y="1337310"/>
                  </a:lnTo>
                  <a:lnTo>
                    <a:pt x="857250" y="1339215"/>
                  </a:lnTo>
                  <a:lnTo>
                    <a:pt x="854393" y="1344930"/>
                  </a:lnTo>
                  <a:lnTo>
                    <a:pt x="852488" y="1359218"/>
                  </a:lnTo>
                  <a:lnTo>
                    <a:pt x="851535" y="1363028"/>
                  </a:lnTo>
                  <a:lnTo>
                    <a:pt x="849630" y="1365885"/>
                  </a:lnTo>
                  <a:lnTo>
                    <a:pt x="845820" y="1368743"/>
                  </a:lnTo>
                  <a:lnTo>
                    <a:pt x="843915" y="1368743"/>
                  </a:lnTo>
                  <a:lnTo>
                    <a:pt x="842010" y="1366838"/>
                  </a:lnTo>
                  <a:lnTo>
                    <a:pt x="842010" y="1362075"/>
                  </a:lnTo>
                  <a:lnTo>
                    <a:pt x="840105" y="1356360"/>
                  </a:lnTo>
                  <a:lnTo>
                    <a:pt x="836295" y="1346835"/>
                  </a:lnTo>
                  <a:lnTo>
                    <a:pt x="834390" y="1344930"/>
                  </a:lnTo>
                  <a:lnTo>
                    <a:pt x="828675" y="1339215"/>
                  </a:lnTo>
                  <a:lnTo>
                    <a:pt x="824865" y="1335405"/>
                  </a:lnTo>
                  <a:lnTo>
                    <a:pt x="805815" y="1325880"/>
                  </a:lnTo>
                  <a:lnTo>
                    <a:pt x="801053" y="1325880"/>
                  </a:lnTo>
                  <a:lnTo>
                    <a:pt x="797243" y="1326832"/>
                  </a:lnTo>
                  <a:lnTo>
                    <a:pt x="791528" y="1337310"/>
                  </a:lnTo>
                  <a:lnTo>
                    <a:pt x="789623" y="1339215"/>
                  </a:lnTo>
                  <a:lnTo>
                    <a:pt x="785813" y="1341120"/>
                  </a:lnTo>
                  <a:lnTo>
                    <a:pt x="780098" y="1343025"/>
                  </a:lnTo>
                  <a:lnTo>
                    <a:pt x="777240" y="1342073"/>
                  </a:lnTo>
                  <a:lnTo>
                    <a:pt x="775335" y="1339215"/>
                  </a:lnTo>
                  <a:lnTo>
                    <a:pt x="772478" y="1336357"/>
                  </a:lnTo>
                  <a:lnTo>
                    <a:pt x="767715" y="1331595"/>
                  </a:lnTo>
                  <a:lnTo>
                    <a:pt x="744855" y="1322070"/>
                  </a:lnTo>
                  <a:lnTo>
                    <a:pt x="741045" y="1319213"/>
                  </a:lnTo>
                  <a:lnTo>
                    <a:pt x="737235" y="1315403"/>
                  </a:lnTo>
                  <a:lnTo>
                    <a:pt x="731520" y="1310640"/>
                  </a:lnTo>
                  <a:lnTo>
                    <a:pt x="715328" y="1303020"/>
                  </a:lnTo>
                  <a:lnTo>
                    <a:pt x="707708" y="1301115"/>
                  </a:lnTo>
                  <a:lnTo>
                    <a:pt x="701993" y="1301115"/>
                  </a:lnTo>
                  <a:lnTo>
                    <a:pt x="697230" y="1309688"/>
                  </a:lnTo>
                  <a:lnTo>
                    <a:pt x="692468" y="1312545"/>
                  </a:lnTo>
                  <a:lnTo>
                    <a:pt x="690563" y="1312545"/>
                  </a:lnTo>
                  <a:lnTo>
                    <a:pt x="688658" y="1310640"/>
                  </a:lnTo>
                  <a:lnTo>
                    <a:pt x="686753" y="1306830"/>
                  </a:lnTo>
                  <a:lnTo>
                    <a:pt x="683895" y="1304925"/>
                  </a:lnTo>
                  <a:lnTo>
                    <a:pt x="674370" y="1298257"/>
                  </a:lnTo>
                  <a:lnTo>
                    <a:pt x="672465" y="1296353"/>
                  </a:lnTo>
                  <a:lnTo>
                    <a:pt x="670560" y="1291590"/>
                  </a:lnTo>
                  <a:lnTo>
                    <a:pt x="661035" y="1279207"/>
                  </a:lnTo>
                  <a:lnTo>
                    <a:pt x="659130" y="1277303"/>
                  </a:lnTo>
                  <a:lnTo>
                    <a:pt x="651510" y="1270635"/>
                  </a:lnTo>
                  <a:lnTo>
                    <a:pt x="648653" y="1267778"/>
                  </a:lnTo>
                  <a:lnTo>
                    <a:pt x="649605" y="1265873"/>
                  </a:lnTo>
                  <a:lnTo>
                    <a:pt x="654368" y="1263015"/>
                  </a:lnTo>
                  <a:lnTo>
                    <a:pt x="657225" y="1259205"/>
                  </a:lnTo>
                  <a:lnTo>
                    <a:pt x="659130" y="1257300"/>
                  </a:lnTo>
                  <a:lnTo>
                    <a:pt x="659130" y="1254443"/>
                  </a:lnTo>
                  <a:lnTo>
                    <a:pt x="659130" y="1245870"/>
                  </a:lnTo>
                  <a:lnTo>
                    <a:pt x="659130" y="1243013"/>
                  </a:lnTo>
                  <a:lnTo>
                    <a:pt x="661035" y="1242060"/>
                  </a:lnTo>
                  <a:lnTo>
                    <a:pt x="668655" y="1240155"/>
                  </a:lnTo>
                  <a:lnTo>
                    <a:pt x="671513" y="1239203"/>
                  </a:lnTo>
                  <a:lnTo>
                    <a:pt x="673418" y="1237298"/>
                  </a:lnTo>
                  <a:lnTo>
                    <a:pt x="674370" y="1234440"/>
                  </a:lnTo>
                  <a:lnTo>
                    <a:pt x="673418" y="1231582"/>
                  </a:lnTo>
                  <a:lnTo>
                    <a:pt x="670560" y="1228725"/>
                  </a:lnTo>
                  <a:lnTo>
                    <a:pt x="658178" y="1224915"/>
                  </a:lnTo>
                  <a:lnTo>
                    <a:pt x="654368" y="1223010"/>
                  </a:lnTo>
                  <a:lnTo>
                    <a:pt x="651510" y="1220153"/>
                  </a:lnTo>
                  <a:lnTo>
                    <a:pt x="649605" y="1212532"/>
                  </a:lnTo>
                  <a:lnTo>
                    <a:pt x="647700" y="1211580"/>
                  </a:lnTo>
                  <a:lnTo>
                    <a:pt x="598170" y="1206818"/>
                  </a:lnTo>
                  <a:lnTo>
                    <a:pt x="594360" y="1203960"/>
                  </a:lnTo>
                  <a:lnTo>
                    <a:pt x="592455" y="1201103"/>
                  </a:lnTo>
                  <a:lnTo>
                    <a:pt x="586740" y="1191578"/>
                  </a:lnTo>
                  <a:lnTo>
                    <a:pt x="582930" y="1182053"/>
                  </a:lnTo>
                  <a:lnTo>
                    <a:pt x="573405" y="1166813"/>
                  </a:lnTo>
                  <a:lnTo>
                    <a:pt x="569595" y="1163003"/>
                  </a:lnTo>
                  <a:lnTo>
                    <a:pt x="565785" y="1159193"/>
                  </a:lnTo>
                  <a:lnTo>
                    <a:pt x="510540" y="1117282"/>
                  </a:lnTo>
                  <a:lnTo>
                    <a:pt x="379095" y="1052513"/>
                  </a:lnTo>
                  <a:lnTo>
                    <a:pt x="381000" y="1014413"/>
                  </a:lnTo>
                  <a:lnTo>
                    <a:pt x="381000" y="1001078"/>
                  </a:lnTo>
                  <a:lnTo>
                    <a:pt x="380048" y="994410"/>
                  </a:lnTo>
                  <a:lnTo>
                    <a:pt x="358140" y="936307"/>
                  </a:lnTo>
                  <a:lnTo>
                    <a:pt x="355283" y="931545"/>
                  </a:lnTo>
                  <a:lnTo>
                    <a:pt x="334328" y="903922"/>
                  </a:lnTo>
                  <a:lnTo>
                    <a:pt x="331470" y="900113"/>
                  </a:lnTo>
                  <a:lnTo>
                    <a:pt x="325755" y="892493"/>
                  </a:lnTo>
                  <a:lnTo>
                    <a:pt x="320993" y="882968"/>
                  </a:lnTo>
                  <a:lnTo>
                    <a:pt x="320040" y="878205"/>
                  </a:lnTo>
                  <a:lnTo>
                    <a:pt x="320040" y="874395"/>
                  </a:lnTo>
                  <a:lnTo>
                    <a:pt x="340995" y="839153"/>
                  </a:lnTo>
                  <a:lnTo>
                    <a:pt x="341948" y="837247"/>
                  </a:lnTo>
                  <a:lnTo>
                    <a:pt x="346710" y="833438"/>
                  </a:lnTo>
                  <a:lnTo>
                    <a:pt x="358140" y="826770"/>
                  </a:lnTo>
                  <a:lnTo>
                    <a:pt x="359093" y="824865"/>
                  </a:lnTo>
                  <a:lnTo>
                    <a:pt x="360998" y="821055"/>
                  </a:lnTo>
                  <a:lnTo>
                    <a:pt x="362903" y="816293"/>
                  </a:lnTo>
                  <a:lnTo>
                    <a:pt x="363855" y="807720"/>
                  </a:lnTo>
                  <a:lnTo>
                    <a:pt x="363855" y="802005"/>
                  </a:lnTo>
                  <a:lnTo>
                    <a:pt x="363855" y="798195"/>
                  </a:lnTo>
                  <a:lnTo>
                    <a:pt x="360045" y="783908"/>
                  </a:lnTo>
                  <a:lnTo>
                    <a:pt x="356235" y="778193"/>
                  </a:lnTo>
                  <a:lnTo>
                    <a:pt x="342900" y="767715"/>
                  </a:lnTo>
                  <a:lnTo>
                    <a:pt x="340043" y="765810"/>
                  </a:lnTo>
                  <a:lnTo>
                    <a:pt x="338138" y="762000"/>
                  </a:lnTo>
                  <a:lnTo>
                    <a:pt x="335280" y="756285"/>
                  </a:lnTo>
                  <a:lnTo>
                    <a:pt x="334328" y="752475"/>
                  </a:lnTo>
                  <a:lnTo>
                    <a:pt x="333375" y="728663"/>
                  </a:lnTo>
                  <a:lnTo>
                    <a:pt x="331470" y="723900"/>
                  </a:lnTo>
                  <a:lnTo>
                    <a:pt x="328613" y="720090"/>
                  </a:lnTo>
                  <a:lnTo>
                    <a:pt x="271463" y="698183"/>
                  </a:lnTo>
                  <a:lnTo>
                    <a:pt x="268605" y="695325"/>
                  </a:lnTo>
                  <a:lnTo>
                    <a:pt x="264795" y="692468"/>
                  </a:lnTo>
                  <a:lnTo>
                    <a:pt x="262890" y="685800"/>
                  </a:lnTo>
                  <a:lnTo>
                    <a:pt x="263843" y="663893"/>
                  </a:lnTo>
                  <a:lnTo>
                    <a:pt x="263843" y="659130"/>
                  </a:lnTo>
                  <a:lnTo>
                    <a:pt x="262890" y="650558"/>
                  </a:lnTo>
                  <a:lnTo>
                    <a:pt x="261938" y="645795"/>
                  </a:lnTo>
                  <a:lnTo>
                    <a:pt x="260033" y="642938"/>
                  </a:lnTo>
                  <a:lnTo>
                    <a:pt x="242888" y="628650"/>
                  </a:lnTo>
                  <a:lnTo>
                    <a:pt x="240030" y="627697"/>
                  </a:lnTo>
                  <a:lnTo>
                    <a:pt x="238125" y="628650"/>
                  </a:lnTo>
                  <a:lnTo>
                    <a:pt x="233363" y="630555"/>
                  </a:lnTo>
                  <a:lnTo>
                    <a:pt x="228600" y="631508"/>
                  </a:lnTo>
                  <a:lnTo>
                    <a:pt x="225743" y="628650"/>
                  </a:lnTo>
                  <a:lnTo>
                    <a:pt x="223838" y="624840"/>
                  </a:lnTo>
                  <a:lnTo>
                    <a:pt x="220028" y="619125"/>
                  </a:lnTo>
                  <a:lnTo>
                    <a:pt x="212408" y="611505"/>
                  </a:lnTo>
                  <a:lnTo>
                    <a:pt x="210503" y="609600"/>
                  </a:lnTo>
                  <a:lnTo>
                    <a:pt x="207645" y="608647"/>
                  </a:lnTo>
                  <a:lnTo>
                    <a:pt x="205740" y="608647"/>
                  </a:lnTo>
                  <a:lnTo>
                    <a:pt x="202883" y="609600"/>
                  </a:lnTo>
                  <a:lnTo>
                    <a:pt x="198120" y="612458"/>
                  </a:lnTo>
                  <a:lnTo>
                    <a:pt x="195263" y="612458"/>
                  </a:lnTo>
                  <a:lnTo>
                    <a:pt x="193358" y="612458"/>
                  </a:lnTo>
                  <a:lnTo>
                    <a:pt x="188595" y="609600"/>
                  </a:lnTo>
                  <a:lnTo>
                    <a:pt x="179070" y="597218"/>
                  </a:lnTo>
                  <a:lnTo>
                    <a:pt x="160020" y="562928"/>
                  </a:lnTo>
                  <a:lnTo>
                    <a:pt x="157163" y="555308"/>
                  </a:lnTo>
                  <a:lnTo>
                    <a:pt x="155258" y="548640"/>
                  </a:lnTo>
                  <a:lnTo>
                    <a:pt x="156210" y="545783"/>
                  </a:lnTo>
                  <a:lnTo>
                    <a:pt x="158115" y="543878"/>
                  </a:lnTo>
                  <a:lnTo>
                    <a:pt x="160020" y="541972"/>
                  </a:lnTo>
                  <a:lnTo>
                    <a:pt x="162878" y="541020"/>
                  </a:lnTo>
                  <a:lnTo>
                    <a:pt x="165735" y="541972"/>
                  </a:lnTo>
                  <a:lnTo>
                    <a:pt x="170498" y="543878"/>
                  </a:lnTo>
                  <a:lnTo>
                    <a:pt x="172403" y="543878"/>
                  </a:lnTo>
                  <a:lnTo>
                    <a:pt x="176213" y="541972"/>
                  </a:lnTo>
                  <a:lnTo>
                    <a:pt x="178118" y="539115"/>
                  </a:lnTo>
                  <a:lnTo>
                    <a:pt x="179070" y="534353"/>
                  </a:lnTo>
                  <a:lnTo>
                    <a:pt x="178118" y="520065"/>
                  </a:lnTo>
                  <a:lnTo>
                    <a:pt x="178118" y="512445"/>
                  </a:lnTo>
                  <a:lnTo>
                    <a:pt x="182880" y="495300"/>
                  </a:lnTo>
                  <a:lnTo>
                    <a:pt x="182880" y="490538"/>
                  </a:lnTo>
                  <a:lnTo>
                    <a:pt x="183833" y="485775"/>
                  </a:lnTo>
                  <a:lnTo>
                    <a:pt x="182880" y="478155"/>
                  </a:lnTo>
                  <a:lnTo>
                    <a:pt x="180975" y="474345"/>
                  </a:lnTo>
                  <a:lnTo>
                    <a:pt x="179070" y="471488"/>
                  </a:lnTo>
                  <a:lnTo>
                    <a:pt x="166688" y="463867"/>
                  </a:lnTo>
                  <a:lnTo>
                    <a:pt x="164783" y="461963"/>
                  </a:lnTo>
                  <a:lnTo>
                    <a:pt x="160973" y="456247"/>
                  </a:lnTo>
                  <a:lnTo>
                    <a:pt x="137160" y="408622"/>
                  </a:lnTo>
                  <a:lnTo>
                    <a:pt x="134303" y="407670"/>
                  </a:lnTo>
                  <a:lnTo>
                    <a:pt x="131445" y="407670"/>
                  </a:lnTo>
                  <a:lnTo>
                    <a:pt x="123825" y="410528"/>
                  </a:lnTo>
                  <a:lnTo>
                    <a:pt x="120968" y="410528"/>
                  </a:lnTo>
                  <a:lnTo>
                    <a:pt x="118110" y="410528"/>
                  </a:lnTo>
                  <a:lnTo>
                    <a:pt x="105728" y="404813"/>
                  </a:lnTo>
                  <a:lnTo>
                    <a:pt x="101918" y="402908"/>
                  </a:lnTo>
                  <a:lnTo>
                    <a:pt x="98108" y="400050"/>
                  </a:lnTo>
                  <a:lnTo>
                    <a:pt x="96203" y="396240"/>
                  </a:lnTo>
                  <a:lnTo>
                    <a:pt x="85725" y="359092"/>
                  </a:lnTo>
                  <a:lnTo>
                    <a:pt x="84773" y="354330"/>
                  </a:lnTo>
                  <a:lnTo>
                    <a:pt x="86678" y="352425"/>
                  </a:lnTo>
                  <a:lnTo>
                    <a:pt x="104775" y="346710"/>
                  </a:lnTo>
                  <a:lnTo>
                    <a:pt x="106680" y="343853"/>
                  </a:lnTo>
                  <a:lnTo>
                    <a:pt x="108585" y="339090"/>
                  </a:lnTo>
                  <a:lnTo>
                    <a:pt x="107633" y="329565"/>
                  </a:lnTo>
                  <a:lnTo>
                    <a:pt x="106680" y="325755"/>
                  </a:lnTo>
                  <a:lnTo>
                    <a:pt x="105728" y="322897"/>
                  </a:lnTo>
                  <a:lnTo>
                    <a:pt x="101918" y="319088"/>
                  </a:lnTo>
                  <a:lnTo>
                    <a:pt x="100013" y="318135"/>
                  </a:lnTo>
                  <a:lnTo>
                    <a:pt x="97155" y="318135"/>
                  </a:lnTo>
                  <a:lnTo>
                    <a:pt x="92393" y="320992"/>
                  </a:lnTo>
                  <a:lnTo>
                    <a:pt x="89535" y="324803"/>
                  </a:lnTo>
                  <a:lnTo>
                    <a:pt x="84773" y="327660"/>
                  </a:lnTo>
                  <a:lnTo>
                    <a:pt x="80010" y="330517"/>
                  </a:lnTo>
                  <a:lnTo>
                    <a:pt x="77153" y="330517"/>
                  </a:lnTo>
                  <a:lnTo>
                    <a:pt x="74295" y="328613"/>
                  </a:lnTo>
                  <a:lnTo>
                    <a:pt x="64770" y="314325"/>
                  </a:lnTo>
                  <a:lnTo>
                    <a:pt x="61913" y="312420"/>
                  </a:lnTo>
                  <a:lnTo>
                    <a:pt x="56198" y="309563"/>
                  </a:lnTo>
                  <a:lnTo>
                    <a:pt x="44768" y="307658"/>
                  </a:lnTo>
                  <a:lnTo>
                    <a:pt x="41910" y="305753"/>
                  </a:lnTo>
                  <a:lnTo>
                    <a:pt x="38100" y="301942"/>
                  </a:lnTo>
                  <a:lnTo>
                    <a:pt x="36195" y="297180"/>
                  </a:lnTo>
                  <a:lnTo>
                    <a:pt x="34290" y="291465"/>
                  </a:lnTo>
                  <a:lnTo>
                    <a:pt x="33338" y="287655"/>
                  </a:lnTo>
                  <a:lnTo>
                    <a:pt x="31433" y="284797"/>
                  </a:lnTo>
                  <a:lnTo>
                    <a:pt x="29528" y="282892"/>
                  </a:lnTo>
                  <a:lnTo>
                    <a:pt x="21908" y="273367"/>
                  </a:lnTo>
                  <a:lnTo>
                    <a:pt x="19050" y="264795"/>
                  </a:lnTo>
                  <a:lnTo>
                    <a:pt x="16193" y="259080"/>
                  </a:lnTo>
                  <a:lnTo>
                    <a:pt x="13335" y="256222"/>
                  </a:lnTo>
                  <a:lnTo>
                    <a:pt x="10478" y="256222"/>
                  </a:lnTo>
                  <a:lnTo>
                    <a:pt x="5715" y="256222"/>
                  </a:lnTo>
                  <a:lnTo>
                    <a:pt x="0" y="255270"/>
                  </a:lnTo>
                  <a:lnTo>
                    <a:pt x="14288" y="234315"/>
                  </a:lnTo>
                  <a:lnTo>
                    <a:pt x="17145" y="227647"/>
                  </a:lnTo>
                  <a:lnTo>
                    <a:pt x="16193" y="224790"/>
                  </a:lnTo>
                  <a:lnTo>
                    <a:pt x="13335" y="220028"/>
                  </a:lnTo>
                  <a:lnTo>
                    <a:pt x="12383" y="216217"/>
                  </a:lnTo>
                  <a:lnTo>
                    <a:pt x="13335" y="214313"/>
                  </a:lnTo>
                  <a:lnTo>
                    <a:pt x="15240" y="211455"/>
                  </a:lnTo>
                  <a:lnTo>
                    <a:pt x="23813" y="199072"/>
                  </a:lnTo>
                  <a:lnTo>
                    <a:pt x="37148" y="162878"/>
                  </a:lnTo>
                  <a:lnTo>
                    <a:pt x="68580" y="162878"/>
                  </a:lnTo>
                  <a:lnTo>
                    <a:pt x="71438" y="163830"/>
                  </a:lnTo>
                  <a:lnTo>
                    <a:pt x="75248" y="167640"/>
                  </a:lnTo>
                  <a:lnTo>
                    <a:pt x="78105" y="168592"/>
                  </a:lnTo>
                  <a:lnTo>
                    <a:pt x="80963" y="168592"/>
                  </a:lnTo>
                  <a:lnTo>
                    <a:pt x="85725" y="166688"/>
                  </a:lnTo>
                  <a:lnTo>
                    <a:pt x="91440" y="162878"/>
                  </a:lnTo>
                  <a:lnTo>
                    <a:pt x="97155" y="156210"/>
                  </a:lnTo>
                  <a:lnTo>
                    <a:pt x="107633" y="138113"/>
                  </a:lnTo>
                  <a:lnTo>
                    <a:pt x="111443" y="134303"/>
                  </a:lnTo>
                  <a:lnTo>
                    <a:pt x="115253" y="130492"/>
                  </a:lnTo>
                  <a:lnTo>
                    <a:pt x="148590" y="115253"/>
                  </a:lnTo>
                  <a:lnTo>
                    <a:pt x="161925" y="114300"/>
                  </a:lnTo>
                  <a:lnTo>
                    <a:pt x="165735" y="115253"/>
                  </a:lnTo>
                  <a:lnTo>
                    <a:pt x="167640" y="117158"/>
                  </a:lnTo>
                  <a:lnTo>
                    <a:pt x="172403" y="122872"/>
                  </a:lnTo>
                  <a:lnTo>
                    <a:pt x="176213" y="127635"/>
                  </a:lnTo>
                  <a:lnTo>
                    <a:pt x="178118" y="128588"/>
                  </a:lnTo>
                  <a:lnTo>
                    <a:pt x="180975" y="127635"/>
                  </a:lnTo>
                  <a:lnTo>
                    <a:pt x="197168" y="116205"/>
                  </a:lnTo>
                  <a:lnTo>
                    <a:pt x="200978" y="115253"/>
                  </a:lnTo>
                  <a:lnTo>
                    <a:pt x="208598" y="115253"/>
                  </a:lnTo>
                  <a:lnTo>
                    <a:pt x="212408" y="115253"/>
                  </a:lnTo>
                  <a:lnTo>
                    <a:pt x="215265" y="116205"/>
                  </a:lnTo>
                  <a:lnTo>
                    <a:pt x="218123" y="120015"/>
                  </a:lnTo>
                  <a:lnTo>
                    <a:pt x="220028" y="125730"/>
                  </a:lnTo>
                  <a:lnTo>
                    <a:pt x="221933" y="134303"/>
                  </a:lnTo>
                  <a:lnTo>
                    <a:pt x="223838" y="139065"/>
                  </a:lnTo>
                  <a:lnTo>
                    <a:pt x="226695" y="143828"/>
                  </a:lnTo>
                  <a:lnTo>
                    <a:pt x="228600" y="146685"/>
                  </a:lnTo>
                  <a:lnTo>
                    <a:pt x="240983" y="150495"/>
                  </a:lnTo>
                  <a:lnTo>
                    <a:pt x="294323" y="152400"/>
                  </a:lnTo>
                  <a:lnTo>
                    <a:pt x="315278" y="148590"/>
                  </a:lnTo>
                  <a:lnTo>
                    <a:pt x="320040" y="148590"/>
                  </a:lnTo>
                  <a:lnTo>
                    <a:pt x="322898" y="150495"/>
                  </a:lnTo>
                  <a:lnTo>
                    <a:pt x="324803" y="155258"/>
                  </a:lnTo>
                  <a:lnTo>
                    <a:pt x="327660" y="156210"/>
                  </a:lnTo>
                  <a:lnTo>
                    <a:pt x="346710" y="156210"/>
                  </a:lnTo>
                  <a:lnTo>
                    <a:pt x="391478" y="131445"/>
                  </a:lnTo>
                  <a:lnTo>
                    <a:pt x="400050" y="129540"/>
                  </a:lnTo>
                  <a:lnTo>
                    <a:pt x="419100" y="127635"/>
                  </a:lnTo>
                  <a:lnTo>
                    <a:pt x="423863" y="125730"/>
                  </a:lnTo>
                  <a:lnTo>
                    <a:pt x="426720" y="123825"/>
                  </a:lnTo>
                  <a:lnTo>
                    <a:pt x="429578" y="120967"/>
                  </a:lnTo>
                  <a:lnTo>
                    <a:pt x="432435" y="113347"/>
                  </a:lnTo>
                  <a:lnTo>
                    <a:pt x="435293" y="104775"/>
                  </a:lnTo>
                  <a:lnTo>
                    <a:pt x="438150" y="100965"/>
                  </a:lnTo>
                  <a:lnTo>
                    <a:pt x="441008" y="97155"/>
                  </a:lnTo>
                  <a:lnTo>
                    <a:pt x="453390" y="89535"/>
                  </a:lnTo>
                  <a:lnTo>
                    <a:pt x="461963" y="86678"/>
                  </a:lnTo>
                  <a:lnTo>
                    <a:pt x="464820" y="84772"/>
                  </a:lnTo>
                  <a:lnTo>
                    <a:pt x="467678" y="81915"/>
                  </a:lnTo>
                  <a:lnTo>
                    <a:pt x="470535" y="72390"/>
                  </a:lnTo>
                  <a:lnTo>
                    <a:pt x="473393" y="68580"/>
                  </a:lnTo>
                  <a:lnTo>
                    <a:pt x="476250" y="64770"/>
                  </a:lnTo>
                  <a:lnTo>
                    <a:pt x="482918" y="60960"/>
                  </a:lnTo>
                  <a:lnTo>
                    <a:pt x="495300" y="55245"/>
                  </a:lnTo>
                  <a:lnTo>
                    <a:pt x="502920" y="45720"/>
                  </a:lnTo>
                  <a:lnTo>
                    <a:pt x="522923" y="6667"/>
                  </a:lnTo>
                  <a:lnTo>
                    <a:pt x="542925" y="18097"/>
                  </a:lnTo>
                  <a:lnTo>
                    <a:pt x="593408" y="24765"/>
                  </a:lnTo>
                  <a:lnTo>
                    <a:pt x="599123" y="23813"/>
                  </a:lnTo>
                  <a:lnTo>
                    <a:pt x="601028" y="21908"/>
                  </a:lnTo>
                  <a:lnTo>
                    <a:pt x="603885" y="16192"/>
                  </a:lnTo>
                  <a:lnTo>
                    <a:pt x="604838" y="13335"/>
                  </a:lnTo>
                  <a:lnTo>
                    <a:pt x="608648" y="9525"/>
                  </a:lnTo>
                  <a:lnTo>
                    <a:pt x="614363" y="5715"/>
                  </a:lnTo>
                  <a:lnTo>
                    <a:pt x="628650" y="953"/>
                  </a:lnTo>
                  <a:lnTo>
                    <a:pt x="636270" y="0"/>
                  </a:lnTo>
                  <a:lnTo>
                    <a:pt x="641033" y="953"/>
                  </a:lnTo>
                  <a:lnTo>
                    <a:pt x="642938" y="2858"/>
                  </a:lnTo>
                  <a:lnTo>
                    <a:pt x="647700" y="6667"/>
                  </a:lnTo>
                  <a:lnTo>
                    <a:pt x="652463" y="9525"/>
                  </a:lnTo>
                  <a:lnTo>
                    <a:pt x="666750" y="16192"/>
                  </a:lnTo>
                  <a:lnTo>
                    <a:pt x="670560" y="18097"/>
                  </a:lnTo>
                  <a:lnTo>
                    <a:pt x="830580" y="51435"/>
                  </a:lnTo>
                  <a:lnTo>
                    <a:pt x="870585" y="69533"/>
                  </a:lnTo>
                  <a:lnTo>
                    <a:pt x="876300" y="70485"/>
                  </a:lnTo>
                  <a:lnTo>
                    <a:pt x="880110" y="70485"/>
                  </a:lnTo>
                  <a:lnTo>
                    <a:pt x="884873" y="63817"/>
                  </a:lnTo>
                  <a:lnTo>
                    <a:pt x="900113" y="60008"/>
                  </a:lnTo>
                  <a:lnTo>
                    <a:pt x="922020" y="59055"/>
                  </a:lnTo>
                  <a:lnTo>
                    <a:pt x="929640" y="56197"/>
                  </a:lnTo>
                  <a:lnTo>
                    <a:pt x="934403" y="53340"/>
                  </a:lnTo>
                  <a:lnTo>
                    <a:pt x="934403" y="50483"/>
                  </a:lnTo>
                  <a:lnTo>
                    <a:pt x="932498" y="48578"/>
                  </a:lnTo>
                  <a:lnTo>
                    <a:pt x="916305" y="39053"/>
                  </a:lnTo>
                  <a:lnTo>
                    <a:pt x="915353" y="35242"/>
                  </a:lnTo>
                  <a:lnTo>
                    <a:pt x="916305" y="32385"/>
                  </a:lnTo>
                  <a:lnTo>
                    <a:pt x="919163" y="28575"/>
                  </a:lnTo>
                  <a:lnTo>
                    <a:pt x="946785" y="16192"/>
                  </a:lnTo>
                  <a:lnTo>
                    <a:pt x="964883" y="11430"/>
                  </a:lnTo>
                  <a:lnTo>
                    <a:pt x="969645" y="12383"/>
                  </a:lnTo>
                  <a:lnTo>
                    <a:pt x="972503" y="13335"/>
                  </a:lnTo>
                  <a:lnTo>
                    <a:pt x="978218" y="22860"/>
                  </a:lnTo>
                  <a:lnTo>
                    <a:pt x="985838" y="30480"/>
                  </a:lnTo>
                  <a:lnTo>
                    <a:pt x="1002983" y="44767"/>
                  </a:lnTo>
                  <a:lnTo>
                    <a:pt x="1042988" y="62865"/>
                  </a:lnTo>
                  <a:lnTo>
                    <a:pt x="1046798" y="62865"/>
                  </a:lnTo>
                  <a:lnTo>
                    <a:pt x="1049655" y="61913"/>
                  </a:lnTo>
                  <a:lnTo>
                    <a:pt x="1050608" y="59055"/>
                  </a:lnTo>
                  <a:lnTo>
                    <a:pt x="1049655" y="50483"/>
                  </a:lnTo>
                  <a:lnTo>
                    <a:pt x="1050608" y="47625"/>
                  </a:lnTo>
                  <a:lnTo>
                    <a:pt x="1052513" y="45720"/>
                  </a:lnTo>
                  <a:lnTo>
                    <a:pt x="1055371" y="42863"/>
                  </a:lnTo>
                  <a:lnTo>
                    <a:pt x="1060133" y="40958"/>
                  </a:lnTo>
                  <a:lnTo>
                    <a:pt x="1063943" y="41910"/>
                  </a:lnTo>
                  <a:lnTo>
                    <a:pt x="1075373" y="44767"/>
                  </a:lnTo>
                  <a:lnTo>
                    <a:pt x="1078230" y="43815"/>
                  </a:lnTo>
                  <a:lnTo>
                    <a:pt x="1080135" y="41910"/>
                  </a:lnTo>
                  <a:lnTo>
                    <a:pt x="1080135" y="38100"/>
                  </a:lnTo>
                  <a:lnTo>
                    <a:pt x="1079183" y="32385"/>
                  </a:lnTo>
                  <a:lnTo>
                    <a:pt x="1080135" y="29528"/>
                  </a:lnTo>
                  <a:lnTo>
                    <a:pt x="1082040" y="27622"/>
                  </a:lnTo>
                  <a:lnTo>
                    <a:pt x="1093471" y="24765"/>
                  </a:lnTo>
                  <a:lnTo>
                    <a:pt x="1097280" y="23813"/>
                  </a:lnTo>
                  <a:lnTo>
                    <a:pt x="1100138" y="20955"/>
                  </a:lnTo>
                  <a:lnTo>
                    <a:pt x="1104900" y="18097"/>
                  </a:lnTo>
                  <a:lnTo>
                    <a:pt x="1116330" y="16192"/>
                  </a:lnTo>
                  <a:lnTo>
                    <a:pt x="1121093" y="13335"/>
                  </a:lnTo>
                  <a:lnTo>
                    <a:pt x="1123950" y="10478"/>
                  </a:lnTo>
                  <a:lnTo>
                    <a:pt x="1124903" y="6667"/>
                  </a:lnTo>
                  <a:lnTo>
                    <a:pt x="1126808" y="3810"/>
                  </a:lnTo>
                  <a:lnTo>
                    <a:pt x="1130618" y="3810"/>
                  </a:lnTo>
                  <a:lnTo>
                    <a:pt x="1147763" y="10478"/>
                  </a:lnTo>
                  <a:lnTo>
                    <a:pt x="1149668" y="12383"/>
                  </a:lnTo>
                  <a:lnTo>
                    <a:pt x="1151573" y="14288"/>
                  </a:lnTo>
                  <a:lnTo>
                    <a:pt x="1151573" y="17145"/>
                  </a:lnTo>
                  <a:lnTo>
                    <a:pt x="1149668" y="34290"/>
                  </a:lnTo>
                  <a:lnTo>
                    <a:pt x="1150621" y="76200"/>
                  </a:lnTo>
                  <a:lnTo>
                    <a:pt x="1150621" y="81915"/>
                  </a:lnTo>
                  <a:lnTo>
                    <a:pt x="1152525" y="86678"/>
                  </a:lnTo>
                  <a:lnTo>
                    <a:pt x="1154430" y="92392"/>
                  </a:lnTo>
                  <a:lnTo>
                    <a:pt x="1166813" y="109538"/>
                  </a:lnTo>
                  <a:lnTo>
                    <a:pt x="1184910" y="130492"/>
                  </a:lnTo>
                  <a:lnTo>
                    <a:pt x="1207771" y="150495"/>
                  </a:lnTo>
                  <a:lnTo>
                    <a:pt x="1211580" y="154305"/>
                  </a:lnTo>
                  <a:lnTo>
                    <a:pt x="1214438" y="159067"/>
                  </a:lnTo>
                  <a:lnTo>
                    <a:pt x="1216343" y="163830"/>
                  </a:lnTo>
                  <a:lnTo>
                    <a:pt x="1217296" y="169545"/>
                  </a:lnTo>
                  <a:lnTo>
                    <a:pt x="1216343" y="175260"/>
                  </a:lnTo>
                  <a:lnTo>
                    <a:pt x="1211580" y="183833"/>
                  </a:lnTo>
                  <a:lnTo>
                    <a:pt x="1209675" y="190500"/>
                  </a:lnTo>
                  <a:lnTo>
                    <a:pt x="1208723" y="196215"/>
                  </a:lnTo>
                  <a:lnTo>
                    <a:pt x="1210628" y="218122"/>
                  </a:lnTo>
                  <a:lnTo>
                    <a:pt x="1211580" y="223838"/>
                  </a:lnTo>
                  <a:lnTo>
                    <a:pt x="1212533" y="226695"/>
                  </a:lnTo>
                  <a:lnTo>
                    <a:pt x="1215390" y="230505"/>
                  </a:lnTo>
                  <a:lnTo>
                    <a:pt x="1219200" y="234315"/>
                  </a:lnTo>
                  <a:lnTo>
                    <a:pt x="1222058" y="235267"/>
                  </a:lnTo>
                  <a:lnTo>
                    <a:pt x="1223963" y="234315"/>
                  </a:lnTo>
                  <a:lnTo>
                    <a:pt x="1227773" y="228600"/>
                  </a:lnTo>
                  <a:lnTo>
                    <a:pt x="1230630" y="226695"/>
                  </a:lnTo>
                  <a:lnTo>
                    <a:pt x="1236346" y="224790"/>
                  </a:lnTo>
                  <a:lnTo>
                    <a:pt x="1240155" y="225742"/>
                  </a:lnTo>
                  <a:lnTo>
                    <a:pt x="1243013" y="227647"/>
                  </a:lnTo>
                  <a:lnTo>
                    <a:pt x="1245871" y="232410"/>
                  </a:lnTo>
                  <a:lnTo>
                    <a:pt x="1245871" y="235267"/>
                  </a:lnTo>
                  <a:lnTo>
                    <a:pt x="1246823" y="240983"/>
                  </a:lnTo>
                  <a:lnTo>
                    <a:pt x="1246823" y="243840"/>
                  </a:lnTo>
                  <a:lnTo>
                    <a:pt x="1248728" y="246697"/>
                  </a:lnTo>
                  <a:lnTo>
                    <a:pt x="1253490" y="251460"/>
                  </a:lnTo>
                  <a:lnTo>
                    <a:pt x="1255396" y="254317"/>
                  </a:lnTo>
                  <a:lnTo>
                    <a:pt x="1255396" y="257175"/>
                  </a:lnTo>
                  <a:lnTo>
                    <a:pt x="1257300" y="260985"/>
                  </a:lnTo>
                  <a:lnTo>
                    <a:pt x="1260158" y="265747"/>
                  </a:lnTo>
                  <a:lnTo>
                    <a:pt x="1279208" y="280035"/>
                  </a:lnTo>
                  <a:lnTo>
                    <a:pt x="1283018" y="283845"/>
                  </a:lnTo>
                  <a:lnTo>
                    <a:pt x="1284923" y="288608"/>
                  </a:lnTo>
                  <a:lnTo>
                    <a:pt x="1285875" y="294322"/>
                  </a:lnTo>
                  <a:lnTo>
                    <a:pt x="1285875" y="300990"/>
                  </a:lnTo>
                  <a:lnTo>
                    <a:pt x="1283971" y="307658"/>
                  </a:lnTo>
                  <a:lnTo>
                    <a:pt x="1280160" y="312420"/>
                  </a:lnTo>
                  <a:lnTo>
                    <a:pt x="1275398" y="314325"/>
                  </a:lnTo>
                  <a:lnTo>
                    <a:pt x="1263968" y="316230"/>
                  </a:lnTo>
                  <a:lnTo>
                    <a:pt x="1262063" y="317183"/>
                  </a:lnTo>
                  <a:lnTo>
                    <a:pt x="1260158" y="320040"/>
                  </a:lnTo>
                  <a:lnTo>
                    <a:pt x="1259205" y="330517"/>
                  </a:lnTo>
                  <a:lnTo>
                    <a:pt x="1259205" y="334328"/>
                  </a:lnTo>
                  <a:lnTo>
                    <a:pt x="1260158" y="339090"/>
                  </a:lnTo>
                  <a:lnTo>
                    <a:pt x="1264921" y="344805"/>
                  </a:lnTo>
                  <a:lnTo>
                    <a:pt x="1266825" y="347663"/>
                  </a:lnTo>
                  <a:lnTo>
                    <a:pt x="1266825" y="351472"/>
                  </a:lnTo>
                  <a:lnTo>
                    <a:pt x="1266825" y="358140"/>
                  </a:lnTo>
                  <a:lnTo>
                    <a:pt x="1267778" y="362903"/>
                  </a:lnTo>
                  <a:lnTo>
                    <a:pt x="1270635" y="362903"/>
                  </a:lnTo>
                  <a:lnTo>
                    <a:pt x="1272540" y="362903"/>
                  </a:lnTo>
                  <a:lnTo>
                    <a:pt x="1280160" y="356235"/>
                  </a:lnTo>
                  <a:lnTo>
                    <a:pt x="1283018" y="354330"/>
                  </a:lnTo>
                  <a:lnTo>
                    <a:pt x="1292543" y="350520"/>
                  </a:lnTo>
                  <a:lnTo>
                    <a:pt x="1301115" y="349567"/>
                  </a:lnTo>
                  <a:lnTo>
                    <a:pt x="1352550" y="357188"/>
                  </a:lnTo>
                  <a:lnTo>
                    <a:pt x="1371600" y="356235"/>
                  </a:lnTo>
                  <a:lnTo>
                    <a:pt x="1373505" y="355283"/>
                  </a:lnTo>
                  <a:lnTo>
                    <a:pt x="1377315" y="351472"/>
                  </a:lnTo>
                  <a:lnTo>
                    <a:pt x="1379221" y="348615"/>
                  </a:lnTo>
                  <a:lnTo>
                    <a:pt x="1381125" y="342900"/>
                  </a:lnTo>
                  <a:lnTo>
                    <a:pt x="1382078" y="335280"/>
                  </a:lnTo>
                  <a:lnTo>
                    <a:pt x="1383983" y="332422"/>
                  </a:lnTo>
                  <a:lnTo>
                    <a:pt x="1385888" y="329565"/>
                  </a:lnTo>
                  <a:lnTo>
                    <a:pt x="1389698" y="327660"/>
                  </a:lnTo>
                  <a:lnTo>
                    <a:pt x="1392555" y="327660"/>
                  </a:lnTo>
                  <a:lnTo>
                    <a:pt x="1396365" y="329565"/>
                  </a:lnTo>
                  <a:lnTo>
                    <a:pt x="1403985" y="336233"/>
                  </a:lnTo>
                  <a:lnTo>
                    <a:pt x="1407796" y="338138"/>
                  </a:lnTo>
                  <a:lnTo>
                    <a:pt x="1410653" y="338138"/>
                  </a:lnTo>
                  <a:lnTo>
                    <a:pt x="1420178" y="333375"/>
                  </a:lnTo>
                  <a:lnTo>
                    <a:pt x="1433513" y="321945"/>
                  </a:lnTo>
                  <a:lnTo>
                    <a:pt x="1447800" y="320040"/>
                  </a:lnTo>
                  <a:lnTo>
                    <a:pt x="1497330" y="33147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6" name="Полилиния: фигура 26">
              <a:extLst>
                <a:ext uri="{FF2B5EF4-FFF2-40B4-BE49-F238E27FC236}">
                  <a16:creationId xmlns:a16="http://schemas.microsoft.com/office/drawing/2014/main" id="{BB93F478-8DD8-133D-7B02-5DAC0E2BBF39}"/>
                </a:ext>
              </a:extLst>
            </p:cNvPr>
            <p:cNvSpPr/>
            <p:nvPr/>
          </p:nvSpPr>
          <p:spPr>
            <a:xfrm>
              <a:off x="7708582" y="3748088"/>
              <a:ext cx="1590675" cy="1447800"/>
            </a:xfrm>
            <a:custGeom>
              <a:avLst/>
              <a:gdLst>
                <a:gd name="connsiteX0" fmla="*/ 1250632 w 1590675"/>
                <a:gd name="connsiteY0" fmla="*/ 225743 h 1447800"/>
                <a:gd name="connsiteX1" fmla="*/ 1251585 w 1590675"/>
                <a:gd name="connsiteY1" fmla="*/ 258128 h 1447800"/>
                <a:gd name="connsiteX2" fmla="*/ 1254443 w 1590675"/>
                <a:gd name="connsiteY2" fmla="*/ 266700 h 1447800"/>
                <a:gd name="connsiteX3" fmla="*/ 1260157 w 1590675"/>
                <a:gd name="connsiteY3" fmla="*/ 269557 h 1447800"/>
                <a:gd name="connsiteX4" fmla="*/ 1266825 w 1590675"/>
                <a:gd name="connsiteY4" fmla="*/ 270510 h 1447800"/>
                <a:gd name="connsiteX5" fmla="*/ 1272540 w 1590675"/>
                <a:gd name="connsiteY5" fmla="*/ 270510 h 1447800"/>
                <a:gd name="connsiteX6" fmla="*/ 1285875 w 1590675"/>
                <a:gd name="connsiteY6" fmla="*/ 268605 h 1447800"/>
                <a:gd name="connsiteX7" fmla="*/ 1289685 w 1590675"/>
                <a:gd name="connsiteY7" fmla="*/ 268605 h 1447800"/>
                <a:gd name="connsiteX8" fmla="*/ 1291590 w 1590675"/>
                <a:gd name="connsiteY8" fmla="*/ 269557 h 1447800"/>
                <a:gd name="connsiteX9" fmla="*/ 1292543 w 1590675"/>
                <a:gd name="connsiteY9" fmla="*/ 271463 h 1447800"/>
                <a:gd name="connsiteX10" fmla="*/ 1293495 w 1590675"/>
                <a:gd name="connsiteY10" fmla="*/ 277178 h 1447800"/>
                <a:gd name="connsiteX11" fmla="*/ 1294448 w 1590675"/>
                <a:gd name="connsiteY11" fmla="*/ 288607 h 1447800"/>
                <a:gd name="connsiteX12" fmla="*/ 1295400 w 1590675"/>
                <a:gd name="connsiteY12" fmla="*/ 293370 h 1447800"/>
                <a:gd name="connsiteX13" fmla="*/ 1310640 w 1590675"/>
                <a:gd name="connsiteY13" fmla="*/ 325755 h 1447800"/>
                <a:gd name="connsiteX14" fmla="*/ 1317307 w 1590675"/>
                <a:gd name="connsiteY14" fmla="*/ 345757 h 1447800"/>
                <a:gd name="connsiteX15" fmla="*/ 1321118 w 1590675"/>
                <a:gd name="connsiteY15" fmla="*/ 350520 h 1447800"/>
                <a:gd name="connsiteX16" fmla="*/ 1323975 w 1590675"/>
                <a:gd name="connsiteY16" fmla="*/ 353378 h 1447800"/>
                <a:gd name="connsiteX17" fmla="*/ 1337310 w 1590675"/>
                <a:gd name="connsiteY17" fmla="*/ 356235 h 1447800"/>
                <a:gd name="connsiteX18" fmla="*/ 1341120 w 1590675"/>
                <a:gd name="connsiteY18" fmla="*/ 358140 h 1447800"/>
                <a:gd name="connsiteX19" fmla="*/ 1342073 w 1590675"/>
                <a:gd name="connsiteY19" fmla="*/ 360045 h 1447800"/>
                <a:gd name="connsiteX20" fmla="*/ 1342073 w 1590675"/>
                <a:gd name="connsiteY20" fmla="*/ 361950 h 1447800"/>
                <a:gd name="connsiteX21" fmla="*/ 1340168 w 1590675"/>
                <a:gd name="connsiteY21" fmla="*/ 363855 h 1447800"/>
                <a:gd name="connsiteX22" fmla="*/ 1335405 w 1590675"/>
                <a:gd name="connsiteY22" fmla="*/ 365760 h 1447800"/>
                <a:gd name="connsiteX23" fmla="*/ 1330643 w 1590675"/>
                <a:gd name="connsiteY23" fmla="*/ 367665 h 1447800"/>
                <a:gd name="connsiteX24" fmla="*/ 1327785 w 1590675"/>
                <a:gd name="connsiteY24" fmla="*/ 368618 h 1447800"/>
                <a:gd name="connsiteX25" fmla="*/ 1326832 w 1590675"/>
                <a:gd name="connsiteY25" fmla="*/ 371475 h 1447800"/>
                <a:gd name="connsiteX26" fmla="*/ 1326832 w 1590675"/>
                <a:gd name="connsiteY26" fmla="*/ 378143 h 1447800"/>
                <a:gd name="connsiteX27" fmla="*/ 1328738 w 1590675"/>
                <a:gd name="connsiteY27" fmla="*/ 381953 h 1447800"/>
                <a:gd name="connsiteX28" fmla="*/ 1330643 w 1590675"/>
                <a:gd name="connsiteY28" fmla="*/ 384810 h 1447800"/>
                <a:gd name="connsiteX29" fmla="*/ 1332548 w 1590675"/>
                <a:gd name="connsiteY29" fmla="*/ 386715 h 1447800"/>
                <a:gd name="connsiteX30" fmla="*/ 1342073 w 1590675"/>
                <a:gd name="connsiteY30" fmla="*/ 388620 h 1447800"/>
                <a:gd name="connsiteX31" fmla="*/ 1343978 w 1590675"/>
                <a:gd name="connsiteY31" fmla="*/ 390525 h 1447800"/>
                <a:gd name="connsiteX32" fmla="*/ 1343978 w 1590675"/>
                <a:gd name="connsiteY32" fmla="*/ 393382 h 1447800"/>
                <a:gd name="connsiteX33" fmla="*/ 1342073 w 1590675"/>
                <a:gd name="connsiteY33" fmla="*/ 402907 h 1447800"/>
                <a:gd name="connsiteX34" fmla="*/ 1341120 w 1590675"/>
                <a:gd name="connsiteY34" fmla="*/ 407670 h 1447800"/>
                <a:gd name="connsiteX35" fmla="*/ 1342073 w 1590675"/>
                <a:gd name="connsiteY35" fmla="*/ 412432 h 1447800"/>
                <a:gd name="connsiteX36" fmla="*/ 1343978 w 1590675"/>
                <a:gd name="connsiteY36" fmla="*/ 415290 h 1447800"/>
                <a:gd name="connsiteX37" fmla="*/ 1345882 w 1590675"/>
                <a:gd name="connsiteY37" fmla="*/ 416243 h 1447800"/>
                <a:gd name="connsiteX38" fmla="*/ 1351598 w 1590675"/>
                <a:gd name="connsiteY38" fmla="*/ 415290 h 1447800"/>
                <a:gd name="connsiteX39" fmla="*/ 1367790 w 1590675"/>
                <a:gd name="connsiteY39" fmla="*/ 408622 h 1447800"/>
                <a:gd name="connsiteX40" fmla="*/ 1373505 w 1590675"/>
                <a:gd name="connsiteY40" fmla="*/ 412432 h 1447800"/>
                <a:gd name="connsiteX41" fmla="*/ 1382078 w 1590675"/>
                <a:gd name="connsiteY41" fmla="*/ 420053 h 1447800"/>
                <a:gd name="connsiteX42" fmla="*/ 1403032 w 1590675"/>
                <a:gd name="connsiteY42" fmla="*/ 442913 h 1447800"/>
                <a:gd name="connsiteX43" fmla="*/ 1411605 w 1590675"/>
                <a:gd name="connsiteY43" fmla="*/ 451485 h 1447800"/>
                <a:gd name="connsiteX44" fmla="*/ 1418273 w 1590675"/>
                <a:gd name="connsiteY44" fmla="*/ 455295 h 1447800"/>
                <a:gd name="connsiteX45" fmla="*/ 1420178 w 1590675"/>
                <a:gd name="connsiteY45" fmla="*/ 453390 h 1447800"/>
                <a:gd name="connsiteX46" fmla="*/ 1423988 w 1590675"/>
                <a:gd name="connsiteY46" fmla="*/ 450532 h 1447800"/>
                <a:gd name="connsiteX47" fmla="*/ 1437323 w 1590675"/>
                <a:gd name="connsiteY47" fmla="*/ 439103 h 1447800"/>
                <a:gd name="connsiteX48" fmla="*/ 1441132 w 1590675"/>
                <a:gd name="connsiteY48" fmla="*/ 439103 h 1447800"/>
                <a:gd name="connsiteX49" fmla="*/ 1444943 w 1590675"/>
                <a:gd name="connsiteY49" fmla="*/ 440055 h 1447800"/>
                <a:gd name="connsiteX50" fmla="*/ 1467803 w 1590675"/>
                <a:gd name="connsiteY50" fmla="*/ 454343 h 1447800"/>
                <a:gd name="connsiteX51" fmla="*/ 1471613 w 1590675"/>
                <a:gd name="connsiteY51" fmla="*/ 458153 h 1447800"/>
                <a:gd name="connsiteX52" fmla="*/ 1485900 w 1590675"/>
                <a:gd name="connsiteY52" fmla="*/ 476250 h 1447800"/>
                <a:gd name="connsiteX53" fmla="*/ 1526857 w 1590675"/>
                <a:gd name="connsiteY53" fmla="*/ 512445 h 1447800"/>
                <a:gd name="connsiteX54" fmla="*/ 1528763 w 1590675"/>
                <a:gd name="connsiteY54" fmla="*/ 514350 h 1447800"/>
                <a:gd name="connsiteX55" fmla="*/ 1539240 w 1590675"/>
                <a:gd name="connsiteY55" fmla="*/ 530543 h 1447800"/>
                <a:gd name="connsiteX56" fmla="*/ 1542098 w 1590675"/>
                <a:gd name="connsiteY56" fmla="*/ 533400 h 1447800"/>
                <a:gd name="connsiteX57" fmla="*/ 1544955 w 1590675"/>
                <a:gd name="connsiteY57" fmla="*/ 533400 h 1447800"/>
                <a:gd name="connsiteX58" fmla="*/ 1548765 w 1590675"/>
                <a:gd name="connsiteY58" fmla="*/ 530543 h 1447800"/>
                <a:gd name="connsiteX59" fmla="*/ 1549718 w 1590675"/>
                <a:gd name="connsiteY59" fmla="*/ 525780 h 1447800"/>
                <a:gd name="connsiteX60" fmla="*/ 1551623 w 1590675"/>
                <a:gd name="connsiteY60" fmla="*/ 523875 h 1447800"/>
                <a:gd name="connsiteX61" fmla="*/ 1554480 w 1590675"/>
                <a:gd name="connsiteY61" fmla="*/ 522922 h 1447800"/>
                <a:gd name="connsiteX62" fmla="*/ 1576388 w 1590675"/>
                <a:gd name="connsiteY62" fmla="*/ 526732 h 1447800"/>
                <a:gd name="connsiteX63" fmla="*/ 1585913 w 1590675"/>
                <a:gd name="connsiteY63" fmla="*/ 526732 h 1447800"/>
                <a:gd name="connsiteX64" fmla="*/ 1589723 w 1590675"/>
                <a:gd name="connsiteY64" fmla="*/ 527685 h 1447800"/>
                <a:gd name="connsiteX65" fmla="*/ 1590675 w 1590675"/>
                <a:gd name="connsiteY65" fmla="*/ 529590 h 1447800"/>
                <a:gd name="connsiteX66" fmla="*/ 1590675 w 1590675"/>
                <a:gd name="connsiteY66" fmla="*/ 532447 h 1447800"/>
                <a:gd name="connsiteX67" fmla="*/ 1588770 w 1590675"/>
                <a:gd name="connsiteY67" fmla="*/ 535305 h 1447800"/>
                <a:gd name="connsiteX68" fmla="*/ 1581150 w 1590675"/>
                <a:gd name="connsiteY68" fmla="*/ 550545 h 1447800"/>
                <a:gd name="connsiteX69" fmla="*/ 1579245 w 1590675"/>
                <a:gd name="connsiteY69" fmla="*/ 556260 h 1447800"/>
                <a:gd name="connsiteX70" fmla="*/ 1579245 w 1590675"/>
                <a:gd name="connsiteY70" fmla="*/ 562928 h 1447800"/>
                <a:gd name="connsiteX71" fmla="*/ 1579245 w 1590675"/>
                <a:gd name="connsiteY71" fmla="*/ 565785 h 1447800"/>
                <a:gd name="connsiteX72" fmla="*/ 1573530 w 1590675"/>
                <a:gd name="connsiteY72" fmla="*/ 576263 h 1447800"/>
                <a:gd name="connsiteX73" fmla="*/ 1571625 w 1590675"/>
                <a:gd name="connsiteY73" fmla="*/ 582930 h 1447800"/>
                <a:gd name="connsiteX74" fmla="*/ 1570673 w 1590675"/>
                <a:gd name="connsiteY74" fmla="*/ 585788 h 1447800"/>
                <a:gd name="connsiteX75" fmla="*/ 1570673 w 1590675"/>
                <a:gd name="connsiteY75" fmla="*/ 591503 h 1447800"/>
                <a:gd name="connsiteX76" fmla="*/ 1570673 w 1590675"/>
                <a:gd name="connsiteY76" fmla="*/ 598170 h 1447800"/>
                <a:gd name="connsiteX77" fmla="*/ 1572578 w 1590675"/>
                <a:gd name="connsiteY77" fmla="*/ 604838 h 1447800"/>
                <a:gd name="connsiteX78" fmla="*/ 1571625 w 1590675"/>
                <a:gd name="connsiteY78" fmla="*/ 607695 h 1447800"/>
                <a:gd name="connsiteX79" fmla="*/ 1568768 w 1590675"/>
                <a:gd name="connsiteY79" fmla="*/ 611505 h 1447800"/>
                <a:gd name="connsiteX80" fmla="*/ 1564957 w 1590675"/>
                <a:gd name="connsiteY80" fmla="*/ 614363 h 1447800"/>
                <a:gd name="connsiteX81" fmla="*/ 1560195 w 1590675"/>
                <a:gd name="connsiteY81" fmla="*/ 615315 h 1447800"/>
                <a:gd name="connsiteX82" fmla="*/ 1559243 w 1590675"/>
                <a:gd name="connsiteY82" fmla="*/ 614363 h 1447800"/>
                <a:gd name="connsiteX83" fmla="*/ 1557338 w 1590675"/>
                <a:gd name="connsiteY83" fmla="*/ 609600 h 1447800"/>
                <a:gd name="connsiteX84" fmla="*/ 1553528 w 1590675"/>
                <a:gd name="connsiteY84" fmla="*/ 602932 h 1447800"/>
                <a:gd name="connsiteX85" fmla="*/ 1547813 w 1590675"/>
                <a:gd name="connsiteY85" fmla="*/ 597218 h 1447800"/>
                <a:gd name="connsiteX86" fmla="*/ 1545907 w 1590675"/>
                <a:gd name="connsiteY86" fmla="*/ 596265 h 1447800"/>
                <a:gd name="connsiteX87" fmla="*/ 1541145 w 1590675"/>
                <a:gd name="connsiteY87" fmla="*/ 594360 h 1447800"/>
                <a:gd name="connsiteX88" fmla="*/ 1536382 w 1590675"/>
                <a:gd name="connsiteY88" fmla="*/ 594360 h 1447800"/>
                <a:gd name="connsiteX89" fmla="*/ 1534478 w 1590675"/>
                <a:gd name="connsiteY89" fmla="*/ 595313 h 1447800"/>
                <a:gd name="connsiteX90" fmla="*/ 1530668 w 1590675"/>
                <a:gd name="connsiteY90" fmla="*/ 598170 h 1447800"/>
                <a:gd name="connsiteX91" fmla="*/ 1526857 w 1590675"/>
                <a:gd name="connsiteY91" fmla="*/ 601980 h 1447800"/>
                <a:gd name="connsiteX92" fmla="*/ 1524953 w 1590675"/>
                <a:gd name="connsiteY92" fmla="*/ 607695 h 1447800"/>
                <a:gd name="connsiteX93" fmla="*/ 1523048 w 1590675"/>
                <a:gd name="connsiteY93" fmla="*/ 614363 h 1447800"/>
                <a:gd name="connsiteX94" fmla="*/ 1520190 w 1590675"/>
                <a:gd name="connsiteY94" fmla="*/ 620078 h 1447800"/>
                <a:gd name="connsiteX95" fmla="*/ 1515428 w 1590675"/>
                <a:gd name="connsiteY95" fmla="*/ 627697 h 1447800"/>
                <a:gd name="connsiteX96" fmla="*/ 1513523 w 1590675"/>
                <a:gd name="connsiteY96" fmla="*/ 633413 h 1447800"/>
                <a:gd name="connsiteX97" fmla="*/ 1513523 w 1590675"/>
                <a:gd name="connsiteY97" fmla="*/ 636270 h 1447800"/>
                <a:gd name="connsiteX98" fmla="*/ 1513523 w 1590675"/>
                <a:gd name="connsiteY98" fmla="*/ 644843 h 1447800"/>
                <a:gd name="connsiteX99" fmla="*/ 1513523 w 1590675"/>
                <a:gd name="connsiteY99" fmla="*/ 647700 h 1447800"/>
                <a:gd name="connsiteX100" fmla="*/ 1512570 w 1590675"/>
                <a:gd name="connsiteY100" fmla="*/ 650557 h 1447800"/>
                <a:gd name="connsiteX101" fmla="*/ 1510665 w 1590675"/>
                <a:gd name="connsiteY101" fmla="*/ 652463 h 1447800"/>
                <a:gd name="connsiteX102" fmla="*/ 1508760 w 1590675"/>
                <a:gd name="connsiteY102" fmla="*/ 654368 h 1447800"/>
                <a:gd name="connsiteX103" fmla="*/ 1489710 w 1590675"/>
                <a:gd name="connsiteY103" fmla="*/ 661035 h 1447800"/>
                <a:gd name="connsiteX104" fmla="*/ 1478280 w 1590675"/>
                <a:gd name="connsiteY104" fmla="*/ 661035 h 1447800"/>
                <a:gd name="connsiteX105" fmla="*/ 1468755 w 1590675"/>
                <a:gd name="connsiteY105" fmla="*/ 660082 h 1447800"/>
                <a:gd name="connsiteX106" fmla="*/ 1462088 w 1590675"/>
                <a:gd name="connsiteY106" fmla="*/ 658178 h 1447800"/>
                <a:gd name="connsiteX107" fmla="*/ 1456373 w 1590675"/>
                <a:gd name="connsiteY107" fmla="*/ 652463 h 1447800"/>
                <a:gd name="connsiteX108" fmla="*/ 1454468 w 1590675"/>
                <a:gd name="connsiteY108" fmla="*/ 652463 h 1447800"/>
                <a:gd name="connsiteX109" fmla="*/ 1448753 w 1590675"/>
                <a:gd name="connsiteY109" fmla="*/ 651510 h 1447800"/>
                <a:gd name="connsiteX110" fmla="*/ 1445895 w 1590675"/>
                <a:gd name="connsiteY110" fmla="*/ 651510 h 1447800"/>
                <a:gd name="connsiteX111" fmla="*/ 1441132 w 1590675"/>
                <a:gd name="connsiteY111" fmla="*/ 646747 h 1447800"/>
                <a:gd name="connsiteX112" fmla="*/ 1436370 w 1590675"/>
                <a:gd name="connsiteY112" fmla="*/ 647700 h 1447800"/>
                <a:gd name="connsiteX113" fmla="*/ 1431607 w 1590675"/>
                <a:gd name="connsiteY113" fmla="*/ 649605 h 1447800"/>
                <a:gd name="connsiteX114" fmla="*/ 1429703 w 1590675"/>
                <a:gd name="connsiteY114" fmla="*/ 652463 h 1447800"/>
                <a:gd name="connsiteX115" fmla="*/ 1428750 w 1590675"/>
                <a:gd name="connsiteY115" fmla="*/ 655320 h 1447800"/>
                <a:gd name="connsiteX116" fmla="*/ 1428750 w 1590675"/>
                <a:gd name="connsiteY116" fmla="*/ 663893 h 1447800"/>
                <a:gd name="connsiteX117" fmla="*/ 1431607 w 1590675"/>
                <a:gd name="connsiteY117" fmla="*/ 670560 h 1447800"/>
                <a:gd name="connsiteX118" fmla="*/ 1439228 w 1590675"/>
                <a:gd name="connsiteY118" fmla="*/ 686753 h 1447800"/>
                <a:gd name="connsiteX119" fmla="*/ 1440180 w 1590675"/>
                <a:gd name="connsiteY119" fmla="*/ 691515 h 1447800"/>
                <a:gd name="connsiteX120" fmla="*/ 1441132 w 1590675"/>
                <a:gd name="connsiteY120" fmla="*/ 696278 h 1447800"/>
                <a:gd name="connsiteX121" fmla="*/ 1443038 w 1590675"/>
                <a:gd name="connsiteY121" fmla="*/ 716280 h 1447800"/>
                <a:gd name="connsiteX122" fmla="*/ 1442085 w 1590675"/>
                <a:gd name="connsiteY122" fmla="*/ 721995 h 1447800"/>
                <a:gd name="connsiteX123" fmla="*/ 1438275 w 1590675"/>
                <a:gd name="connsiteY123" fmla="*/ 724853 h 1447800"/>
                <a:gd name="connsiteX124" fmla="*/ 1433513 w 1590675"/>
                <a:gd name="connsiteY124" fmla="*/ 726757 h 1447800"/>
                <a:gd name="connsiteX125" fmla="*/ 1405890 w 1590675"/>
                <a:gd name="connsiteY125" fmla="*/ 728663 h 1447800"/>
                <a:gd name="connsiteX126" fmla="*/ 1403032 w 1590675"/>
                <a:gd name="connsiteY126" fmla="*/ 729615 h 1447800"/>
                <a:gd name="connsiteX127" fmla="*/ 1400175 w 1590675"/>
                <a:gd name="connsiteY127" fmla="*/ 730568 h 1447800"/>
                <a:gd name="connsiteX128" fmla="*/ 1398270 w 1590675"/>
                <a:gd name="connsiteY128" fmla="*/ 733425 h 1447800"/>
                <a:gd name="connsiteX129" fmla="*/ 1400175 w 1590675"/>
                <a:gd name="connsiteY129" fmla="*/ 738188 h 1447800"/>
                <a:gd name="connsiteX130" fmla="*/ 1403032 w 1590675"/>
                <a:gd name="connsiteY130" fmla="*/ 741997 h 1447800"/>
                <a:gd name="connsiteX131" fmla="*/ 1415415 w 1590675"/>
                <a:gd name="connsiteY131" fmla="*/ 755332 h 1447800"/>
                <a:gd name="connsiteX132" fmla="*/ 1420178 w 1590675"/>
                <a:gd name="connsiteY132" fmla="*/ 758190 h 1447800"/>
                <a:gd name="connsiteX133" fmla="*/ 1443038 w 1590675"/>
                <a:gd name="connsiteY133" fmla="*/ 767715 h 1447800"/>
                <a:gd name="connsiteX134" fmla="*/ 1452563 w 1590675"/>
                <a:gd name="connsiteY134" fmla="*/ 773430 h 1447800"/>
                <a:gd name="connsiteX135" fmla="*/ 1454468 w 1590675"/>
                <a:gd name="connsiteY135" fmla="*/ 775335 h 1447800"/>
                <a:gd name="connsiteX136" fmla="*/ 1457325 w 1590675"/>
                <a:gd name="connsiteY136" fmla="*/ 779145 h 1447800"/>
                <a:gd name="connsiteX137" fmla="*/ 1464945 w 1590675"/>
                <a:gd name="connsiteY137" fmla="*/ 792480 h 1447800"/>
                <a:gd name="connsiteX138" fmla="*/ 1469707 w 1590675"/>
                <a:gd name="connsiteY138" fmla="*/ 801053 h 1447800"/>
                <a:gd name="connsiteX139" fmla="*/ 1475423 w 1590675"/>
                <a:gd name="connsiteY139" fmla="*/ 824865 h 1447800"/>
                <a:gd name="connsiteX140" fmla="*/ 1477328 w 1590675"/>
                <a:gd name="connsiteY140" fmla="*/ 829628 h 1447800"/>
                <a:gd name="connsiteX141" fmla="*/ 1480185 w 1590675"/>
                <a:gd name="connsiteY141" fmla="*/ 832485 h 1447800"/>
                <a:gd name="connsiteX142" fmla="*/ 1498282 w 1590675"/>
                <a:gd name="connsiteY142" fmla="*/ 847725 h 1447800"/>
                <a:gd name="connsiteX143" fmla="*/ 1500188 w 1590675"/>
                <a:gd name="connsiteY143" fmla="*/ 848678 h 1447800"/>
                <a:gd name="connsiteX144" fmla="*/ 1502093 w 1590675"/>
                <a:gd name="connsiteY144" fmla="*/ 848678 h 1447800"/>
                <a:gd name="connsiteX145" fmla="*/ 1505903 w 1590675"/>
                <a:gd name="connsiteY145" fmla="*/ 842010 h 1447800"/>
                <a:gd name="connsiteX146" fmla="*/ 1509713 w 1590675"/>
                <a:gd name="connsiteY146" fmla="*/ 839153 h 1447800"/>
                <a:gd name="connsiteX147" fmla="*/ 1513523 w 1590675"/>
                <a:gd name="connsiteY147" fmla="*/ 840105 h 1447800"/>
                <a:gd name="connsiteX148" fmla="*/ 1522095 w 1590675"/>
                <a:gd name="connsiteY148" fmla="*/ 849630 h 1447800"/>
                <a:gd name="connsiteX149" fmla="*/ 1530668 w 1590675"/>
                <a:gd name="connsiteY149" fmla="*/ 855345 h 1447800"/>
                <a:gd name="connsiteX150" fmla="*/ 1532573 w 1590675"/>
                <a:gd name="connsiteY150" fmla="*/ 857250 h 1447800"/>
                <a:gd name="connsiteX151" fmla="*/ 1536382 w 1590675"/>
                <a:gd name="connsiteY151" fmla="*/ 862013 h 1447800"/>
                <a:gd name="connsiteX152" fmla="*/ 1538288 w 1590675"/>
                <a:gd name="connsiteY152" fmla="*/ 864870 h 1447800"/>
                <a:gd name="connsiteX153" fmla="*/ 1537335 w 1590675"/>
                <a:gd name="connsiteY153" fmla="*/ 867728 h 1447800"/>
                <a:gd name="connsiteX154" fmla="*/ 1535430 w 1590675"/>
                <a:gd name="connsiteY154" fmla="*/ 869632 h 1447800"/>
                <a:gd name="connsiteX155" fmla="*/ 1529715 w 1590675"/>
                <a:gd name="connsiteY155" fmla="*/ 875347 h 1447800"/>
                <a:gd name="connsiteX156" fmla="*/ 1525905 w 1590675"/>
                <a:gd name="connsiteY156" fmla="*/ 879157 h 1447800"/>
                <a:gd name="connsiteX157" fmla="*/ 1524000 w 1590675"/>
                <a:gd name="connsiteY157" fmla="*/ 883920 h 1447800"/>
                <a:gd name="connsiteX158" fmla="*/ 1534478 w 1590675"/>
                <a:gd name="connsiteY158" fmla="*/ 902018 h 1447800"/>
                <a:gd name="connsiteX159" fmla="*/ 1535430 w 1590675"/>
                <a:gd name="connsiteY159" fmla="*/ 906780 h 1447800"/>
                <a:gd name="connsiteX160" fmla="*/ 1534478 w 1590675"/>
                <a:gd name="connsiteY160" fmla="*/ 910590 h 1447800"/>
                <a:gd name="connsiteX161" fmla="*/ 1526857 w 1590675"/>
                <a:gd name="connsiteY161" fmla="*/ 916305 h 1447800"/>
                <a:gd name="connsiteX162" fmla="*/ 1522095 w 1590675"/>
                <a:gd name="connsiteY162" fmla="*/ 918210 h 1447800"/>
                <a:gd name="connsiteX163" fmla="*/ 1520190 w 1590675"/>
                <a:gd name="connsiteY163" fmla="*/ 918210 h 1447800"/>
                <a:gd name="connsiteX164" fmla="*/ 1517332 w 1590675"/>
                <a:gd name="connsiteY164" fmla="*/ 917257 h 1447800"/>
                <a:gd name="connsiteX165" fmla="*/ 1509713 w 1590675"/>
                <a:gd name="connsiteY165" fmla="*/ 913447 h 1447800"/>
                <a:gd name="connsiteX166" fmla="*/ 1506855 w 1590675"/>
                <a:gd name="connsiteY166" fmla="*/ 913447 h 1447800"/>
                <a:gd name="connsiteX167" fmla="*/ 1501140 w 1590675"/>
                <a:gd name="connsiteY167" fmla="*/ 917257 h 1447800"/>
                <a:gd name="connsiteX168" fmla="*/ 1499235 w 1590675"/>
                <a:gd name="connsiteY168" fmla="*/ 919163 h 1447800"/>
                <a:gd name="connsiteX169" fmla="*/ 1483995 w 1590675"/>
                <a:gd name="connsiteY169" fmla="*/ 933450 h 1447800"/>
                <a:gd name="connsiteX170" fmla="*/ 1482090 w 1590675"/>
                <a:gd name="connsiteY170" fmla="*/ 935355 h 1447800"/>
                <a:gd name="connsiteX171" fmla="*/ 1479232 w 1590675"/>
                <a:gd name="connsiteY171" fmla="*/ 940118 h 1447800"/>
                <a:gd name="connsiteX172" fmla="*/ 1478280 w 1590675"/>
                <a:gd name="connsiteY172" fmla="*/ 943928 h 1447800"/>
                <a:gd name="connsiteX173" fmla="*/ 1479232 w 1590675"/>
                <a:gd name="connsiteY173" fmla="*/ 949643 h 1447800"/>
                <a:gd name="connsiteX174" fmla="*/ 1494473 w 1590675"/>
                <a:gd name="connsiteY174" fmla="*/ 979170 h 1447800"/>
                <a:gd name="connsiteX175" fmla="*/ 1489710 w 1590675"/>
                <a:gd name="connsiteY175" fmla="*/ 980122 h 1447800"/>
                <a:gd name="connsiteX176" fmla="*/ 1483995 w 1590675"/>
                <a:gd name="connsiteY176" fmla="*/ 982980 h 1447800"/>
                <a:gd name="connsiteX177" fmla="*/ 1465898 w 1590675"/>
                <a:gd name="connsiteY177" fmla="*/ 997268 h 1447800"/>
                <a:gd name="connsiteX178" fmla="*/ 1460182 w 1590675"/>
                <a:gd name="connsiteY178" fmla="*/ 1001078 h 1447800"/>
                <a:gd name="connsiteX179" fmla="*/ 1442085 w 1590675"/>
                <a:gd name="connsiteY179" fmla="*/ 1007745 h 1447800"/>
                <a:gd name="connsiteX180" fmla="*/ 1414463 w 1590675"/>
                <a:gd name="connsiteY180" fmla="*/ 1035368 h 1447800"/>
                <a:gd name="connsiteX181" fmla="*/ 1397318 w 1590675"/>
                <a:gd name="connsiteY181" fmla="*/ 1037272 h 1447800"/>
                <a:gd name="connsiteX182" fmla="*/ 1402080 w 1590675"/>
                <a:gd name="connsiteY182" fmla="*/ 1056323 h 1447800"/>
                <a:gd name="connsiteX183" fmla="*/ 1394460 w 1590675"/>
                <a:gd name="connsiteY183" fmla="*/ 1073468 h 1447800"/>
                <a:gd name="connsiteX184" fmla="*/ 1383982 w 1590675"/>
                <a:gd name="connsiteY184" fmla="*/ 1090613 h 1447800"/>
                <a:gd name="connsiteX185" fmla="*/ 1379220 w 1590675"/>
                <a:gd name="connsiteY185" fmla="*/ 1109663 h 1447800"/>
                <a:gd name="connsiteX186" fmla="*/ 1375410 w 1590675"/>
                <a:gd name="connsiteY186" fmla="*/ 1129665 h 1447800"/>
                <a:gd name="connsiteX187" fmla="*/ 1365885 w 1590675"/>
                <a:gd name="connsiteY187" fmla="*/ 1150620 h 1447800"/>
                <a:gd name="connsiteX188" fmla="*/ 1352550 w 1590675"/>
                <a:gd name="connsiteY188" fmla="*/ 1163003 h 1447800"/>
                <a:gd name="connsiteX189" fmla="*/ 1339215 w 1590675"/>
                <a:gd name="connsiteY189" fmla="*/ 1159193 h 1447800"/>
                <a:gd name="connsiteX190" fmla="*/ 1339215 w 1590675"/>
                <a:gd name="connsiteY190" fmla="*/ 1153478 h 1447800"/>
                <a:gd name="connsiteX191" fmla="*/ 1343025 w 1590675"/>
                <a:gd name="connsiteY191" fmla="*/ 1153478 h 1447800"/>
                <a:gd name="connsiteX192" fmla="*/ 1353503 w 1590675"/>
                <a:gd name="connsiteY192" fmla="*/ 1158240 h 1447800"/>
                <a:gd name="connsiteX193" fmla="*/ 1363980 w 1590675"/>
                <a:gd name="connsiteY193" fmla="*/ 1137285 h 1447800"/>
                <a:gd name="connsiteX194" fmla="*/ 1369695 w 1590675"/>
                <a:gd name="connsiteY194" fmla="*/ 1109663 h 1447800"/>
                <a:gd name="connsiteX195" fmla="*/ 1369695 w 1590675"/>
                <a:gd name="connsiteY195" fmla="*/ 1096328 h 1447800"/>
                <a:gd name="connsiteX196" fmla="*/ 1365885 w 1590675"/>
                <a:gd name="connsiteY196" fmla="*/ 1092518 h 1447800"/>
                <a:gd name="connsiteX197" fmla="*/ 1346835 w 1590675"/>
                <a:gd name="connsiteY197" fmla="*/ 1069657 h 1447800"/>
                <a:gd name="connsiteX198" fmla="*/ 1338263 w 1590675"/>
                <a:gd name="connsiteY198" fmla="*/ 1064895 h 1447800"/>
                <a:gd name="connsiteX199" fmla="*/ 1321118 w 1590675"/>
                <a:gd name="connsiteY199" fmla="*/ 1059180 h 1447800"/>
                <a:gd name="connsiteX200" fmla="*/ 1314450 w 1590675"/>
                <a:gd name="connsiteY200" fmla="*/ 1053465 h 1447800"/>
                <a:gd name="connsiteX201" fmla="*/ 1304925 w 1590675"/>
                <a:gd name="connsiteY201" fmla="*/ 1059180 h 1447800"/>
                <a:gd name="connsiteX202" fmla="*/ 1295400 w 1590675"/>
                <a:gd name="connsiteY202" fmla="*/ 1058228 h 1447800"/>
                <a:gd name="connsiteX203" fmla="*/ 1281113 w 1590675"/>
                <a:gd name="connsiteY203" fmla="*/ 1053465 h 1447800"/>
                <a:gd name="connsiteX204" fmla="*/ 1272540 w 1590675"/>
                <a:gd name="connsiteY204" fmla="*/ 1056323 h 1447800"/>
                <a:gd name="connsiteX205" fmla="*/ 1266825 w 1590675"/>
                <a:gd name="connsiteY205" fmla="*/ 1062038 h 1447800"/>
                <a:gd name="connsiteX206" fmla="*/ 1262063 w 1590675"/>
                <a:gd name="connsiteY206" fmla="*/ 1067753 h 1447800"/>
                <a:gd name="connsiteX207" fmla="*/ 1258253 w 1590675"/>
                <a:gd name="connsiteY207" fmla="*/ 1069657 h 1447800"/>
                <a:gd name="connsiteX208" fmla="*/ 1223010 w 1590675"/>
                <a:gd name="connsiteY208" fmla="*/ 1069657 h 1447800"/>
                <a:gd name="connsiteX209" fmla="*/ 1201103 w 1590675"/>
                <a:gd name="connsiteY209" fmla="*/ 1082993 h 1447800"/>
                <a:gd name="connsiteX210" fmla="*/ 1175385 w 1590675"/>
                <a:gd name="connsiteY210" fmla="*/ 1088707 h 1447800"/>
                <a:gd name="connsiteX211" fmla="*/ 1158240 w 1590675"/>
                <a:gd name="connsiteY211" fmla="*/ 1096328 h 1447800"/>
                <a:gd name="connsiteX212" fmla="*/ 1143000 w 1590675"/>
                <a:gd name="connsiteY212" fmla="*/ 1108710 h 1447800"/>
                <a:gd name="connsiteX213" fmla="*/ 1106805 w 1590675"/>
                <a:gd name="connsiteY213" fmla="*/ 1146810 h 1447800"/>
                <a:gd name="connsiteX214" fmla="*/ 1097280 w 1590675"/>
                <a:gd name="connsiteY214" fmla="*/ 1163955 h 1447800"/>
                <a:gd name="connsiteX215" fmla="*/ 1093470 w 1590675"/>
                <a:gd name="connsiteY215" fmla="*/ 1185863 h 1447800"/>
                <a:gd name="connsiteX216" fmla="*/ 1089660 w 1590675"/>
                <a:gd name="connsiteY216" fmla="*/ 1185863 h 1447800"/>
                <a:gd name="connsiteX217" fmla="*/ 1089660 w 1590675"/>
                <a:gd name="connsiteY217" fmla="*/ 1175385 h 1447800"/>
                <a:gd name="connsiteX218" fmla="*/ 1087755 w 1590675"/>
                <a:gd name="connsiteY218" fmla="*/ 1172528 h 1447800"/>
                <a:gd name="connsiteX219" fmla="*/ 1082993 w 1590675"/>
                <a:gd name="connsiteY219" fmla="*/ 1175385 h 1447800"/>
                <a:gd name="connsiteX220" fmla="*/ 1077278 w 1590675"/>
                <a:gd name="connsiteY220" fmla="*/ 1177290 h 1447800"/>
                <a:gd name="connsiteX221" fmla="*/ 1076325 w 1590675"/>
                <a:gd name="connsiteY221" fmla="*/ 1183957 h 1447800"/>
                <a:gd name="connsiteX222" fmla="*/ 1073468 w 1590675"/>
                <a:gd name="connsiteY222" fmla="*/ 1176338 h 1447800"/>
                <a:gd name="connsiteX223" fmla="*/ 1075373 w 1590675"/>
                <a:gd name="connsiteY223" fmla="*/ 1173480 h 1447800"/>
                <a:gd name="connsiteX224" fmla="*/ 1076325 w 1590675"/>
                <a:gd name="connsiteY224" fmla="*/ 1168718 h 1447800"/>
                <a:gd name="connsiteX225" fmla="*/ 1075373 w 1590675"/>
                <a:gd name="connsiteY225" fmla="*/ 1164907 h 1447800"/>
                <a:gd name="connsiteX226" fmla="*/ 1068705 w 1590675"/>
                <a:gd name="connsiteY226" fmla="*/ 1159193 h 1447800"/>
                <a:gd name="connsiteX227" fmla="*/ 1063943 w 1590675"/>
                <a:gd name="connsiteY227" fmla="*/ 1150620 h 1447800"/>
                <a:gd name="connsiteX228" fmla="*/ 1061085 w 1590675"/>
                <a:gd name="connsiteY228" fmla="*/ 1146810 h 1447800"/>
                <a:gd name="connsiteX229" fmla="*/ 1057275 w 1590675"/>
                <a:gd name="connsiteY229" fmla="*/ 1143953 h 1447800"/>
                <a:gd name="connsiteX230" fmla="*/ 1046798 w 1590675"/>
                <a:gd name="connsiteY230" fmla="*/ 1139190 h 1447800"/>
                <a:gd name="connsiteX231" fmla="*/ 1037273 w 1590675"/>
                <a:gd name="connsiteY231" fmla="*/ 1139190 h 1447800"/>
                <a:gd name="connsiteX232" fmla="*/ 1018223 w 1590675"/>
                <a:gd name="connsiteY232" fmla="*/ 1143953 h 1447800"/>
                <a:gd name="connsiteX233" fmla="*/ 980123 w 1590675"/>
                <a:gd name="connsiteY233" fmla="*/ 1138238 h 1447800"/>
                <a:gd name="connsiteX234" fmla="*/ 907732 w 1590675"/>
                <a:gd name="connsiteY234" fmla="*/ 1151573 h 1447800"/>
                <a:gd name="connsiteX235" fmla="*/ 895350 w 1590675"/>
                <a:gd name="connsiteY235" fmla="*/ 1151573 h 1447800"/>
                <a:gd name="connsiteX236" fmla="*/ 825818 w 1590675"/>
                <a:gd name="connsiteY236" fmla="*/ 1190625 h 1447800"/>
                <a:gd name="connsiteX237" fmla="*/ 810578 w 1590675"/>
                <a:gd name="connsiteY237" fmla="*/ 1203960 h 1447800"/>
                <a:gd name="connsiteX238" fmla="*/ 768668 w 1590675"/>
                <a:gd name="connsiteY238" fmla="*/ 1253490 h 1447800"/>
                <a:gd name="connsiteX239" fmla="*/ 751523 w 1590675"/>
                <a:gd name="connsiteY239" fmla="*/ 1269682 h 1447800"/>
                <a:gd name="connsiteX240" fmla="*/ 688657 w 1590675"/>
                <a:gd name="connsiteY240" fmla="*/ 1301115 h 1447800"/>
                <a:gd name="connsiteX241" fmla="*/ 679132 w 1590675"/>
                <a:gd name="connsiteY241" fmla="*/ 1308735 h 1447800"/>
                <a:gd name="connsiteX242" fmla="*/ 670560 w 1590675"/>
                <a:gd name="connsiteY242" fmla="*/ 1318260 h 1447800"/>
                <a:gd name="connsiteX243" fmla="*/ 654368 w 1590675"/>
                <a:gd name="connsiteY243" fmla="*/ 1341120 h 1447800"/>
                <a:gd name="connsiteX244" fmla="*/ 646748 w 1590675"/>
                <a:gd name="connsiteY244" fmla="*/ 1348740 h 1447800"/>
                <a:gd name="connsiteX245" fmla="*/ 627698 w 1590675"/>
                <a:gd name="connsiteY245" fmla="*/ 1362075 h 1447800"/>
                <a:gd name="connsiteX246" fmla="*/ 620078 w 1590675"/>
                <a:gd name="connsiteY246" fmla="*/ 1369695 h 1447800"/>
                <a:gd name="connsiteX247" fmla="*/ 569595 w 1590675"/>
                <a:gd name="connsiteY247" fmla="*/ 1452563 h 1447800"/>
                <a:gd name="connsiteX248" fmla="*/ 566738 w 1590675"/>
                <a:gd name="connsiteY248" fmla="*/ 1456373 h 1447800"/>
                <a:gd name="connsiteX249" fmla="*/ 559118 w 1590675"/>
                <a:gd name="connsiteY249" fmla="*/ 1451610 h 1447800"/>
                <a:gd name="connsiteX250" fmla="*/ 573405 w 1590675"/>
                <a:gd name="connsiteY250" fmla="*/ 1426845 h 1447800"/>
                <a:gd name="connsiteX251" fmla="*/ 592455 w 1590675"/>
                <a:gd name="connsiteY251" fmla="*/ 1406843 h 1447800"/>
                <a:gd name="connsiteX252" fmla="*/ 600075 w 1590675"/>
                <a:gd name="connsiteY252" fmla="*/ 1394460 h 1447800"/>
                <a:gd name="connsiteX253" fmla="*/ 601980 w 1590675"/>
                <a:gd name="connsiteY253" fmla="*/ 1375410 h 1447800"/>
                <a:gd name="connsiteX254" fmla="*/ 593407 w 1590675"/>
                <a:gd name="connsiteY254" fmla="*/ 1384935 h 1447800"/>
                <a:gd name="connsiteX255" fmla="*/ 583882 w 1590675"/>
                <a:gd name="connsiteY255" fmla="*/ 1392555 h 1447800"/>
                <a:gd name="connsiteX256" fmla="*/ 573405 w 1590675"/>
                <a:gd name="connsiteY256" fmla="*/ 1393507 h 1447800"/>
                <a:gd name="connsiteX257" fmla="*/ 561023 w 1590675"/>
                <a:gd name="connsiteY257" fmla="*/ 1383030 h 1447800"/>
                <a:gd name="connsiteX258" fmla="*/ 556260 w 1590675"/>
                <a:gd name="connsiteY258" fmla="*/ 1365885 h 1447800"/>
                <a:gd name="connsiteX259" fmla="*/ 559118 w 1590675"/>
                <a:gd name="connsiteY259" fmla="*/ 1345882 h 1447800"/>
                <a:gd name="connsiteX260" fmla="*/ 569595 w 1590675"/>
                <a:gd name="connsiteY260" fmla="*/ 1316355 h 1447800"/>
                <a:gd name="connsiteX261" fmla="*/ 565785 w 1590675"/>
                <a:gd name="connsiteY261" fmla="*/ 1314450 h 1447800"/>
                <a:gd name="connsiteX262" fmla="*/ 557213 w 1590675"/>
                <a:gd name="connsiteY262" fmla="*/ 1313498 h 1447800"/>
                <a:gd name="connsiteX263" fmla="*/ 551498 w 1590675"/>
                <a:gd name="connsiteY263" fmla="*/ 1311593 h 1447800"/>
                <a:gd name="connsiteX264" fmla="*/ 547688 w 1590675"/>
                <a:gd name="connsiteY264" fmla="*/ 1309688 h 1447800"/>
                <a:gd name="connsiteX265" fmla="*/ 541020 w 1590675"/>
                <a:gd name="connsiteY265" fmla="*/ 1303020 h 1447800"/>
                <a:gd name="connsiteX266" fmla="*/ 532448 w 1590675"/>
                <a:gd name="connsiteY266" fmla="*/ 1297305 h 1447800"/>
                <a:gd name="connsiteX267" fmla="*/ 525780 w 1590675"/>
                <a:gd name="connsiteY267" fmla="*/ 1286828 h 1447800"/>
                <a:gd name="connsiteX268" fmla="*/ 521018 w 1590675"/>
                <a:gd name="connsiteY268" fmla="*/ 1273493 h 1447800"/>
                <a:gd name="connsiteX269" fmla="*/ 519113 w 1590675"/>
                <a:gd name="connsiteY269" fmla="*/ 1259205 h 1447800"/>
                <a:gd name="connsiteX270" fmla="*/ 507682 w 1590675"/>
                <a:gd name="connsiteY270" fmla="*/ 1273493 h 1447800"/>
                <a:gd name="connsiteX271" fmla="*/ 511493 w 1590675"/>
                <a:gd name="connsiteY271" fmla="*/ 1288732 h 1447800"/>
                <a:gd name="connsiteX272" fmla="*/ 521018 w 1590675"/>
                <a:gd name="connsiteY272" fmla="*/ 1303020 h 1447800"/>
                <a:gd name="connsiteX273" fmla="*/ 525780 w 1590675"/>
                <a:gd name="connsiteY273" fmla="*/ 1314450 h 1447800"/>
                <a:gd name="connsiteX274" fmla="*/ 527685 w 1590675"/>
                <a:gd name="connsiteY274" fmla="*/ 1323975 h 1447800"/>
                <a:gd name="connsiteX275" fmla="*/ 530543 w 1590675"/>
                <a:gd name="connsiteY275" fmla="*/ 1329690 h 1447800"/>
                <a:gd name="connsiteX276" fmla="*/ 532448 w 1590675"/>
                <a:gd name="connsiteY276" fmla="*/ 1336357 h 1447800"/>
                <a:gd name="connsiteX277" fmla="*/ 530543 w 1590675"/>
                <a:gd name="connsiteY277" fmla="*/ 1347788 h 1447800"/>
                <a:gd name="connsiteX278" fmla="*/ 525780 w 1590675"/>
                <a:gd name="connsiteY278" fmla="*/ 1356360 h 1447800"/>
                <a:gd name="connsiteX279" fmla="*/ 507682 w 1590675"/>
                <a:gd name="connsiteY279" fmla="*/ 1375410 h 1447800"/>
                <a:gd name="connsiteX280" fmla="*/ 477203 w 1590675"/>
                <a:gd name="connsiteY280" fmla="*/ 1423035 h 1447800"/>
                <a:gd name="connsiteX281" fmla="*/ 475298 w 1590675"/>
                <a:gd name="connsiteY281" fmla="*/ 1425893 h 1447800"/>
                <a:gd name="connsiteX282" fmla="*/ 456248 w 1590675"/>
                <a:gd name="connsiteY282" fmla="*/ 1422082 h 1447800"/>
                <a:gd name="connsiteX283" fmla="*/ 451485 w 1590675"/>
                <a:gd name="connsiteY283" fmla="*/ 1417320 h 1447800"/>
                <a:gd name="connsiteX284" fmla="*/ 450532 w 1590675"/>
                <a:gd name="connsiteY284" fmla="*/ 1403032 h 1447800"/>
                <a:gd name="connsiteX285" fmla="*/ 450532 w 1590675"/>
                <a:gd name="connsiteY285" fmla="*/ 1400175 h 1447800"/>
                <a:gd name="connsiteX286" fmla="*/ 447675 w 1590675"/>
                <a:gd name="connsiteY286" fmla="*/ 1384935 h 1447800"/>
                <a:gd name="connsiteX287" fmla="*/ 447675 w 1590675"/>
                <a:gd name="connsiteY287" fmla="*/ 1379220 h 1447800"/>
                <a:gd name="connsiteX288" fmla="*/ 448628 w 1590675"/>
                <a:gd name="connsiteY288" fmla="*/ 1373505 h 1447800"/>
                <a:gd name="connsiteX289" fmla="*/ 451485 w 1590675"/>
                <a:gd name="connsiteY289" fmla="*/ 1364932 h 1447800"/>
                <a:gd name="connsiteX290" fmla="*/ 451485 w 1590675"/>
                <a:gd name="connsiteY290" fmla="*/ 1361123 h 1447800"/>
                <a:gd name="connsiteX291" fmla="*/ 451485 w 1590675"/>
                <a:gd name="connsiteY291" fmla="*/ 1357313 h 1447800"/>
                <a:gd name="connsiteX292" fmla="*/ 438150 w 1590675"/>
                <a:gd name="connsiteY292" fmla="*/ 1302068 h 1447800"/>
                <a:gd name="connsiteX293" fmla="*/ 435293 w 1590675"/>
                <a:gd name="connsiteY293" fmla="*/ 1295400 h 1447800"/>
                <a:gd name="connsiteX294" fmla="*/ 431482 w 1590675"/>
                <a:gd name="connsiteY294" fmla="*/ 1292543 h 1447800"/>
                <a:gd name="connsiteX295" fmla="*/ 417195 w 1590675"/>
                <a:gd name="connsiteY295" fmla="*/ 1292543 h 1447800"/>
                <a:gd name="connsiteX296" fmla="*/ 411480 w 1590675"/>
                <a:gd name="connsiteY296" fmla="*/ 1289685 h 1447800"/>
                <a:gd name="connsiteX297" fmla="*/ 402907 w 1590675"/>
                <a:gd name="connsiteY297" fmla="*/ 1284923 h 1447800"/>
                <a:gd name="connsiteX298" fmla="*/ 399098 w 1590675"/>
                <a:gd name="connsiteY298" fmla="*/ 1283970 h 1447800"/>
                <a:gd name="connsiteX299" fmla="*/ 391478 w 1590675"/>
                <a:gd name="connsiteY299" fmla="*/ 1279207 h 1447800"/>
                <a:gd name="connsiteX300" fmla="*/ 380048 w 1590675"/>
                <a:gd name="connsiteY300" fmla="*/ 1268730 h 1447800"/>
                <a:gd name="connsiteX301" fmla="*/ 376238 w 1590675"/>
                <a:gd name="connsiteY301" fmla="*/ 1267778 h 1447800"/>
                <a:gd name="connsiteX302" fmla="*/ 351473 w 1590675"/>
                <a:gd name="connsiteY302" fmla="*/ 1270635 h 1447800"/>
                <a:gd name="connsiteX303" fmla="*/ 344805 w 1590675"/>
                <a:gd name="connsiteY303" fmla="*/ 1269682 h 1447800"/>
                <a:gd name="connsiteX304" fmla="*/ 342900 w 1590675"/>
                <a:gd name="connsiteY304" fmla="*/ 1268730 h 1447800"/>
                <a:gd name="connsiteX305" fmla="*/ 341948 w 1590675"/>
                <a:gd name="connsiteY305" fmla="*/ 1266825 h 1447800"/>
                <a:gd name="connsiteX306" fmla="*/ 341948 w 1590675"/>
                <a:gd name="connsiteY306" fmla="*/ 1256348 h 1447800"/>
                <a:gd name="connsiteX307" fmla="*/ 342900 w 1590675"/>
                <a:gd name="connsiteY307" fmla="*/ 1253490 h 1447800"/>
                <a:gd name="connsiteX308" fmla="*/ 346710 w 1590675"/>
                <a:gd name="connsiteY308" fmla="*/ 1250632 h 1447800"/>
                <a:gd name="connsiteX309" fmla="*/ 348615 w 1590675"/>
                <a:gd name="connsiteY309" fmla="*/ 1247775 h 1447800"/>
                <a:gd name="connsiteX310" fmla="*/ 349568 w 1590675"/>
                <a:gd name="connsiteY310" fmla="*/ 1244918 h 1447800"/>
                <a:gd name="connsiteX311" fmla="*/ 349568 w 1590675"/>
                <a:gd name="connsiteY311" fmla="*/ 1240155 h 1447800"/>
                <a:gd name="connsiteX312" fmla="*/ 347663 w 1590675"/>
                <a:gd name="connsiteY312" fmla="*/ 1238250 h 1447800"/>
                <a:gd name="connsiteX313" fmla="*/ 344805 w 1590675"/>
                <a:gd name="connsiteY313" fmla="*/ 1236345 h 1447800"/>
                <a:gd name="connsiteX314" fmla="*/ 320040 w 1590675"/>
                <a:gd name="connsiteY314" fmla="*/ 1234440 h 1447800"/>
                <a:gd name="connsiteX315" fmla="*/ 301943 w 1590675"/>
                <a:gd name="connsiteY315" fmla="*/ 1235393 h 1447800"/>
                <a:gd name="connsiteX316" fmla="*/ 297180 w 1590675"/>
                <a:gd name="connsiteY316" fmla="*/ 1234440 h 1447800"/>
                <a:gd name="connsiteX317" fmla="*/ 294323 w 1590675"/>
                <a:gd name="connsiteY317" fmla="*/ 1232535 h 1447800"/>
                <a:gd name="connsiteX318" fmla="*/ 292418 w 1590675"/>
                <a:gd name="connsiteY318" fmla="*/ 1230630 h 1447800"/>
                <a:gd name="connsiteX319" fmla="*/ 289560 w 1590675"/>
                <a:gd name="connsiteY319" fmla="*/ 1222057 h 1447800"/>
                <a:gd name="connsiteX320" fmla="*/ 277178 w 1590675"/>
                <a:gd name="connsiteY320" fmla="*/ 1202055 h 1447800"/>
                <a:gd name="connsiteX321" fmla="*/ 273368 w 1590675"/>
                <a:gd name="connsiteY321" fmla="*/ 1195388 h 1447800"/>
                <a:gd name="connsiteX322" fmla="*/ 273368 w 1590675"/>
                <a:gd name="connsiteY322" fmla="*/ 1189673 h 1447800"/>
                <a:gd name="connsiteX323" fmla="*/ 274320 w 1590675"/>
                <a:gd name="connsiteY323" fmla="*/ 1184910 h 1447800"/>
                <a:gd name="connsiteX324" fmla="*/ 277178 w 1590675"/>
                <a:gd name="connsiteY324" fmla="*/ 1180148 h 1447800"/>
                <a:gd name="connsiteX325" fmla="*/ 282893 w 1590675"/>
                <a:gd name="connsiteY325" fmla="*/ 1174432 h 1447800"/>
                <a:gd name="connsiteX326" fmla="*/ 283845 w 1590675"/>
                <a:gd name="connsiteY326" fmla="*/ 1171575 h 1447800"/>
                <a:gd name="connsiteX327" fmla="*/ 284798 w 1590675"/>
                <a:gd name="connsiteY327" fmla="*/ 1165860 h 1447800"/>
                <a:gd name="connsiteX328" fmla="*/ 283845 w 1590675"/>
                <a:gd name="connsiteY328" fmla="*/ 1158240 h 1447800"/>
                <a:gd name="connsiteX329" fmla="*/ 281940 w 1590675"/>
                <a:gd name="connsiteY329" fmla="*/ 1150620 h 1447800"/>
                <a:gd name="connsiteX330" fmla="*/ 279082 w 1590675"/>
                <a:gd name="connsiteY330" fmla="*/ 1143953 h 1447800"/>
                <a:gd name="connsiteX331" fmla="*/ 276225 w 1590675"/>
                <a:gd name="connsiteY331" fmla="*/ 1141095 h 1447800"/>
                <a:gd name="connsiteX332" fmla="*/ 272415 w 1590675"/>
                <a:gd name="connsiteY332" fmla="*/ 1139190 h 1447800"/>
                <a:gd name="connsiteX333" fmla="*/ 260985 w 1590675"/>
                <a:gd name="connsiteY333" fmla="*/ 1137285 h 1447800"/>
                <a:gd name="connsiteX334" fmla="*/ 257175 w 1590675"/>
                <a:gd name="connsiteY334" fmla="*/ 1136332 h 1447800"/>
                <a:gd name="connsiteX335" fmla="*/ 253365 w 1590675"/>
                <a:gd name="connsiteY335" fmla="*/ 1134428 h 1447800"/>
                <a:gd name="connsiteX336" fmla="*/ 243840 w 1590675"/>
                <a:gd name="connsiteY336" fmla="*/ 1126807 h 1447800"/>
                <a:gd name="connsiteX337" fmla="*/ 240982 w 1590675"/>
                <a:gd name="connsiteY337" fmla="*/ 1125855 h 1447800"/>
                <a:gd name="connsiteX338" fmla="*/ 236220 w 1590675"/>
                <a:gd name="connsiteY338" fmla="*/ 1127760 h 1447800"/>
                <a:gd name="connsiteX339" fmla="*/ 232410 w 1590675"/>
                <a:gd name="connsiteY339" fmla="*/ 1127760 h 1447800"/>
                <a:gd name="connsiteX340" fmla="*/ 227648 w 1590675"/>
                <a:gd name="connsiteY340" fmla="*/ 1125855 h 1447800"/>
                <a:gd name="connsiteX341" fmla="*/ 224790 w 1590675"/>
                <a:gd name="connsiteY341" fmla="*/ 1123950 h 1447800"/>
                <a:gd name="connsiteX342" fmla="*/ 223838 w 1590675"/>
                <a:gd name="connsiteY342" fmla="*/ 1121093 h 1447800"/>
                <a:gd name="connsiteX343" fmla="*/ 222885 w 1590675"/>
                <a:gd name="connsiteY343" fmla="*/ 1112520 h 1447800"/>
                <a:gd name="connsiteX344" fmla="*/ 223838 w 1590675"/>
                <a:gd name="connsiteY344" fmla="*/ 1106805 h 1447800"/>
                <a:gd name="connsiteX345" fmla="*/ 226695 w 1590675"/>
                <a:gd name="connsiteY345" fmla="*/ 1102995 h 1447800"/>
                <a:gd name="connsiteX346" fmla="*/ 228600 w 1590675"/>
                <a:gd name="connsiteY346" fmla="*/ 1101090 h 1447800"/>
                <a:gd name="connsiteX347" fmla="*/ 233363 w 1590675"/>
                <a:gd name="connsiteY347" fmla="*/ 1100138 h 1447800"/>
                <a:gd name="connsiteX348" fmla="*/ 247650 w 1590675"/>
                <a:gd name="connsiteY348" fmla="*/ 1099185 h 1447800"/>
                <a:gd name="connsiteX349" fmla="*/ 252413 w 1590675"/>
                <a:gd name="connsiteY349" fmla="*/ 1098232 h 1447800"/>
                <a:gd name="connsiteX350" fmla="*/ 254318 w 1590675"/>
                <a:gd name="connsiteY350" fmla="*/ 1096328 h 1447800"/>
                <a:gd name="connsiteX351" fmla="*/ 257175 w 1590675"/>
                <a:gd name="connsiteY351" fmla="*/ 1091565 h 1447800"/>
                <a:gd name="connsiteX352" fmla="*/ 260032 w 1590675"/>
                <a:gd name="connsiteY352" fmla="*/ 1086803 h 1447800"/>
                <a:gd name="connsiteX353" fmla="*/ 263843 w 1590675"/>
                <a:gd name="connsiteY353" fmla="*/ 1083945 h 1447800"/>
                <a:gd name="connsiteX354" fmla="*/ 268605 w 1590675"/>
                <a:gd name="connsiteY354" fmla="*/ 1082040 h 1447800"/>
                <a:gd name="connsiteX355" fmla="*/ 270510 w 1590675"/>
                <a:gd name="connsiteY355" fmla="*/ 1081088 h 1447800"/>
                <a:gd name="connsiteX356" fmla="*/ 274320 w 1590675"/>
                <a:gd name="connsiteY356" fmla="*/ 1076325 h 1447800"/>
                <a:gd name="connsiteX357" fmla="*/ 277178 w 1590675"/>
                <a:gd name="connsiteY357" fmla="*/ 1066800 h 1447800"/>
                <a:gd name="connsiteX358" fmla="*/ 279082 w 1590675"/>
                <a:gd name="connsiteY358" fmla="*/ 1062038 h 1447800"/>
                <a:gd name="connsiteX359" fmla="*/ 282893 w 1590675"/>
                <a:gd name="connsiteY359" fmla="*/ 1057275 h 1447800"/>
                <a:gd name="connsiteX360" fmla="*/ 284798 w 1590675"/>
                <a:gd name="connsiteY360" fmla="*/ 1052513 h 1447800"/>
                <a:gd name="connsiteX361" fmla="*/ 284798 w 1590675"/>
                <a:gd name="connsiteY361" fmla="*/ 1034415 h 1447800"/>
                <a:gd name="connsiteX362" fmla="*/ 286703 w 1590675"/>
                <a:gd name="connsiteY362" fmla="*/ 1028700 h 1447800"/>
                <a:gd name="connsiteX363" fmla="*/ 287655 w 1590675"/>
                <a:gd name="connsiteY363" fmla="*/ 1027747 h 1447800"/>
                <a:gd name="connsiteX364" fmla="*/ 290513 w 1590675"/>
                <a:gd name="connsiteY364" fmla="*/ 1025843 h 1447800"/>
                <a:gd name="connsiteX365" fmla="*/ 295275 w 1590675"/>
                <a:gd name="connsiteY365" fmla="*/ 1024890 h 1447800"/>
                <a:gd name="connsiteX366" fmla="*/ 309563 w 1590675"/>
                <a:gd name="connsiteY366" fmla="*/ 1019175 h 1447800"/>
                <a:gd name="connsiteX367" fmla="*/ 311468 w 1590675"/>
                <a:gd name="connsiteY367" fmla="*/ 1017270 h 1447800"/>
                <a:gd name="connsiteX368" fmla="*/ 312420 w 1590675"/>
                <a:gd name="connsiteY368" fmla="*/ 1013460 h 1447800"/>
                <a:gd name="connsiteX369" fmla="*/ 312420 w 1590675"/>
                <a:gd name="connsiteY369" fmla="*/ 1007745 h 1447800"/>
                <a:gd name="connsiteX370" fmla="*/ 309563 w 1590675"/>
                <a:gd name="connsiteY370" fmla="*/ 995363 h 1447800"/>
                <a:gd name="connsiteX371" fmla="*/ 307657 w 1590675"/>
                <a:gd name="connsiteY371" fmla="*/ 990600 h 1447800"/>
                <a:gd name="connsiteX372" fmla="*/ 305753 w 1590675"/>
                <a:gd name="connsiteY372" fmla="*/ 985838 h 1447800"/>
                <a:gd name="connsiteX373" fmla="*/ 301943 w 1590675"/>
                <a:gd name="connsiteY373" fmla="*/ 982980 h 1447800"/>
                <a:gd name="connsiteX374" fmla="*/ 299085 w 1590675"/>
                <a:gd name="connsiteY374" fmla="*/ 982028 h 1447800"/>
                <a:gd name="connsiteX375" fmla="*/ 293370 w 1590675"/>
                <a:gd name="connsiteY375" fmla="*/ 981075 h 1447800"/>
                <a:gd name="connsiteX376" fmla="*/ 289560 w 1590675"/>
                <a:gd name="connsiteY376" fmla="*/ 980122 h 1447800"/>
                <a:gd name="connsiteX377" fmla="*/ 285750 w 1590675"/>
                <a:gd name="connsiteY377" fmla="*/ 977265 h 1447800"/>
                <a:gd name="connsiteX378" fmla="*/ 282893 w 1590675"/>
                <a:gd name="connsiteY378" fmla="*/ 972503 h 1447800"/>
                <a:gd name="connsiteX379" fmla="*/ 277178 w 1590675"/>
                <a:gd name="connsiteY379" fmla="*/ 947738 h 1447800"/>
                <a:gd name="connsiteX380" fmla="*/ 275273 w 1590675"/>
                <a:gd name="connsiteY380" fmla="*/ 942975 h 1447800"/>
                <a:gd name="connsiteX381" fmla="*/ 273368 w 1590675"/>
                <a:gd name="connsiteY381" fmla="*/ 940118 h 1447800"/>
                <a:gd name="connsiteX382" fmla="*/ 270510 w 1590675"/>
                <a:gd name="connsiteY382" fmla="*/ 939165 h 1447800"/>
                <a:gd name="connsiteX383" fmla="*/ 245745 w 1590675"/>
                <a:gd name="connsiteY383" fmla="*/ 930593 h 1447800"/>
                <a:gd name="connsiteX384" fmla="*/ 240982 w 1590675"/>
                <a:gd name="connsiteY384" fmla="*/ 927735 h 1447800"/>
                <a:gd name="connsiteX385" fmla="*/ 234315 w 1590675"/>
                <a:gd name="connsiteY385" fmla="*/ 922972 h 1447800"/>
                <a:gd name="connsiteX386" fmla="*/ 229553 w 1590675"/>
                <a:gd name="connsiteY386" fmla="*/ 920115 h 1447800"/>
                <a:gd name="connsiteX387" fmla="*/ 216218 w 1590675"/>
                <a:gd name="connsiteY387" fmla="*/ 917257 h 1447800"/>
                <a:gd name="connsiteX388" fmla="*/ 213360 w 1590675"/>
                <a:gd name="connsiteY388" fmla="*/ 915353 h 1447800"/>
                <a:gd name="connsiteX389" fmla="*/ 211455 w 1590675"/>
                <a:gd name="connsiteY389" fmla="*/ 912495 h 1447800"/>
                <a:gd name="connsiteX390" fmla="*/ 210503 w 1590675"/>
                <a:gd name="connsiteY390" fmla="*/ 910590 h 1447800"/>
                <a:gd name="connsiteX391" fmla="*/ 209550 w 1590675"/>
                <a:gd name="connsiteY391" fmla="*/ 899160 h 1447800"/>
                <a:gd name="connsiteX392" fmla="*/ 207645 w 1590675"/>
                <a:gd name="connsiteY392" fmla="*/ 891540 h 1447800"/>
                <a:gd name="connsiteX393" fmla="*/ 205740 w 1590675"/>
                <a:gd name="connsiteY393" fmla="*/ 887730 h 1447800"/>
                <a:gd name="connsiteX394" fmla="*/ 204788 w 1590675"/>
                <a:gd name="connsiteY394" fmla="*/ 884872 h 1447800"/>
                <a:gd name="connsiteX395" fmla="*/ 201930 w 1590675"/>
                <a:gd name="connsiteY395" fmla="*/ 882968 h 1447800"/>
                <a:gd name="connsiteX396" fmla="*/ 195263 w 1590675"/>
                <a:gd name="connsiteY396" fmla="*/ 882015 h 1447800"/>
                <a:gd name="connsiteX397" fmla="*/ 190500 w 1590675"/>
                <a:gd name="connsiteY397" fmla="*/ 879157 h 1447800"/>
                <a:gd name="connsiteX398" fmla="*/ 188595 w 1590675"/>
                <a:gd name="connsiteY398" fmla="*/ 877253 h 1447800"/>
                <a:gd name="connsiteX399" fmla="*/ 187643 w 1590675"/>
                <a:gd name="connsiteY399" fmla="*/ 874395 h 1447800"/>
                <a:gd name="connsiteX400" fmla="*/ 186690 w 1590675"/>
                <a:gd name="connsiteY400" fmla="*/ 869632 h 1447800"/>
                <a:gd name="connsiteX401" fmla="*/ 185738 w 1590675"/>
                <a:gd name="connsiteY401" fmla="*/ 842963 h 1447800"/>
                <a:gd name="connsiteX402" fmla="*/ 177165 w 1590675"/>
                <a:gd name="connsiteY402" fmla="*/ 806768 h 1447800"/>
                <a:gd name="connsiteX403" fmla="*/ 175260 w 1590675"/>
                <a:gd name="connsiteY403" fmla="*/ 802957 h 1447800"/>
                <a:gd name="connsiteX404" fmla="*/ 172403 w 1590675"/>
                <a:gd name="connsiteY404" fmla="*/ 801053 h 1447800"/>
                <a:gd name="connsiteX405" fmla="*/ 165735 w 1590675"/>
                <a:gd name="connsiteY405" fmla="*/ 799147 h 1447800"/>
                <a:gd name="connsiteX406" fmla="*/ 160973 w 1590675"/>
                <a:gd name="connsiteY406" fmla="*/ 796290 h 1447800"/>
                <a:gd name="connsiteX407" fmla="*/ 159068 w 1590675"/>
                <a:gd name="connsiteY407" fmla="*/ 793432 h 1447800"/>
                <a:gd name="connsiteX408" fmla="*/ 158115 w 1590675"/>
                <a:gd name="connsiteY408" fmla="*/ 790575 h 1447800"/>
                <a:gd name="connsiteX409" fmla="*/ 158115 w 1590675"/>
                <a:gd name="connsiteY409" fmla="*/ 784860 h 1447800"/>
                <a:gd name="connsiteX410" fmla="*/ 155257 w 1590675"/>
                <a:gd name="connsiteY410" fmla="*/ 774382 h 1447800"/>
                <a:gd name="connsiteX411" fmla="*/ 155257 w 1590675"/>
                <a:gd name="connsiteY411" fmla="*/ 768668 h 1447800"/>
                <a:gd name="connsiteX412" fmla="*/ 154305 w 1590675"/>
                <a:gd name="connsiteY412" fmla="*/ 760095 h 1447800"/>
                <a:gd name="connsiteX413" fmla="*/ 156210 w 1590675"/>
                <a:gd name="connsiteY413" fmla="*/ 743903 h 1447800"/>
                <a:gd name="connsiteX414" fmla="*/ 156210 w 1590675"/>
                <a:gd name="connsiteY414" fmla="*/ 738188 h 1447800"/>
                <a:gd name="connsiteX415" fmla="*/ 151448 w 1590675"/>
                <a:gd name="connsiteY415" fmla="*/ 717232 h 1447800"/>
                <a:gd name="connsiteX416" fmla="*/ 151448 w 1590675"/>
                <a:gd name="connsiteY416" fmla="*/ 711518 h 1447800"/>
                <a:gd name="connsiteX417" fmla="*/ 152400 w 1590675"/>
                <a:gd name="connsiteY417" fmla="*/ 708660 h 1447800"/>
                <a:gd name="connsiteX418" fmla="*/ 153353 w 1590675"/>
                <a:gd name="connsiteY418" fmla="*/ 706755 h 1447800"/>
                <a:gd name="connsiteX419" fmla="*/ 156210 w 1590675"/>
                <a:gd name="connsiteY419" fmla="*/ 703897 h 1447800"/>
                <a:gd name="connsiteX420" fmla="*/ 157163 w 1590675"/>
                <a:gd name="connsiteY420" fmla="*/ 701993 h 1447800"/>
                <a:gd name="connsiteX421" fmla="*/ 158115 w 1590675"/>
                <a:gd name="connsiteY421" fmla="*/ 698182 h 1447800"/>
                <a:gd name="connsiteX422" fmla="*/ 158115 w 1590675"/>
                <a:gd name="connsiteY422" fmla="*/ 692468 h 1447800"/>
                <a:gd name="connsiteX423" fmla="*/ 157163 w 1590675"/>
                <a:gd name="connsiteY423" fmla="*/ 689610 h 1447800"/>
                <a:gd name="connsiteX424" fmla="*/ 156210 w 1590675"/>
                <a:gd name="connsiteY424" fmla="*/ 686753 h 1447800"/>
                <a:gd name="connsiteX425" fmla="*/ 148590 w 1590675"/>
                <a:gd name="connsiteY425" fmla="*/ 681038 h 1447800"/>
                <a:gd name="connsiteX426" fmla="*/ 144780 w 1590675"/>
                <a:gd name="connsiteY426" fmla="*/ 677228 h 1447800"/>
                <a:gd name="connsiteX427" fmla="*/ 143828 w 1590675"/>
                <a:gd name="connsiteY427" fmla="*/ 674370 h 1447800"/>
                <a:gd name="connsiteX428" fmla="*/ 142875 w 1590675"/>
                <a:gd name="connsiteY428" fmla="*/ 668655 h 1447800"/>
                <a:gd name="connsiteX429" fmla="*/ 143828 w 1590675"/>
                <a:gd name="connsiteY429" fmla="*/ 661988 h 1447800"/>
                <a:gd name="connsiteX430" fmla="*/ 144780 w 1590675"/>
                <a:gd name="connsiteY430" fmla="*/ 655320 h 1447800"/>
                <a:gd name="connsiteX431" fmla="*/ 148590 w 1590675"/>
                <a:gd name="connsiteY431" fmla="*/ 651510 h 1447800"/>
                <a:gd name="connsiteX432" fmla="*/ 156210 w 1590675"/>
                <a:gd name="connsiteY432" fmla="*/ 648653 h 1447800"/>
                <a:gd name="connsiteX433" fmla="*/ 159068 w 1590675"/>
                <a:gd name="connsiteY433" fmla="*/ 645795 h 1447800"/>
                <a:gd name="connsiteX434" fmla="*/ 160020 w 1590675"/>
                <a:gd name="connsiteY434" fmla="*/ 641985 h 1447800"/>
                <a:gd name="connsiteX435" fmla="*/ 158115 w 1590675"/>
                <a:gd name="connsiteY435" fmla="*/ 638175 h 1447800"/>
                <a:gd name="connsiteX436" fmla="*/ 154305 w 1590675"/>
                <a:gd name="connsiteY436" fmla="*/ 637222 h 1447800"/>
                <a:gd name="connsiteX437" fmla="*/ 118110 w 1590675"/>
                <a:gd name="connsiteY437" fmla="*/ 641032 h 1447800"/>
                <a:gd name="connsiteX438" fmla="*/ 113348 w 1590675"/>
                <a:gd name="connsiteY438" fmla="*/ 642938 h 1447800"/>
                <a:gd name="connsiteX439" fmla="*/ 111443 w 1590675"/>
                <a:gd name="connsiteY439" fmla="*/ 644843 h 1447800"/>
                <a:gd name="connsiteX440" fmla="*/ 110490 w 1590675"/>
                <a:gd name="connsiteY440" fmla="*/ 647700 h 1447800"/>
                <a:gd name="connsiteX441" fmla="*/ 109538 w 1590675"/>
                <a:gd name="connsiteY441" fmla="*/ 653415 h 1447800"/>
                <a:gd name="connsiteX442" fmla="*/ 108585 w 1590675"/>
                <a:gd name="connsiteY442" fmla="*/ 656272 h 1447800"/>
                <a:gd name="connsiteX443" fmla="*/ 103823 w 1590675"/>
                <a:gd name="connsiteY443" fmla="*/ 662940 h 1447800"/>
                <a:gd name="connsiteX444" fmla="*/ 100965 w 1590675"/>
                <a:gd name="connsiteY444" fmla="*/ 668655 h 1447800"/>
                <a:gd name="connsiteX445" fmla="*/ 100013 w 1590675"/>
                <a:gd name="connsiteY445" fmla="*/ 670560 h 1447800"/>
                <a:gd name="connsiteX446" fmla="*/ 95250 w 1590675"/>
                <a:gd name="connsiteY446" fmla="*/ 672465 h 1447800"/>
                <a:gd name="connsiteX447" fmla="*/ 89535 w 1590675"/>
                <a:gd name="connsiteY447" fmla="*/ 670560 h 1447800"/>
                <a:gd name="connsiteX448" fmla="*/ 81915 w 1590675"/>
                <a:gd name="connsiteY448" fmla="*/ 666750 h 1447800"/>
                <a:gd name="connsiteX449" fmla="*/ 79057 w 1590675"/>
                <a:gd name="connsiteY449" fmla="*/ 665797 h 1447800"/>
                <a:gd name="connsiteX450" fmla="*/ 71438 w 1590675"/>
                <a:gd name="connsiteY450" fmla="*/ 666750 h 1447800"/>
                <a:gd name="connsiteX451" fmla="*/ 69532 w 1590675"/>
                <a:gd name="connsiteY451" fmla="*/ 667703 h 1447800"/>
                <a:gd name="connsiteX452" fmla="*/ 63818 w 1590675"/>
                <a:gd name="connsiteY452" fmla="*/ 672465 h 1447800"/>
                <a:gd name="connsiteX453" fmla="*/ 59055 w 1590675"/>
                <a:gd name="connsiteY453" fmla="*/ 674370 h 1447800"/>
                <a:gd name="connsiteX454" fmla="*/ 56198 w 1590675"/>
                <a:gd name="connsiteY454" fmla="*/ 674370 h 1447800"/>
                <a:gd name="connsiteX455" fmla="*/ 53340 w 1590675"/>
                <a:gd name="connsiteY455" fmla="*/ 674370 h 1447800"/>
                <a:gd name="connsiteX456" fmla="*/ 49530 w 1590675"/>
                <a:gd name="connsiteY456" fmla="*/ 672465 h 1447800"/>
                <a:gd name="connsiteX457" fmla="*/ 48578 w 1590675"/>
                <a:gd name="connsiteY457" fmla="*/ 670560 h 1447800"/>
                <a:gd name="connsiteX458" fmla="*/ 47625 w 1590675"/>
                <a:gd name="connsiteY458" fmla="*/ 667703 h 1447800"/>
                <a:gd name="connsiteX459" fmla="*/ 46673 w 1590675"/>
                <a:gd name="connsiteY459" fmla="*/ 655320 h 1447800"/>
                <a:gd name="connsiteX460" fmla="*/ 45720 w 1590675"/>
                <a:gd name="connsiteY460" fmla="*/ 649605 h 1447800"/>
                <a:gd name="connsiteX461" fmla="*/ 40005 w 1590675"/>
                <a:gd name="connsiteY461" fmla="*/ 636270 h 1447800"/>
                <a:gd name="connsiteX462" fmla="*/ 13335 w 1590675"/>
                <a:gd name="connsiteY462" fmla="*/ 548640 h 1447800"/>
                <a:gd name="connsiteX463" fmla="*/ 0 w 1590675"/>
                <a:gd name="connsiteY463" fmla="*/ 511493 h 1447800"/>
                <a:gd name="connsiteX464" fmla="*/ 60960 w 1590675"/>
                <a:gd name="connsiteY464" fmla="*/ 491490 h 1447800"/>
                <a:gd name="connsiteX465" fmla="*/ 127635 w 1590675"/>
                <a:gd name="connsiteY465" fmla="*/ 477203 h 1447800"/>
                <a:gd name="connsiteX466" fmla="*/ 200025 w 1590675"/>
                <a:gd name="connsiteY466" fmla="*/ 442913 h 1447800"/>
                <a:gd name="connsiteX467" fmla="*/ 205740 w 1590675"/>
                <a:gd name="connsiteY467" fmla="*/ 441007 h 1447800"/>
                <a:gd name="connsiteX468" fmla="*/ 232410 w 1590675"/>
                <a:gd name="connsiteY468" fmla="*/ 445770 h 1447800"/>
                <a:gd name="connsiteX469" fmla="*/ 277178 w 1590675"/>
                <a:gd name="connsiteY469" fmla="*/ 464820 h 1447800"/>
                <a:gd name="connsiteX470" fmla="*/ 331470 w 1590675"/>
                <a:gd name="connsiteY470" fmla="*/ 475297 h 1447800"/>
                <a:gd name="connsiteX471" fmla="*/ 365760 w 1590675"/>
                <a:gd name="connsiteY471" fmla="*/ 477203 h 1447800"/>
                <a:gd name="connsiteX472" fmla="*/ 370523 w 1590675"/>
                <a:gd name="connsiteY472" fmla="*/ 476250 h 1447800"/>
                <a:gd name="connsiteX473" fmla="*/ 375285 w 1590675"/>
                <a:gd name="connsiteY473" fmla="*/ 470535 h 1447800"/>
                <a:gd name="connsiteX474" fmla="*/ 378143 w 1590675"/>
                <a:gd name="connsiteY474" fmla="*/ 464820 h 1447800"/>
                <a:gd name="connsiteX475" fmla="*/ 379095 w 1590675"/>
                <a:gd name="connsiteY475" fmla="*/ 461963 h 1447800"/>
                <a:gd name="connsiteX476" fmla="*/ 382905 w 1590675"/>
                <a:gd name="connsiteY476" fmla="*/ 445770 h 1447800"/>
                <a:gd name="connsiteX477" fmla="*/ 382905 w 1590675"/>
                <a:gd name="connsiteY477" fmla="*/ 440055 h 1447800"/>
                <a:gd name="connsiteX478" fmla="*/ 380048 w 1590675"/>
                <a:gd name="connsiteY478" fmla="*/ 435293 h 1447800"/>
                <a:gd name="connsiteX479" fmla="*/ 377190 w 1590675"/>
                <a:gd name="connsiteY479" fmla="*/ 431482 h 1447800"/>
                <a:gd name="connsiteX480" fmla="*/ 366713 w 1590675"/>
                <a:gd name="connsiteY480" fmla="*/ 422910 h 1447800"/>
                <a:gd name="connsiteX481" fmla="*/ 364807 w 1590675"/>
                <a:gd name="connsiteY481" fmla="*/ 421005 h 1447800"/>
                <a:gd name="connsiteX482" fmla="*/ 364807 w 1590675"/>
                <a:gd name="connsiteY482" fmla="*/ 419100 h 1447800"/>
                <a:gd name="connsiteX483" fmla="*/ 365760 w 1590675"/>
                <a:gd name="connsiteY483" fmla="*/ 413385 h 1447800"/>
                <a:gd name="connsiteX484" fmla="*/ 373380 w 1590675"/>
                <a:gd name="connsiteY484" fmla="*/ 393382 h 1447800"/>
                <a:gd name="connsiteX485" fmla="*/ 377190 w 1590675"/>
                <a:gd name="connsiteY485" fmla="*/ 380047 h 1447800"/>
                <a:gd name="connsiteX486" fmla="*/ 381000 w 1590675"/>
                <a:gd name="connsiteY486" fmla="*/ 357188 h 1447800"/>
                <a:gd name="connsiteX487" fmla="*/ 384810 w 1590675"/>
                <a:gd name="connsiteY487" fmla="*/ 344805 h 1447800"/>
                <a:gd name="connsiteX488" fmla="*/ 390525 w 1590675"/>
                <a:gd name="connsiteY488" fmla="*/ 307657 h 1447800"/>
                <a:gd name="connsiteX489" fmla="*/ 390525 w 1590675"/>
                <a:gd name="connsiteY489" fmla="*/ 301943 h 1447800"/>
                <a:gd name="connsiteX490" fmla="*/ 388620 w 1590675"/>
                <a:gd name="connsiteY490" fmla="*/ 300990 h 1447800"/>
                <a:gd name="connsiteX491" fmla="*/ 385763 w 1590675"/>
                <a:gd name="connsiteY491" fmla="*/ 299085 h 1447800"/>
                <a:gd name="connsiteX492" fmla="*/ 373380 w 1590675"/>
                <a:gd name="connsiteY492" fmla="*/ 297180 h 1447800"/>
                <a:gd name="connsiteX493" fmla="*/ 363855 w 1590675"/>
                <a:gd name="connsiteY493" fmla="*/ 295275 h 1447800"/>
                <a:gd name="connsiteX494" fmla="*/ 360998 w 1590675"/>
                <a:gd name="connsiteY494" fmla="*/ 293370 h 1447800"/>
                <a:gd name="connsiteX495" fmla="*/ 360045 w 1590675"/>
                <a:gd name="connsiteY495" fmla="*/ 291465 h 1447800"/>
                <a:gd name="connsiteX496" fmla="*/ 360045 w 1590675"/>
                <a:gd name="connsiteY496" fmla="*/ 288607 h 1447800"/>
                <a:gd name="connsiteX497" fmla="*/ 361950 w 1590675"/>
                <a:gd name="connsiteY497" fmla="*/ 278130 h 1447800"/>
                <a:gd name="connsiteX498" fmla="*/ 361950 w 1590675"/>
                <a:gd name="connsiteY498" fmla="*/ 275272 h 1447800"/>
                <a:gd name="connsiteX499" fmla="*/ 360045 w 1590675"/>
                <a:gd name="connsiteY499" fmla="*/ 267653 h 1447800"/>
                <a:gd name="connsiteX500" fmla="*/ 360045 w 1590675"/>
                <a:gd name="connsiteY500" fmla="*/ 264795 h 1447800"/>
                <a:gd name="connsiteX501" fmla="*/ 360045 w 1590675"/>
                <a:gd name="connsiteY501" fmla="*/ 260985 h 1447800"/>
                <a:gd name="connsiteX502" fmla="*/ 361950 w 1590675"/>
                <a:gd name="connsiteY502" fmla="*/ 256222 h 1447800"/>
                <a:gd name="connsiteX503" fmla="*/ 366713 w 1590675"/>
                <a:gd name="connsiteY503" fmla="*/ 247650 h 1447800"/>
                <a:gd name="connsiteX504" fmla="*/ 368618 w 1590675"/>
                <a:gd name="connsiteY504" fmla="*/ 243840 h 1447800"/>
                <a:gd name="connsiteX505" fmla="*/ 368618 w 1590675"/>
                <a:gd name="connsiteY505" fmla="*/ 239078 h 1447800"/>
                <a:gd name="connsiteX506" fmla="*/ 367665 w 1590675"/>
                <a:gd name="connsiteY506" fmla="*/ 236220 h 1447800"/>
                <a:gd name="connsiteX507" fmla="*/ 364807 w 1590675"/>
                <a:gd name="connsiteY507" fmla="*/ 232410 h 1447800"/>
                <a:gd name="connsiteX508" fmla="*/ 323850 w 1590675"/>
                <a:gd name="connsiteY508" fmla="*/ 207645 h 1447800"/>
                <a:gd name="connsiteX509" fmla="*/ 320040 w 1590675"/>
                <a:gd name="connsiteY509" fmla="*/ 203835 h 1447800"/>
                <a:gd name="connsiteX510" fmla="*/ 318135 w 1590675"/>
                <a:gd name="connsiteY510" fmla="*/ 199072 h 1447800"/>
                <a:gd name="connsiteX511" fmla="*/ 318135 w 1590675"/>
                <a:gd name="connsiteY511" fmla="*/ 193357 h 1447800"/>
                <a:gd name="connsiteX512" fmla="*/ 320040 w 1590675"/>
                <a:gd name="connsiteY512" fmla="*/ 185738 h 1447800"/>
                <a:gd name="connsiteX513" fmla="*/ 321945 w 1590675"/>
                <a:gd name="connsiteY513" fmla="*/ 180022 h 1447800"/>
                <a:gd name="connsiteX514" fmla="*/ 324803 w 1590675"/>
                <a:gd name="connsiteY514" fmla="*/ 176213 h 1447800"/>
                <a:gd name="connsiteX515" fmla="*/ 339090 w 1590675"/>
                <a:gd name="connsiteY515" fmla="*/ 163830 h 1447800"/>
                <a:gd name="connsiteX516" fmla="*/ 341948 w 1590675"/>
                <a:gd name="connsiteY516" fmla="*/ 161925 h 1447800"/>
                <a:gd name="connsiteX517" fmla="*/ 364807 w 1590675"/>
                <a:gd name="connsiteY517" fmla="*/ 157163 h 1447800"/>
                <a:gd name="connsiteX518" fmla="*/ 370523 w 1590675"/>
                <a:gd name="connsiteY518" fmla="*/ 154305 h 1447800"/>
                <a:gd name="connsiteX519" fmla="*/ 373380 w 1590675"/>
                <a:gd name="connsiteY519" fmla="*/ 151447 h 1447800"/>
                <a:gd name="connsiteX520" fmla="*/ 375285 w 1590675"/>
                <a:gd name="connsiteY520" fmla="*/ 147638 h 1447800"/>
                <a:gd name="connsiteX521" fmla="*/ 376238 w 1590675"/>
                <a:gd name="connsiteY521" fmla="*/ 140970 h 1447800"/>
                <a:gd name="connsiteX522" fmla="*/ 375285 w 1590675"/>
                <a:gd name="connsiteY522" fmla="*/ 138113 h 1447800"/>
                <a:gd name="connsiteX523" fmla="*/ 374332 w 1590675"/>
                <a:gd name="connsiteY523" fmla="*/ 133350 h 1447800"/>
                <a:gd name="connsiteX524" fmla="*/ 371475 w 1590675"/>
                <a:gd name="connsiteY524" fmla="*/ 128588 h 1447800"/>
                <a:gd name="connsiteX525" fmla="*/ 368618 w 1590675"/>
                <a:gd name="connsiteY525" fmla="*/ 127635 h 1447800"/>
                <a:gd name="connsiteX526" fmla="*/ 349568 w 1590675"/>
                <a:gd name="connsiteY526" fmla="*/ 122872 h 1447800"/>
                <a:gd name="connsiteX527" fmla="*/ 343853 w 1590675"/>
                <a:gd name="connsiteY527" fmla="*/ 120015 h 1447800"/>
                <a:gd name="connsiteX528" fmla="*/ 340995 w 1590675"/>
                <a:gd name="connsiteY528" fmla="*/ 116205 h 1447800"/>
                <a:gd name="connsiteX529" fmla="*/ 338138 w 1590675"/>
                <a:gd name="connsiteY529" fmla="*/ 111443 h 1447800"/>
                <a:gd name="connsiteX530" fmla="*/ 338138 w 1590675"/>
                <a:gd name="connsiteY530" fmla="*/ 108585 h 1447800"/>
                <a:gd name="connsiteX531" fmla="*/ 338138 w 1590675"/>
                <a:gd name="connsiteY531" fmla="*/ 101918 h 1447800"/>
                <a:gd name="connsiteX532" fmla="*/ 336232 w 1590675"/>
                <a:gd name="connsiteY532" fmla="*/ 97155 h 1447800"/>
                <a:gd name="connsiteX533" fmla="*/ 334328 w 1590675"/>
                <a:gd name="connsiteY533" fmla="*/ 96203 h 1447800"/>
                <a:gd name="connsiteX534" fmla="*/ 331470 w 1590675"/>
                <a:gd name="connsiteY534" fmla="*/ 95250 h 1447800"/>
                <a:gd name="connsiteX535" fmla="*/ 325755 w 1590675"/>
                <a:gd name="connsiteY535" fmla="*/ 95250 h 1447800"/>
                <a:gd name="connsiteX536" fmla="*/ 323850 w 1590675"/>
                <a:gd name="connsiteY536" fmla="*/ 94297 h 1447800"/>
                <a:gd name="connsiteX537" fmla="*/ 321945 w 1590675"/>
                <a:gd name="connsiteY537" fmla="*/ 93345 h 1447800"/>
                <a:gd name="connsiteX538" fmla="*/ 320993 w 1590675"/>
                <a:gd name="connsiteY538" fmla="*/ 90488 h 1447800"/>
                <a:gd name="connsiteX539" fmla="*/ 320993 w 1590675"/>
                <a:gd name="connsiteY539" fmla="*/ 86678 h 1447800"/>
                <a:gd name="connsiteX540" fmla="*/ 322898 w 1590675"/>
                <a:gd name="connsiteY540" fmla="*/ 81915 h 1447800"/>
                <a:gd name="connsiteX541" fmla="*/ 325755 w 1590675"/>
                <a:gd name="connsiteY541" fmla="*/ 80010 h 1447800"/>
                <a:gd name="connsiteX542" fmla="*/ 332423 w 1590675"/>
                <a:gd name="connsiteY542" fmla="*/ 75247 h 1447800"/>
                <a:gd name="connsiteX543" fmla="*/ 334328 w 1590675"/>
                <a:gd name="connsiteY543" fmla="*/ 72390 h 1447800"/>
                <a:gd name="connsiteX544" fmla="*/ 335280 w 1590675"/>
                <a:gd name="connsiteY544" fmla="*/ 70485 h 1447800"/>
                <a:gd name="connsiteX545" fmla="*/ 336232 w 1590675"/>
                <a:gd name="connsiteY545" fmla="*/ 51435 h 1447800"/>
                <a:gd name="connsiteX546" fmla="*/ 337185 w 1590675"/>
                <a:gd name="connsiteY546" fmla="*/ 46672 h 1447800"/>
                <a:gd name="connsiteX547" fmla="*/ 339090 w 1590675"/>
                <a:gd name="connsiteY547" fmla="*/ 41910 h 1447800"/>
                <a:gd name="connsiteX548" fmla="*/ 338138 w 1590675"/>
                <a:gd name="connsiteY548" fmla="*/ 39053 h 1447800"/>
                <a:gd name="connsiteX549" fmla="*/ 335280 w 1590675"/>
                <a:gd name="connsiteY549" fmla="*/ 32385 h 1447800"/>
                <a:gd name="connsiteX550" fmla="*/ 333375 w 1590675"/>
                <a:gd name="connsiteY550" fmla="*/ 24765 h 1447800"/>
                <a:gd name="connsiteX551" fmla="*/ 332423 w 1590675"/>
                <a:gd name="connsiteY551" fmla="*/ 20955 h 1447800"/>
                <a:gd name="connsiteX552" fmla="*/ 333375 w 1590675"/>
                <a:gd name="connsiteY552" fmla="*/ 17145 h 1447800"/>
                <a:gd name="connsiteX553" fmla="*/ 335280 w 1590675"/>
                <a:gd name="connsiteY553" fmla="*/ 9525 h 1447800"/>
                <a:gd name="connsiteX554" fmla="*/ 338138 w 1590675"/>
                <a:gd name="connsiteY554" fmla="*/ 7620 h 1447800"/>
                <a:gd name="connsiteX555" fmla="*/ 340995 w 1590675"/>
                <a:gd name="connsiteY555" fmla="*/ 5715 h 1447800"/>
                <a:gd name="connsiteX556" fmla="*/ 346710 w 1590675"/>
                <a:gd name="connsiteY556" fmla="*/ 5715 h 1447800"/>
                <a:gd name="connsiteX557" fmla="*/ 349568 w 1590675"/>
                <a:gd name="connsiteY557" fmla="*/ 6668 h 1447800"/>
                <a:gd name="connsiteX558" fmla="*/ 351473 w 1590675"/>
                <a:gd name="connsiteY558" fmla="*/ 8572 h 1447800"/>
                <a:gd name="connsiteX559" fmla="*/ 351473 w 1590675"/>
                <a:gd name="connsiteY559" fmla="*/ 10478 h 1447800"/>
                <a:gd name="connsiteX560" fmla="*/ 351473 w 1590675"/>
                <a:gd name="connsiteY560" fmla="*/ 20003 h 1447800"/>
                <a:gd name="connsiteX561" fmla="*/ 351473 w 1590675"/>
                <a:gd name="connsiteY561" fmla="*/ 25718 h 1447800"/>
                <a:gd name="connsiteX562" fmla="*/ 352425 w 1590675"/>
                <a:gd name="connsiteY562" fmla="*/ 31432 h 1447800"/>
                <a:gd name="connsiteX563" fmla="*/ 354330 w 1590675"/>
                <a:gd name="connsiteY563" fmla="*/ 36195 h 1447800"/>
                <a:gd name="connsiteX564" fmla="*/ 356235 w 1590675"/>
                <a:gd name="connsiteY564" fmla="*/ 38100 h 1447800"/>
                <a:gd name="connsiteX565" fmla="*/ 359093 w 1590675"/>
                <a:gd name="connsiteY565" fmla="*/ 39053 h 1447800"/>
                <a:gd name="connsiteX566" fmla="*/ 389573 w 1590675"/>
                <a:gd name="connsiteY566" fmla="*/ 39053 h 1447800"/>
                <a:gd name="connsiteX567" fmla="*/ 402907 w 1590675"/>
                <a:gd name="connsiteY567" fmla="*/ 30480 h 1447800"/>
                <a:gd name="connsiteX568" fmla="*/ 421005 w 1590675"/>
                <a:gd name="connsiteY568" fmla="*/ 15240 h 1447800"/>
                <a:gd name="connsiteX569" fmla="*/ 428625 w 1590675"/>
                <a:gd name="connsiteY569" fmla="*/ 10478 h 1447800"/>
                <a:gd name="connsiteX570" fmla="*/ 434340 w 1590675"/>
                <a:gd name="connsiteY570" fmla="*/ 8572 h 1447800"/>
                <a:gd name="connsiteX571" fmla="*/ 440055 w 1590675"/>
                <a:gd name="connsiteY571" fmla="*/ 9525 h 1447800"/>
                <a:gd name="connsiteX572" fmla="*/ 444818 w 1590675"/>
                <a:gd name="connsiteY572" fmla="*/ 9525 h 1447800"/>
                <a:gd name="connsiteX573" fmla="*/ 454343 w 1590675"/>
                <a:gd name="connsiteY573" fmla="*/ 8572 h 1447800"/>
                <a:gd name="connsiteX574" fmla="*/ 459105 w 1590675"/>
                <a:gd name="connsiteY574" fmla="*/ 5715 h 1447800"/>
                <a:gd name="connsiteX575" fmla="*/ 461963 w 1590675"/>
                <a:gd name="connsiteY575" fmla="*/ 3810 h 1447800"/>
                <a:gd name="connsiteX576" fmla="*/ 473393 w 1590675"/>
                <a:gd name="connsiteY576" fmla="*/ 953 h 1447800"/>
                <a:gd name="connsiteX577" fmla="*/ 481965 w 1590675"/>
                <a:gd name="connsiteY577" fmla="*/ 953 h 1447800"/>
                <a:gd name="connsiteX578" fmla="*/ 487680 w 1590675"/>
                <a:gd name="connsiteY578" fmla="*/ 1905 h 1447800"/>
                <a:gd name="connsiteX579" fmla="*/ 501968 w 1590675"/>
                <a:gd name="connsiteY579" fmla="*/ 8572 h 1447800"/>
                <a:gd name="connsiteX580" fmla="*/ 506730 w 1590675"/>
                <a:gd name="connsiteY580" fmla="*/ 8572 h 1447800"/>
                <a:gd name="connsiteX581" fmla="*/ 511493 w 1590675"/>
                <a:gd name="connsiteY581" fmla="*/ 7620 h 1447800"/>
                <a:gd name="connsiteX582" fmla="*/ 520065 w 1590675"/>
                <a:gd name="connsiteY582" fmla="*/ 4763 h 1447800"/>
                <a:gd name="connsiteX583" fmla="*/ 548640 w 1590675"/>
                <a:gd name="connsiteY583" fmla="*/ 0 h 1447800"/>
                <a:gd name="connsiteX584" fmla="*/ 553403 w 1590675"/>
                <a:gd name="connsiteY584" fmla="*/ 0 h 1447800"/>
                <a:gd name="connsiteX585" fmla="*/ 564832 w 1590675"/>
                <a:gd name="connsiteY585" fmla="*/ 3810 h 1447800"/>
                <a:gd name="connsiteX586" fmla="*/ 599123 w 1590675"/>
                <a:gd name="connsiteY586" fmla="*/ 20955 h 1447800"/>
                <a:gd name="connsiteX587" fmla="*/ 681990 w 1590675"/>
                <a:gd name="connsiteY587" fmla="*/ 35243 h 1447800"/>
                <a:gd name="connsiteX588" fmla="*/ 689610 w 1590675"/>
                <a:gd name="connsiteY588" fmla="*/ 40005 h 1447800"/>
                <a:gd name="connsiteX589" fmla="*/ 694373 w 1590675"/>
                <a:gd name="connsiteY589" fmla="*/ 40005 h 1447800"/>
                <a:gd name="connsiteX590" fmla="*/ 699135 w 1590675"/>
                <a:gd name="connsiteY590" fmla="*/ 39053 h 1447800"/>
                <a:gd name="connsiteX591" fmla="*/ 707707 w 1590675"/>
                <a:gd name="connsiteY591" fmla="*/ 36195 h 1447800"/>
                <a:gd name="connsiteX592" fmla="*/ 713423 w 1590675"/>
                <a:gd name="connsiteY592" fmla="*/ 32385 h 1447800"/>
                <a:gd name="connsiteX593" fmla="*/ 724853 w 1590675"/>
                <a:gd name="connsiteY593" fmla="*/ 20003 h 1447800"/>
                <a:gd name="connsiteX594" fmla="*/ 733425 w 1590675"/>
                <a:gd name="connsiteY594" fmla="*/ 13335 h 1447800"/>
                <a:gd name="connsiteX595" fmla="*/ 738188 w 1590675"/>
                <a:gd name="connsiteY595" fmla="*/ 10478 h 1447800"/>
                <a:gd name="connsiteX596" fmla="*/ 760095 w 1590675"/>
                <a:gd name="connsiteY596" fmla="*/ 4763 h 1447800"/>
                <a:gd name="connsiteX597" fmla="*/ 775335 w 1590675"/>
                <a:gd name="connsiteY597" fmla="*/ 2857 h 1447800"/>
                <a:gd name="connsiteX598" fmla="*/ 781050 w 1590675"/>
                <a:gd name="connsiteY598" fmla="*/ 3810 h 1447800"/>
                <a:gd name="connsiteX599" fmla="*/ 786765 w 1590675"/>
                <a:gd name="connsiteY599" fmla="*/ 5715 h 1447800"/>
                <a:gd name="connsiteX600" fmla="*/ 790575 w 1590675"/>
                <a:gd name="connsiteY600" fmla="*/ 9525 h 1447800"/>
                <a:gd name="connsiteX601" fmla="*/ 794385 w 1590675"/>
                <a:gd name="connsiteY601" fmla="*/ 16193 h 1447800"/>
                <a:gd name="connsiteX602" fmla="*/ 801053 w 1590675"/>
                <a:gd name="connsiteY602" fmla="*/ 23813 h 1447800"/>
                <a:gd name="connsiteX603" fmla="*/ 805815 w 1590675"/>
                <a:gd name="connsiteY603" fmla="*/ 26670 h 1447800"/>
                <a:gd name="connsiteX604" fmla="*/ 831532 w 1590675"/>
                <a:gd name="connsiteY604" fmla="*/ 32385 h 1447800"/>
                <a:gd name="connsiteX605" fmla="*/ 834390 w 1590675"/>
                <a:gd name="connsiteY605" fmla="*/ 33338 h 1447800"/>
                <a:gd name="connsiteX606" fmla="*/ 838200 w 1590675"/>
                <a:gd name="connsiteY606" fmla="*/ 37147 h 1447800"/>
                <a:gd name="connsiteX607" fmla="*/ 845820 w 1590675"/>
                <a:gd name="connsiteY607" fmla="*/ 49530 h 1447800"/>
                <a:gd name="connsiteX608" fmla="*/ 850582 w 1590675"/>
                <a:gd name="connsiteY608" fmla="*/ 50482 h 1447800"/>
                <a:gd name="connsiteX609" fmla="*/ 856298 w 1590675"/>
                <a:gd name="connsiteY609" fmla="*/ 49530 h 1447800"/>
                <a:gd name="connsiteX610" fmla="*/ 884873 w 1590675"/>
                <a:gd name="connsiteY610" fmla="*/ 38100 h 1447800"/>
                <a:gd name="connsiteX611" fmla="*/ 916305 w 1590675"/>
                <a:gd name="connsiteY611" fmla="*/ 30480 h 1447800"/>
                <a:gd name="connsiteX612" fmla="*/ 922020 w 1590675"/>
                <a:gd name="connsiteY612" fmla="*/ 30480 h 1447800"/>
                <a:gd name="connsiteX613" fmla="*/ 925830 w 1590675"/>
                <a:gd name="connsiteY613" fmla="*/ 31432 h 1447800"/>
                <a:gd name="connsiteX614" fmla="*/ 927735 w 1590675"/>
                <a:gd name="connsiteY614" fmla="*/ 32385 h 1447800"/>
                <a:gd name="connsiteX615" fmla="*/ 929640 w 1590675"/>
                <a:gd name="connsiteY615" fmla="*/ 34290 h 1447800"/>
                <a:gd name="connsiteX616" fmla="*/ 931545 w 1590675"/>
                <a:gd name="connsiteY616" fmla="*/ 36195 h 1447800"/>
                <a:gd name="connsiteX617" fmla="*/ 931545 w 1590675"/>
                <a:gd name="connsiteY617" fmla="*/ 39053 h 1447800"/>
                <a:gd name="connsiteX618" fmla="*/ 931545 w 1590675"/>
                <a:gd name="connsiteY618" fmla="*/ 41910 h 1447800"/>
                <a:gd name="connsiteX619" fmla="*/ 929640 w 1590675"/>
                <a:gd name="connsiteY619" fmla="*/ 52388 h 1447800"/>
                <a:gd name="connsiteX620" fmla="*/ 928688 w 1590675"/>
                <a:gd name="connsiteY620" fmla="*/ 56197 h 1447800"/>
                <a:gd name="connsiteX621" fmla="*/ 929640 w 1590675"/>
                <a:gd name="connsiteY621" fmla="*/ 61913 h 1447800"/>
                <a:gd name="connsiteX622" fmla="*/ 932498 w 1590675"/>
                <a:gd name="connsiteY622" fmla="*/ 68580 h 1447800"/>
                <a:gd name="connsiteX623" fmla="*/ 932498 w 1590675"/>
                <a:gd name="connsiteY623" fmla="*/ 71438 h 1447800"/>
                <a:gd name="connsiteX624" fmla="*/ 932498 w 1590675"/>
                <a:gd name="connsiteY624" fmla="*/ 78105 h 1447800"/>
                <a:gd name="connsiteX625" fmla="*/ 933450 w 1590675"/>
                <a:gd name="connsiteY625" fmla="*/ 80010 h 1447800"/>
                <a:gd name="connsiteX626" fmla="*/ 936307 w 1590675"/>
                <a:gd name="connsiteY626" fmla="*/ 81915 h 1447800"/>
                <a:gd name="connsiteX627" fmla="*/ 942023 w 1590675"/>
                <a:gd name="connsiteY627" fmla="*/ 81915 h 1447800"/>
                <a:gd name="connsiteX628" fmla="*/ 946785 w 1590675"/>
                <a:gd name="connsiteY628" fmla="*/ 80963 h 1447800"/>
                <a:gd name="connsiteX629" fmla="*/ 963930 w 1590675"/>
                <a:gd name="connsiteY629" fmla="*/ 68580 h 1447800"/>
                <a:gd name="connsiteX630" fmla="*/ 967740 w 1590675"/>
                <a:gd name="connsiteY630" fmla="*/ 67628 h 1447800"/>
                <a:gd name="connsiteX631" fmla="*/ 970598 w 1590675"/>
                <a:gd name="connsiteY631" fmla="*/ 68580 h 1447800"/>
                <a:gd name="connsiteX632" fmla="*/ 972503 w 1590675"/>
                <a:gd name="connsiteY632" fmla="*/ 73343 h 1447800"/>
                <a:gd name="connsiteX633" fmla="*/ 971550 w 1590675"/>
                <a:gd name="connsiteY633" fmla="*/ 76200 h 1447800"/>
                <a:gd name="connsiteX634" fmla="*/ 968693 w 1590675"/>
                <a:gd name="connsiteY634" fmla="*/ 81915 h 1447800"/>
                <a:gd name="connsiteX635" fmla="*/ 962025 w 1590675"/>
                <a:gd name="connsiteY635" fmla="*/ 89535 h 1447800"/>
                <a:gd name="connsiteX636" fmla="*/ 959168 w 1590675"/>
                <a:gd name="connsiteY636" fmla="*/ 94297 h 1447800"/>
                <a:gd name="connsiteX637" fmla="*/ 958215 w 1590675"/>
                <a:gd name="connsiteY637" fmla="*/ 97155 h 1447800"/>
                <a:gd name="connsiteX638" fmla="*/ 958215 w 1590675"/>
                <a:gd name="connsiteY638" fmla="*/ 99060 h 1447800"/>
                <a:gd name="connsiteX639" fmla="*/ 961073 w 1590675"/>
                <a:gd name="connsiteY639" fmla="*/ 101918 h 1447800"/>
                <a:gd name="connsiteX640" fmla="*/ 968693 w 1590675"/>
                <a:gd name="connsiteY640" fmla="*/ 103822 h 1447800"/>
                <a:gd name="connsiteX641" fmla="*/ 971550 w 1590675"/>
                <a:gd name="connsiteY641" fmla="*/ 104775 h 1447800"/>
                <a:gd name="connsiteX642" fmla="*/ 973455 w 1590675"/>
                <a:gd name="connsiteY642" fmla="*/ 105728 h 1447800"/>
                <a:gd name="connsiteX643" fmla="*/ 976313 w 1590675"/>
                <a:gd name="connsiteY643" fmla="*/ 110490 h 1447800"/>
                <a:gd name="connsiteX644" fmla="*/ 977265 w 1590675"/>
                <a:gd name="connsiteY644" fmla="*/ 116205 h 1447800"/>
                <a:gd name="connsiteX645" fmla="*/ 978218 w 1590675"/>
                <a:gd name="connsiteY645" fmla="*/ 126682 h 1447800"/>
                <a:gd name="connsiteX646" fmla="*/ 978218 w 1590675"/>
                <a:gd name="connsiteY646" fmla="*/ 130493 h 1447800"/>
                <a:gd name="connsiteX647" fmla="*/ 977265 w 1590675"/>
                <a:gd name="connsiteY647" fmla="*/ 139065 h 1447800"/>
                <a:gd name="connsiteX648" fmla="*/ 978218 w 1590675"/>
                <a:gd name="connsiteY648" fmla="*/ 140970 h 1447800"/>
                <a:gd name="connsiteX649" fmla="*/ 984885 w 1590675"/>
                <a:gd name="connsiteY649" fmla="*/ 143828 h 1447800"/>
                <a:gd name="connsiteX650" fmla="*/ 986790 w 1590675"/>
                <a:gd name="connsiteY650" fmla="*/ 145732 h 1447800"/>
                <a:gd name="connsiteX651" fmla="*/ 988695 w 1590675"/>
                <a:gd name="connsiteY651" fmla="*/ 148590 h 1447800"/>
                <a:gd name="connsiteX652" fmla="*/ 992505 w 1590675"/>
                <a:gd name="connsiteY652" fmla="*/ 151447 h 1447800"/>
                <a:gd name="connsiteX653" fmla="*/ 1007745 w 1590675"/>
                <a:gd name="connsiteY653" fmla="*/ 150495 h 1447800"/>
                <a:gd name="connsiteX654" fmla="*/ 1008698 w 1590675"/>
                <a:gd name="connsiteY654" fmla="*/ 150495 h 1447800"/>
                <a:gd name="connsiteX655" fmla="*/ 1008698 w 1590675"/>
                <a:gd name="connsiteY655" fmla="*/ 153353 h 1447800"/>
                <a:gd name="connsiteX656" fmla="*/ 1007745 w 1590675"/>
                <a:gd name="connsiteY656" fmla="*/ 158115 h 1447800"/>
                <a:gd name="connsiteX657" fmla="*/ 1006793 w 1590675"/>
                <a:gd name="connsiteY657" fmla="*/ 163830 h 1447800"/>
                <a:gd name="connsiteX658" fmla="*/ 1008698 w 1590675"/>
                <a:gd name="connsiteY658" fmla="*/ 171450 h 1447800"/>
                <a:gd name="connsiteX659" fmla="*/ 1008698 w 1590675"/>
                <a:gd name="connsiteY659" fmla="*/ 174307 h 1447800"/>
                <a:gd name="connsiteX660" fmla="*/ 1008698 w 1590675"/>
                <a:gd name="connsiteY660" fmla="*/ 177165 h 1447800"/>
                <a:gd name="connsiteX661" fmla="*/ 1004888 w 1590675"/>
                <a:gd name="connsiteY661" fmla="*/ 185738 h 1447800"/>
                <a:gd name="connsiteX662" fmla="*/ 1000125 w 1590675"/>
                <a:gd name="connsiteY662" fmla="*/ 199072 h 1447800"/>
                <a:gd name="connsiteX663" fmla="*/ 999173 w 1590675"/>
                <a:gd name="connsiteY663" fmla="*/ 202882 h 1447800"/>
                <a:gd name="connsiteX664" fmla="*/ 996315 w 1590675"/>
                <a:gd name="connsiteY664" fmla="*/ 206693 h 1447800"/>
                <a:gd name="connsiteX665" fmla="*/ 993457 w 1590675"/>
                <a:gd name="connsiteY665" fmla="*/ 207645 h 1447800"/>
                <a:gd name="connsiteX666" fmla="*/ 990600 w 1590675"/>
                <a:gd name="connsiteY666" fmla="*/ 206693 h 1447800"/>
                <a:gd name="connsiteX667" fmla="*/ 986790 w 1590675"/>
                <a:gd name="connsiteY667" fmla="*/ 202882 h 1447800"/>
                <a:gd name="connsiteX668" fmla="*/ 984885 w 1590675"/>
                <a:gd name="connsiteY668" fmla="*/ 200978 h 1447800"/>
                <a:gd name="connsiteX669" fmla="*/ 980123 w 1590675"/>
                <a:gd name="connsiteY669" fmla="*/ 200978 h 1447800"/>
                <a:gd name="connsiteX670" fmla="*/ 979170 w 1590675"/>
                <a:gd name="connsiteY670" fmla="*/ 201930 h 1447800"/>
                <a:gd name="connsiteX671" fmla="*/ 978218 w 1590675"/>
                <a:gd name="connsiteY671" fmla="*/ 204788 h 1447800"/>
                <a:gd name="connsiteX672" fmla="*/ 979170 w 1590675"/>
                <a:gd name="connsiteY672" fmla="*/ 210503 h 1447800"/>
                <a:gd name="connsiteX673" fmla="*/ 980123 w 1590675"/>
                <a:gd name="connsiteY673" fmla="*/ 212407 h 1447800"/>
                <a:gd name="connsiteX674" fmla="*/ 984885 w 1590675"/>
                <a:gd name="connsiteY674" fmla="*/ 215265 h 1447800"/>
                <a:gd name="connsiteX675" fmla="*/ 986790 w 1590675"/>
                <a:gd name="connsiteY675" fmla="*/ 217170 h 1447800"/>
                <a:gd name="connsiteX676" fmla="*/ 987743 w 1590675"/>
                <a:gd name="connsiteY676" fmla="*/ 222885 h 1447800"/>
                <a:gd name="connsiteX677" fmla="*/ 988695 w 1590675"/>
                <a:gd name="connsiteY677" fmla="*/ 224790 h 1447800"/>
                <a:gd name="connsiteX678" fmla="*/ 993457 w 1590675"/>
                <a:gd name="connsiteY678" fmla="*/ 226695 h 1447800"/>
                <a:gd name="connsiteX679" fmla="*/ 995363 w 1590675"/>
                <a:gd name="connsiteY679" fmla="*/ 228600 h 1447800"/>
                <a:gd name="connsiteX680" fmla="*/ 999173 w 1590675"/>
                <a:gd name="connsiteY680" fmla="*/ 232410 h 1447800"/>
                <a:gd name="connsiteX681" fmla="*/ 1002982 w 1590675"/>
                <a:gd name="connsiteY681" fmla="*/ 232410 h 1447800"/>
                <a:gd name="connsiteX682" fmla="*/ 1026795 w 1590675"/>
                <a:gd name="connsiteY682" fmla="*/ 230505 h 1447800"/>
                <a:gd name="connsiteX683" fmla="*/ 1031557 w 1590675"/>
                <a:gd name="connsiteY683" fmla="*/ 228600 h 1447800"/>
                <a:gd name="connsiteX684" fmla="*/ 1033463 w 1590675"/>
                <a:gd name="connsiteY684" fmla="*/ 226695 h 1447800"/>
                <a:gd name="connsiteX685" fmla="*/ 1036320 w 1590675"/>
                <a:gd name="connsiteY685" fmla="*/ 220980 h 1447800"/>
                <a:gd name="connsiteX686" fmla="*/ 1038225 w 1590675"/>
                <a:gd name="connsiteY686" fmla="*/ 217170 h 1447800"/>
                <a:gd name="connsiteX687" fmla="*/ 1042035 w 1590675"/>
                <a:gd name="connsiteY687" fmla="*/ 212407 h 1447800"/>
                <a:gd name="connsiteX688" fmla="*/ 1045845 w 1590675"/>
                <a:gd name="connsiteY688" fmla="*/ 211455 h 1447800"/>
                <a:gd name="connsiteX689" fmla="*/ 1048703 w 1590675"/>
                <a:gd name="connsiteY689" fmla="*/ 210503 h 1447800"/>
                <a:gd name="connsiteX690" fmla="*/ 1054418 w 1590675"/>
                <a:gd name="connsiteY690" fmla="*/ 210503 h 1447800"/>
                <a:gd name="connsiteX691" fmla="*/ 1056323 w 1590675"/>
                <a:gd name="connsiteY691" fmla="*/ 212407 h 1447800"/>
                <a:gd name="connsiteX692" fmla="*/ 1057275 w 1590675"/>
                <a:gd name="connsiteY692" fmla="*/ 217170 h 1447800"/>
                <a:gd name="connsiteX693" fmla="*/ 1059180 w 1590675"/>
                <a:gd name="connsiteY693" fmla="*/ 234315 h 1447800"/>
                <a:gd name="connsiteX694" fmla="*/ 1060132 w 1590675"/>
                <a:gd name="connsiteY694" fmla="*/ 236220 h 1447800"/>
                <a:gd name="connsiteX695" fmla="*/ 1064895 w 1590675"/>
                <a:gd name="connsiteY695" fmla="*/ 238125 h 1447800"/>
                <a:gd name="connsiteX696" fmla="*/ 1077278 w 1590675"/>
                <a:gd name="connsiteY696" fmla="*/ 239078 h 1447800"/>
                <a:gd name="connsiteX697" fmla="*/ 1080135 w 1590675"/>
                <a:gd name="connsiteY697" fmla="*/ 240982 h 1447800"/>
                <a:gd name="connsiteX698" fmla="*/ 1082040 w 1590675"/>
                <a:gd name="connsiteY698" fmla="*/ 241935 h 1447800"/>
                <a:gd name="connsiteX699" fmla="*/ 1087755 w 1590675"/>
                <a:gd name="connsiteY699" fmla="*/ 247650 h 1447800"/>
                <a:gd name="connsiteX700" fmla="*/ 1091565 w 1590675"/>
                <a:gd name="connsiteY700" fmla="*/ 248603 h 1447800"/>
                <a:gd name="connsiteX701" fmla="*/ 1098232 w 1590675"/>
                <a:gd name="connsiteY701" fmla="*/ 249555 h 1447800"/>
                <a:gd name="connsiteX702" fmla="*/ 1109663 w 1590675"/>
                <a:gd name="connsiteY702" fmla="*/ 249555 h 1447800"/>
                <a:gd name="connsiteX703" fmla="*/ 1114425 w 1590675"/>
                <a:gd name="connsiteY703" fmla="*/ 248603 h 1447800"/>
                <a:gd name="connsiteX704" fmla="*/ 1118235 w 1590675"/>
                <a:gd name="connsiteY704" fmla="*/ 245745 h 1447800"/>
                <a:gd name="connsiteX705" fmla="*/ 1122045 w 1590675"/>
                <a:gd name="connsiteY705" fmla="*/ 240030 h 1447800"/>
                <a:gd name="connsiteX706" fmla="*/ 1123950 w 1590675"/>
                <a:gd name="connsiteY706" fmla="*/ 236220 h 1447800"/>
                <a:gd name="connsiteX707" fmla="*/ 1129665 w 1590675"/>
                <a:gd name="connsiteY707" fmla="*/ 231457 h 1447800"/>
                <a:gd name="connsiteX708" fmla="*/ 1134428 w 1590675"/>
                <a:gd name="connsiteY708" fmla="*/ 229553 h 1447800"/>
                <a:gd name="connsiteX709" fmla="*/ 1137285 w 1590675"/>
                <a:gd name="connsiteY709" fmla="*/ 228600 h 1447800"/>
                <a:gd name="connsiteX710" fmla="*/ 1143000 w 1590675"/>
                <a:gd name="connsiteY710" fmla="*/ 229553 h 1447800"/>
                <a:gd name="connsiteX711" fmla="*/ 1146810 w 1590675"/>
                <a:gd name="connsiteY711" fmla="*/ 233363 h 1447800"/>
                <a:gd name="connsiteX712" fmla="*/ 1149668 w 1590675"/>
                <a:gd name="connsiteY712" fmla="*/ 237172 h 1447800"/>
                <a:gd name="connsiteX713" fmla="*/ 1151573 w 1590675"/>
                <a:gd name="connsiteY713" fmla="*/ 239078 h 1447800"/>
                <a:gd name="connsiteX714" fmla="*/ 1153478 w 1590675"/>
                <a:gd name="connsiteY714" fmla="*/ 240030 h 1447800"/>
                <a:gd name="connsiteX715" fmla="*/ 1250632 w 1590675"/>
                <a:gd name="connsiteY715" fmla="*/ 225743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</a:cxnLst>
              <a:rect l="l" t="t" r="r" b="b"/>
              <a:pathLst>
                <a:path w="1590675" h="1447800">
                  <a:moveTo>
                    <a:pt x="1250632" y="225743"/>
                  </a:moveTo>
                  <a:lnTo>
                    <a:pt x="1251585" y="258128"/>
                  </a:lnTo>
                  <a:lnTo>
                    <a:pt x="1254443" y="266700"/>
                  </a:lnTo>
                  <a:lnTo>
                    <a:pt x="1260157" y="269557"/>
                  </a:lnTo>
                  <a:lnTo>
                    <a:pt x="1266825" y="270510"/>
                  </a:lnTo>
                  <a:lnTo>
                    <a:pt x="1272540" y="270510"/>
                  </a:lnTo>
                  <a:lnTo>
                    <a:pt x="1285875" y="268605"/>
                  </a:lnTo>
                  <a:lnTo>
                    <a:pt x="1289685" y="268605"/>
                  </a:lnTo>
                  <a:lnTo>
                    <a:pt x="1291590" y="269557"/>
                  </a:lnTo>
                  <a:lnTo>
                    <a:pt x="1292543" y="271463"/>
                  </a:lnTo>
                  <a:lnTo>
                    <a:pt x="1293495" y="277178"/>
                  </a:lnTo>
                  <a:lnTo>
                    <a:pt x="1294448" y="288607"/>
                  </a:lnTo>
                  <a:lnTo>
                    <a:pt x="1295400" y="293370"/>
                  </a:lnTo>
                  <a:lnTo>
                    <a:pt x="1310640" y="325755"/>
                  </a:lnTo>
                  <a:lnTo>
                    <a:pt x="1317307" y="345757"/>
                  </a:lnTo>
                  <a:lnTo>
                    <a:pt x="1321118" y="350520"/>
                  </a:lnTo>
                  <a:lnTo>
                    <a:pt x="1323975" y="353378"/>
                  </a:lnTo>
                  <a:lnTo>
                    <a:pt x="1337310" y="356235"/>
                  </a:lnTo>
                  <a:lnTo>
                    <a:pt x="1341120" y="358140"/>
                  </a:lnTo>
                  <a:lnTo>
                    <a:pt x="1342073" y="360045"/>
                  </a:lnTo>
                  <a:lnTo>
                    <a:pt x="1342073" y="361950"/>
                  </a:lnTo>
                  <a:lnTo>
                    <a:pt x="1340168" y="363855"/>
                  </a:lnTo>
                  <a:lnTo>
                    <a:pt x="1335405" y="365760"/>
                  </a:lnTo>
                  <a:lnTo>
                    <a:pt x="1330643" y="367665"/>
                  </a:lnTo>
                  <a:lnTo>
                    <a:pt x="1327785" y="368618"/>
                  </a:lnTo>
                  <a:lnTo>
                    <a:pt x="1326832" y="371475"/>
                  </a:lnTo>
                  <a:lnTo>
                    <a:pt x="1326832" y="378143"/>
                  </a:lnTo>
                  <a:lnTo>
                    <a:pt x="1328738" y="381953"/>
                  </a:lnTo>
                  <a:lnTo>
                    <a:pt x="1330643" y="384810"/>
                  </a:lnTo>
                  <a:lnTo>
                    <a:pt x="1332548" y="386715"/>
                  </a:lnTo>
                  <a:lnTo>
                    <a:pt x="1342073" y="388620"/>
                  </a:lnTo>
                  <a:lnTo>
                    <a:pt x="1343978" y="390525"/>
                  </a:lnTo>
                  <a:lnTo>
                    <a:pt x="1343978" y="393382"/>
                  </a:lnTo>
                  <a:lnTo>
                    <a:pt x="1342073" y="402907"/>
                  </a:lnTo>
                  <a:lnTo>
                    <a:pt x="1341120" y="407670"/>
                  </a:lnTo>
                  <a:lnTo>
                    <a:pt x="1342073" y="412432"/>
                  </a:lnTo>
                  <a:lnTo>
                    <a:pt x="1343978" y="415290"/>
                  </a:lnTo>
                  <a:lnTo>
                    <a:pt x="1345882" y="416243"/>
                  </a:lnTo>
                  <a:lnTo>
                    <a:pt x="1351598" y="415290"/>
                  </a:lnTo>
                  <a:lnTo>
                    <a:pt x="1367790" y="408622"/>
                  </a:lnTo>
                  <a:lnTo>
                    <a:pt x="1373505" y="412432"/>
                  </a:lnTo>
                  <a:lnTo>
                    <a:pt x="1382078" y="420053"/>
                  </a:lnTo>
                  <a:lnTo>
                    <a:pt x="1403032" y="442913"/>
                  </a:lnTo>
                  <a:lnTo>
                    <a:pt x="1411605" y="451485"/>
                  </a:lnTo>
                  <a:lnTo>
                    <a:pt x="1418273" y="455295"/>
                  </a:lnTo>
                  <a:lnTo>
                    <a:pt x="1420178" y="453390"/>
                  </a:lnTo>
                  <a:lnTo>
                    <a:pt x="1423988" y="450532"/>
                  </a:lnTo>
                  <a:lnTo>
                    <a:pt x="1437323" y="439103"/>
                  </a:lnTo>
                  <a:lnTo>
                    <a:pt x="1441132" y="439103"/>
                  </a:lnTo>
                  <a:lnTo>
                    <a:pt x="1444943" y="440055"/>
                  </a:lnTo>
                  <a:lnTo>
                    <a:pt x="1467803" y="454343"/>
                  </a:lnTo>
                  <a:lnTo>
                    <a:pt x="1471613" y="458153"/>
                  </a:lnTo>
                  <a:lnTo>
                    <a:pt x="1485900" y="476250"/>
                  </a:lnTo>
                  <a:lnTo>
                    <a:pt x="1526857" y="512445"/>
                  </a:lnTo>
                  <a:lnTo>
                    <a:pt x="1528763" y="514350"/>
                  </a:lnTo>
                  <a:lnTo>
                    <a:pt x="1539240" y="530543"/>
                  </a:lnTo>
                  <a:lnTo>
                    <a:pt x="1542098" y="533400"/>
                  </a:lnTo>
                  <a:lnTo>
                    <a:pt x="1544955" y="533400"/>
                  </a:lnTo>
                  <a:lnTo>
                    <a:pt x="1548765" y="530543"/>
                  </a:lnTo>
                  <a:lnTo>
                    <a:pt x="1549718" y="525780"/>
                  </a:lnTo>
                  <a:lnTo>
                    <a:pt x="1551623" y="523875"/>
                  </a:lnTo>
                  <a:lnTo>
                    <a:pt x="1554480" y="522922"/>
                  </a:lnTo>
                  <a:lnTo>
                    <a:pt x="1576388" y="526732"/>
                  </a:lnTo>
                  <a:lnTo>
                    <a:pt x="1585913" y="526732"/>
                  </a:lnTo>
                  <a:lnTo>
                    <a:pt x="1589723" y="527685"/>
                  </a:lnTo>
                  <a:lnTo>
                    <a:pt x="1590675" y="529590"/>
                  </a:lnTo>
                  <a:lnTo>
                    <a:pt x="1590675" y="532447"/>
                  </a:lnTo>
                  <a:lnTo>
                    <a:pt x="1588770" y="535305"/>
                  </a:lnTo>
                  <a:lnTo>
                    <a:pt x="1581150" y="550545"/>
                  </a:lnTo>
                  <a:lnTo>
                    <a:pt x="1579245" y="556260"/>
                  </a:lnTo>
                  <a:lnTo>
                    <a:pt x="1579245" y="562928"/>
                  </a:lnTo>
                  <a:lnTo>
                    <a:pt x="1579245" y="565785"/>
                  </a:lnTo>
                  <a:lnTo>
                    <a:pt x="1573530" y="576263"/>
                  </a:lnTo>
                  <a:lnTo>
                    <a:pt x="1571625" y="582930"/>
                  </a:lnTo>
                  <a:lnTo>
                    <a:pt x="1570673" y="585788"/>
                  </a:lnTo>
                  <a:lnTo>
                    <a:pt x="1570673" y="591503"/>
                  </a:lnTo>
                  <a:lnTo>
                    <a:pt x="1570673" y="598170"/>
                  </a:lnTo>
                  <a:lnTo>
                    <a:pt x="1572578" y="604838"/>
                  </a:lnTo>
                  <a:lnTo>
                    <a:pt x="1571625" y="607695"/>
                  </a:lnTo>
                  <a:lnTo>
                    <a:pt x="1568768" y="611505"/>
                  </a:lnTo>
                  <a:lnTo>
                    <a:pt x="1564957" y="614363"/>
                  </a:lnTo>
                  <a:lnTo>
                    <a:pt x="1560195" y="615315"/>
                  </a:lnTo>
                  <a:lnTo>
                    <a:pt x="1559243" y="614363"/>
                  </a:lnTo>
                  <a:lnTo>
                    <a:pt x="1557338" y="609600"/>
                  </a:lnTo>
                  <a:lnTo>
                    <a:pt x="1553528" y="602932"/>
                  </a:lnTo>
                  <a:lnTo>
                    <a:pt x="1547813" y="597218"/>
                  </a:lnTo>
                  <a:lnTo>
                    <a:pt x="1545907" y="596265"/>
                  </a:lnTo>
                  <a:lnTo>
                    <a:pt x="1541145" y="594360"/>
                  </a:lnTo>
                  <a:lnTo>
                    <a:pt x="1536382" y="594360"/>
                  </a:lnTo>
                  <a:lnTo>
                    <a:pt x="1534478" y="595313"/>
                  </a:lnTo>
                  <a:lnTo>
                    <a:pt x="1530668" y="598170"/>
                  </a:lnTo>
                  <a:lnTo>
                    <a:pt x="1526857" y="601980"/>
                  </a:lnTo>
                  <a:lnTo>
                    <a:pt x="1524953" y="607695"/>
                  </a:lnTo>
                  <a:lnTo>
                    <a:pt x="1523048" y="614363"/>
                  </a:lnTo>
                  <a:lnTo>
                    <a:pt x="1520190" y="620078"/>
                  </a:lnTo>
                  <a:lnTo>
                    <a:pt x="1515428" y="627697"/>
                  </a:lnTo>
                  <a:lnTo>
                    <a:pt x="1513523" y="633413"/>
                  </a:lnTo>
                  <a:lnTo>
                    <a:pt x="1513523" y="636270"/>
                  </a:lnTo>
                  <a:lnTo>
                    <a:pt x="1513523" y="644843"/>
                  </a:lnTo>
                  <a:lnTo>
                    <a:pt x="1513523" y="647700"/>
                  </a:lnTo>
                  <a:lnTo>
                    <a:pt x="1512570" y="650557"/>
                  </a:lnTo>
                  <a:lnTo>
                    <a:pt x="1510665" y="652463"/>
                  </a:lnTo>
                  <a:lnTo>
                    <a:pt x="1508760" y="654368"/>
                  </a:lnTo>
                  <a:lnTo>
                    <a:pt x="1489710" y="661035"/>
                  </a:lnTo>
                  <a:lnTo>
                    <a:pt x="1478280" y="661035"/>
                  </a:lnTo>
                  <a:lnTo>
                    <a:pt x="1468755" y="660082"/>
                  </a:lnTo>
                  <a:lnTo>
                    <a:pt x="1462088" y="658178"/>
                  </a:lnTo>
                  <a:lnTo>
                    <a:pt x="1456373" y="652463"/>
                  </a:lnTo>
                  <a:lnTo>
                    <a:pt x="1454468" y="652463"/>
                  </a:lnTo>
                  <a:lnTo>
                    <a:pt x="1448753" y="651510"/>
                  </a:lnTo>
                  <a:lnTo>
                    <a:pt x="1445895" y="651510"/>
                  </a:lnTo>
                  <a:lnTo>
                    <a:pt x="1441132" y="646747"/>
                  </a:lnTo>
                  <a:lnTo>
                    <a:pt x="1436370" y="647700"/>
                  </a:lnTo>
                  <a:lnTo>
                    <a:pt x="1431607" y="649605"/>
                  </a:lnTo>
                  <a:lnTo>
                    <a:pt x="1429703" y="652463"/>
                  </a:lnTo>
                  <a:lnTo>
                    <a:pt x="1428750" y="655320"/>
                  </a:lnTo>
                  <a:lnTo>
                    <a:pt x="1428750" y="663893"/>
                  </a:lnTo>
                  <a:lnTo>
                    <a:pt x="1431607" y="670560"/>
                  </a:lnTo>
                  <a:lnTo>
                    <a:pt x="1439228" y="686753"/>
                  </a:lnTo>
                  <a:lnTo>
                    <a:pt x="1440180" y="691515"/>
                  </a:lnTo>
                  <a:lnTo>
                    <a:pt x="1441132" y="696278"/>
                  </a:lnTo>
                  <a:lnTo>
                    <a:pt x="1443038" y="716280"/>
                  </a:lnTo>
                  <a:lnTo>
                    <a:pt x="1442085" y="721995"/>
                  </a:lnTo>
                  <a:lnTo>
                    <a:pt x="1438275" y="724853"/>
                  </a:lnTo>
                  <a:lnTo>
                    <a:pt x="1433513" y="726757"/>
                  </a:lnTo>
                  <a:lnTo>
                    <a:pt x="1405890" y="728663"/>
                  </a:lnTo>
                  <a:lnTo>
                    <a:pt x="1403032" y="729615"/>
                  </a:lnTo>
                  <a:lnTo>
                    <a:pt x="1400175" y="730568"/>
                  </a:lnTo>
                  <a:lnTo>
                    <a:pt x="1398270" y="733425"/>
                  </a:lnTo>
                  <a:lnTo>
                    <a:pt x="1400175" y="738188"/>
                  </a:lnTo>
                  <a:lnTo>
                    <a:pt x="1403032" y="741997"/>
                  </a:lnTo>
                  <a:lnTo>
                    <a:pt x="1415415" y="755332"/>
                  </a:lnTo>
                  <a:lnTo>
                    <a:pt x="1420178" y="758190"/>
                  </a:lnTo>
                  <a:lnTo>
                    <a:pt x="1443038" y="767715"/>
                  </a:lnTo>
                  <a:lnTo>
                    <a:pt x="1452563" y="773430"/>
                  </a:lnTo>
                  <a:lnTo>
                    <a:pt x="1454468" y="775335"/>
                  </a:lnTo>
                  <a:lnTo>
                    <a:pt x="1457325" y="779145"/>
                  </a:lnTo>
                  <a:lnTo>
                    <a:pt x="1464945" y="792480"/>
                  </a:lnTo>
                  <a:lnTo>
                    <a:pt x="1469707" y="801053"/>
                  </a:lnTo>
                  <a:lnTo>
                    <a:pt x="1475423" y="824865"/>
                  </a:lnTo>
                  <a:lnTo>
                    <a:pt x="1477328" y="829628"/>
                  </a:lnTo>
                  <a:lnTo>
                    <a:pt x="1480185" y="832485"/>
                  </a:lnTo>
                  <a:lnTo>
                    <a:pt x="1498282" y="847725"/>
                  </a:lnTo>
                  <a:lnTo>
                    <a:pt x="1500188" y="848678"/>
                  </a:lnTo>
                  <a:lnTo>
                    <a:pt x="1502093" y="848678"/>
                  </a:lnTo>
                  <a:lnTo>
                    <a:pt x="1505903" y="842010"/>
                  </a:lnTo>
                  <a:lnTo>
                    <a:pt x="1509713" y="839153"/>
                  </a:lnTo>
                  <a:lnTo>
                    <a:pt x="1513523" y="840105"/>
                  </a:lnTo>
                  <a:lnTo>
                    <a:pt x="1522095" y="849630"/>
                  </a:lnTo>
                  <a:lnTo>
                    <a:pt x="1530668" y="855345"/>
                  </a:lnTo>
                  <a:lnTo>
                    <a:pt x="1532573" y="857250"/>
                  </a:lnTo>
                  <a:lnTo>
                    <a:pt x="1536382" y="862013"/>
                  </a:lnTo>
                  <a:lnTo>
                    <a:pt x="1538288" y="864870"/>
                  </a:lnTo>
                  <a:lnTo>
                    <a:pt x="1537335" y="867728"/>
                  </a:lnTo>
                  <a:lnTo>
                    <a:pt x="1535430" y="869632"/>
                  </a:lnTo>
                  <a:lnTo>
                    <a:pt x="1529715" y="875347"/>
                  </a:lnTo>
                  <a:lnTo>
                    <a:pt x="1525905" y="879157"/>
                  </a:lnTo>
                  <a:lnTo>
                    <a:pt x="1524000" y="883920"/>
                  </a:lnTo>
                  <a:lnTo>
                    <a:pt x="1534478" y="902018"/>
                  </a:lnTo>
                  <a:lnTo>
                    <a:pt x="1535430" y="906780"/>
                  </a:lnTo>
                  <a:lnTo>
                    <a:pt x="1534478" y="910590"/>
                  </a:lnTo>
                  <a:lnTo>
                    <a:pt x="1526857" y="916305"/>
                  </a:lnTo>
                  <a:lnTo>
                    <a:pt x="1522095" y="918210"/>
                  </a:lnTo>
                  <a:lnTo>
                    <a:pt x="1520190" y="918210"/>
                  </a:lnTo>
                  <a:lnTo>
                    <a:pt x="1517332" y="917257"/>
                  </a:lnTo>
                  <a:lnTo>
                    <a:pt x="1509713" y="913447"/>
                  </a:lnTo>
                  <a:lnTo>
                    <a:pt x="1506855" y="913447"/>
                  </a:lnTo>
                  <a:lnTo>
                    <a:pt x="1501140" y="917257"/>
                  </a:lnTo>
                  <a:lnTo>
                    <a:pt x="1499235" y="919163"/>
                  </a:lnTo>
                  <a:lnTo>
                    <a:pt x="1483995" y="933450"/>
                  </a:lnTo>
                  <a:lnTo>
                    <a:pt x="1482090" y="935355"/>
                  </a:lnTo>
                  <a:lnTo>
                    <a:pt x="1479232" y="940118"/>
                  </a:lnTo>
                  <a:lnTo>
                    <a:pt x="1478280" y="943928"/>
                  </a:lnTo>
                  <a:lnTo>
                    <a:pt x="1479232" y="949643"/>
                  </a:lnTo>
                  <a:lnTo>
                    <a:pt x="1494473" y="979170"/>
                  </a:lnTo>
                  <a:lnTo>
                    <a:pt x="1489710" y="980122"/>
                  </a:lnTo>
                  <a:lnTo>
                    <a:pt x="1483995" y="982980"/>
                  </a:lnTo>
                  <a:lnTo>
                    <a:pt x="1465898" y="997268"/>
                  </a:lnTo>
                  <a:lnTo>
                    <a:pt x="1460182" y="1001078"/>
                  </a:lnTo>
                  <a:lnTo>
                    <a:pt x="1442085" y="1007745"/>
                  </a:lnTo>
                  <a:lnTo>
                    <a:pt x="1414463" y="1035368"/>
                  </a:lnTo>
                  <a:lnTo>
                    <a:pt x="1397318" y="1037272"/>
                  </a:lnTo>
                  <a:lnTo>
                    <a:pt x="1402080" y="1056323"/>
                  </a:lnTo>
                  <a:lnTo>
                    <a:pt x="1394460" y="1073468"/>
                  </a:lnTo>
                  <a:lnTo>
                    <a:pt x="1383982" y="1090613"/>
                  </a:lnTo>
                  <a:lnTo>
                    <a:pt x="1379220" y="1109663"/>
                  </a:lnTo>
                  <a:lnTo>
                    <a:pt x="1375410" y="1129665"/>
                  </a:lnTo>
                  <a:lnTo>
                    <a:pt x="1365885" y="1150620"/>
                  </a:lnTo>
                  <a:lnTo>
                    <a:pt x="1352550" y="1163003"/>
                  </a:lnTo>
                  <a:lnTo>
                    <a:pt x="1339215" y="1159193"/>
                  </a:lnTo>
                  <a:lnTo>
                    <a:pt x="1339215" y="1153478"/>
                  </a:lnTo>
                  <a:lnTo>
                    <a:pt x="1343025" y="1153478"/>
                  </a:lnTo>
                  <a:lnTo>
                    <a:pt x="1353503" y="1158240"/>
                  </a:lnTo>
                  <a:lnTo>
                    <a:pt x="1363980" y="1137285"/>
                  </a:lnTo>
                  <a:lnTo>
                    <a:pt x="1369695" y="1109663"/>
                  </a:lnTo>
                  <a:lnTo>
                    <a:pt x="1369695" y="1096328"/>
                  </a:lnTo>
                  <a:lnTo>
                    <a:pt x="1365885" y="1092518"/>
                  </a:lnTo>
                  <a:lnTo>
                    <a:pt x="1346835" y="1069657"/>
                  </a:lnTo>
                  <a:lnTo>
                    <a:pt x="1338263" y="1064895"/>
                  </a:lnTo>
                  <a:lnTo>
                    <a:pt x="1321118" y="1059180"/>
                  </a:lnTo>
                  <a:lnTo>
                    <a:pt x="1314450" y="1053465"/>
                  </a:lnTo>
                  <a:lnTo>
                    <a:pt x="1304925" y="1059180"/>
                  </a:lnTo>
                  <a:lnTo>
                    <a:pt x="1295400" y="1058228"/>
                  </a:lnTo>
                  <a:lnTo>
                    <a:pt x="1281113" y="1053465"/>
                  </a:lnTo>
                  <a:lnTo>
                    <a:pt x="1272540" y="1056323"/>
                  </a:lnTo>
                  <a:lnTo>
                    <a:pt x="1266825" y="1062038"/>
                  </a:lnTo>
                  <a:lnTo>
                    <a:pt x="1262063" y="1067753"/>
                  </a:lnTo>
                  <a:lnTo>
                    <a:pt x="1258253" y="1069657"/>
                  </a:lnTo>
                  <a:lnTo>
                    <a:pt x="1223010" y="1069657"/>
                  </a:lnTo>
                  <a:lnTo>
                    <a:pt x="1201103" y="1082993"/>
                  </a:lnTo>
                  <a:lnTo>
                    <a:pt x="1175385" y="1088707"/>
                  </a:lnTo>
                  <a:lnTo>
                    <a:pt x="1158240" y="1096328"/>
                  </a:lnTo>
                  <a:lnTo>
                    <a:pt x="1143000" y="1108710"/>
                  </a:lnTo>
                  <a:lnTo>
                    <a:pt x="1106805" y="1146810"/>
                  </a:lnTo>
                  <a:lnTo>
                    <a:pt x="1097280" y="1163955"/>
                  </a:lnTo>
                  <a:lnTo>
                    <a:pt x="1093470" y="1185863"/>
                  </a:lnTo>
                  <a:lnTo>
                    <a:pt x="1089660" y="1185863"/>
                  </a:lnTo>
                  <a:lnTo>
                    <a:pt x="1089660" y="1175385"/>
                  </a:lnTo>
                  <a:lnTo>
                    <a:pt x="1087755" y="1172528"/>
                  </a:lnTo>
                  <a:lnTo>
                    <a:pt x="1082993" y="1175385"/>
                  </a:lnTo>
                  <a:lnTo>
                    <a:pt x="1077278" y="1177290"/>
                  </a:lnTo>
                  <a:lnTo>
                    <a:pt x="1076325" y="1183957"/>
                  </a:lnTo>
                  <a:lnTo>
                    <a:pt x="1073468" y="1176338"/>
                  </a:lnTo>
                  <a:lnTo>
                    <a:pt x="1075373" y="1173480"/>
                  </a:lnTo>
                  <a:lnTo>
                    <a:pt x="1076325" y="1168718"/>
                  </a:lnTo>
                  <a:lnTo>
                    <a:pt x="1075373" y="1164907"/>
                  </a:lnTo>
                  <a:lnTo>
                    <a:pt x="1068705" y="1159193"/>
                  </a:lnTo>
                  <a:lnTo>
                    <a:pt x="1063943" y="1150620"/>
                  </a:lnTo>
                  <a:lnTo>
                    <a:pt x="1061085" y="1146810"/>
                  </a:lnTo>
                  <a:lnTo>
                    <a:pt x="1057275" y="1143953"/>
                  </a:lnTo>
                  <a:lnTo>
                    <a:pt x="1046798" y="1139190"/>
                  </a:lnTo>
                  <a:lnTo>
                    <a:pt x="1037273" y="1139190"/>
                  </a:lnTo>
                  <a:lnTo>
                    <a:pt x="1018223" y="1143953"/>
                  </a:lnTo>
                  <a:lnTo>
                    <a:pt x="980123" y="1138238"/>
                  </a:lnTo>
                  <a:lnTo>
                    <a:pt x="907732" y="1151573"/>
                  </a:lnTo>
                  <a:lnTo>
                    <a:pt x="895350" y="1151573"/>
                  </a:lnTo>
                  <a:lnTo>
                    <a:pt x="825818" y="1190625"/>
                  </a:lnTo>
                  <a:lnTo>
                    <a:pt x="810578" y="1203960"/>
                  </a:lnTo>
                  <a:lnTo>
                    <a:pt x="768668" y="1253490"/>
                  </a:lnTo>
                  <a:lnTo>
                    <a:pt x="751523" y="1269682"/>
                  </a:lnTo>
                  <a:lnTo>
                    <a:pt x="688657" y="1301115"/>
                  </a:lnTo>
                  <a:lnTo>
                    <a:pt x="679132" y="1308735"/>
                  </a:lnTo>
                  <a:lnTo>
                    <a:pt x="670560" y="1318260"/>
                  </a:lnTo>
                  <a:lnTo>
                    <a:pt x="654368" y="1341120"/>
                  </a:lnTo>
                  <a:lnTo>
                    <a:pt x="646748" y="1348740"/>
                  </a:lnTo>
                  <a:lnTo>
                    <a:pt x="627698" y="1362075"/>
                  </a:lnTo>
                  <a:lnTo>
                    <a:pt x="620078" y="1369695"/>
                  </a:lnTo>
                  <a:lnTo>
                    <a:pt x="569595" y="1452563"/>
                  </a:lnTo>
                  <a:lnTo>
                    <a:pt x="566738" y="1456373"/>
                  </a:lnTo>
                  <a:lnTo>
                    <a:pt x="559118" y="1451610"/>
                  </a:lnTo>
                  <a:lnTo>
                    <a:pt x="573405" y="1426845"/>
                  </a:lnTo>
                  <a:lnTo>
                    <a:pt x="592455" y="1406843"/>
                  </a:lnTo>
                  <a:lnTo>
                    <a:pt x="600075" y="1394460"/>
                  </a:lnTo>
                  <a:lnTo>
                    <a:pt x="601980" y="1375410"/>
                  </a:lnTo>
                  <a:lnTo>
                    <a:pt x="593407" y="1384935"/>
                  </a:lnTo>
                  <a:lnTo>
                    <a:pt x="583882" y="1392555"/>
                  </a:lnTo>
                  <a:lnTo>
                    <a:pt x="573405" y="1393507"/>
                  </a:lnTo>
                  <a:lnTo>
                    <a:pt x="561023" y="1383030"/>
                  </a:lnTo>
                  <a:lnTo>
                    <a:pt x="556260" y="1365885"/>
                  </a:lnTo>
                  <a:lnTo>
                    <a:pt x="559118" y="1345882"/>
                  </a:lnTo>
                  <a:lnTo>
                    <a:pt x="569595" y="1316355"/>
                  </a:lnTo>
                  <a:lnTo>
                    <a:pt x="565785" y="1314450"/>
                  </a:lnTo>
                  <a:lnTo>
                    <a:pt x="557213" y="1313498"/>
                  </a:lnTo>
                  <a:lnTo>
                    <a:pt x="551498" y="1311593"/>
                  </a:lnTo>
                  <a:lnTo>
                    <a:pt x="547688" y="1309688"/>
                  </a:lnTo>
                  <a:lnTo>
                    <a:pt x="541020" y="1303020"/>
                  </a:lnTo>
                  <a:lnTo>
                    <a:pt x="532448" y="1297305"/>
                  </a:lnTo>
                  <a:lnTo>
                    <a:pt x="525780" y="1286828"/>
                  </a:lnTo>
                  <a:lnTo>
                    <a:pt x="521018" y="1273493"/>
                  </a:lnTo>
                  <a:lnTo>
                    <a:pt x="519113" y="1259205"/>
                  </a:lnTo>
                  <a:lnTo>
                    <a:pt x="507682" y="1273493"/>
                  </a:lnTo>
                  <a:lnTo>
                    <a:pt x="511493" y="1288732"/>
                  </a:lnTo>
                  <a:lnTo>
                    <a:pt x="521018" y="1303020"/>
                  </a:lnTo>
                  <a:lnTo>
                    <a:pt x="525780" y="1314450"/>
                  </a:lnTo>
                  <a:lnTo>
                    <a:pt x="527685" y="1323975"/>
                  </a:lnTo>
                  <a:lnTo>
                    <a:pt x="530543" y="1329690"/>
                  </a:lnTo>
                  <a:lnTo>
                    <a:pt x="532448" y="1336357"/>
                  </a:lnTo>
                  <a:lnTo>
                    <a:pt x="530543" y="1347788"/>
                  </a:lnTo>
                  <a:lnTo>
                    <a:pt x="525780" y="1356360"/>
                  </a:lnTo>
                  <a:lnTo>
                    <a:pt x="507682" y="1375410"/>
                  </a:lnTo>
                  <a:lnTo>
                    <a:pt x="477203" y="1423035"/>
                  </a:lnTo>
                  <a:lnTo>
                    <a:pt x="475298" y="1425893"/>
                  </a:lnTo>
                  <a:lnTo>
                    <a:pt x="456248" y="1422082"/>
                  </a:lnTo>
                  <a:lnTo>
                    <a:pt x="451485" y="1417320"/>
                  </a:lnTo>
                  <a:lnTo>
                    <a:pt x="450532" y="1403032"/>
                  </a:lnTo>
                  <a:lnTo>
                    <a:pt x="450532" y="1400175"/>
                  </a:lnTo>
                  <a:lnTo>
                    <a:pt x="447675" y="1384935"/>
                  </a:lnTo>
                  <a:lnTo>
                    <a:pt x="447675" y="1379220"/>
                  </a:lnTo>
                  <a:lnTo>
                    <a:pt x="448628" y="1373505"/>
                  </a:lnTo>
                  <a:lnTo>
                    <a:pt x="451485" y="1364932"/>
                  </a:lnTo>
                  <a:lnTo>
                    <a:pt x="451485" y="1361123"/>
                  </a:lnTo>
                  <a:lnTo>
                    <a:pt x="451485" y="1357313"/>
                  </a:lnTo>
                  <a:lnTo>
                    <a:pt x="438150" y="1302068"/>
                  </a:lnTo>
                  <a:lnTo>
                    <a:pt x="435293" y="1295400"/>
                  </a:lnTo>
                  <a:lnTo>
                    <a:pt x="431482" y="1292543"/>
                  </a:lnTo>
                  <a:lnTo>
                    <a:pt x="417195" y="1292543"/>
                  </a:lnTo>
                  <a:lnTo>
                    <a:pt x="411480" y="1289685"/>
                  </a:lnTo>
                  <a:lnTo>
                    <a:pt x="402907" y="1284923"/>
                  </a:lnTo>
                  <a:lnTo>
                    <a:pt x="399098" y="1283970"/>
                  </a:lnTo>
                  <a:lnTo>
                    <a:pt x="391478" y="1279207"/>
                  </a:lnTo>
                  <a:lnTo>
                    <a:pt x="380048" y="1268730"/>
                  </a:lnTo>
                  <a:lnTo>
                    <a:pt x="376238" y="1267778"/>
                  </a:lnTo>
                  <a:lnTo>
                    <a:pt x="351473" y="1270635"/>
                  </a:lnTo>
                  <a:lnTo>
                    <a:pt x="344805" y="1269682"/>
                  </a:lnTo>
                  <a:lnTo>
                    <a:pt x="342900" y="1268730"/>
                  </a:lnTo>
                  <a:lnTo>
                    <a:pt x="341948" y="1266825"/>
                  </a:lnTo>
                  <a:lnTo>
                    <a:pt x="341948" y="1256348"/>
                  </a:lnTo>
                  <a:lnTo>
                    <a:pt x="342900" y="1253490"/>
                  </a:lnTo>
                  <a:lnTo>
                    <a:pt x="346710" y="1250632"/>
                  </a:lnTo>
                  <a:lnTo>
                    <a:pt x="348615" y="1247775"/>
                  </a:lnTo>
                  <a:lnTo>
                    <a:pt x="349568" y="1244918"/>
                  </a:lnTo>
                  <a:lnTo>
                    <a:pt x="349568" y="1240155"/>
                  </a:lnTo>
                  <a:lnTo>
                    <a:pt x="347663" y="1238250"/>
                  </a:lnTo>
                  <a:lnTo>
                    <a:pt x="344805" y="1236345"/>
                  </a:lnTo>
                  <a:lnTo>
                    <a:pt x="320040" y="1234440"/>
                  </a:lnTo>
                  <a:lnTo>
                    <a:pt x="301943" y="1235393"/>
                  </a:lnTo>
                  <a:lnTo>
                    <a:pt x="297180" y="1234440"/>
                  </a:lnTo>
                  <a:lnTo>
                    <a:pt x="294323" y="1232535"/>
                  </a:lnTo>
                  <a:lnTo>
                    <a:pt x="292418" y="1230630"/>
                  </a:lnTo>
                  <a:lnTo>
                    <a:pt x="289560" y="1222057"/>
                  </a:lnTo>
                  <a:lnTo>
                    <a:pt x="277178" y="1202055"/>
                  </a:lnTo>
                  <a:lnTo>
                    <a:pt x="273368" y="1195388"/>
                  </a:lnTo>
                  <a:lnTo>
                    <a:pt x="273368" y="1189673"/>
                  </a:lnTo>
                  <a:lnTo>
                    <a:pt x="274320" y="1184910"/>
                  </a:lnTo>
                  <a:lnTo>
                    <a:pt x="277178" y="1180148"/>
                  </a:lnTo>
                  <a:lnTo>
                    <a:pt x="282893" y="1174432"/>
                  </a:lnTo>
                  <a:lnTo>
                    <a:pt x="283845" y="1171575"/>
                  </a:lnTo>
                  <a:lnTo>
                    <a:pt x="284798" y="1165860"/>
                  </a:lnTo>
                  <a:lnTo>
                    <a:pt x="283845" y="1158240"/>
                  </a:lnTo>
                  <a:lnTo>
                    <a:pt x="281940" y="1150620"/>
                  </a:lnTo>
                  <a:lnTo>
                    <a:pt x="279082" y="1143953"/>
                  </a:lnTo>
                  <a:lnTo>
                    <a:pt x="276225" y="1141095"/>
                  </a:lnTo>
                  <a:lnTo>
                    <a:pt x="272415" y="1139190"/>
                  </a:lnTo>
                  <a:lnTo>
                    <a:pt x="260985" y="1137285"/>
                  </a:lnTo>
                  <a:lnTo>
                    <a:pt x="257175" y="1136332"/>
                  </a:lnTo>
                  <a:lnTo>
                    <a:pt x="253365" y="1134428"/>
                  </a:lnTo>
                  <a:lnTo>
                    <a:pt x="243840" y="1126807"/>
                  </a:lnTo>
                  <a:lnTo>
                    <a:pt x="240982" y="1125855"/>
                  </a:lnTo>
                  <a:lnTo>
                    <a:pt x="236220" y="1127760"/>
                  </a:lnTo>
                  <a:lnTo>
                    <a:pt x="232410" y="1127760"/>
                  </a:lnTo>
                  <a:lnTo>
                    <a:pt x="227648" y="1125855"/>
                  </a:lnTo>
                  <a:lnTo>
                    <a:pt x="224790" y="1123950"/>
                  </a:lnTo>
                  <a:lnTo>
                    <a:pt x="223838" y="1121093"/>
                  </a:lnTo>
                  <a:lnTo>
                    <a:pt x="222885" y="1112520"/>
                  </a:lnTo>
                  <a:lnTo>
                    <a:pt x="223838" y="1106805"/>
                  </a:lnTo>
                  <a:lnTo>
                    <a:pt x="226695" y="1102995"/>
                  </a:lnTo>
                  <a:lnTo>
                    <a:pt x="228600" y="1101090"/>
                  </a:lnTo>
                  <a:lnTo>
                    <a:pt x="233363" y="1100138"/>
                  </a:lnTo>
                  <a:lnTo>
                    <a:pt x="247650" y="1099185"/>
                  </a:lnTo>
                  <a:lnTo>
                    <a:pt x="252413" y="1098232"/>
                  </a:lnTo>
                  <a:lnTo>
                    <a:pt x="254318" y="1096328"/>
                  </a:lnTo>
                  <a:lnTo>
                    <a:pt x="257175" y="1091565"/>
                  </a:lnTo>
                  <a:lnTo>
                    <a:pt x="260032" y="1086803"/>
                  </a:lnTo>
                  <a:lnTo>
                    <a:pt x="263843" y="1083945"/>
                  </a:lnTo>
                  <a:lnTo>
                    <a:pt x="268605" y="1082040"/>
                  </a:lnTo>
                  <a:lnTo>
                    <a:pt x="270510" y="1081088"/>
                  </a:lnTo>
                  <a:lnTo>
                    <a:pt x="274320" y="1076325"/>
                  </a:lnTo>
                  <a:lnTo>
                    <a:pt x="277178" y="1066800"/>
                  </a:lnTo>
                  <a:lnTo>
                    <a:pt x="279082" y="1062038"/>
                  </a:lnTo>
                  <a:lnTo>
                    <a:pt x="282893" y="1057275"/>
                  </a:lnTo>
                  <a:lnTo>
                    <a:pt x="284798" y="1052513"/>
                  </a:lnTo>
                  <a:lnTo>
                    <a:pt x="284798" y="1034415"/>
                  </a:lnTo>
                  <a:lnTo>
                    <a:pt x="286703" y="1028700"/>
                  </a:lnTo>
                  <a:lnTo>
                    <a:pt x="287655" y="1027747"/>
                  </a:lnTo>
                  <a:lnTo>
                    <a:pt x="290513" y="1025843"/>
                  </a:lnTo>
                  <a:lnTo>
                    <a:pt x="295275" y="1024890"/>
                  </a:lnTo>
                  <a:lnTo>
                    <a:pt x="309563" y="1019175"/>
                  </a:lnTo>
                  <a:lnTo>
                    <a:pt x="311468" y="1017270"/>
                  </a:lnTo>
                  <a:lnTo>
                    <a:pt x="312420" y="1013460"/>
                  </a:lnTo>
                  <a:lnTo>
                    <a:pt x="312420" y="1007745"/>
                  </a:lnTo>
                  <a:lnTo>
                    <a:pt x="309563" y="995363"/>
                  </a:lnTo>
                  <a:lnTo>
                    <a:pt x="307657" y="990600"/>
                  </a:lnTo>
                  <a:lnTo>
                    <a:pt x="305753" y="985838"/>
                  </a:lnTo>
                  <a:lnTo>
                    <a:pt x="301943" y="982980"/>
                  </a:lnTo>
                  <a:lnTo>
                    <a:pt x="299085" y="982028"/>
                  </a:lnTo>
                  <a:lnTo>
                    <a:pt x="293370" y="981075"/>
                  </a:lnTo>
                  <a:lnTo>
                    <a:pt x="289560" y="980122"/>
                  </a:lnTo>
                  <a:lnTo>
                    <a:pt x="285750" y="977265"/>
                  </a:lnTo>
                  <a:lnTo>
                    <a:pt x="282893" y="972503"/>
                  </a:lnTo>
                  <a:lnTo>
                    <a:pt x="277178" y="947738"/>
                  </a:lnTo>
                  <a:lnTo>
                    <a:pt x="275273" y="942975"/>
                  </a:lnTo>
                  <a:lnTo>
                    <a:pt x="273368" y="940118"/>
                  </a:lnTo>
                  <a:lnTo>
                    <a:pt x="270510" y="939165"/>
                  </a:lnTo>
                  <a:lnTo>
                    <a:pt x="245745" y="930593"/>
                  </a:lnTo>
                  <a:lnTo>
                    <a:pt x="240982" y="927735"/>
                  </a:lnTo>
                  <a:lnTo>
                    <a:pt x="234315" y="922972"/>
                  </a:lnTo>
                  <a:lnTo>
                    <a:pt x="229553" y="920115"/>
                  </a:lnTo>
                  <a:lnTo>
                    <a:pt x="216218" y="917257"/>
                  </a:lnTo>
                  <a:lnTo>
                    <a:pt x="213360" y="915353"/>
                  </a:lnTo>
                  <a:lnTo>
                    <a:pt x="211455" y="912495"/>
                  </a:lnTo>
                  <a:lnTo>
                    <a:pt x="210503" y="910590"/>
                  </a:lnTo>
                  <a:lnTo>
                    <a:pt x="209550" y="899160"/>
                  </a:lnTo>
                  <a:lnTo>
                    <a:pt x="207645" y="891540"/>
                  </a:lnTo>
                  <a:lnTo>
                    <a:pt x="205740" y="887730"/>
                  </a:lnTo>
                  <a:lnTo>
                    <a:pt x="204788" y="884872"/>
                  </a:lnTo>
                  <a:lnTo>
                    <a:pt x="201930" y="882968"/>
                  </a:lnTo>
                  <a:lnTo>
                    <a:pt x="195263" y="882015"/>
                  </a:lnTo>
                  <a:lnTo>
                    <a:pt x="190500" y="879157"/>
                  </a:lnTo>
                  <a:lnTo>
                    <a:pt x="188595" y="877253"/>
                  </a:lnTo>
                  <a:lnTo>
                    <a:pt x="187643" y="874395"/>
                  </a:lnTo>
                  <a:lnTo>
                    <a:pt x="186690" y="869632"/>
                  </a:lnTo>
                  <a:lnTo>
                    <a:pt x="185738" y="842963"/>
                  </a:lnTo>
                  <a:lnTo>
                    <a:pt x="177165" y="806768"/>
                  </a:lnTo>
                  <a:lnTo>
                    <a:pt x="175260" y="802957"/>
                  </a:lnTo>
                  <a:lnTo>
                    <a:pt x="172403" y="801053"/>
                  </a:lnTo>
                  <a:lnTo>
                    <a:pt x="165735" y="799147"/>
                  </a:lnTo>
                  <a:lnTo>
                    <a:pt x="160973" y="796290"/>
                  </a:lnTo>
                  <a:lnTo>
                    <a:pt x="159068" y="793432"/>
                  </a:lnTo>
                  <a:lnTo>
                    <a:pt x="158115" y="790575"/>
                  </a:lnTo>
                  <a:lnTo>
                    <a:pt x="158115" y="784860"/>
                  </a:lnTo>
                  <a:lnTo>
                    <a:pt x="155257" y="774382"/>
                  </a:lnTo>
                  <a:lnTo>
                    <a:pt x="155257" y="768668"/>
                  </a:lnTo>
                  <a:lnTo>
                    <a:pt x="154305" y="760095"/>
                  </a:lnTo>
                  <a:lnTo>
                    <a:pt x="156210" y="743903"/>
                  </a:lnTo>
                  <a:lnTo>
                    <a:pt x="156210" y="738188"/>
                  </a:lnTo>
                  <a:lnTo>
                    <a:pt x="151448" y="717232"/>
                  </a:lnTo>
                  <a:lnTo>
                    <a:pt x="151448" y="711518"/>
                  </a:lnTo>
                  <a:lnTo>
                    <a:pt x="152400" y="708660"/>
                  </a:lnTo>
                  <a:lnTo>
                    <a:pt x="153353" y="706755"/>
                  </a:lnTo>
                  <a:lnTo>
                    <a:pt x="156210" y="703897"/>
                  </a:lnTo>
                  <a:lnTo>
                    <a:pt x="157163" y="701993"/>
                  </a:lnTo>
                  <a:lnTo>
                    <a:pt x="158115" y="698182"/>
                  </a:lnTo>
                  <a:lnTo>
                    <a:pt x="158115" y="692468"/>
                  </a:lnTo>
                  <a:lnTo>
                    <a:pt x="157163" y="689610"/>
                  </a:lnTo>
                  <a:lnTo>
                    <a:pt x="156210" y="686753"/>
                  </a:lnTo>
                  <a:lnTo>
                    <a:pt x="148590" y="681038"/>
                  </a:lnTo>
                  <a:lnTo>
                    <a:pt x="144780" y="677228"/>
                  </a:lnTo>
                  <a:lnTo>
                    <a:pt x="143828" y="674370"/>
                  </a:lnTo>
                  <a:lnTo>
                    <a:pt x="142875" y="668655"/>
                  </a:lnTo>
                  <a:lnTo>
                    <a:pt x="143828" y="661988"/>
                  </a:lnTo>
                  <a:lnTo>
                    <a:pt x="144780" y="655320"/>
                  </a:lnTo>
                  <a:lnTo>
                    <a:pt x="148590" y="651510"/>
                  </a:lnTo>
                  <a:lnTo>
                    <a:pt x="156210" y="648653"/>
                  </a:lnTo>
                  <a:lnTo>
                    <a:pt x="159068" y="645795"/>
                  </a:lnTo>
                  <a:lnTo>
                    <a:pt x="160020" y="641985"/>
                  </a:lnTo>
                  <a:lnTo>
                    <a:pt x="158115" y="638175"/>
                  </a:lnTo>
                  <a:lnTo>
                    <a:pt x="154305" y="637222"/>
                  </a:lnTo>
                  <a:lnTo>
                    <a:pt x="118110" y="641032"/>
                  </a:lnTo>
                  <a:lnTo>
                    <a:pt x="113348" y="642938"/>
                  </a:lnTo>
                  <a:lnTo>
                    <a:pt x="111443" y="644843"/>
                  </a:lnTo>
                  <a:lnTo>
                    <a:pt x="110490" y="647700"/>
                  </a:lnTo>
                  <a:lnTo>
                    <a:pt x="109538" y="653415"/>
                  </a:lnTo>
                  <a:lnTo>
                    <a:pt x="108585" y="656272"/>
                  </a:lnTo>
                  <a:lnTo>
                    <a:pt x="103823" y="662940"/>
                  </a:lnTo>
                  <a:lnTo>
                    <a:pt x="100965" y="668655"/>
                  </a:lnTo>
                  <a:lnTo>
                    <a:pt x="100013" y="670560"/>
                  </a:lnTo>
                  <a:lnTo>
                    <a:pt x="95250" y="672465"/>
                  </a:lnTo>
                  <a:lnTo>
                    <a:pt x="89535" y="670560"/>
                  </a:lnTo>
                  <a:lnTo>
                    <a:pt x="81915" y="666750"/>
                  </a:lnTo>
                  <a:lnTo>
                    <a:pt x="79057" y="665797"/>
                  </a:lnTo>
                  <a:lnTo>
                    <a:pt x="71438" y="666750"/>
                  </a:lnTo>
                  <a:lnTo>
                    <a:pt x="69532" y="667703"/>
                  </a:lnTo>
                  <a:lnTo>
                    <a:pt x="63818" y="672465"/>
                  </a:lnTo>
                  <a:lnTo>
                    <a:pt x="59055" y="674370"/>
                  </a:lnTo>
                  <a:lnTo>
                    <a:pt x="56198" y="674370"/>
                  </a:lnTo>
                  <a:lnTo>
                    <a:pt x="53340" y="674370"/>
                  </a:lnTo>
                  <a:lnTo>
                    <a:pt x="49530" y="672465"/>
                  </a:lnTo>
                  <a:lnTo>
                    <a:pt x="48578" y="670560"/>
                  </a:lnTo>
                  <a:lnTo>
                    <a:pt x="47625" y="667703"/>
                  </a:lnTo>
                  <a:lnTo>
                    <a:pt x="46673" y="655320"/>
                  </a:lnTo>
                  <a:lnTo>
                    <a:pt x="45720" y="649605"/>
                  </a:lnTo>
                  <a:lnTo>
                    <a:pt x="40005" y="636270"/>
                  </a:lnTo>
                  <a:lnTo>
                    <a:pt x="13335" y="548640"/>
                  </a:lnTo>
                  <a:lnTo>
                    <a:pt x="0" y="511493"/>
                  </a:lnTo>
                  <a:lnTo>
                    <a:pt x="60960" y="491490"/>
                  </a:lnTo>
                  <a:lnTo>
                    <a:pt x="127635" y="477203"/>
                  </a:lnTo>
                  <a:lnTo>
                    <a:pt x="200025" y="442913"/>
                  </a:lnTo>
                  <a:lnTo>
                    <a:pt x="205740" y="441007"/>
                  </a:lnTo>
                  <a:lnTo>
                    <a:pt x="232410" y="445770"/>
                  </a:lnTo>
                  <a:lnTo>
                    <a:pt x="277178" y="464820"/>
                  </a:lnTo>
                  <a:lnTo>
                    <a:pt x="331470" y="475297"/>
                  </a:lnTo>
                  <a:lnTo>
                    <a:pt x="365760" y="477203"/>
                  </a:lnTo>
                  <a:lnTo>
                    <a:pt x="370523" y="476250"/>
                  </a:lnTo>
                  <a:lnTo>
                    <a:pt x="375285" y="470535"/>
                  </a:lnTo>
                  <a:lnTo>
                    <a:pt x="378143" y="464820"/>
                  </a:lnTo>
                  <a:lnTo>
                    <a:pt x="379095" y="461963"/>
                  </a:lnTo>
                  <a:lnTo>
                    <a:pt x="382905" y="445770"/>
                  </a:lnTo>
                  <a:lnTo>
                    <a:pt x="382905" y="440055"/>
                  </a:lnTo>
                  <a:lnTo>
                    <a:pt x="380048" y="435293"/>
                  </a:lnTo>
                  <a:lnTo>
                    <a:pt x="377190" y="431482"/>
                  </a:lnTo>
                  <a:lnTo>
                    <a:pt x="366713" y="422910"/>
                  </a:lnTo>
                  <a:lnTo>
                    <a:pt x="364807" y="421005"/>
                  </a:lnTo>
                  <a:lnTo>
                    <a:pt x="364807" y="419100"/>
                  </a:lnTo>
                  <a:lnTo>
                    <a:pt x="365760" y="413385"/>
                  </a:lnTo>
                  <a:lnTo>
                    <a:pt x="373380" y="393382"/>
                  </a:lnTo>
                  <a:lnTo>
                    <a:pt x="377190" y="380047"/>
                  </a:lnTo>
                  <a:lnTo>
                    <a:pt x="381000" y="357188"/>
                  </a:lnTo>
                  <a:lnTo>
                    <a:pt x="384810" y="344805"/>
                  </a:lnTo>
                  <a:lnTo>
                    <a:pt x="390525" y="307657"/>
                  </a:lnTo>
                  <a:lnTo>
                    <a:pt x="390525" y="301943"/>
                  </a:lnTo>
                  <a:lnTo>
                    <a:pt x="388620" y="300990"/>
                  </a:lnTo>
                  <a:lnTo>
                    <a:pt x="385763" y="299085"/>
                  </a:lnTo>
                  <a:lnTo>
                    <a:pt x="373380" y="297180"/>
                  </a:lnTo>
                  <a:lnTo>
                    <a:pt x="363855" y="295275"/>
                  </a:lnTo>
                  <a:lnTo>
                    <a:pt x="360998" y="293370"/>
                  </a:lnTo>
                  <a:lnTo>
                    <a:pt x="360045" y="291465"/>
                  </a:lnTo>
                  <a:lnTo>
                    <a:pt x="360045" y="288607"/>
                  </a:lnTo>
                  <a:lnTo>
                    <a:pt x="361950" y="278130"/>
                  </a:lnTo>
                  <a:lnTo>
                    <a:pt x="361950" y="275272"/>
                  </a:lnTo>
                  <a:lnTo>
                    <a:pt x="360045" y="267653"/>
                  </a:lnTo>
                  <a:lnTo>
                    <a:pt x="360045" y="264795"/>
                  </a:lnTo>
                  <a:lnTo>
                    <a:pt x="360045" y="260985"/>
                  </a:lnTo>
                  <a:lnTo>
                    <a:pt x="361950" y="256222"/>
                  </a:lnTo>
                  <a:lnTo>
                    <a:pt x="366713" y="247650"/>
                  </a:lnTo>
                  <a:lnTo>
                    <a:pt x="368618" y="243840"/>
                  </a:lnTo>
                  <a:lnTo>
                    <a:pt x="368618" y="239078"/>
                  </a:lnTo>
                  <a:lnTo>
                    <a:pt x="367665" y="236220"/>
                  </a:lnTo>
                  <a:lnTo>
                    <a:pt x="364807" y="232410"/>
                  </a:lnTo>
                  <a:lnTo>
                    <a:pt x="323850" y="207645"/>
                  </a:lnTo>
                  <a:lnTo>
                    <a:pt x="320040" y="203835"/>
                  </a:lnTo>
                  <a:lnTo>
                    <a:pt x="318135" y="199072"/>
                  </a:lnTo>
                  <a:lnTo>
                    <a:pt x="318135" y="193357"/>
                  </a:lnTo>
                  <a:lnTo>
                    <a:pt x="320040" y="185738"/>
                  </a:lnTo>
                  <a:lnTo>
                    <a:pt x="321945" y="180022"/>
                  </a:lnTo>
                  <a:lnTo>
                    <a:pt x="324803" y="176213"/>
                  </a:lnTo>
                  <a:lnTo>
                    <a:pt x="339090" y="163830"/>
                  </a:lnTo>
                  <a:lnTo>
                    <a:pt x="341948" y="161925"/>
                  </a:lnTo>
                  <a:lnTo>
                    <a:pt x="364807" y="157163"/>
                  </a:lnTo>
                  <a:lnTo>
                    <a:pt x="370523" y="154305"/>
                  </a:lnTo>
                  <a:lnTo>
                    <a:pt x="373380" y="151447"/>
                  </a:lnTo>
                  <a:lnTo>
                    <a:pt x="375285" y="147638"/>
                  </a:lnTo>
                  <a:lnTo>
                    <a:pt x="376238" y="140970"/>
                  </a:lnTo>
                  <a:lnTo>
                    <a:pt x="375285" y="138113"/>
                  </a:lnTo>
                  <a:lnTo>
                    <a:pt x="374332" y="133350"/>
                  </a:lnTo>
                  <a:lnTo>
                    <a:pt x="371475" y="128588"/>
                  </a:lnTo>
                  <a:lnTo>
                    <a:pt x="368618" y="127635"/>
                  </a:lnTo>
                  <a:lnTo>
                    <a:pt x="349568" y="122872"/>
                  </a:lnTo>
                  <a:lnTo>
                    <a:pt x="343853" y="120015"/>
                  </a:lnTo>
                  <a:lnTo>
                    <a:pt x="340995" y="116205"/>
                  </a:lnTo>
                  <a:lnTo>
                    <a:pt x="338138" y="111443"/>
                  </a:lnTo>
                  <a:lnTo>
                    <a:pt x="338138" y="108585"/>
                  </a:lnTo>
                  <a:lnTo>
                    <a:pt x="338138" y="101918"/>
                  </a:lnTo>
                  <a:lnTo>
                    <a:pt x="336232" y="97155"/>
                  </a:lnTo>
                  <a:lnTo>
                    <a:pt x="334328" y="96203"/>
                  </a:lnTo>
                  <a:lnTo>
                    <a:pt x="331470" y="95250"/>
                  </a:lnTo>
                  <a:lnTo>
                    <a:pt x="325755" y="95250"/>
                  </a:lnTo>
                  <a:lnTo>
                    <a:pt x="323850" y="94297"/>
                  </a:lnTo>
                  <a:lnTo>
                    <a:pt x="321945" y="93345"/>
                  </a:lnTo>
                  <a:lnTo>
                    <a:pt x="320993" y="90488"/>
                  </a:lnTo>
                  <a:lnTo>
                    <a:pt x="320993" y="86678"/>
                  </a:lnTo>
                  <a:lnTo>
                    <a:pt x="322898" y="81915"/>
                  </a:lnTo>
                  <a:lnTo>
                    <a:pt x="325755" y="80010"/>
                  </a:lnTo>
                  <a:lnTo>
                    <a:pt x="332423" y="75247"/>
                  </a:lnTo>
                  <a:lnTo>
                    <a:pt x="334328" y="72390"/>
                  </a:lnTo>
                  <a:lnTo>
                    <a:pt x="335280" y="70485"/>
                  </a:lnTo>
                  <a:lnTo>
                    <a:pt x="336232" y="51435"/>
                  </a:lnTo>
                  <a:lnTo>
                    <a:pt x="337185" y="46672"/>
                  </a:lnTo>
                  <a:lnTo>
                    <a:pt x="339090" y="41910"/>
                  </a:lnTo>
                  <a:lnTo>
                    <a:pt x="338138" y="39053"/>
                  </a:lnTo>
                  <a:lnTo>
                    <a:pt x="335280" y="32385"/>
                  </a:lnTo>
                  <a:lnTo>
                    <a:pt x="333375" y="24765"/>
                  </a:lnTo>
                  <a:lnTo>
                    <a:pt x="332423" y="20955"/>
                  </a:lnTo>
                  <a:lnTo>
                    <a:pt x="333375" y="17145"/>
                  </a:lnTo>
                  <a:lnTo>
                    <a:pt x="335280" y="9525"/>
                  </a:lnTo>
                  <a:lnTo>
                    <a:pt x="338138" y="7620"/>
                  </a:lnTo>
                  <a:lnTo>
                    <a:pt x="340995" y="5715"/>
                  </a:lnTo>
                  <a:lnTo>
                    <a:pt x="346710" y="5715"/>
                  </a:lnTo>
                  <a:lnTo>
                    <a:pt x="349568" y="6668"/>
                  </a:lnTo>
                  <a:lnTo>
                    <a:pt x="351473" y="8572"/>
                  </a:lnTo>
                  <a:lnTo>
                    <a:pt x="351473" y="10478"/>
                  </a:lnTo>
                  <a:lnTo>
                    <a:pt x="351473" y="20003"/>
                  </a:lnTo>
                  <a:lnTo>
                    <a:pt x="351473" y="25718"/>
                  </a:lnTo>
                  <a:lnTo>
                    <a:pt x="352425" y="31432"/>
                  </a:lnTo>
                  <a:lnTo>
                    <a:pt x="354330" y="36195"/>
                  </a:lnTo>
                  <a:lnTo>
                    <a:pt x="356235" y="38100"/>
                  </a:lnTo>
                  <a:lnTo>
                    <a:pt x="359093" y="39053"/>
                  </a:lnTo>
                  <a:lnTo>
                    <a:pt x="389573" y="39053"/>
                  </a:lnTo>
                  <a:lnTo>
                    <a:pt x="402907" y="30480"/>
                  </a:lnTo>
                  <a:lnTo>
                    <a:pt x="421005" y="15240"/>
                  </a:lnTo>
                  <a:lnTo>
                    <a:pt x="428625" y="10478"/>
                  </a:lnTo>
                  <a:lnTo>
                    <a:pt x="434340" y="8572"/>
                  </a:lnTo>
                  <a:lnTo>
                    <a:pt x="440055" y="9525"/>
                  </a:lnTo>
                  <a:lnTo>
                    <a:pt x="444818" y="9525"/>
                  </a:lnTo>
                  <a:lnTo>
                    <a:pt x="454343" y="8572"/>
                  </a:lnTo>
                  <a:lnTo>
                    <a:pt x="459105" y="5715"/>
                  </a:lnTo>
                  <a:lnTo>
                    <a:pt x="461963" y="3810"/>
                  </a:lnTo>
                  <a:lnTo>
                    <a:pt x="473393" y="953"/>
                  </a:lnTo>
                  <a:lnTo>
                    <a:pt x="481965" y="953"/>
                  </a:lnTo>
                  <a:lnTo>
                    <a:pt x="487680" y="1905"/>
                  </a:lnTo>
                  <a:lnTo>
                    <a:pt x="501968" y="8572"/>
                  </a:lnTo>
                  <a:lnTo>
                    <a:pt x="506730" y="8572"/>
                  </a:lnTo>
                  <a:lnTo>
                    <a:pt x="511493" y="7620"/>
                  </a:lnTo>
                  <a:lnTo>
                    <a:pt x="520065" y="4763"/>
                  </a:lnTo>
                  <a:lnTo>
                    <a:pt x="548640" y="0"/>
                  </a:lnTo>
                  <a:lnTo>
                    <a:pt x="553403" y="0"/>
                  </a:lnTo>
                  <a:lnTo>
                    <a:pt x="564832" y="3810"/>
                  </a:lnTo>
                  <a:lnTo>
                    <a:pt x="599123" y="20955"/>
                  </a:lnTo>
                  <a:lnTo>
                    <a:pt x="681990" y="35243"/>
                  </a:lnTo>
                  <a:lnTo>
                    <a:pt x="689610" y="40005"/>
                  </a:lnTo>
                  <a:lnTo>
                    <a:pt x="694373" y="40005"/>
                  </a:lnTo>
                  <a:lnTo>
                    <a:pt x="699135" y="39053"/>
                  </a:lnTo>
                  <a:lnTo>
                    <a:pt x="707707" y="36195"/>
                  </a:lnTo>
                  <a:lnTo>
                    <a:pt x="713423" y="32385"/>
                  </a:lnTo>
                  <a:lnTo>
                    <a:pt x="724853" y="20003"/>
                  </a:lnTo>
                  <a:lnTo>
                    <a:pt x="733425" y="13335"/>
                  </a:lnTo>
                  <a:lnTo>
                    <a:pt x="738188" y="10478"/>
                  </a:lnTo>
                  <a:lnTo>
                    <a:pt x="760095" y="4763"/>
                  </a:lnTo>
                  <a:lnTo>
                    <a:pt x="775335" y="2857"/>
                  </a:lnTo>
                  <a:lnTo>
                    <a:pt x="781050" y="3810"/>
                  </a:lnTo>
                  <a:lnTo>
                    <a:pt x="786765" y="5715"/>
                  </a:lnTo>
                  <a:lnTo>
                    <a:pt x="790575" y="9525"/>
                  </a:lnTo>
                  <a:lnTo>
                    <a:pt x="794385" y="16193"/>
                  </a:lnTo>
                  <a:lnTo>
                    <a:pt x="801053" y="23813"/>
                  </a:lnTo>
                  <a:lnTo>
                    <a:pt x="805815" y="26670"/>
                  </a:lnTo>
                  <a:lnTo>
                    <a:pt x="831532" y="32385"/>
                  </a:lnTo>
                  <a:lnTo>
                    <a:pt x="834390" y="33338"/>
                  </a:lnTo>
                  <a:lnTo>
                    <a:pt x="838200" y="37147"/>
                  </a:lnTo>
                  <a:lnTo>
                    <a:pt x="845820" y="49530"/>
                  </a:lnTo>
                  <a:lnTo>
                    <a:pt x="850582" y="50482"/>
                  </a:lnTo>
                  <a:lnTo>
                    <a:pt x="856298" y="49530"/>
                  </a:lnTo>
                  <a:lnTo>
                    <a:pt x="884873" y="38100"/>
                  </a:lnTo>
                  <a:lnTo>
                    <a:pt x="916305" y="30480"/>
                  </a:lnTo>
                  <a:lnTo>
                    <a:pt x="922020" y="30480"/>
                  </a:lnTo>
                  <a:lnTo>
                    <a:pt x="925830" y="31432"/>
                  </a:lnTo>
                  <a:lnTo>
                    <a:pt x="927735" y="32385"/>
                  </a:lnTo>
                  <a:lnTo>
                    <a:pt x="929640" y="34290"/>
                  </a:lnTo>
                  <a:lnTo>
                    <a:pt x="931545" y="36195"/>
                  </a:lnTo>
                  <a:lnTo>
                    <a:pt x="931545" y="39053"/>
                  </a:lnTo>
                  <a:lnTo>
                    <a:pt x="931545" y="41910"/>
                  </a:lnTo>
                  <a:lnTo>
                    <a:pt x="929640" y="52388"/>
                  </a:lnTo>
                  <a:lnTo>
                    <a:pt x="928688" y="56197"/>
                  </a:lnTo>
                  <a:lnTo>
                    <a:pt x="929640" y="61913"/>
                  </a:lnTo>
                  <a:lnTo>
                    <a:pt x="932498" y="68580"/>
                  </a:lnTo>
                  <a:lnTo>
                    <a:pt x="932498" y="71438"/>
                  </a:lnTo>
                  <a:lnTo>
                    <a:pt x="932498" y="78105"/>
                  </a:lnTo>
                  <a:lnTo>
                    <a:pt x="933450" y="80010"/>
                  </a:lnTo>
                  <a:lnTo>
                    <a:pt x="936307" y="81915"/>
                  </a:lnTo>
                  <a:lnTo>
                    <a:pt x="942023" y="81915"/>
                  </a:lnTo>
                  <a:lnTo>
                    <a:pt x="946785" y="80963"/>
                  </a:lnTo>
                  <a:lnTo>
                    <a:pt x="963930" y="68580"/>
                  </a:lnTo>
                  <a:lnTo>
                    <a:pt x="967740" y="67628"/>
                  </a:lnTo>
                  <a:lnTo>
                    <a:pt x="970598" y="68580"/>
                  </a:lnTo>
                  <a:lnTo>
                    <a:pt x="972503" y="73343"/>
                  </a:lnTo>
                  <a:lnTo>
                    <a:pt x="971550" y="76200"/>
                  </a:lnTo>
                  <a:lnTo>
                    <a:pt x="968693" y="81915"/>
                  </a:lnTo>
                  <a:lnTo>
                    <a:pt x="962025" y="89535"/>
                  </a:lnTo>
                  <a:lnTo>
                    <a:pt x="959168" y="94297"/>
                  </a:lnTo>
                  <a:lnTo>
                    <a:pt x="958215" y="97155"/>
                  </a:lnTo>
                  <a:lnTo>
                    <a:pt x="958215" y="99060"/>
                  </a:lnTo>
                  <a:lnTo>
                    <a:pt x="961073" y="101918"/>
                  </a:lnTo>
                  <a:lnTo>
                    <a:pt x="968693" y="103822"/>
                  </a:lnTo>
                  <a:lnTo>
                    <a:pt x="971550" y="104775"/>
                  </a:lnTo>
                  <a:lnTo>
                    <a:pt x="973455" y="105728"/>
                  </a:lnTo>
                  <a:lnTo>
                    <a:pt x="976313" y="110490"/>
                  </a:lnTo>
                  <a:lnTo>
                    <a:pt x="977265" y="116205"/>
                  </a:lnTo>
                  <a:lnTo>
                    <a:pt x="978218" y="126682"/>
                  </a:lnTo>
                  <a:lnTo>
                    <a:pt x="978218" y="130493"/>
                  </a:lnTo>
                  <a:lnTo>
                    <a:pt x="977265" y="139065"/>
                  </a:lnTo>
                  <a:lnTo>
                    <a:pt x="978218" y="140970"/>
                  </a:lnTo>
                  <a:lnTo>
                    <a:pt x="984885" y="143828"/>
                  </a:lnTo>
                  <a:lnTo>
                    <a:pt x="986790" y="145732"/>
                  </a:lnTo>
                  <a:lnTo>
                    <a:pt x="988695" y="148590"/>
                  </a:lnTo>
                  <a:lnTo>
                    <a:pt x="992505" y="151447"/>
                  </a:lnTo>
                  <a:lnTo>
                    <a:pt x="1007745" y="150495"/>
                  </a:lnTo>
                  <a:lnTo>
                    <a:pt x="1008698" y="150495"/>
                  </a:lnTo>
                  <a:lnTo>
                    <a:pt x="1008698" y="153353"/>
                  </a:lnTo>
                  <a:lnTo>
                    <a:pt x="1007745" y="158115"/>
                  </a:lnTo>
                  <a:lnTo>
                    <a:pt x="1006793" y="163830"/>
                  </a:lnTo>
                  <a:lnTo>
                    <a:pt x="1008698" y="171450"/>
                  </a:lnTo>
                  <a:lnTo>
                    <a:pt x="1008698" y="174307"/>
                  </a:lnTo>
                  <a:lnTo>
                    <a:pt x="1008698" y="177165"/>
                  </a:lnTo>
                  <a:lnTo>
                    <a:pt x="1004888" y="185738"/>
                  </a:lnTo>
                  <a:lnTo>
                    <a:pt x="1000125" y="199072"/>
                  </a:lnTo>
                  <a:lnTo>
                    <a:pt x="999173" y="202882"/>
                  </a:lnTo>
                  <a:lnTo>
                    <a:pt x="996315" y="206693"/>
                  </a:lnTo>
                  <a:lnTo>
                    <a:pt x="993457" y="207645"/>
                  </a:lnTo>
                  <a:lnTo>
                    <a:pt x="990600" y="206693"/>
                  </a:lnTo>
                  <a:lnTo>
                    <a:pt x="986790" y="202882"/>
                  </a:lnTo>
                  <a:lnTo>
                    <a:pt x="984885" y="200978"/>
                  </a:lnTo>
                  <a:lnTo>
                    <a:pt x="980123" y="200978"/>
                  </a:lnTo>
                  <a:lnTo>
                    <a:pt x="979170" y="201930"/>
                  </a:lnTo>
                  <a:lnTo>
                    <a:pt x="978218" y="204788"/>
                  </a:lnTo>
                  <a:lnTo>
                    <a:pt x="979170" y="210503"/>
                  </a:lnTo>
                  <a:lnTo>
                    <a:pt x="980123" y="212407"/>
                  </a:lnTo>
                  <a:lnTo>
                    <a:pt x="984885" y="215265"/>
                  </a:lnTo>
                  <a:lnTo>
                    <a:pt x="986790" y="217170"/>
                  </a:lnTo>
                  <a:lnTo>
                    <a:pt x="987743" y="222885"/>
                  </a:lnTo>
                  <a:lnTo>
                    <a:pt x="988695" y="224790"/>
                  </a:lnTo>
                  <a:lnTo>
                    <a:pt x="993457" y="226695"/>
                  </a:lnTo>
                  <a:lnTo>
                    <a:pt x="995363" y="228600"/>
                  </a:lnTo>
                  <a:lnTo>
                    <a:pt x="999173" y="232410"/>
                  </a:lnTo>
                  <a:lnTo>
                    <a:pt x="1002982" y="232410"/>
                  </a:lnTo>
                  <a:lnTo>
                    <a:pt x="1026795" y="230505"/>
                  </a:lnTo>
                  <a:lnTo>
                    <a:pt x="1031557" y="228600"/>
                  </a:lnTo>
                  <a:lnTo>
                    <a:pt x="1033463" y="226695"/>
                  </a:lnTo>
                  <a:lnTo>
                    <a:pt x="1036320" y="220980"/>
                  </a:lnTo>
                  <a:lnTo>
                    <a:pt x="1038225" y="217170"/>
                  </a:lnTo>
                  <a:lnTo>
                    <a:pt x="1042035" y="212407"/>
                  </a:lnTo>
                  <a:lnTo>
                    <a:pt x="1045845" y="211455"/>
                  </a:lnTo>
                  <a:lnTo>
                    <a:pt x="1048703" y="210503"/>
                  </a:lnTo>
                  <a:lnTo>
                    <a:pt x="1054418" y="210503"/>
                  </a:lnTo>
                  <a:lnTo>
                    <a:pt x="1056323" y="212407"/>
                  </a:lnTo>
                  <a:lnTo>
                    <a:pt x="1057275" y="217170"/>
                  </a:lnTo>
                  <a:lnTo>
                    <a:pt x="1059180" y="234315"/>
                  </a:lnTo>
                  <a:lnTo>
                    <a:pt x="1060132" y="236220"/>
                  </a:lnTo>
                  <a:lnTo>
                    <a:pt x="1064895" y="238125"/>
                  </a:lnTo>
                  <a:lnTo>
                    <a:pt x="1077278" y="239078"/>
                  </a:lnTo>
                  <a:lnTo>
                    <a:pt x="1080135" y="240982"/>
                  </a:lnTo>
                  <a:lnTo>
                    <a:pt x="1082040" y="241935"/>
                  </a:lnTo>
                  <a:lnTo>
                    <a:pt x="1087755" y="247650"/>
                  </a:lnTo>
                  <a:lnTo>
                    <a:pt x="1091565" y="248603"/>
                  </a:lnTo>
                  <a:lnTo>
                    <a:pt x="1098232" y="249555"/>
                  </a:lnTo>
                  <a:lnTo>
                    <a:pt x="1109663" y="249555"/>
                  </a:lnTo>
                  <a:lnTo>
                    <a:pt x="1114425" y="248603"/>
                  </a:lnTo>
                  <a:lnTo>
                    <a:pt x="1118235" y="245745"/>
                  </a:lnTo>
                  <a:lnTo>
                    <a:pt x="1122045" y="240030"/>
                  </a:lnTo>
                  <a:lnTo>
                    <a:pt x="1123950" y="236220"/>
                  </a:lnTo>
                  <a:lnTo>
                    <a:pt x="1129665" y="231457"/>
                  </a:lnTo>
                  <a:lnTo>
                    <a:pt x="1134428" y="229553"/>
                  </a:lnTo>
                  <a:lnTo>
                    <a:pt x="1137285" y="228600"/>
                  </a:lnTo>
                  <a:lnTo>
                    <a:pt x="1143000" y="229553"/>
                  </a:lnTo>
                  <a:lnTo>
                    <a:pt x="1146810" y="233363"/>
                  </a:lnTo>
                  <a:lnTo>
                    <a:pt x="1149668" y="237172"/>
                  </a:lnTo>
                  <a:lnTo>
                    <a:pt x="1151573" y="239078"/>
                  </a:lnTo>
                  <a:lnTo>
                    <a:pt x="1153478" y="240030"/>
                  </a:lnTo>
                  <a:lnTo>
                    <a:pt x="1250632" y="22574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7" name="Полилиния: фигура 27">
              <a:extLst>
                <a:ext uri="{FF2B5EF4-FFF2-40B4-BE49-F238E27FC236}">
                  <a16:creationId xmlns:a16="http://schemas.microsoft.com/office/drawing/2014/main" id="{F12CECB1-DF57-044A-8501-C091E6CF6627}"/>
                </a:ext>
              </a:extLst>
            </p:cNvPr>
            <p:cNvSpPr/>
            <p:nvPr/>
          </p:nvSpPr>
          <p:spPr>
            <a:xfrm>
              <a:off x="5589270" y="1689735"/>
              <a:ext cx="342900" cy="533400"/>
            </a:xfrm>
            <a:custGeom>
              <a:avLst/>
              <a:gdLst>
                <a:gd name="connsiteX0" fmla="*/ 346710 w 342900"/>
                <a:gd name="connsiteY0" fmla="*/ 70485 h 533400"/>
                <a:gd name="connsiteX1" fmla="*/ 326708 w 342900"/>
                <a:gd name="connsiteY1" fmla="*/ 93345 h 533400"/>
                <a:gd name="connsiteX2" fmla="*/ 311468 w 342900"/>
                <a:gd name="connsiteY2" fmla="*/ 102870 h 533400"/>
                <a:gd name="connsiteX3" fmla="*/ 299085 w 342900"/>
                <a:gd name="connsiteY3" fmla="*/ 121920 h 533400"/>
                <a:gd name="connsiteX4" fmla="*/ 298133 w 342900"/>
                <a:gd name="connsiteY4" fmla="*/ 134303 h 533400"/>
                <a:gd name="connsiteX5" fmla="*/ 307658 w 342900"/>
                <a:gd name="connsiteY5" fmla="*/ 149543 h 533400"/>
                <a:gd name="connsiteX6" fmla="*/ 301943 w 342900"/>
                <a:gd name="connsiteY6" fmla="*/ 159068 h 533400"/>
                <a:gd name="connsiteX7" fmla="*/ 302895 w 342900"/>
                <a:gd name="connsiteY7" fmla="*/ 189548 h 533400"/>
                <a:gd name="connsiteX8" fmla="*/ 332423 w 342900"/>
                <a:gd name="connsiteY8" fmla="*/ 235268 h 533400"/>
                <a:gd name="connsiteX9" fmla="*/ 333375 w 342900"/>
                <a:gd name="connsiteY9" fmla="*/ 249555 h 533400"/>
                <a:gd name="connsiteX10" fmla="*/ 348615 w 342900"/>
                <a:gd name="connsiteY10" fmla="*/ 260985 h 533400"/>
                <a:gd name="connsiteX11" fmla="*/ 340043 w 342900"/>
                <a:gd name="connsiteY11" fmla="*/ 278130 h 533400"/>
                <a:gd name="connsiteX12" fmla="*/ 319088 w 342900"/>
                <a:gd name="connsiteY12" fmla="*/ 278130 h 533400"/>
                <a:gd name="connsiteX13" fmla="*/ 320040 w 342900"/>
                <a:gd name="connsiteY13" fmla="*/ 311468 h 533400"/>
                <a:gd name="connsiteX14" fmla="*/ 300038 w 342900"/>
                <a:gd name="connsiteY14" fmla="*/ 314325 h 533400"/>
                <a:gd name="connsiteX15" fmla="*/ 283845 w 342900"/>
                <a:gd name="connsiteY15" fmla="*/ 297180 h 533400"/>
                <a:gd name="connsiteX16" fmla="*/ 280035 w 342900"/>
                <a:gd name="connsiteY16" fmla="*/ 311468 h 533400"/>
                <a:gd name="connsiteX17" fmla="*/ 280988 w 342900"/>
                <a:gd name="connsiteY17" fmla="*/ 336233 h 533400"/>
                <a:gd name="connsiteX18" fmla="*/ 270510 w 342900"/>
                <a:gd name="connsiteY18" fmla="*/ 340043 h 533400"/>
                <a:gd name="connsiteX19" fmla="*/ 255270 w 342900"/>
                <a:gd name="connsiteY19" fmla="*/ 334328 h 533400"/>
                <a:gd name="connsiteX20" fmla="*/ 243840 w 342900"/>
                <a:gd name="connsiteY20" fmla="*/ 337185 h 533400"/>
                <a:gd name="connsiteX21" fmla="*/ 240983 w 342900"/>
                <a:gd name="connsiteY21" fmla="*/ 325755 h 533400"/>
                <a:gd name="connsiteX22" fmla="*/ 221933 w 342900"/>
                <a:gd name="connsiteY22" fmla="*/ 332423 h 533400"/>
                <a:gd name="connsiteX23" fmla="*/ 228600 w 342900"/>
                <a:gd name="connsiteY23" fmla="*/ 345758 h 533400"/>
                <a:gd name="connsiteX24" fmla="*/ 222885 w 342900"/>
                <a:gd name="connsiteY24" fmla="*/ 352425 h 533400"/>
                <a:gd name="connsiteX25" fmla="*/ 238125 w 342900"/>
                <a:gd name="connsiteY25" fmla="*/ 393383 h 533400"/>
                <a:gd name="connsiteX26" fmla="*/ 247650 w 342900"/>
                <a:gd name="connsiteY26" fmla="*/ 423863 h 533400"/>
                <a:gd name="connsiteX27" fmla="*/ 240030 w 342900"/>
                <a:gd name="connsiteY27" fmla="*/ 450533 h 533400"/>
                <a:gd name="connsiteX28" fmla="*/ 229553 w 342900"/>
                <a:gd name="connsiteY28" fmla="*/ 451485 h 533400"/>
                <a:gd name="connsiteX29" fmla="*/ 233363 w 342900"/>
                <a:gd name="connsiteY29" fmla="*/ 473393 h 533400"/>
                <a:gd name="connsiteX30" fmla="*/ 244793 w 342900"/>
                <a:gd name="connsiteY30" fmla="*/ 502920 h 533400"/>
                <a:gd name="connsiteX31" fmla="*/ 239078 w 342900"/>
                <a:gd name="connsiteY31" fmla="*/ 511493 h 533400"/>
                <a:gd name="connsiteX32" fmla="*/ 243840 w 342900"/>
                <a:gd name="connsiteY32" fmla="*/ 524828 h 533400"/>
                <a:gd name="connsiteX33" fmla="*/ 211455 w 342900"/>
                <a:gd name="connsiteY33" fmla="*/ 541020 h 533400"/>
                <a:gd name="connsiteX34" fmla="*/ 209550 w 342900"/>
                <a:gd name="connsiteY34" fmla="*/ 502920 h 533400"/>
                <a:gd name="connsiteX35" fmla="*/ 201930 w 342900"/>
                <a:gd name="connsiteY35" fmla="*/ 477203 h 533400"/>
                <a:gd name="connsiteX36" fmla="*/ 187643 w 342900"/>
                <a:gd name="connsiteY36" fmla="*/ 472440 h 533400"/>
                <a:gd name="connsiteX37" fmla="*/ 184785 w 342900"/>
                <a:gd name="connsiteY37" fmla="*/ 432435 h 533400"/>
                <a:gd name="connsiteX38" fmla="*/ 171450 w 342900"/>
                <a:gd name="connsiteY38" fmla="*/ 432435 h 533400"/>
                <a:gd name="connsiteX39" fmla="*/ 177165 w 342900"/>
                <a:gd name="connsiteY39" fmla="*/ 396240 h 533400"/>
                <a:gd name="connsiteX40" fmla="*/ 162878 w 342900"/>
                <a:gd name="connsiteY40" fmla="*/ 383858 h 533400"/>
                <a:gd name="connsiteX41" fmla="*/ 153353 w 342900"/>
                <a:gd name="connsiteY41" fmla="*/ 387668 h 533400"/>
                <a:gd name="connsiteX42" fmla="*/ 152400 w 342900"/>
                <a:gd name="connsiteY42" fmla="*/ 374333 h 533400"/>
                <a:gd name="connsiteX43" fmla="*/ 142875 w 342900"/>
                <a:gd name="connsiteY43" fmla="*/ 369570 h 533400"/>
                <a:gd name="connsiteX44" fmla="*/ 140970 w 342900"/>
                <a:gd name="connsiteY44" fmla="*/ 354330 h 533400"/>
                <a:gd name="connsiteX45" fmla="*/ 137160 w 342900"/>
                <a:gd name="connsiteY45" fmla="*/ 335280 h 533400"/>
                <a:gd name="connsiteX46" fmla="*/ 128588 w 342900"/>
                <a:gd name="connsiteY46" fmla="*/ 337185 h 533400"/>
                <a:gd name="connsiteX47" fmla="*/ 119063 w 342900"/>
                <a:gd name="connsiteY47" fmla="*/ 337185 h 533400"/>
                <a:gd name="connsiteX48" fmla="*/ 115253 w 342900"/>
                <a:gd name="connsiteY48" fmla="*/ 318135 h 533400"/>
                <a:gd name="connsiteX49" fmla="*/ 120015 w 342900"/>
                <a:gd name="connsiteY49" fmla="*/ 301943 h 533400"/>
                <a:gd name="connsiteX50" fmla="*/ 107633 w 342900"/>
                <a:gd name="connsiteY50" fmla="*/ 280035 h 533400"/>
                <a:gd name="connsiteX51" fmla="*/ 91440 w 342900"/>
                <a:gd name="connsiteY51" fmla="*/ 265748 h 533400"/>
                <a:gd name="connsiteX52" fmla="*/ 77153 w 342900"/>
                <a:gd name="connsiteY52" fmla="*/ 248603 h 533400"/>
                <a:gd name="connsiteX53" fmla="*/ 70485 w 342900"/>
                <a:gd name="connsiteY53" fmla="*/ 216218 h 533400"/>
                <a:gd name="connsiteX54" fmla="*/ 61913 w 342900"/>
                <a:gd name="connsiteY54" fmla="*/ 210503 h 533400"/>
                <a:gd name="connsiteX55" fmla="*/ 50483 w 342900"/>
                <a:gd name="connsiteY55" fmla="*/ 217170 h 533400"/>
                <a:gd name="connsiteX56" fmla="*/ 27623 w 342900"/>
                <a:gd name="connsiteY56" fmla="*/ 210503 h 533400"/>
                <a:gd name="connsiteX57" fmla="*/ 20003 w 342900"/>
                <a:gd name="connsiteY57" fmla="*/ 237173 h 533400"/>
                <a:gd name="connsiteX58" fmla="*/ 11430 w 342900"/>
                <a:gd name="connsiteY58" fmla="*/ 235268 h 533400"/>
                <a:gd name="connsiteX59" fmla="*/ 5715 w 342900"/>
                <a:gd name="connsiteY59" fmla="*/ 243840 h 533400"/>
                <a:gd name="connsiteX60" fmla="*/ 0 w 342900"/>
                <a:gd name="connsiteY60" fmla="*/ 233363 h 533400"/>
                <a:gd name="connsiteX61" fmla="*/ 2858 w 342900"/>
                <a:gd name="connsiteY61" fmla="*/ 212408 h 533400"/>
                <a:gd name="connsiteX62" fmla="*/ 3810 w 342900"/>
                <a:gd name="connsiteY62" fmla="*/ 198120 h 533400"/>
                <a:gd name="connsiteX63" fmla="*/ 9525 w 342900"/>
                <a:gd name="connsiteY63" fmla="*/ 185738 h 533400"/>
                <a:gd name="connsiteX64" fmla="*/ 8573 w 342900"/>
                <a:gd name="connsiteY64" fmla="*/ 171450 h 533400"/>
                <a:gd name="connsiteX65" fmla="*/ 7620 w 342900"/>
                <a:gd name="connsiteY65" fmla="*/ 158115 h 533400"/>
                <a:gd name="connsiteX66" fmla="*/ 14288 w 342900"/>
                <a:gd name="connsiteY66" fmla="*/ 150495 h 533400"/>
                <a:gd name="connsiteX67" fmla="*/ 17145 w 342900"/>
                <a:gd name="connsiteY67" fmla="*/ 135255 h 533400"/>
                <a:gd name="connsiteX68" fmla="*/ 14288 w 342900"/>
                <a:gd name="connsiteY68" fmla="*/ 119063 h 533400"/>
                <a:gd name="connsiteX69" fmla="*/ 17145 w 342900"/>
                <a:gd name="connsiteY69" fmla="*/ 104775 h 533400"/>
                <a:gd name="connsiteX70" fmla="*/ 28575 w 342900"/>
                <a:gd name="connsiteY70" fmla="*/ 94298 h 533400"/>
                <a:gd name="connsiteX71" fmla="*/ 39053 w 342900"/>
                <a:gd name="connsiteY71" fmla="*/ 84773 h 533400"/>
                <a:gd name="connsiteX72" fmla="*/ 39053 w 342900"/>
                <a:gd name="connsiteY72" fmla="*/ 69533 h 533400"/>
                <a:gd name="connsiteX73" fmla="*/ 34290 w 342900"/>
                <a:gd name="connsiteY73" fmla="*/ 56198 h 533400"/>
                <a:gd name="connsiteX74" fmla="*/ 43815 w 342900"/>
                <a:gd name="connsiteY74" fmla="*/ 50483 h 533400"/>
                <a:gd name="connsiteX75" fmla="*/ 53340 w 342900"/>
                <a:gd name="connsiteY75" fmla="*/ 65723 h 533400"/>
                <a:gd name="connsiteX76" fmla="*/ 56198 w 342900"/>
                <a:gd name="connsiteY76" fmla="*/ 49530 h 533400"/>
                <a:gd name="connsiteX77" fmla="*/ 44768 w 342900"/>
                <a:gd name="connsiteY77" fmla="*/ 29528 h 533400"/>
                <a:gd name="connsiteX78" fmla="*/ 78105 w 342900"/>
                <a:gd name="connsiteY78" fmla="*/ 25718 h 533400"/>
                <a:gd name="connsiteX79" fmla="*/ 78105 w 342900"/>
                <a:gd name="connsiteY79" fmla="*/ 4763 h 533400"/>
                <a:gd name="connsiteX80" fmla="*/ 130493 w 342900"/>
                <a:gd name="connsiteY80" fmla="*/ 4763 h 533400"/>
                <a:gd name="connsiteX81" fmla="*/ 133350 w 342900"/>
                <a:gd name="connsiteY81" fmla="*/ 28575 h 533400"/>
                <a:gd name="connsiteX82" fmla="*/ 145733 w 342900"/>
                <a:gd name="connsiteY82" fmla="*/ 31433 h 533400"/>
                <a:gd name="connsiteX83" fmla="*/ 153353 w 342900"/>
                <a:gd name="connsiteY83" fmla="*/ 60008 h 533400"/>
                <a:gd name="connsiteX84" fmla="*/ 167640 w 342900"/>
                <a:gd name="connsiteY84" fmla="*/ 74295 h 533400"/>
                <a:gd name="connsiteX85" fmla="*/ 178118 w 342900"/>
                <a:gd name="connsiteY85" fmla="*/ 91440 h 533400"/>
                <a:gd name="connsiteX86" fmla="*/ 191453 w 342900"/>
                <a:gd name="connsiteY86" fmla="*/ 99060 h 533400"/>
                <a:gd name="connsiteX87" fmla="*/ 186690 w 342900"/>
                <a:gd name="connsiteY87" fmla="*/ 80010 h 533400"/>
                <a:gd name="connsiteX88" fmla="*/ 193358 w 342900"/>
                <a:gd name="connsiteY88" fmla="*/ 72390 h 533400"/>
                <a:gd name="connsiteX89" fmla="*/ 243840 w 342900"/>
                <a:gd name="connsiteY89" fmla="*/ 77153 h 533400"/>
                <a:gd name="connsiteX90" fmla="*/ 252413 w 342900"/>
                <a:gd name="connsiteY90" fmla="*/ 54293 h 533400"/>
                <a:gd name="connsiteX91" fmla="*/ 269558 w 342900"/>
                <a:gd name="connsiteY91" fmla="*/ 47625 h 533400"/>
                <a:gd name="connsiteX92" fmla="*/ 280988 w 342900"/>
                <a:gd name="connsiteY92" fmla="*/ 37148 h 533400"/>
                <a:gd name="connsiteX93" fmla="*/ 280035 w 342900"/>
                <a:gd name="connsiteY93" fmla="*/ 13335 h 533400"/>
                <a:gd name="connsiteX94" fmla="*/ 291465 w 342900"/>
                <a:gd name="connsiteY94" fmla="*/ 0 h 533400"/>
                <a:gd name="connsiteX95" fmla="*/ 320040 w 342900"/>
                <a:gd name="connsiteY95" fmla="*/ 12383 h 533400"/>
                <a:gd name="connsiteX96" fmla="*/ 342900 w 342900"/>
                <a:gd name="connsiteY96" fmla="*/ 24765 h 533400"/>
                <a:gd name="connsiteX97" fmla="*/ 346710 w 342900"/>
                <a:gd name="connsiteY97" fmla="*/ 70485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42900" h="533400">
                  <a:moveTo>
                    <a:pt x="346710" y="70485"/>
                  </a:moveTo>
                  <a:lnTo>
                    <a:pt x="326708" y="93345"/>
                  </a:lnTo>
                  <a:lnTo>
                    <a:pt x="311468" y="102870"/>
                  </a:lnTo>
                  <a:lnTo>
                    <a:pt x="299085" y="121920"/>
                  </a:lnTo>
                  <a:lnTo>
                    <a:pt x="298133" y="134303"/>
                  </a:lnTo>
                  <a:lnTo>
                    <a:pt x="307658" y="149543"/>
                  </a:lnTo>
                  <a:lnTo>
                    <a:pt x="301943" y="159068"/>
                  </a:lnTo>
                  <a:lnTo>
                    <a:pt x="302895" y="189548"/>
                  </a:lnTo>
                  <a:lnTo>
                    <a:pt x="332423" y="235268"/>
                  </a:lnTo>
                  <a:lnTo>
                    <a:pt x="333375" y="249555"/>
                  </a:lnTo>
                  <a:lnTo>
                    <a:pt x="348615" y="260985"/>
                  </a:lnTo>
                  <a:lnTo>
                    <a:pt x="340043" y="278130"/>
                  </a:lnTo>
                  <a:lnTo>
                    <a:pt x="319088" y="278130"/>
                  </a:lnTo>
                  <a:lnTo>
                    <a:pt x="320040" y="311468"/>
                  </a:lnTo>
                  <a:lnTo>
                    <a:pt x="300038" y="314325"/>
                  </a:lnTo>
                  <a:lnTo>
                    <a:pt x="283845" y="297180"/>
                  </a:lnTo>
                  <a:lnTo>
                    <a:pt x="280035" y="311468"/>
                  </a:lnTo>
                  <a:lnTo>
                    <a:pt x="280988" y="336233"/>
                  </a:lnTo>
                  <a:lnTo>
                    <a:pt x="270510" y="340043"/>
                  </a:lnTo>
                  <a:lnTo>
                    <a:pt x="255270" y="334328"/>
                  </a:lnTo>
                  <a:lnTo>
                    <a:pt x="243840" y="337185"/>
                  </a:lnTo>
                  <a:lnTo>
                    <a:pt x="240983" y="325755"/>
                  </a:lnTo>
                  <a:lnTo>
                    <a:pt x="221933" y="332423"/>
                  </a:lnTo>
                  <a:lnTo>
                    <a:pt x="228600" y="345758"/>
                  </a:lnTo>
                  <a:lnTo>
                    <a:pt x="222885" y="352425"/>
                  </a:lnTo>
                  <a:lnTo>
                    <a:pt x="238125" y="393383"/>
                  </a:lnTo>
                  <a:lnTo>
                    <a:pt x="247650" y="423863"/>
                  </a:lnTo>
                  <a:lnTo>
                    <a:pt x="240030" y="450533"/>
                  </a:lnTo>
                  <a:lnTo>
                    <a:pt x="229553" y="451485"/>
                  </a:lnTo>
                  <a:lnTo>
                    <a:pt x="233363" y="473393"/>
                  </a:lnTo>
                  <a:lnTo>
                    <a:pt x="244793" y="502920"/>
                  </a:lnTo>
                  <a:lnTo>
                    <a:pt x="239078" y="511493"/>
                  </a:lnTo>
                  <a:lnTo>
                    <a:pt x="243840" y="524828"/>
                  </a:lnTo>
                  <a:lnTo>
                    <a:pt x="211455" y="541020"/>
                  </a:lnTo>
                  <a:lnTo>
                    <a:pt x="209550" y="502920"/>
                  </a:lnTo>
                  <a:lnTo>
                    <a:pt x="201930" y="477203"/>
                  </a:lnTo>
                  <a:lnTo>
                    <a:pt x="187643" y="472440"/>
                  </a:lnTo>
                  <a:lnTo>
                    <a:pt x="184785" y="432435"/>
                  </a:lnTo>
                  <a:lnTo>
                    <a:pt x="171450" y="432435"/>
                  </a:lnTo>
                  <a:lnTo>
                    <a:pt x="177165" y="396240"/>
                  </a:lnTo>
                  <a:lnTo>
                    <a:pt x="162878" y="383858"/>
                  </a:lnTo>
                  <a:lnTo>
                    <a:pt x="153353" y="387668"/>
                  </a:lnTo>
                  <a:lnTo>
                    <a:pt x="152400" y="374333"/>
                  </a:lnTo>
                  <a:lnTo>
                    <a:pt x="142875" y="369570"/>
                  </a:lnTo>
                  <a:lnTo>
                    <a:pt x="140970" y="354330"/>
                  </a:lnTo>
                  <a:lnTo>
                    <a:pt x="137160" y="335280"/>
                  </a:lnTo>
                  <a:lnTo>
                    <a:pt x="128588" y="337185"/>
                  </a:lnTo>
                  <a:lnTo>
                    <a:pt x="119063" y="337185"/>
                  </a:lnTo>
                  <a:lnTo>
                    <a:pt x="115253" y="318135"/>
                  </a:lnTo>
                  <a:lnTo>
                    <a:pt x="120015" y="301943"/>
                  </a:lnTo>
                  <a:lnTo>
                    <a:pt x="107633" y="280035"/>
                  </a:lnTo>
                  <a:lnTo>
                    <a:pt x="91440" y="265748"/>
                  </a:lnTo>
                  <a:lnTo>
                    <a:pt x="77153" y="248603"/>
                  </a:lnTo>
                  <a:lnTo>
                    <a:pt x="70485" y="216218"/>
                  </a:lnTo>
                  <a:lnTo>
                    <a:pt x="61913" y="210503"/>
                  </a:lnTo>
                  <a:lnTo>
                    <a:pt x="50483" y="217170"/>
                  </a:lnTo>
                  <a:lnTo>
                    <a:pt x="27623" y="210503"/>
                  </a:lnTo>
                  <a:lnTo>
                    <a:pt x="20003" y="237173"/>
                  </a:lnTo>
                  <a:lnTo>
                    <a:pt x="11430" y="235268"/>
                  </a:lnTo>
                  <a:lnTo>
                    <a:pt x="5715" y="243840"/>
                  </a:lnTo>
                  <a:lnTo>
                    <a:pt x="0" y="233363"/>
                  </a:lnTo>
                  <a:lnTo>
                    <a:pt x="2858" y="212408"/>
                  </a:lnTo>
                  <a:lnTo>
                    <a:pt x="3810" y="198120"/>
                  </a:lnTo>
                  <a:lnTo>
                    <a:pt x="9525" y="185738"/>
                  </a:lnTo>
                  <a:lnTo>
                    <a:pt x="8573" y="171450"/>
                  </a:lnTo>
                  <a:lnTo>
                    <a:pt x="7620" y="158115"/>
                  </a:lnTo>
                  <a:lnTo>
                    <a:pt x="14288" y="150495"/>
                  </a:lnTo>
                  <a:lnTo>
                    <a:pt x="17145" y="135255"/>
                  </a:lnTo>
                  <a:lnTo>
                    <a:pt x="14288" y="119063"/>
                  </a:lnTo>
                  <a:lnTo>
                    <a:pt x="17145" y="104775"/>
                  </a:lnTo>
                  <a:lnTo>
                    <a:pt x="28575" y="94298"/>
                  </a:lnTo>
                  <a:lnTo>
                    <a:pt x="39053" y="84773"/>
                  </a:lnTo>
                  <a:lnTo>
                    <a:pt x="39053" y="69533"/>
                  </a:lnTo>
                  <a:lnTo>
                    <a:pt x="34290" y="56198"/>
                  </a:lnTo>
                  <a:lnTo>
                    <a:pt x="43815" y="50483"/>
                  </a:lnTo>
                  <a:lnTo>
                    <a:pt x="53340" y="65723"/>
                  </a:lnTo>
                  <a:lnTo>
                    <a:pt x="56198" y="49530"/>
                  </a:lnTo>
                  <a:lnTo>
                    <a:pt x="44768" y="29528"/>
                  </a:lnTo>
                  <a:lnTo>
                    <a:pt x="78105" y="25718"/>
                  </a:lnTo>
                  <a:lnTo>
                    <a:pt x="78105" y="4763"/>
                  </a:lnTo>
                  <a:lnTo>
                    <a:pt x="130493" y="4763"/>
                  </a:lnTo>
                  <a:lnTo>
                    <a:pt x="133350" y="28575"/>
                  </a:lnTo>
                  <a:lnTo>
                    <a:pt x="145733" y="31433"/>
                  </a:lnTo>
                  <a:lnTo>
                    <a:pt x="153353" y="60008"/>
                  </a:lnTo>
                  <a:lnTo>
                    <a:pt x="167640" y="74295"/>
                  </a:lnTo>
                  <a:lnTo>
                    <a:pt x="178118" y="91440"/>
                  </a:lnTo>
                  <a:lnTo>
                    <a:pt x="191453" y="99060"/>
                  </a:lnTo>
                  <a:lnTo>
                    <a:pt x="186690" y="80010"/>
                  </a:lnTo>
                  <a:lnTo>
                    <a:pt x="193358" y="72390"/>
                  </a:lnTo>
                  <a:lnTo>
                    <a:pt x="243840" y="77153"/>
                  </a:lnTo>
                  <a:lnTo>
                    <a:pt x="252413" y="54293"/>
                  </a:lnTo>
                  <a:lnTo>
                    <a:pt x="269558" y="47625"/>
                  </a:lnTo>
                  <a:lnTo>
                    <a:pt x="280988" y="37148"/>
                  </a:lnTo>
                  <a:lnTo>
                    <a:pt x="280035" y="13335"/>
                  </a:lnTo>
                  <a:lnTo>
                    <a:pt x="291465" y="0"/>
                  </a:lnTo>
                  <a:lnTo>
                    <a:pt x="320040" y="12383"/>
                  </a:lnTo>
                  <a:lnTo>
                    <a:pt x="342900" y="24765"/>
                  </a:lnTo>
                  <a:lnTo>
                    <a:pt x="346710" y="7048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8" name="Полилиния: фигура 28">
              <a:extLst>
                <a:ext uri="{FF2B5EF4-FFF2-40B4-BE49-F238E27FC236}">
                  <a16:creationId xmlns:a16="http://schemas.microsoft.com/office/drawing/2014/main" id="{FAFCE732-9EAB-1D13-9885-E310D576BDE8}"/>
                </a:ext>
              </a:extLst>
            </p:cNvPr>
            <p:cNvSpPr/>
            <p:nvPr/>
          </p:nvSpPr>
          <p:spPr>
            <a:xfrm>
              <a:off x="6284595" y="4178618"/>
              <a:ext cx="1990725" cy="1428750"/>
            </a:xfrm>
            <a:custGeom>
              <a:avLst/>
              <a:gdLst>
                <a:gd name="connsiteX0" fmla="*/ 599123 w 1990725"/>
                <a:gd name="connsiteY0" fmla="*/ 1174432 h 1428750"/>
                <a:gd name="connsiteX1" fmla="*/ 674370 w 1990725"/>
                <a:gd name="connsiteY1" fmla="*/ 1183957 h 1428750"/>
                <a:gd name="connsiteX2" fmla="*/ 710565 w 1990725"/>
                <a:gd name="connsiteY2" fmla="*/ 1177290 h 1428750"/>
                <a:gd name="connsiteX3" fmla="*/ 726757 w 1990725"/>
                <a:gd name="connsiteY3" fmla="*/ 1177290 h 1428750"/>
                <a:gd name="connsiteX4" fmla="*/ 742950 w 1990725"/>
                <a:gd name="connsiteY4" fmla="*/ 1190625 h 1428750"/>
                <a:gd name="connsiteX5" fmla="*/ 764857 w 1990725"/>
                <a:gd name="connsiteY5" fmla="*/ 1180147 h 1428750"/>
                <a:gd name="connsiteX6" fmla="*/ 778193 w 1990725"/>
                <a:gd name="connsiteY6" fmla="*/ 1179195 h 1428750"/>
                <a:gd name="connsiteX7" fmla="*/ 782955 w 1990725"/>
                <a:gd name="connsiteY7" fmla="*/ 1186815 h 1428750"/>
                <a:gd name="connsiteX8" fmla="*/ 788670 w 1990725"/>
                <a:gd name="connsiteY8" fmla="*/ 1192530 h 1428750"/>
                <a:gd name="connsiteX9" fmla="*/ 812482 w 1990725"/>
                <a:gd name="connsiteY9" fmla="*/ 1190625 h 1428750"/>
                <a:gd name="connsiteX10" fmla="*/ 819150 w 1990725"/>
                <a:gd name="connsiteY10" fmla="*/ 1200150 h 1428750"/>
                <a:gd name="connsiteX11" fmla="*/ 809625 w 1990725"/>
                <a:gd name="connsiteY11" fmla="*/ 1210627 h 1428750"/>
                <a:gd name="connsiteX12" fmla="*/ 588645 w 1990725"/>
                <a:gd name="connsiteY12" fmla="*/ 1174432 h 1428750"/>
                <a:gd name="connsiteX13" fmla="*/ 592455 w 1990725"/>
                <a:gd name="connsiteY13" fmla="*/ 1169670 h 1428750"/>
                <a:gd name="connsiteX14" fmla="*/ 594360 w 1990725"/>
                <a:gd name="connsiteY14" fmla="*/ 1169670 h 1428750"/>
                <a:gd name="connsiteX15" fmla="*/ 599123 w 1990725"/>
                <a:gd name="connsiteY15" fmla="*/ 1174432 h 1428750"/>
                <a:gd name="connsiteX16" fmla="*/ 1983105 w 1990725"/>
                <a:gd name="connsiteY16" fmla="*/ 1021080 h 1428750"/>
                <a:gd name="connsiteX17" fmla="*/ 1990725 w 1990725"/>
                <a:gd name="connsiteY17" fmla="*/ 1025843 h 1428750"/>
                <a:gd name="connsiteX18" fmla="*/ 1982153 w 1990725"/>
                <a:gd name="connsiteY18" fmla="*/ 1035368 h 1428750"/>
                <a:gd name="connsiteX19" fmla="*/ 1954530 w 1990725"/>
                <a:gd name="connsiteY19" fmla="*/ 1090613 h 1428750"/>
                <a:gd name="connsiteX20" fmla="*/ 1941195 w 1990725"/>
                <a:gd name="connsiteY20" fmla="*/ 1108710 h 1428750"/>
                <a:gd name="connsiteX21" fmla="*/ 1928813 w 1990725"/>
                <a:gd name="connsiteY21" fmla="*/ 1122045 h 1428750"/>
                <a:gd name="connsiteX22" fmla="*/ 1907857 w 1990725"/>
                <a:gd name="connsiteY22" fmla="*/ 1129665 h 1428750"/>
                <a:gd name="connsiteX23" fmla="*/ 1894523 w 1990725"/>
                <a:gd name="connsiteY23" fmla="*/ 1140143 h 1428750"/>
                <a:gd name="connsiteX24" fmla="*/ 1876425 w 1990725"/>
                <a:gd name="connsiteY24" fmla="*/ 1144905 h 1428750"/>
                <a:gd name="connsiteX25" fmla="*/ 1864043 w 1990725"/>
                <a:gd name="connsiteY25" fmla="*/ 1154430 h 1428750"/>
                <a:gd name="connsiteX26" fmla="*/ 1844040 w 1990725"/>
                <a:gd name="connsiteY26" fmla="*/ 1163955 h 1428750"/>
                <a:gd name="connsiteX27" fmla="*/ 1834515 w 1990725"/>
                <a:gd name="connsiteY27" fmla="*/ 1160145 h 1428750"/>
                <a:gd name="connsiteX28" fmla="*/ 1835468 w 1990725"/>
                <a:gd name="connsiteY28" fmla="*/ 1153477 h 1428750"/>
                <a:gd name="connsiteX29" fmla="*/ 1852613 w 1990725"/>
                <a:gd name="connsiteY29" fmla="*/ 1133475 h 1428750"/>
                <a:gd name="connsiteX30" fmla="*/ 1870710 w 1990725"/>
                <a:gd name="connsiteY30" fmla="*/ 1122045 h 1428750"/>
                <a:gd name="connsiteX31" fmla="*/ 1869757 w 1990725"/>
                <a:gd name="connsiteY31" fmla="*/ 1119188 h 1428750"/>
                <a:gd name="connsiteX32" fmla="*/ 1866900 w 1990725"/>
                <a:gd name="connsiteY32" fmla="*/ 1111568 h 1428750"/>
                <a:gd name="connsiteX33" fmla="*/ 1922145 w 1990725"/>
                <a:gd name="connsiteY33" fmla="*/ 1094422 h 1428750"/>
                <a:gd name="connsiteX34" fmla="*/ 1949768 w 1990725"/>
                <a:gd name="connsiteY34" fmla="*/ 1080135 h 1428750"/>
                <a:gd name="connsiteX35" fmla="*/ 1964055 w 1990725"/>
                <a:gd name="connsiteY35" fmla="*/ 1050607 h 1428750"/>
                <a:gd name="connsiteX36" fmla="*/ 1976438 w 1990725"/>
                <a:gd name="connsiteY36" fmla="*/ 1036320 h 1428750"/>
                <a:gd name="connsiteX37" fmla="*/ 1982153 w 1990725"/>
                <a:gd name="connsiteY37" fmla="*/ 1023938 h 1428750"/>
                <a:gd name="connsiteX38" fmla="*/ 1983105 w 1990725"/>
                <a:gd name="connsiteY38" fmla="*/ 1021080 h 1428750"/>
                <a:gd name="connsiteX39" fmla="*/ 341948 w 1990725"/>
                <a:gd name="connsiteY39" fmla="*/ 1101090 h 1428750"/>
                <a:gd name="connsiteX40" fmla="*/ 349568 w 1990725"/>
                <a:gd name="connsiteY40" fmla="*/ 1105852 h 1428750"/>
                <a:gd name="connsiteX41" fmla="*/ 337185 w 1990725"/>
                <a:gd name="connsiteY41" fmla="*/ 1103947 h 1428750"/>
                <a:gd name="connsiteX42" fmla="*/ 315278 w 1990725"/>
                <a:gd name="connsiteY42" fmla="*/ 1092518 h 1428750"/>
                <a:gd name="connsiteX43" fmla="*/ 122873 w 1990725"/>
                <a:gd name="connsiteY43" fmla="*/ 1051560 h 1428750"/>
                <a:gd name="connsiteX44" fmla="*/ 40005 w 1990725"/>
                <a:gd name="connsiteY44" fmla="*/ 1019175 h 1428750"/>
                <a:gd name="connsiteX45" fmla="*/ 23813 w 1990725"/>
                <a:gd name="connsiteY45" fmla="*/ 1004888 h 1428750"/>
                <a:gd name="connsiteX46" fmla="*/ 9525 w 1990725"/>
                <a:gd name="connsiteY46" fmla="*/ 981075 h 1428750"/>
                <a:gd name="connsiteX47" fmla="*/ 5715 w 1990725"/>
                <a:gd name="connsiteY47" fmla="*/ 968693 h 1428750"/>
                <a:gd name="connsiteX48" fmla="*/ 953 w 1990725"/>
                <a:gd name="connsiteY48" fmla="*/ 949643 h 1428750"/>
                <a:gd name="connsiteX49" fmla="*/ 0 w 1990725"/>
                <a:gd name="connsiteY49" fmla="*/ 935355 h 1428750"/>
                <a:gd name="connsiteX50" fmla="*/ 9525 w 1990725"/>
                <a:gd name="connsiteY50" fmla="*/ 939165 h 1428750"/>
                <a:gd name="connsiteX51" fmla="*/ 18098 w 1990725"/>
                <a:gd name="connsiteY51" fmla="*/ 971550 h 1428750"/>
                <a:gd name="connsiteX52" fmla="*/ 26670 w 1990725"/>
                <a:gd name="connsiteY52" fmla="*/ 994410 h 1428750"/>
                <a:gd name="connsiteX53" fmla="*/ 39053 w 1990725"/>
                <a:gd name="connsiteY53" fmla="*/ 1009650 h 1428750"/>
                <a:gd name="connsiteX54" fmla="*/ 60007 w 1990725"/>
                <a:gd name="connsiteY54" fmla="*/ 1022032 h 1428750"/>
                <a:gd name="connsiteX55" fmla="*/ 230505 w 1990725"/>
                <a:gd name="connsiteY55" fmla="*/ 1063943 h 1428750"/>
                <a:gd name="connsiteX56" fmla="*/ 299085 w 1990725"/>
                <a:gd name="connsiteY56" fmla="*/ 1081088 h 1428750"/>
                <a:gd name="connsiteX57" fmla="*/ 341948 w 1990725"/>
                <a:gd name="connsiteY57" fmla="*/ 1101090 h 1428750"/>
                <a:gd name="connsiteX58" fmla="*/ 1423988 w 1990725"/>
                <a:gd name="connsiteY58" fmla="*/ 80963 h 1428750"/>
                <a:gd name="connsiteX59" fmla="*/ 1437323 w 1990725"/>
                <a:gd name="connsiteY59" fmla="*/ 118110 h 1428750"/>
                <a:gd name="connsiteX60" fmla="*/ 1463993 w 1990725"/>
                <a:gd name="connsiteY60" fmla="*/ 205740 h 1428750"/>
                <a:gd name="connsiteX61" fmla="*/ 1469707 w 1990725"/>
                <a:gd name="connsiteY61" fmla="*/ 219075 h 1428750"/>
                <a:gd name="connsiteX62" fmla="*/ 1470660 w 1990725"/>
                <a:gd name="connsiteY62" fmla="*/ 224790 h 1428750"/>
                <a:gd name="connsiteX63" fmla="*/ 1471613 w 1990725"/>
                <a:gd name="connsiteY63" fmla="*/ 237172 h 1428750"/>
                <a:gd name="connsiteX64" fmla="*/ 1472565 w 1990725"/>
                <a:gd name="connsiteY64" fmla="*/ 240030 h 1428750"/>
                <a:gd name="connsiteX65" fmla="*/ 1473518 w 1990725"/>
                <a:gd name="connsiteY65" fmla="*/ 241935 h 1428750"/>
                <a:gd name="connsiteX66" fmla="*/ 1477328 w 1990725"/>
                <a:gd name="connsiteY66" fmla="*/ 243840 h 1428750"/>
                <a:gd name="connsiteX67" fmla="*/ 1480185 w 1990725"/>
                <a:gd name="connsiteY67" fmla="*/ 243840 h 1428750"/>
                <a:gd name="connsiteX68" fmla="*/ 1483043 w 1990725"/>
                <a:gd name="connsiteY68" fmla="*/ 243840 h 1428750"/>
                <a:gd name="connsiteX69" fmla="*/ 1487805 w 1990725"/>
                <a:gd name="connsiteY69" fmla="*/ 241935 h 1428750"/>
                <a:gd name="connsiteX70" fmla="*/ 1493520 w 1990725"/>
                <a:gd name="connsiteY70" fmla="*/ 237172 h 1428750"/>
                <a:gd name="connsiteX71" fmla="*/ 1495425 w 1990725"/>
                <a:gd name="connsiteY71" fmla="*/ 236220 h 1428750"/>
                <a:gd name="connsiteX72" fmla="*/ 1503045 w 1990725"/>
                <a:gd name="connsiteY72" fmla="*/ 235267 h 1428750"/>
                <a:gd name="connsiteX73" fmla="*/ 1505903 w 1990725"/>
                <a:gd name="connsiteY73" fmla="*/ 236220 h 1428750"/>
                <a:gd name="connsiteX74" fmla="*/ 1513523 w 1990725"/>
                <a:gd name="connsiteY74" fmla="*/ 240030 h 1428750"/>
                <a:gd name="connsiteX75" fmla="*/ 1519238 w 1990725"/>
                <a:gd name="connsiteY75" fmla="*/ 241935 h 1428750"/>
                <a:gd name="connsiteX76" fmla="*/ 1524000 w 1990725"/>
                <a:gd name="connsiteY76" fmla="*/ 240030 h 1428750"/>
                <a:gd name="connsiteX77" fmla="*/ 1524953 w 1990725"/>
                <a:gd name="connsiteY77" fmla="*/ 238125 h 1428750"/>
                <a:gd name="connsiteX78" fmla="*/ 1527810 w 1990725"/>
                <a:gd name="connsiteY78" fmla="*/ 232410 h 1428750"/>
                <a:gd name="connsiteX79" fmla="*/ 1532573 w 1990725"/>
                <a:gd name="connsiteY79" fmla="*/ 225742 h 1428750"/>
                <a:gd name="connsiteX80" fmla="*/ 1533525 w 1990725"/>
                <a:gd name="connsiteY80" fmla="*/ 222885 h 1428750"/>
                <a:gd name="connsiteX81" fmla="*/ 1534478 w 1990725"/>
                <a:gd name="connsiteY81" fmla="*/ 217170 h 1428750"/>
                <a:gd name="connsiteX82" fmla="*/ 1535430 w 1990725"/>
                <a:gd name="connsiteY82" fmla="*/ 214313 h 1428750"/>
                <a:gd name="connsiteX83" fmla="*/ 1537335 w 1990725"/>
                <a:gd name="connsiteY83" fmla="*/ 212407 h 1428750"/>
                <a:gd name="connsiteX84" fmla="*/ 1542098 w 1990725"/>
                <a:gd name="connsiteY84" fmla="*/ 210502 h 1428750"/>
                <a:gd name="connsiteX85" fmla="*/ 1578293 w 1990725"/>
                <a:gd name="connsiteY85" fmla="*/ 206692 h 1428750"/>
                <a:gd name="connsiteX86" fmla="*/ 1582103 w 1990725"/>
                <a:gd name="connsiteY86" fmla="*/ 207645 h 1428750"/>
                <a:gd name="connsiteX87" fmla="*/ 1584007 w 1990725"/>
                <a:gd name="connsiteY87" fmla="*/ 211455 h 1428750"/>
                <a:gd name="connsiteX88" fmla="*/ 1583055 w 1990725"/>
                <a:gd name="connsiteY88" fmla="*/ 215265 h 1428750"/>
                <a:gd name="connsiteX89" fmla="*/ 1580198 w 1990725"/>
                <a:gd name="connsiteY89" fmla="*/ 218122 h 1428750"/>
                <a:gd name="connsiteX90" fmla="*/ 1572578 w 1990725"/>
                <a:gd name="connsiteY90" fmla="*/ 220980 h 1428750"/>
                <a:gd name="connsiteX91" fmla="*/ 1568768 w 1990725"/>
                <a:gd name="connsiteY91" fmla="*/ 224790 h 1428750"/>
                <a:gd name="connsiteX92" fmla="*/ 1567815 w 1990725"/>
                <a:gd name="connsiteY92" fmla="*/ 231457 h 1428750"/>
                <a:gd name="connsiteX93" fmla="*/ 1566863 w 1990725"/>
                <a:gd name="connsiteY93" fmla="*/ 238125 h 1428750"/>
                <a:gd name="connsiteX94" fmla="*/ 1567815 w 1990725"/>
                <a:gd name="connsiteY94" fmla="*/ 243840 h 1428750"/>
                <a:gd name="connsiteX95" fmla="*/ 1568768 w 1990725"/>
                <a:gd name="connsiteY95" fmla="*/ 246697 h 1428750"/>
                <a:gd name="connsiteX96" fmla="*/ 1572578 w 1990725"/>
                <a:gd name="connsiteY96" fmla="*/ 250507 h 1428750"/>
                <a:gd name="connsiteX97" fmla="*/ 1580198 w 1990725"/>
                <a:gd name="connsiteY97" fmla="*/ 256222 h 1428750"/>
                <a:gd name="connsiteX98" fmla="*/ 1581150 w 1990725"/>
                <a:gd name="connsiteY98" fmla="*/ 259080 h 1428750"/>
                <a:gd name="connsiteX99" fmla="*/ 1582103 w 1990725"/>
                <a:gd name="connsiteY99" fmla="*/ 261938 h 1428750"/>
                <a:gd name="connsiteX100" fmla="*/ 1582103 w 1990725"/>
                <a:gd name="connsiteY100" fmla="*/ 267652 h 1428750"/>
                <a:gd name="connsiteX101" fmla="*/ 1581150 w 1990725"/>
                <a:gd name="connsiteY101" fmla="*/ 271463 h 1428750"/>
                <a:gd name="connsiteX102" fmla="*/ 1580198 w 1990725"/>
                <a:gd name="connsiteY102" fmla="*/ 273367 h 1428750"/>
                <a:gd name="connsiteX103" fmla="*/ 1577340 w 1990725"/>
                <a:gd name="connsiteY103" fmla="*/ 276225 h 1428750"/>
                <a:gd name="connsiteX104" fmla="*/ 1576388 w 1990725"/>
                <a:gd name="connsiteY104" fmla="*/ 278130 h 1428750"/>
                <a:gd name="connsiteX105" fmla="*/ 1575435 w 1990725"/>
                <a:gd name="connsiteY105" fmla="*/ 280988 h 1428750"/>
                <a:gd name="connsiteX106" fmla="*/ 1575435 w 1990725"/>
                <a:gd name="connsiteY106" fmla="*/ 286702 h 1428750"/>
                <a:gd name="connsiteX107" fmla="*/ 1580198 w 1990725"/>
                <a:gd name="connsiteY107" fmla="*/ 307657 h 1428750"/>
                <a:gd name="connsiteX108" fmla="*/ 1580198 w 1990725"/>
                <a:gd name="connsiteY108" fmla="*/ 313372 h 1428750"/>
                <a:gd name="connsiteX109" fmla="*/ 1578293 w 1990725"/>
                <a:gd name="connsiteY109" fmla="*/ 329565 h 1428750"/>
                <a:gd name="connsiteX110" fmla="*/ 1579245 w 1990725"/>
                <a:gd name="connsiteY110" fmla="*/ 338138 h 1428750"/>
                <a:gd name="connsiteX111" fmla="*/ 1579245 w 1990725"/>
                <a:gd name="connsiteY111" fmla="*/ 343852 h 1428750"/>
                <a:gd name="connsiteX112" fmla="*/ 1582103 w 1990725"/>
                <a:gd name="connsiteY112" fmla="*/ 354330 h 1428750"/>
                <a:gd name="connsiteX113" fmla="*/ 1582103 w 1990725"/>
                <a:gd name="connsiteY113" fmla="*/ 360045 h 1428750"/>
                <a:gd name="connsiteX114" fmla="*/ 1583055 w 1990725"/>
                <a:gd name="connsiteY114" fmla="*/ 362902 h 1428750"/>
                <a:gd name="connsiteX115" fmla="*/ 1584960 w 1990725"/>
                <a:gd name="connsiteY115" fmla="*/ 365760 h 1428750"/>
                <a:gd name="connsiteX116" fmla="*/ 1589723 w 1990725"/>
                <a:gd name="connsiteY116" fmla="*/ 368617 h 1428750"/>
                <a:gd name="connsiteX117" fmla="*/ 1596390 w 1990725"/>
                <a:gd name="connsiteY117" fmla="*/ 370522 h 1428750"/>
                <a:gd name="connsiteX118" fmla="*/ 1599248 w 1990725"/>
                <a:gd name="connsiteY118" fmla="*/ 372427 h 1428750"/>
                <a:gd name="connsiteX119" fmla="*/ 1601153 w 1990725"/>
                <a:gd name="connsiteY119" fmla="*/ 376238 h 1428750"/>
                <a:gd name="connsiteX120" fmla="*/ 1609725 w 1990725"/>
                <a:gd name="connsiteY120" fmla="*/ 412432 h 1428750"/>
                <a:gd name="connsiteX121" fmla="*/ 1610678 w 1990725"/>
                <a:gd name="connsiteY121" fmla="*/ 439102 h 1428750"/>
                <a:gd name="connsiteX122" fmla="*/ 1611630 w 1990725"/>
                <a:gd name="connsiteY122" fmla="*/ 443865 h 1428750"/>
                <a:gd name="connsiteX123" fmla="*/ 1612582 w 1990725"/>
                <a:gd name="connsiteY123" fmla="*/ 446722 h 1428750"/>
                <a:gd name="connsiteX124" fmla="*/ 1614488 w 1990725"/>
                <a:gd name="connsiteY124" fmla="*/ 448627 h 1428750"/>
                <a:gd name="connsiteX125" fmla="*/ 1619250 w 1990725"/>
                <a:gd name="connsiteY125" fmla="*/ 451485 h 1428750"/>
                <a:gd name="connsiteX126" fmla="*/ 1625918 w 1990725"/>
                <a:gd name="connsiteY126" fmla="*/ 452438 h 1428750"/>
                <a:gd name="connsiteX127" fmla="*/ 1628775 w 1990725"/>
                <a:gd name="connsiteY127" fmla="*/ 454342 h 1428750"/>
                <a:gd name="connsiteX128" fmla="*/ 1629728 w 1990725"/>
                <a:gd name="connsiteY128" fmla="*/ 457200 h 1428750"/>
                <a:gd name="connsiteX129" fmla="*/ 1631632 w 1990725"/>
                <a:gd name="connsiteY129" fmla="*/ 461010 h 1428750"/>
                <a:gd name="connsiteX130" fmla="*/ 1633538 w 1990725"/>
                <a:gd name="connsiteY130" fmla="*/ 468630 h 1428750"/>
                <a:gd name="connsiteX131" fmla="*/ 1634490 w 1990725"/>
                <a:gd name="connsiteY131" fmla="*/ 480060 h 1428750"/>
                <a:gd name="connsiteX132" fmla="*/ 1635443 w 1990725"/>
                <a:gd name="connsiteY132" fmla="*/ 481965 h 1428750"/>
                <a:gd name="connsiteX133" fmla="*/ 1637348 w 1990725"/>
                <a:gd name="connsiteY133" fmla="*/ 484822 h 1428750"/>
                <a:gd name="connsiteX134" fmla="*/ 1640205 w 1990725"/>
                <a:gd name="connsiteY134" fmla="*/ 486727 h 1428750"/>
                <a:gd name="connsiteX135" fmla="*/ 1653540 w 1990725"/>
                <a:gd name="connsiteY135" fmla="*/ 489585 h 1428750"/>
                <a:gd name="connsiteX136" fmla="*/ 1658303 w 1990725"/>
                <a:gd name="connsiteY136" fmla="*/ 492442 h 1428750"/>
                <a:gd name="connsiteX137" fmla="*/ 1664970 w 1990725"/>
                <a:gd name="connsiteY137" fmla="*/ 497205 h 1428750"/>
                <a:gd name="connsiteX138" fmla="*/ 1669732 w 1990725"/>
                <a:gd name="connsiteY138" fmla="*/ 500063 h 1428750"/>
                <a:gd name="connsiteX139" fmla="*/ 1694498 w 1990725"/>
                <a:gd name="connsiteY139" fmla="*/ 508635 h 1428750"/>
                <a:gd name="connsiteX140" fmla="*/ 1697355 w 1990725"/>
                <a:gd name="connsiteY140" fmla="*/ 509588 h 1428750"/>
                <a:gd name="connsiteX141" fmla="*/ 1699260 w 1990725"/>
                <a:gd name="connsiteY141" fmla="*/ 512445 h 1428750"/>
                <a:gd name="connsiteX142" fmla="*/ 1701165 w 1990725"/>
                <a:gd name="connsiteY142" fmla="*/ 517207 h 1428750"/>
                <a:gd name="connsiteX143" fmla="*/ 1706880 w 1990725"/>
                <a:gd name="connsiteY143" fmla="*/ 541972 h 1428750"/>
                <a:gd name="connsiteX144" fmla="*/ 1709738 w 1990725"/>
                <a:gd name="connsiteY144" fmla="*/ 546735 h 1428750"/>
                <a:gd name="connsiteX145" fmla="*/ 1713548 w 1990725"/>
                <a:gd name="connsiteY145" fmla="*/ 549592 h 1428750"/>
                <a:gd name="connsiteX146" fmla="*/ 1717357 w 1990725"/>
                <a:gd name="connsiteY146" fmla="*/ 550545 h 1428750"/>
                <a:gd name="connsiteX147" fmla="*/ 1723073 w 1990725"/>
                <a:gd name="connsiteY147" fmla="*/ 551497 h 1428750"/>
                <a:gd name="connsiteX148" fmla="*/ 1725930 w 1990725"/>
                <a:gd name="connsiteY148" fmla="*/ 552450 h 1428750"/>
                <a:gd name="connsiteX149" fmla="*/ 1729740 w 1990725"/>
                <a:gd name="connsiteY149" fmla="*/ 555307 h 1428750"/>
                <a:gd name="connsiteX150" fmla="*/ 1731645 w 1990725"/>
                <a:gd name="connsiteY150" fmla="*/ 560070 h 1428750"/>
                <a:gd name="connsiteX151" fmla="*/ 1733550 w 1990725"/>
                <a:gd name="connsiteY151" fmla="*/ 564832 h 1428750"/>
                <a:gd name="connsiteX152" fmla="*/ 1736407 w 1990725"/>
                <a:gd name="connsiteY152" fmla="*/ 577215 h 1428750"/>
                <a:gd name="connsiteX153" fmla="*/ 1736407 w 1990725"/>
                <a:gd name="connsiteY153" fmla="*/ 582930 h 1428750"/>
                <a:gd name="connsiteX154" fmla="*/ 1735455 w 1990725"/>
                <a:gd name="connsiteY154" fmla="*/ 586740 h 1428750"/>
                <a:gd name="connsiteX155" fmla="*/ 1733550 w 1990725"/>
                <a:gd name="connsiteY155" fmla="*/ 588645 h 1428750"/>
                <a:gd name="connsiteX156" fmla="*/ 1719263 w 1990725"/>
                <a:gd name="connsiteY156" fmla="*/ 594360 h 1428750"/>
                <a:gd name="connsiteX157" fmla="*/ 1714500 w 1990725"/>
                <a:gd name="connsiteY157" fmla="*/ 595313 h 1428750"/>
                <a:gd name="connsiteX158" fmla="*/ 1711643 w 1990725"/>
                <a:gd name="connsiteY158" fmla="*/ 597217 h 1428750"/>
                <a:gd name="connsiteX159" fmla="*/ 1710690 w 1990725"/>
                <a:gd name="connsiteY159" fmla="*/ 598170 h 1428750"/>
                <a:gd name="connsiteX160" fmla="*/ 1708785 w 1990725"/>
                <a:gd name="connsiteY160" fmla="*/ 603885 h 1428750"/>
                <a:gd name="connsiteX161" fmla="*/ 1708785 w 1990725"/>
                <a:gd name="connsiteY161" fmla="*/ 621982 h 1428750"/>
                <a:gd name="connsiteX162" fmla="*/ 1706880 w 1990725"/>
                <a:gd name="connsiteY162" fmla="*/ 626745 h 1428750"/>
                <a:gd name="connsiteX163" fmla="*/ 1703070 w 1990725"/>
                <a:gd name="connsiteY163" fmla="*/ 631507 h 1428750"/>
                <a:gd name="connsiteX164" fmla="*/ 1701165 w 1990725"/>
                <a:gd name="connsiteY164" fmla="*/ 636270 h 1428750"/>
                <a:gd name="connsiteX165" fmla="*/ 1698307 w 1990725"/>
                <a:gd name="connsiteY165" fmla="*/ 645795 h 1428750"/>
                <a:gd name="connsiteX166" fmla="*/ 1694498 w 1990725"/>
                <a:gd name="connsiteY166" fmla="*/ 650557 h 1428750"/>
                <a:gd name="connsiteX167" fmla="*/ 1692593 w 1990725"/>
                <a:gd name="connsiteY167" fmla="*/ 651510 h 1428750"/>
                <a:gd name="connsiteX168" fmla="*/ 1687830 w 1990725"/>
                <a:gd name="connsiteY168" fmla="*/ 653415 h 1428750"/>
                <a:gd name="connsiteX169" fmla="*/ 1684020 w 1990725"/>
                <a:gd name="connsiteY169" fmla="*/ 656272 h 1428750"/>
                <a:gd name="connsiteX170" fmla="*/ 1681163 w 1990725"/>
                <a:gd name="connsiteY170" fmla="*/ 661035 h 1428750"/>
                <a:gd name="connsiteX171" fmla="*/ 1678305 w 1990725"/>
                <a:gd name="connsiteY171" fmla="*/ 665797 h 1428750"/>
                <a:gd name="connsiteX172" fmla="*/ 1676400 w 1990725"/>
                <a:gd name="connsiteY172" fmla="*/ 667702 h 1428750"/>
                <a:gd name="connsiteX173" fmla="*/ 1671638 w 1990725"/>
                <a:gd name="connsiteY173" fmla="*/ 668655 h 1428750"/>
                <a:gd name="connsiteX174" fmla="*/ 1657350 w 1990725"/>
                <a:gd name="connsiteY174" fmla="*/ 669607 h 1428750"/>
                <a:gd name="connsiteX175" fmla="*/ 1652588 w 1990725"/>
                <a:gd name="connsiteY175" fmla="*/ 670560 h 1428750"/>
                <a:gd name="connsiteX176" fmla="*/ 1650682 w 1990725"/>
                <a:gd name="connsiteY176" fmla="*/ 672465 h 1428750"/>
                <a:gd name="connsiteX177" fmla="*/ 1647825 w 1990725"/>
                <a:gd name="connsiteY177" fmla="*/ 676275 h 1428750"/>
                <a:gd name="connsiteX178" fmla="*/ 1646873 w 1990725"/>
                <a:gd name="connsiteY178" fmla="*/ 681990 h 1428750"/>
                <a:gd name="connsiteX179" fmla="*/ 1647825 w 1990725"/>
                <a:gd name="connsiteY179" fmla="*/ 690563 h 1428750"/>
                <a:gd name="connsiteX180" fmla="*/ 1648778 w 1990725"/>
                <a:gd name="connsiteY180" fmla="*/ 693420 h 1428750"/>
                <a:gd name="connsiteX181" fmla="*/ 1651635 w 1990725"/>
                <a:gd name="connsiteY181" fmla="*/ 695325 h 1428750"/>
                <a:gd name="connsiteX182" fmla="*/ 1656398 w 1990725"/>
                <a:gd name="connsiteY182" fmla="*/ 697230 h 1428750"/>
                <a:gd name="connsiteX183" fmla="*/ 1660207 w 1990725"/>
                <a:gd name="connsiteY183" fmla="*/ 697230 h 1428750"/>
                <a:gd name="connsiteX184" fmla="*/ 1664970 w 1990725"/>
                <a:gd name="connsiteY184" fmla="*/ 695325 h 1428750"/>
                <a:gd name="connsiteX185" fmla="*/ 1667828 w 1990725"/>
                <a:gd name="connsiteY185" fmla="*/ 696277 h 1428750"/>
                <a:gd name="connsiteX186" fmla="*/ 1677353 w 1990725"/>
                <a:gd name="connsiteY186" fmla="*/ 703897 h 1428750"/>
                <a:gd name="connsiteX187" fmla="*/ 1681163 w 1990725"/>
                <a:gd name="connsiteY187" fmla="*/ 705802 h 1428750"/>
                <a:gd name="connsiteX188" fmla="*/ 1684973 w 1990725"/>
                <a:gd name="connsiteY188" fmla="*/ 706755 h 1428750"/>
                <a:gd name="connsiteX189" fmla="*/ 1696403 w 1990725"/>
                <a:gd name="connsiteY189" fmla="*/ 708660 h 1428750"/>
                <a:gd name="connsiteX190" fmla="*/ 1700213 w 1990725"/>
                <a:gd name="connsiteY190" fmla="*/ 710565 h 1428750"/>
                <a:gd name="connsiteX191" fmla="*/ 1703070 w 1990725"/>
                <a:gd name="connsiteY191" fmla="*/ 713422 h 1428750"/>
                <a:gd name="connsiteX192" fmla="*/ 1705928 w 1990725"/>
                <a:gd name="connsiteY192" fmla="*/ 720090 h 1428750"/>
                <a:gd name="connsiteX193" fmla="*/ 1707832 w 1990725"/>
                <a:gd name="connsiteY193" fmla="*/ 727710 h 1428750"/>
                <a:gd name="connsiteX194" fmla="*/ 1708785 w 1990725"/>
                <a:gd name="connsiteY194" fmla="*/ 735330 h 1428750"/>
                <a:gd name="connsiteX195" fmla="*/ 1707832 w 1990725"/>
                <a:gd name="connsiteY195" fmla="*/ 741045 h 1428750"/>
                <a:gd name="connsiteX196" fmla="*/ 1706880 w 1990725"/>
                <a:gd name="connsiteY196" fmla="*/ 743902 h 1428750"/>
                <a:gd name="connsiteX197" fmla="*/ 1701165 w 1990725"/>
                <a:gd name="connsiteY197" fmla="*/ 749617 h 1428750"/>
                <a:gd name="connsiteX198" fmla="*/ 1698307 w 1990725"/>
                <a:gd name="connsiteY198" fmla="*/ 754380 h 1428750"/>
                <a:gd name="connsiteX199" fmla="*/ 1697355 w 1990725"/>
                <a:gd name="connsiteY199" fmla="*/ 759142 h 1428750"/>
                <a:gd name="connsiteX200" fmla="*/ 1697355 w 1990725"/>
                <a:gd name="connsiteY200" fmla="*/ 764857 h 1428750"/>
                <a:gd name="connsiteX201" fmla="*/ 1701165 w 1990725"/>
                <a:gd name="connsiteY201" fmla="*/ 771525 h 1428750"/>
                <a:gd name="connsiteX202" fmla="*/ 1713548 w 1990725"/>
                <a:gd name="connsiteY202" fmla="*/ 791527 h 1428750"/>
                <a:gd name="connsiteX203" fmla="*/ 1716405 w 1990725"/>
                <a:gd name="connsiteY203" fmla="*/ 800100 h 1428750"/>
                <a:gd name="connsiteX204" fmla="*/ 1718310 w 1990725"/>
                <a:gd name="connsiteY204" fmla="*/ 802005 h 1428750"/>
                <a:gd name="connsiteX205" fmla="*/ 1721168 w 1990725"/>
                <a:gd name="connsiteY205" fmla="*/ 803910 h 1428750"/>
                <a:gd name="connsiteX206" fmla="*/ 1725930 w 1990725"/>
                <a:gd name="connsiteY206" fmla="*/ 804863 h 1428750"/>
                <a:gd name="connsiteX207" fmla="*/ 1744028 w 1990725"/>
                <a:gd name="connsiteY207" fmla="*/ 803910 h 1428750"/>
                <a:gd name="connsiteX208" fmla="*/ 1768793 w 1990725"/>
                <a:gd name="connsiteY208" fmla="*/ 805815 h 1428750"/>
                <a:gd name="connsiteX209" fmla="*/ 1771650 w 1990725"/>
                <a:gd name="connsiteY209" fmla="*/ 807720 h 1428750"/>
                <a:gd name="connsiteX210" fmla="*/ 1773555 w 1990725"/>
                <a:gd name="connsiteY210" fmla="*/ 809625 h 1428750"/>
                <a:gd name="connsiteX211" fmla="*/ 1773555 w 1990725"/>
                <a:gd name="connsiteY211" fmla="*/ 814388 h 1428750"/>
                <a:gd name="connsiteX212" fmla="*/ 1772603 w 1990725"/>
                <a:gd name="connsiteY212" fmla="*/ 817245 h 1428750"/>
                <a:gd name="connsiteX213" fmla="*/ 1770698 w 1990725"/>
                <a:gd name="connsiteY213" fmla="*/ 820102 h 1428750"/>
                <a:gd name="connsiteX214" fmla="*/ 1766888 w 1990725"/>
                <a:gd name="connsiteY214" fmla="*/ 822960 h 1428750"/>
                <a:gd name="connsiteX215" fmla="*/ 1765935 w 1990725"/>
                <a:gd name="connsiteY215" fmla="*/ 825817 h 1428750"/>
                <a:gd name="connsiteX216" fmla="*/ 1765935 w 1990725"/>
                <a:gd name="connsiteY216" fmla="*/ 836295 h 1428750"/>
                <a:gd name="connsiteX217" fmla="*/ 1766888 w 1990725"/>
                <a:gd name="connsiteY217" fmla="*/ 838200 h 1428750"/>
                <a:gd name="connsiteX218" fmla="*/ 1768793 w 1990725"/>
                <a:gd name="connsiteY218" fmla="*/ 839152 h 1428750"/>
                <a:gd name="connsiteX219" fmla="*/ 1775460 w 1990725"/>
                <a:gd name="connsiteY219" fmla="*/ 840105 h 1428750"/>
                <a:gd name="connsiteX220" fmla="*/ 1800225 w 1990725"/>
                <a:gd name="connsiteY220" fmla="*/ 837247 h 1428750"/>
                <a:gd name="connsiteX221" fmla="*/ 1804035 w 1990725"/>
                <a:gd name="connsiteY221" fmla="*/ 838200 h 1428750"/>
                <a:gd name="connsiteX222" fmla="*/ 1815465 w 1990725"/>
                <a:gd name="connsiteY222" fmla="*/ 848677 h 1428750"/>
                <a:gd name="connsiteX223" fmla="*/ 1823085 w 1990725"/>
                <a:gd name="connsiteY223" fmla="*/ 853440 h 1428750"/>
                <a:gd name="connsiteX224" fmla="*/ 1826895 w 1990725"/>
                <a:gd name="connsiteY224" fmla="*/ 854392 h 1428750"/>
                <a:gd name="connsiteX225" fmla="*/ 1835468 w 1990725"/>
                <a:gd name="connsiteY225" fmla="*/ 859155 h 1428750"/>
                <a:gd name="connsiteX226" fmla="*/ 1841182 w 1990725"/>
                <a:gd name="connsiteY226" fmla="*/ 862013 h 1428750"/>
                <a:gd name="connsiteX227" fmla="*/ 1855470 w 1990725"/>
                <a:gd name="connsiteY227" fmla="*/ 862013 h 1428750"/>
                <a:gd name="connsiteX228" fmla="*/ 1859280 w 1990725"/>
                <a:gd name="connsiteY228" fmla="*/ 864870 h 1428750"/>
                <a:gd name="connsiteX229" fmla="*/ 1862138 w 1990725"/>
                <a:gd name="connsiteY229" fmla="*/ 871538 h 1428750"/>
                <a:gd name="connsiteX230" fmla="*/ 1875473 w 1990725"/>
                <a:gd name="connsiteY230" fmla="*/ 926782 h 1428750"/>
                <a:gd name="connsiteX231" fmla="*/ 1875473 w 1990725"/>
                <a:gd name="connsiteY231" fmla="*/ 930592 h 1428750"/>
                <a:gd name="connsiteX232" fmla="*/ 1875473 w 1990725"/>
                <a:gd name="connsiteY232" fmla="*/ 934402 h 1428750"/>
                <a:gd name="connsiteX233" fmla="*/ 1872615 w 1990725"/>
                <a:gd name="connsiteY233" fmla="*/ 942975 h 1428750"/>
                <a:gd name="connsiteX234" fmla="*/ 1871663 w 1990725"/>
                <a:gd name="connsiteY234" fmla="*/ 948690 h 1428750"/>
                <a:gd name="connsiteX235" fmla="*/ 1871663 w 1990725"/>
                <a:gd name="connsiteY235" fmla="*/ 954405 h 1428750"/>
                <a:gd name="connsiteX236" fmla="*/ 1874520 w 1990725"/>
                <a:gd name="connsiteY236" fmla="*/ 969645 h 1428750"/>
                <a:gd name="connsiteX237" fmla="*/ 1874520 w 1990725"/>
                <a:gd name="connsiteY237" fmla="*/ 972502 h 1428750"/>
                <a:gd name="connsiteX238" fmla="*/ 1875473 w 1990725"/>
                <a:gd name="connsiteY238" fmla="*/ 986790 h 1428750"/>
                <a:gd name="connsiteX239" fmla="*/ 1880235 w 1990725"/>
                <a:gd name="connsiteY239" fmla="*/ 991552 h 1428750"/>
                <a:gd name="connsiteX240" fmla="*/ 1899285 w 1990725"/>
                <a:gd name="connsiteY240" fmla="*/ 995363 h 1428750"/>
                <a:gd name="connsiteX241" fmla="*/ 1883093 w 1990725"/>
                <a:gd name="connsiteY241" fmla="*/ 1013460 h 1428750"/>
                <a:gd name="connsiteX242" fmla="*/ 1860232 w 1990725"/>
                <a:gd name="connsiteY242" fmla="*/ 1027747 h 1428750"/>
                <a:gd name="connsiteX243" fmla="*/ 1809750 w 1990725"/>
                <a:gd name="connsiteY243" fmla="*/ 1040130 h 1428750"/>
                <a:gd name="connsiteX244" fmla="*/ 1804988 w 1990725"/>
                <a:gd name="connsiteY244" fmla="*/ 1041082 h 1428750"/>
                <a:gd name="connsiteX245" fmla="*/ 1798320 w 1990725"/>
                <a:gd name="connsiteY245" fmla="*/ 1038225 h 1428750"/>
                <a:gd name="connsiteX246" fmla="*/ 1795463 w 1990725"/>
                <a:gd name="connsiteY246" fmla="*/ 1033463 h 1428750"/>
                <a:gd name="connsiteX247" fmla="*/ 1794510 w 1990725"/>
                <a:gd name="connsiteY247" fmla="*/ 1027747 h 1428750"/>
                <a:gd name="connsiteX248" fmla="*/ 1793557 w 1990725"/>
                <a:gd name="connsiteY248" fmla="*/ 1024890 h 1428750"/>
                <a:gd name="connsiteX249" fmla="*/ 1787843 w 1990725"/>
                <a:gd name="connsiteY249" fmla="*/ 1027747 h 1428750"/>
                <a:gd name="connsiteX250" fmla="*/ 1784032 w 1990725"/>
                <a:gd name="connsiteY250" fmla="*/ 1034415 h 1428750"/>
                <a:gd name="connsiteX251" fmla="*/ 1783080 w 1990725"/>
                <a:gd name="connsiteY251" fmla="*/ 1043940 h 1428750"/>
                <a:gd name="connsiteX252" fmla="*/ 1781175 w 1990725"/>
                <a:gd name="connsiteY252" fmla="*/ 1050607 h 1428750"/>
                <a:gd name="connsiteX253" fmla="*/ 1758315 w 1990725"/>
                <a:gd name="connsiteY253" fmla="*/ 1062038 h 1428750"/>
                <a:gd name="connsiteX254" fmla="*/ 1756410 w 1990725"/>
                <a:gd name="connsiteY254" fmla="*/ 1064895 h 1428750"/>
                <a:gd name="connsiteX255" fmla="*/ 1747838 w 1990725"/>
                <a:gd name="connsiteY255" fmla="*/ 1078230 h 1428750"/>
                <a:gd name="connsiteX256" fmla="*/ 1744980 w 1990725"/>
                <a:gd name="connsiteY256" fmla="*/ 1084897 h 1428750"/>
                <a:gd name="connsiteX257" fmla="*/ 1744028 w 1990725"/>
                <a:gd name="connsiteY257" fmla="*/ 1093470 h 1428750"/>
                <a:gd name="connsiteX258" fmla="*/ 1744980 w 1990725"/>
                <a:gd name="connsiteY258" fmla="*/ 1099185 h 1428750"/>
                <a:gd name="connsiteX259" fmla="*/ 1747838 w 1990725"/>
                <a:gd name="connsiteY259" fmla="*/ 1111568 h 1428750"/>
                <a:gd name="connsiteX260" fmla="*/ 1750695 w 1990725"/>
                <a:gd name="connsiteY260" fmla="*/ 1160145 h 1428750"/>
                <a:gd name="connsiteX261" fmla="*/ 1753553 w 1990725"/>
                <a:gd name="connsiteY261" fmla="*/ 1171575 h 1428750"/>
                <a:gd name="connsiteX262" fmla="*/ 1758315 w 1990725"/>
                <a:gd name="connsiteY262" fmla="*/ 1183957 h 1428750"/>
                <a:gd name="connsiteX263" fmla="*/ 1777365 w 1990725"/>
                <a:gd name="connsiteY263" fmla="*/ 1275397 h 1428750"/>
                <a:gd name="connsiteX264" fmla="*/ 1782128 w 1990725"/>
                <a:gd name="connsiteY264" fmla="*/ 1285875 h 1428750"/>
                <a:gd name="connsiteX265" fmla="*/ 1788795 w 1990725"/>
                <a:gd name="connsiteY265" fmla="*/ 1294447 h 1428750"/>
                <a:gd name="connsiteX266" fmla="*/ 1793557 w 1990725"/>
                <a:gd name="connsiteY266" fmla="*/ 1303972 h 1428750"/>
                <a:gd name="connsiteX267" fmla="*/ 1821180 w 1990725"/>
                <a:gd name="connsiteY267" fmla="*/ 1379220 h 1428750"/>
                <a:gd name="connsiteX268" fmla="*/ 1844993 w 1990725"/>
                <a:gd name="connsiteY268" fmla="*/ 1424940 h 1428750"/>
                <a:gd name="connsiteX269" fmla="*/ 1831657 w 1990725"/>
                <a:gd name="connsiteY269" fmla="*/ 1433513 h 1428750"/>
                <a:gd name="connsiteX270" fmla="*/ 1812607 w 1990725"/>
                <a:gd name="connsiteY270" fmla="*/ 1402080 h 1428750"/>
                <a:gd name="connsiteX271" fmla="*/ 1807845 w 1990725"/>
                <a:gd name="connsiteY271" fmla="*/ 1388745 h 1428750"/>
                <a:gd name="connsiteX272" fmla="*/ 1801178 w 1990725"/>
                <a:gd name="connsiteY272" fmla="*/ 1360170 h 1428750"/>
                <a:gd name="connsiteX273" fmla="*/ 1796415 w 1990725"/>
                <a:gd name="connsiteY273" fmla="*/ 1348740 h 1428750"/>
                <a:gd name="connsiteX274" fmla="*/ 1793557 w 1990725"/>
                <a:gd name="connsiteY274" fmla="*/ 1343025 h 1428750"/>
                <a:gd name="connsiteX275" fmla="*/ 1787843 w 1990725"/>
                <a:gd name="connsiteY275" fmla="*/ 1336357 h 1428750"/>
                <a:gd name="connsiteX276" fmla="*/ 1782128 w 1990725"/>
                <a:gd name="connsiteY276" fmla="*/ 1330643 h 1428750"/>
                <a:gd name="connsiteX277" fmla="*/ 1776413 w 1990725"/>
                <a:gd name="connsiteY277" fmla="*/ 1329690 h 1428750"/>
                <a:gd name="connsiteX278" fmla="*/ 1772603 w 1990725"/>
                <a:gd name="connsiteY278" fmla="*/ 1333500 h 1428750"/>
                <a:gd name="connsiteX279" fmla="*/ 1770698 w 1990725"/>
                <a:gd name="connsiteY279" fmla="*/ 1338263 h 1428750"/>
                <a:gd name="connsiteX280" fmla="*/ 1769745 w 1990725"/>
                <a:gd name="connsiteY280" fmla="*/ 1344930 h 1428750"/>
                <a:gd name="connsiteX281" fmla="*/ 1765935 w 1990725"/>
                <a:gd name="connsiteY281" fmla="*/ 1350645 h 1428750"/>
                <a:gd name="connsiteX282" fmla="*/ 1762125 w 1990725"/>
                <a:gd name="connsiteY282" fmla="*/ 1355407 h 1428750"/>
                <a:gd name="connsiteX283" fmla="*/ 1757363 w 1990725"/>
                <a:gd name="connsiteY283" fmla="*/ 1358265 h 1428750"/>
                <a:gd name="connsiteX284" fmla="*/ 1752600 w 1990725"/>
                <a:gd name="connsiteY284" fmla="*/ 1360170 h 1428750"/>
                <a:gd name="connsiteX285" fmla="*/ 1746885 w 1990725"/>
                <a:gd name="connsiteY285" fmla="*/ 1361122 h 1428750"/>
                <a:gd name="connsiteX286" fmla="*/ 1744028 w 1990725"/>
                <a:gd name="connsiteY286" fmla="*/ 1357313 h 1428750"/>
                <a:gd name="connsiteX287" fmla="*/ 1744980 w 1990725"/>
                <a:gd name="connsiteY287" fmla="*/ 1349693 h 1428750"/>
                <a:gd name="connsiteX288" fmla="*/ 1755457 w 1990725"/>
                <a:gd name="connsiteY288" fmla="*/ 1309688 h 1428750"/>
                <a:gd name="connsiteX289" fmla="*/ 1754505 w 1990725"/>
                <a:gd name="connsiteY289" fmla="*/ 1309688 h 1428750"/>
                <a:gd name="connsiteX290" fmla="*/ 1752600 w 1990725"/>
                <a:gd name="connsiteY290" fmla="*/ 1307782 h 1428750"/>
                <a:gd name="connsiteX291" fmla="*/ 1751648 w 1990725"/>
                <a:gd name="connsiteY291" fmla="*/ 1303020 h 1428750"/>
                <a:gd name="connsiteX292" fmla="*/ 1751648 w 1990725"/>
                <a:gd name="connsiteY292" fmla="*/ 1299210 h 1428750"/>
                <a:gd name="connsiteX293" fmla="*/ 1752600 w 1990725"/>
                <a:gd name="connsiteY293" fmla="*/ 1298257 h 1428750"/>
                <a:gd name="connsiteX294" fmla="*/ 1757363 w 1990725"/>
                <a:gd name="connsiteY294" fmla="*/ 1294447 h 1428750"/>
                <a:gd name="connsiteX295" fmla="*/ 1760220 w 1990725"/>
                <a:gd name="connsiteY295" fmla="*/ 1293495 h 1428750"/>
                <a:gd name="connsiteX296" fmla="*/ 1762125 w 1990725"/>
                <a:gd name="connsiteY296" fmla="*/ 1289685 h 1428750"/>
                <a:gd name="connsiteX297" fmla="*/ 1763078 w 1990725"/>
                <a:gd name="connsiteY297" fmla="*/ 1285875 h 1428750"/>
                <a:gd name="connsiteX298" fmla="*/ 1760220 w 1990725"/>
                <a:gd name="connsiteY298" fmla="*/ 1283018 h 1428750"/>
                <a:gd name="connsiteX299" fmla="*/ 1758315 w 1990725"/>
                <a:gd name="connsiteY299" fmla="*/ 1283018 h 1428750"/>
                <a:gd name="connsiteX300" fmla="*/ 1751648 w 1990725"/>
                <a:gd name="connsiteY300" fmla="*/ 1277302 h 1428750"/>
                <a:gd name="connsiteX301" fmla="*/ 1749743 w 1990725"/>
                <a:gd name="connsiteY301" fmla="*/ 1275397 h 1428750"/>
                <a:gd name="connsiteX302" fmla="*/ 1745932 w 1990725"/>
                <a:gd name="connsiteY302" fmla="*/ 1268730 h 1428750"/>
                <a:gd name="connsiteX303" fmla="*/ 1744980 w 1990725"/>
                <a:gd name="connsiteY303" fmla="*/ 1261110 h 1428750"/>
                <a:gd name="connsiteX304" fmla="*/ 1744980 w 1990725"/>
                <a:gd name="connsiteY304" fmla="*/ 1243965 h 1428750"/>
                <a:gd name="connsiteX305" fmla="*/ 1743075 w 1990725"/>
                <a:gd name="connsiteY305" fmla="*/ 1231582 h 1428750"/>
                <a:gd name="connsiteX306" fmla="*/ 1740218 w 1990725"/>
                <a:gd name="connsiteY306" fmla="*/ 1213485 h 1428750"/>
                <a:gd name="connsiteX307" fmla="*/ 1735455 w 1990725"/>
                <a:gd name="connsiteY307" fmla="*/ 1197293 h 1428750"/>
                <a:gd name="connsiteX308" fmla="*/ 1729740 w 1990725"/>
                <a:gd name="connsiteY308" fmla="*/ 1190625 h 1428750"/>
                <a:gd name="connsiteX309" fmla="*/ 1723073 w 1990725"/>
                <a:gd name="connsiteY309" fmla="*/ 1192530 h 1428750"/>
                <a:gd name="connsiteX310" fmla="*/ 1720215 w 1990725"/>
                <a:gd name="connsiteY310" fmla="*/ 1199197 h 1428750"/>
                <a:gd name="connsiteX311" fmla="*/ 1718310 w 1990725"/>
                <a:gd name="connsiteY311" fmla="*/ 1206818 h 1428750"/>
                <a:gd name="connsiteX312" fmla="*/ 1713548 w 1990725"/>
                <a:gd name="connsiteY312" fmla="*/ 1210627 h 1428750"/>
                <a:gd name="connsiteX313" fmla="*/ 1709738 w 1990725"/>
                <a:gd name="connsiteY313" fmla="*/ 1207770 h 1428750"/>
                <a:gd name="connsiteX314" fmla="*/ 1693545 w 1990725"/>
                <a:gd name="connsiteY314" fmla="*/ 1192530 h 1428750"/>
                <a:gd name="connsiteX315" fmla="*/ 1691640 w 1990725"/>
                <a:gd name="connsiteY315" fmla="*/ 1181100 h 1428750"/>
                <a:gd name="connsiteX316" fmla="*/ 1684020 w 1990725"/>
                <a:gd name="connsiteY316" fmla="*/ 1169670 h 1428750"/>
                <a:gd name="connsiteX317" fmla="*/ 1674495 w 1990725"/>
                <a:gd name="connsiteY317" fmla="*/ 1159193 h 1428750"/>
                <a:gd name="connsiteX318" fmla="*/ 1664970 w 1990725"/>
                <a:gd name="connsiteY318" fmla="*/ 1153477 h 1428750"/>
                <a:gd name="connsiteX319" fmla="*/ 1669732 w 1990725"/>
                <a:gd name="connsiteY319" fmla="*/ 1146810 h 1428750"/>
                <a:gd name="connsiteX320" fmla="*/ 1676400 w 1990725"/>
                <a:gd name="connsiteY320" fmla="*/ 1142047 h 1428750"/>
                <a:gd name="connsiteX321" fmla="*/ 1697355 w 1990725"/>
                <a:gd name="connsiteY321" fmla="*/ 1136332 h 1428750"/>
                <a:gd name="connsiteX322" fmla="*/ 1709738 w 1990725"/>
                <a:gd name="connsiteY322" fmla="*/ 1137285 h 1428750"/>
                <a:gd name="connsiteX323" fmla="*/ 1713548 w 1990725"/>
                <a:gd name="connsiteY323" fmla="*/ 1140143 h 1428750"/>
                <a:gd name="connsiteX324" fmla="*/ 1720215 w 1990725"/>
                <a:gd name="connsiteY324" fmla="*/ 1150620 h 1428750"/>
                <a:gd name="connsiteX325" fmla="*/ 1724978 w 1990725"/>
                <a:gd name="connsiteY325" fmla="*/ 1153477 h 1428750"/>
                <a:gd name="connsiteX326" fmla="*/ 1731645 w 1990725"/>
                <a:gd name="connsiteY326" fmla="*/ 1147763 h 1428750"/>
                <a:gd name="connsiteX327" fmla="*/ 1731645 w 1990725"/>
                <a:gd name="connsiteY327" fmla="*/ 1135380 h 1428750"/>
                <a:gd name="connsiteX328" fmla="*/ 1726882 w 1990725"/>
                <a:gd name="connsiteY328" fmla="*/ 1121093 h 1428750"/>
                <a:gd name="connsiteX329" fmla="*/ 1723073 w 1990725"/>
                <a:gd name="connsiteY329" fmla="*/ 1111568 h 1428750"/>
                <a:gd name="connsiteX330" fmla="*/ 1707832 w 1990725"/>
                <a:gd name="connsiteY330" fmla="*/ 1096327 h 1428750"/>
                <a:gd name="connsiteX331" fmla="*/ 1684020 w 1990725"/>
                <a:gd name="connsiteY331" fmla="*/ 1082040 h 1428750"/>
                <a:gd name="connsiteX332" fmla="*/ 1660207 w 1990725"/>
                <a:gd name="connsiteY332" fmla="*/ 1079182 h 1428750"/>
                <a:gd name="connsiteX333" fmla="*/ 1643063 w 1990725"/>
                <a:gd name="connsiteY333" fmla="*/ 1096327 h 1428750"/>
                <a:gd name="connsiteX334" fmla="*/ 1641157 w 1990725"/>
                <a:gd name="connsiteY334" fmla="*/ 1112520 h 1428750"/>
                <a:gd name="connsiteX335" fmla="*/ 1644015 w 1990725"/>
                <a:gd name="connsiteY335" fmla="*/ 1127760 h 1428750"/>
                <a:gd name="connsiteX336" fmla="*/ 1647825 w 1990725"/>
                <a:gd name="connsiteY336" fmla="*/ 1142047 h 1428750"/>
                <a:gd name="connsiteX337" fmla="*/ 1650682 w 1990725"/>
                <a:gd name="connsiteY337" fmla="*/ 1155382 h 1428750"/>
                <a:gd name="connsiteX338" fmla="*/ 1647825 w 1990725"/>
                <a:gd name="connsiteY338" fmla="*/ 1165860 h 1428750"/>
                <a:gd name="connsiteX339" fmla="*/ 1620203 w 1990725"/>
                <a:gd name="connsiteY339" fmla="*/ 1222057 h 1428750"/>
                <a:gd name="connsiteX340" fmla="*/ 1608773 w 1990725"/>
                <a:gd name="connsiteY340" fmla="*/ 1232535 h 1428750"/>
                <a:gd name="connsiteX341" fmla="*/ 1587818 w 1990725"/>
                <a:gd name="connsiteY341" fmla="*/ 1223963 h 1428750"/>
                <a:gd name="connsiteX342" fmla="*/ 1570673 w 1990725"/>
                <a:gd name="connsiteY342" fmla="*/ 1244918 h 1428750"/>
                <a:gd name="connsiteX343" fmla="*/ 1560195 w 1990725"/>
                <a:gd name="connsiteY343" fmla="*/ 1242060 h 1428750"/>
                <a:gd name="connsiteX344" fmla="*/ 1565910 w 1990725"/>
                <a:gd name="connsiteY344" fmla="*/ 1224915 h 1428750"/>
                <a:gd name="connsiteX345" fmla="*/ 1560195 w 1990725"/>
                <a:gd name="connsiteY345" fmla="*/ 1217295 h 1428750"/>
                <a:gd name="connsiteX346" fmla="*/ 1546860 w 1990725"/>
                <a:gd name="connsiteY346" fmla="*/ 1215390 h 1428750"/>
                <a:gd name="connsiteX347" fmla="*/ 1532573 w 1990725"/>
                <a:gd name="connsiteY347" fmla="*/ 1215390 h 1428750"/>
                <a:gd name="connsiteX348" fmla="*/ 1527810 w 1990725"/>
                <a:gd name="connsiteY348" fmla="*/ 1210627 h 1428750"/>
                <a:gd name="connsiteX349" fmla="*/ 1530668 w 1990725"/>
                <a:gd name="connsiteY349" fmla="*/ 1201102 h 1428750"/>
                <a:gd name="connsiteX350" fmla="*/ 1536382 w 1990725"/>
                <a:gd name="connsiteY350" fmla="*/ 1189672 h 1428750"/>
                <a:gd name="connsiteX351" fmla="*/ 1542098 w 1990725"/>
                <a:gd name="connsiteY351" fmla="*/ 1184910 h 1428750"/>
                <a:gd name="connsiteX352" fmla="*/ 1548765 w 1990725"/>
                <a:gd name="connsiteY352" fmla="*/ 1185863 h 1428750"/>
                <a:gd name="connsiteX353" fmla="*/ 1554480 w 1990725"/>
                <a:gd name="connsiteY353" fmla="*/ 1191577 h 1428750"/>
                <a:gd name="connsiteX354" fmla="*/ 1559243 w 1990725"/>
                <a:gd name="connsiteY354" fmla="*/ 1193482 h 1428750"/>
                <a:gd name="connsiteX355" fmla="*/ 1564005 w 1990725"/>
                <a:gd name="connsiteY355" fmla="*/ 1184910 h 1428750"/>
                <a:gd name="connsiteX356" fmla="*/ 1553528 w 1990725"/>
                <a:gd name="connsiteY356" fmla="*/ 1176338 h 1428750"/>
                <a:gd name="connsiteX357" fmla="*/ 1547813 w 1990725"/>
                <a:gd name="connsiteY357" fmla="*/ 1163955 h 1428750"/>
                <a:gd name="connsiteX358" fmla="*/ 1547813 w 1990725"/>
                <a:gd name="connsiteY358" fmla="*/ 1150620 h 1428750"/>
                <a:gd name="connsiteX359" fmla="*/ 1552575 w 1990725"/>
                <a:gd name="connsiteY359" fmla="*/ 1137285 h 1428750"/>
                <a:gd name="connsiteX360" fmla="*/ 1570673 w 1990725"/>
                <a:gd name="connsiteY360" fmla="*/ 1122045 h 1428750"/>
                <a:gd name="connsiteX361" fmla="*/ 1577340 w 1990725"/>
                <a:gd name="connsiteY361" fmla="*/ 1122997 h 1428750"/>
                <a:gd name="connsiteX362" fmla="*/ 1577340 w 1990725"/>
                <a:gd name="connsiteY362" fmla="*/ 1126807 h 1428750"/>
                <a:gd name="connsiteX363" fmla="*/ 1575435 w 1990725"/>
                <a:gd name="connsiteY363" fmla="*/ 1130618 h 1428750"/>
                <a:gd name="connsiteX364" fmla="*/ 1574482 w 1990725"/>
                <a:gd name="connsiteY364" fmla="*/ 1134427 h 1428750"/>
                <a:gd name="connsiteX365" fmla="*/ 1576388 w 1990725"/>
                <a:gd name="connsiteY365" fmla="*/ 1147763 h 1428750"/>
                <a:gd name="connsiteX366" fmla="*/ 1580198 w 1990725"/>
                <a:gd name="connsiteY366" fmla="*/ 1140143 h 1428750"/>
                <a:gd name="connsiteX367" fmla="*/ 1586865 w 1990725"/>
                <a:gd name="connsiteY367" fmla="*/ 1126807 h 1428750"/>
                <a:gd name="connsiteX368" fmla="*/ 1592580 w 1990725"/>
                <a:gd name="connsiteY368" fmla="*/ 1122045 h 1428750"/>
                <a:gd name="connsiteX369" fmla="*/ 1594485 w 1990725"/>
                <a:gd name="connsiteY369" fmla="*/ 1129665 h 1428750"/>
                <a:gd name="connsiteX370" fmla="*/ 1600200 w 1990725"/>
                <a:gd name="connsiteY370" fmla="*/ 1144905 h 1428750"/>
                <a:gd name="connsiteX371" fmla="*/ 1607820 w 1990725"/>
                <a:gd name="connsiteY371" fmla="*/ 1154430 h 1428750"/>
                <a:gd name="connsiteX372" fmla="*/ 1610678 w 1990725"/>
                <a:gd name="connsiteY372" fmla="*/ 1144905 h 1428750"/>
                <a:gd name="connsiteX373" fmla="*/ 1611630 w 1990725"/>
                <a:gd name="connsiteY373" fmla="*/ 1137285 h 1428750"/>
                <a:gd name="connsiteX374" fmla="*/ 1617345 w 1990725"/>
                <a:gd name="connsiteY374" fmla="*/ 1127760 h 1428750"/>
                <a:gd name="connsiteX375" fmla="*/ 1618298 w 1990725"/>
                <a:gd name="connsiteY375" fmla="*/ 1119188 h 1428750"/>
                <a:gd name="connsiteX376" fmla="*/ 1618298 w 1990725"/>
                <a:gd name="connsiteY376" fmla="*/ 1098232 h 1428750"/>
                <a:gd name="connsiteX377" fmla="*/ 1616393 w 1990725"/>
                <a:gd name="connsiteY377" fmla="*/ 1090613 h 1428750"/>
                <a:gd name="connsiteX378" fmla="*/ 1609725 w 1990725"/>
                <a:gd name="connsiteY378" fmla="*/ 1082993 h 1428750"/>
                <a:gd name="connsiteX379" fmla="*/ 1603057 w 1990725"/>
                <a:gd name="connsiteY379" fmla="*/ 1077277 h 1428750"/>
                <a:gd name="connsiteX380" fmla="*/ 1597343 w 1990725"/>
                <a:gd name="connsiteY380" fmla="*/ 1074420 h 1428750"/>
                <a:gd name="connsiteX381" fmla="*/ 1594485 w 1990725"/>
                <a:gd name="connsiteY381" fmla="*/ 1078230 h 1428750"/>
                <a:gd name="connsiteX382" fmla="*/ 1591628 w 1990725"/>
                <a:gd name="connsiteY382" fmla="*/ 1083945 h 1428750"/>
                <a:gd name="connsiteX383" fmla="*/ 1588770 w 1990725"/>
                <a:gd name="connsiteY383" fmla="*/ 1096327 h 1428750"/>
                <a:gd name="connsiteX384" fmla="*/ 1571625 w 1990725"/>
                <a:gd name="connsiteY384" fmla="*/ 1108710 h 1428750"/>
                <a:gd name="connsiteX385" fmla="*/ 1552575 w 1990725"/>
                <a:gd name="connsiteY385" fmla="*/ 1103947 h 1428750"/>
                <a:gd name="connsiteX386" fmla="*/ 1516380 w 1990725"/>
                <a:gd name="connsiteY386" fmla="*/ 1074420 h 1428750"/>
                <a:gd name="connsiteX387" fmla="*/ 1484948 w 1990725"/>
                <a:gd name="connsiteY387" fmla="*/ 1058227 h 1428750"/>
                <a:gd name="connsiteX388" fmla="*/ 1480185 w 1990725"/>
                <a:gd name="connsiteY388" fmla="*/ 1056322 h 1428750"/>
                <a:gd name="connsiteX389" fmla="*/ 1478280 w 1990725"/>
                <a:gd name="connsiteY389" fmla="*/ 1061085 h 1428750"/>
                <a:gd name="connsiteX390" fmla="*/ 1474470 w 1990725"/>
                <a:gd name="connsiteY390" fmla="*/ 1064895 h 1428750"/>
                <a:gd name="connsiteX391" fmla="*/ 1470660 w 1990725"/>
                <a:gd name="connsiteY391" fmla="*/ 1069657 h 1428750"/>
                <a:gd name="connsiteX392" fmla="*/ 1469707 w 1990725"/>
                <a:gd name="connsiteY392" fmla="*/ 1074420 h 1428750"/>
                <a:gd name="connsiteX393" fmla="*/ 1473518 w 1990725"/>
                <a:gd name="connsiteY393" fmla="*/ 1079182 h 1428750"/>
                <a:gd name="connsiteX394" fmla="*/ 1485900 w 1990725"/>
                <a:gd name="connsiteY394" fmla="*/ 1081088 h 1428750"/>
                <a:gd name="connsiteX395" fmla="*/ 1490663 w 1990725"/>
                <a:gd name="connsiteY395" fmla="*/ 1084897 h 1428750"/>
                <a:gd name="connsiteX396" fmla="*/ 1490663 w 1990725"/>
                <a:gd name="connsiteY396" fmla="*/ 1095375 h 1428750"/>
                <a:gd name="connsiteX397" fmla="*/ 1488757 w 1990725"/>
                <a:gd name="connsiteY397" fmla="*/ 1115377 h 1428750"/>
                <a:gd name="connsiteX398" fmla="*/ 1483995 w 1990725"/>
                <a:gd name="connsiteY398" fmla="*/ 1134427 h 1428750"/>
                <a:gd name="connsiteX399" fmla="*/ 1478280 w 1990725"/>
                <a:gd name="connsiteY399" fmla="*/ 1142047 h 1428750"/>
                <a:gd name="connsiteX400" fmla="*/ 1473518 w 1990725"/>
                <a:gd name="connsiteY400" fmla="*/ 1139190 h 1428750"/>
                <a:gd name="connsiteX401" fmla="*/ 1472565 w 1990725"/>
                <a:gd name="connsiteY401" fmla="*/ 1130618 h 1428750"/>
                <a:gd name="connsiteX402" fmla="*/ 1472565 w 1990725"/>
                <a:gd name="connsiteY402" fmla="*/ 1111568 h 1428750"/>
                <a:gd name="connsiteX403" fmla="*/ 1470660 w 1990725"/>
                <a:gd name="connsiteY403" fmla="*/ 1102043 h 1428750"/>
                <a:gd name="connsiteX404" fmla="*/ 1468755 w 1990725"/>
                <a:gd name="connsiteY404" fmla="*/ 1097280 h 1428750"/>
                <a:gd name="connsiteX405" fmla="*/ 1441132 w 1990725"/>
                <a:gd name="connsiteY405" fmla="*/ 1041082 h 1428750"/>
                <a:gd name="connsiteX406" fmla="*/ 1428750 w 1990725"/>
                <a:gd name="connsiteY406" fmla="*/ 1021080 h 1428750"/>
                <a:gd name="connsiteX407" fmla="*/ 1412557 w 1990725"/>
                <a:gd name="connsiteY407" fmla="*/ 1006793 h 1428750"/>
                <a:gd name="connsiteX408" fmla="*/ 1402080 w 1990725"/>
                <a:gd name="connsiteY408" fmla="*/ 1003935 h 1428750"/>
                <a:gd name="connsiteX409" fmla="*/ 1396365 w 1990725"/>
                <a:gd name="connsiteY409" fmla="*/ 1009650 h 1428750"/>
                <a:gd name="connsiteX410" fmla="*/ 1394460 w 1990725"/>
                <a:gd name="connsiteY410" fmla="*/ 1022032 h 1428750"/>
                <a:gd name="connsiteX411" fmla="*/ 1394460 w 1990725"/>
                <a:gd name="connsiteY411" fmla="*/ 1041082 h 1428750"/>
                <a:gd name="connsiteX412" fmla="*/ 1397318 w 1990725"/>
                <a:gd name="connsiteY412" fmla="*/ 1052513 h 1428750"/>
                <a:gd name="connsiteX413" fmla="*/ 1403985 w 1990725"/>
                <a:gd name="connsiteY413" fmla="*/ 1062038 h 1428750"/>
                <a:gd name="connsiteX414" fmla="*/ 1423035 w 1990725"/>
                <a:gd name="connsiteY414" fmla="*/ 1080135 h 1428750"/>
                <a:gd name="connsiteX415" fmla="*/ 1401128 w 1990725"/>
                <a:gd name="connsiteY415" fmla="*/ 1102995 h 1428750"/>
                <a:gd name="connsiteX416" fmla="*/ 1400175 w 1990725"/>
                <a:gd name="connsiteY416" fmla="*/ 1107757 h 1428750"/>
                <a:gd name="connsiteX417" fmla="*/ 1398270 w 1990725"/>
                <a:gd name="connsiteY417" fmla="*/ 1104900 h 1428750"/>
                <a:gd name="connsiteX418" fmla="*/ 1394460 w 1990725"/>
                <a:gd name="connsiteY418" fmla="*/ 1096327 h 1428750"/>
                <a:gd name="connsiteX419" fmla="*/ 1397318 w 1990725"/>
                <a:gd name="connsiteY419" fmla="*/ 1080135 h 1428750"/>
                <a:gd name="connsiteX420" fmla="*/ 1397318 w 1990725"/>
                <a:gd name="connsiteY420" fmla="*/ 1074420 h 1428750"/>
                <a:gd name="connsiteX421" fmla="*/ 1393507 w 1990725"/>
                <a:gd name="connsiteY421" fmla="*/ 1067752 h 1428750"/>
                <a:gd name="connsiteX422" fmla="*/ 1387793 w 1990725"/>
                <a:gd name="connsiteY422" fmla="*/ 1061085 h 1428750"/>
                <a:gd name="connsiteX423" fmla="*/ 1382078 w 1990725"/>
                <a:gd name="connsiteY423" fmla="*/ 1060132 h 1428750"/>
                <a:gd name="connsiteX424" fmla="*/ 1379220 w 1990725"/>
                <a:gd name="connsiteY424" fmla="*/ 1066800 h 1428750"/>
                <a:gd name="connsiteX425" fmla="*/ 1377315 w 1990725"/>
                <a:gd name="connsiteY425" fmla="*/ 1075372 h 1428750"/>
                <a:gd name="connsiteX426" fmla="*/ 1371600 w 1990725"/>
                <a:gd name="connsiteY426" fmla="*/ 1078230 h 1428750"/>
                <a:gd name="connsiteX427" fmla="*/ 1357313 w 1990725"/>
                <a:gd name="connsiteY427" fmla="*/ 1074420 h 1428750"/>
                <a:gd name="connsiteX428" fmla="*/ 1357313 w 1990725"/>
                <a:gd name="connsiteY428" fmla="*/ 1080135 h 1428750"/>
                <a:gd name="connsiteX429" fmla="*/ 1365885 w 1990725"/>
                <a:gd name="connsiteY429" fmla="*/ 1085850 h 1428750"/>
                <a:gd name="connsiteX430" fmla="*/ 1371600 w 1990725"/>
                <a:gd name="connsiteY430" fmla="*/ 1089660 h 1428750"/>
                <a:gd name="connsiteX431" fmla="*/ 1377315 w 1990725"/>
                <a:gd name="connsiteY431" fmla="*/ 1090613 h 1428750"/>
                <a:gd name="connsiteX432" fmla="*/ 1381125 w 1990725"/>
                <a:gd name="connsiteY432" fmla="*/ 1094422 h 1428750"/>
                <a:gd name="connsiteX433" fmla="*/ 1385888 w 1990725"/>
                <a:gd name="connsiteY433" fmla="*/ 1111568 h 1428750"/>
                <a:gd name="connsiteX434" fmla="*/ 1388745 w 1990725"/>
                <a:gd name="connsiteY434" fmla="*/ 1119188 h 1428750"/>
                <a:gd name="connsiteX435" fmla="*/ 1388745 w 1990725"/>
                <a:gd name="connsiteY435" fmla="*/ 1124902 h 1428750"/>
                <a:gd name="connsiteX436" fmla="*/ 1383030 w 1990725"/>
                <a:gd name="connsiteY436" fmla="*/ 1124902 h 1428750"/>
                <a:gd name="connsiteX437" fmla="*/ 1372553 w 1990725"/>
                <a:gd name="connsiteY437" fmla="*/ 1122045 h 1428750"/>
                <a:gd name="connsiteX438" fmla="*/ 1369695 w 1990725"/>
                <a:gd name="connsiteY438" fmla="*/ 1122045 h 1428750"/>
                <a:gd name="connsiteX439" fmla="*/ 1363980 w 1990725"/>
                <a:gd name="connsiteY439" fmla="*/ 1122997 h 1428750"/>
                <a:gd name="connsiteX440" fmla="*/ 1361123 w 1990725"/>
                <a:gd name="connsiteY440" fmla="*/ 1122045 h 1428750"/>
                <a:gd name="connsiteX441" fmla="*/ 1360170 w 1990725"/>
                <a:gd name="connsiteY441" fmla="*/ 1118235 h 1428750"/>
                <a:gd name="connsiteX442" fmla="*/ 1357313 w 1990725"/>
                <a:gd name="connsiteY442" fmla="*/ 1107757 h 1428750"/>
                <a:gd name="connsiteX443" fmla="*/ 1357313 w 1990725"/>
                <a:gd name="connsiteY443" fmla="*/ 1105852 h 1428750"/>
                <a:gd name="connsiteX444" fmla="*/ 1351598 w 1990725"/>
                <a:gd name="connsiteY444" fmla="*/ 1104900 h 1428750"/>
                <a:gd name="connsiteX445" fmla="*/ 1347788 w 1990725"/>
                <a:gd name="connsiteY445" fmla="*/ 1106805 h 1428750"/>
                <a:gd name="connsiteX446" fmla="*/ 1344930 w 1990725"/>
                <a:gd name="connsiteY446" fmla="*/ 1109663 h 1428750"/>
                <a:gd name="connsiteX447" fmla="*/ 1340168 w 1990725"/>
                <a:gd name="connsiteY447" fmla="*/ 1112520 h 1428750"/>
                <a:gd name="connsiteX448" fmla="*/ 1337310 w 1990725"/>
                <a:gd name="connsiteY448" fmla="*/ 1115377 h 1428750"/>
                <a:gd name="connsiteX449" fmla="*/ 1334453 w 1990725"/>
                <a:gd name="connsiteY449" fmla="*/ 1116330 h 1428750"/>
                <a:gd name="connsiteX450" fmla="*/ 1332548 w 1990725"/>
                <a:gd name="connsiteY450" fmla="*/ 1114425 h 1428750"/>
                <a:gd name="connsiteX451" fmla="*/ 1329690 w 1990725"/>
                <a:gd name="connsiteY451" fmla="*/ 1107757 h 1428750"/>
                <a:gd name="connsiteX452" fmla="*/ 1326832 w 1990725"/>
                <a:gd name="connsiteY452" fmla="*/ 1105852 h 1428750"/>
                <a:gd name="connsiteX453" fmla="*/ 1320165 w 1990725"/>
                <a:gd name="connsiteY453" fmla="*/ 1098232 h 1428750"/>
                <a:gd name="connsiteX454" fmla="*/ 1306830 w 1990725"/>
                <a:gd name="connsiteY454" fmla="*/ 1066800 h 1428750"/>
                <a:gd name="connsiteX455" fmla="*/ 1302068 w 1990725"/>
                <a:gd name="connsiteY455" fmla="*/ 1059180 h 1428750"/>
                <a:gd name="connsiteX456" fmla="*/ 1290638 w 1990725"/>
                <a:gd name="connsiteY456" fmla="*/ 1057275 h 1428750"/>
                <a:gd name="connsiteX457" fmla="*/ 1260157 w 1990725"/>
                <a:gd name="connsiteY457" fmla="*/ 1043940 h 1428750"/>
                <a:gd name="connsiteX458" fmla="*/ 1253490 w 1990725"/>
                <a:gd name="connsiteY458" fmla="*/ 1043940 h 1428750"/>
                <a:gd name="connsiteX459" fmla="*/ 1245870 w 1990725"/>
                <a:gd name="connsiteY459" fmla="*/ 1047750 h 1428750"/>
                <a:gd name="connsiteX460" fmla="*/ 1240155 w 1990725"/>
                <a:gd name="connsiteY460" fmla="*/ 1049655 h 1428750"/>
                <a:gd name="connsiteX461" fmla="*/ 1228725 w 1990725"/>
                <a:gd name="connsiteY461" fmla="*/ 1049655 h 1428750"/>
                <a:gd name="connsiteX462" fmla="*/ 1223010 w 1990725"/>
                <a:gd name="connsiteY462" fmla="*/ 1048702 h 1428750"/>
                <a:gd name="connsiteX463" fmla="*/ 1220153 w 1990725"/>
                <a:gd name="connsiteY463" fmla="*/ 1046797 h 1428750"/>
                <a:gd name="connsiteX464" fmla="*/ 1216343 w 1990725"/>
                <a:gd name="connsiteY464" fmla="*/ 1038225 h 1428750"/>
                <a:gd name="connsiteX465" fmla="*/ 1206818 w 1990725"/>
                <a:gd name="connsiteY465" fmla="*/ 1033463 h 1428750"/>
                <a:gd name="connsiteX466" fmla="*/ 1195388 w 1990725"/>
                <a:gd name="connsiteY466" fmla="*/ 1031557 h 1428750"/>
                <a:gd name="connsiteX467" fmla="*/ 1187768 w 1990725"/>
                <a:gd name="connsiteY467" fmla="*/ 1032510 h 1428750"/>
                <a:gd name="connsiteX468" fmla="*/ 1179195 w 1990725"/>
                <a:gd name="connsiteY468" fmla="*/ 1039177 h 1428750"/>
                <a:gd name="connsiteX469" fmla="*/ 1172528 w 1990725"/>
                <a:gd name="connsiteY469" fmla="*/ 1047750 h 1428750"/>
                <a:gd name="connsiteX470" fmla="*/ 1165860 w 1990725"/>
                <a:gd name="connsiteY470" fmla="*/ 1052513 h 1428750"/>
                <a:gd name="connsiteX471" fmla="*/ 1155382 w 1990725"/>
                <a:gd name="connsiteY471" fmla="*/ 1049655 h 1428750"/>
                <a:gd name="connsiteX472" fmla="*/ 1141095 w 1990725"/>
                <a:gd name="connsiteY472" fmla="*/ 1049655 h 1428750"/>
                <a:gd name="connsiteX473" fmla="*/ 1141095 w 1990725"/>
                <a:gd name="connsiteY473" fmla="*/ 1054418 h 1428750"/>
                <a:gd name="connsiteX474" fmla="*/ 1142048 w 1990725"/>
                <a:gd name="connsiteY474" fmla="*/ 1054418 h 1428750"/>
                <a:gd name="connsiteX475" fmla="*/ 1138238 w 1990725"/>
                <a:gd name="connsiteY475" fmla="*/ 1060132 h 1428750"/>
                <a:gd name="connsiteX476" fmla="*/ 1143000 w 1990725"/>
                <a:gd name="connsiteY476" fmla="*/ 1087755 h 1428750"/>
                <a:gd name="connsiteX477" fmla="*/ 1137285 w 1990725"/>
                <a:gd name="connsiteY477" fmla="*/ 1106805 h 1428750"/>
                <a:gd name="connsiteX478" fmla="*/ 1120140 w 1990725"/>
                <a:gd name="connsiteY478" fmla="*/ 1124902 h 1428750"/>
                <a:gd name="connsiteX479" fmla="*/ 1112520 w 1990725"/>
                <a:gd name="connsiteY479" fmla="*/ 1109663 h 1428750"/>
                <a:gd name="connsiteX480" fmla="*/ 1103948 w 1990725"/>
                <a:gd name="connsiteY480" fmla="*/ 1101090 h 1428750"/>
                <a:gd name="connsiteX481" fmla="*/ 1090613 w 1990725"/>
                <a:gd name="connsiteY481" fmla="*/ 1105852 h 1428750"/>
                <a:gd name="connsiteX482" fmla="*/ 1079182 w 1990725"/>
                <a:gd name="connsiteY482" fmla="*/ 1116330 h 1428750"/>
                <a:gd name="connsiteX483" fmla="*/ 1069657 w 1990725"/>
                <a:gd name="connsiteY483" fmla="*/ 1126807 h 1428750"/>
                <a:gd name="connsiteX484" fmla="*/ 1068705 w 1990725"/>
                <a:gd name="connsiteY484" fmla="*/ 1138238 h 1428750"/>
                <a:gd name="connsiteX485" fmla="*/ 1082993 w 1990725"/>
                <a:gd name="connsiteY485" fmla="*/ 1147763 h 1428750"/>
                <a:gd name="connsiteX486" fmla="*/ 1082993 w 1990725"/>
                <a:gd name="connsiteY486" fmla="*/ 1153477 h 1428750"/>
                <a:gd name="connsiteX487" fmla="*/ 1068705 w 1990725"/>
                <a:gd name="connsiteY487" fmla="*/ 1154430 h 1428750"/>
                <a:gd name="connsiteX488" fmla="*/ 1055370 w 1990725"/>
                <a:gd name="connsiteY488" fmla="*/ 1158240 h 1428750"/>
                <a:gd name="connsiteX489" fmla="*/ 1050607 w 1990725"/>
                <a:gd name="connsiteY489" fmla="*/ 1167765 h 1428750"/>
                <a:gd name="connsiteX490" fmla="*/ 1061085 w 1990725"/>
                <a:gd name="connsiteY490" fmla="*/ 1183957 h 1428750"/>
                <a:gd name="connsiteX491" fmla="*/ 1056323 w 1990725"/>
                <a:gd name="connsiteY491" fmla="*/ 1183957 h 1428750"/>
                <a:gd name="connsiteX492" fmla="*/ 1044893 w 1990725"/>
                <a:gd name="connsiteY492" fmla="*/ 1179195 h 1428750"/>
                <a:gd name="connsiteX493" fmla="*/ 1012507 w 1990725"/>
                <a:gd name="connsiteY493" fmla="*/ 1179195 h 1428750"/>
                <a:gd name="connsiteX494" fmla="*/ 1007745 w 1990725"/>
                <a:gd name="connsiteY494" fmla="*/ 1175385 h 1428750"/>
                <a:gd name="connsiteX495" fmla="*/ 991553 w 1990725"/>
                <a:gd name="connsiteY495" fmla="*/ 1153477 h 1428750"/>
                <a:gd name="connsiteX496" fmla="*/ 977265 w 1990725"/>
                <a:gd name="connsiteY496" fmla="*/ 1141095 h 1428750"/>
                <a:gd name="connsiteX497" fmla="*/ 963930 w 1990725"/>
                <a:gd name="connsiteY497" fmla="*/ 1138238 h 1428750"/>
                <a:gd name="connsiteX498" fmla="*/ 952500 w 1990725"/>
                <a:gd name="connsiteY498" fmla="*/ 1153477 h 1428750"/>
                <a:gd name="connsiteX499" fmla="*/ 950595 w 1990725"/>
                <a:gd name="connsiteY499" fmla="*/ 1149668 h 1428750"/>
                <a:gd name="connsiteX500" fmla="*/ 947738 w 1990725"/>
                <a:gd name="connsiteY500" fmla="*/ 1148715 h 1428750"/>
                <a:gd name="connsiteX501" fmla="*/ 944880 w 1990725"/>
                <a:gd name="connsiteY501" fmla="*/ 1148715 h 1428750"/>
                <a:gd name="connsiteX502" fmla="*/ 942023 w 1990725"/>
                <a:gd name="connsiteY502" fmla="*/ 1147763 h 1428750"/>
                <a:gd name="connsiteX503" fmla="*/ 950595 w 1990725"/>
                <a:gd name="connsiteY503" fmla="*/ 1139190 h 1428750"/>
                <a:gd name="connsiteX504" fmla="*/ 956310 w 1990725"/>
                <a:gd name="connsiteY504" fmla="*/ 1128713 h 1428750"/>
                <a:gd name="connsiteX505" fmla="*/ 955357 w 1990725"/>
                <a:gd name="connsiteY505" fmla="*/ 1120140 h 1428750"/>
                <a:gd name="connsiteX506" fmla="*/ 943928 w 1990725"/>
                <a:gd name="connsiteY506" fmla="*/ 1116330 h 1428750"/>
                <a:gd name="connsiteX507" fmla="*/ 902018 w 1990725"/>
                <a:gd name="connsiteY507" fmla="*/ 1122045 h 1428750"/>
                <a:gd name="connsiteX508" fmla="*/ 905828 w 1990725"/>
                <a:gd name="connsiteY508" fmla="*/ 1111568 h 1428750"/>
                <a:gd name="connsiteX509" fmla="*/ 907732 w 1990725"/>
                <a:gd name="connsiteY509" fmla="*/ 1102043 h 1428750"/>
                <a:gd name="connsiteX510" fmla="*/ 912495 w 1990725"/>
                <a:gd name="connsiteY510" fmla="*/ 1049655 h 1428750"/>
                <a:gd name="connsiteX511" fmla="*/ 901065 w 1990725"/>
                <a:gd name="connsiteY511" fmla="*/ 1062990 h 1428750"/>
                <a:gd name="connsiteX512" fmla="*/ 891540 w 1990725"/>
                <a:gd name="connsiteY512" fmla="*/ 1083945 h 1428750"/>
                <a:gd name="connsiteX513" fmla="*/ 881063 w 1990725"/>
                <a:gd name="connsiteY513" fmla="*/ 1102995 h 1428750"/>
                <a:gd name="connsiteX514" fmla="*/ 864870 w 1990725"/>
                <a:gd name="connsiteY514" fmla="*/ 1111568 h 1428750"/>
                <a:gd name="connsiteX515" fmla="*/ 860107 w 1990725"/>
                <a:gd name="connsiteY515" fmla="*/ 1112520 h 1428750"/>
                <a:gd name="connsiteX516" fmla="*/ 853440 w 1990725"/>
                <a:gd name="connsiteY516" fmla="*/ 1116330 h 1428750"/>
                <a:gd name="connsiteX517" fmla="*/ 848678 w 1990725"/>
                <a:gd name="connsiteY517" fmla="*/ 1116330 h 1428750"/>
                <a:gd name="connsiteX518" fmla="*/ 842963 w 1990725"/>
                <a:gd name="connsiteY518" fmla="*/ 1114425 h 1428750"/>
                <a:gd name="connsiteX519" fmla="*/ 832485 w 1990725"/>
                <a:gd name="connsiteY519" fmla="*/ 1105852 h 1428750"/>
                <a:gd name="connsiteX520" fmla="*/ 801053 w 1990725"/>
                <a:gd name="connsiteY520" fmla="*/ 1090613 h 1428750"/>
                <a:gd name="connsiteX521" fmla="*/ 805815 w 1990725"/>
                <a:gd name="connsiteY521" fmla="*/ 1112520 h 1428750"/>
                <a:gd name="connsiteX522" fmla="*/ 798195 w 1990725"/>
                <a:gd name="connsiteY522" fmla="*/ 1122997 h 1428750"/>
                <a:gd name="connsiteX523" fmla="*/ 742950 w 1990725"/>
                <a:gd name="connsiteY523" fmla="*/ 1132522 h 1428750"/>
                <a:gd name="connsiteX524" fmla="*/ 736282 w 1990725"/>
                <a:gd name="connsiteY524" fmla="*/ 1131570 h 1428750"/>
                <a:gd name="connsiteX525" fmla="*/ 731520 w 1990725"/>
                <a:gd name="connsiteY525" fmla="*/ 1130618 h 1428750"/>
                <a:gd name="connsiteX526" fmla="*/ 726757 w 1990725"/>
                <a:gd name="connsiteY526" fmla="*/ 1127760 h 1428750"/>
                <a:gd name="connsiteX527" fmla="*/ 723900 w 1990725"/>
                <a:gd name="connsiteY527" fmla="*/ 1127760 h 1428750"/>
                <a:gd name="connsiteX528" fmla="*/ 711518 w 1990725"/>
                <a:gd name="connsiteY528" fmla="*/ 1127760 h 1428750"/>
                <a:gd name="connsiteX529" fmla="*/ 706755 w 1990725"/>
                <a:gd name="connsiteY529" fmla="*/ 1127760 h 1428750"/>
                <a:gd name="connsiteX530" fmla="*/ 678180 w 1990725"/>
                <a:gd name="connsiteY530" fmla="*/ 1117282 h 1428750"/>
                <a:gd name="connsiteX531" fmla="*/ 665798 w 1990725"/>
                <a:gd name="connsiteY531" fmla="*/ 1116330 h 1428750"/>
                <a:gd name="connsiteX532" fmla="*/ 658178 w 1990725"/>
                <a:gd name="connsiteY532" fmla="*/ 1118235 h 1428750"/>
                <a:gd name="connsiteX533" fmla="*/ 638175 w 1990725"/>
                <a:gd name="connsiteY533" fmla="*/ 1128713 h 1428750"/>
                <a:gd name="connsiteX534" fmla="*/ 571500 w 1990725"/>
                <a:gd name="connsiteY534" fmla="*/ 1140143 h 1428750"/>
                <a:gd name="connsiteX535" fmla="*/ 566738 w 1990725"/>
                <a:gd name="connsiteY535" fmla="*/ 1142047 h 1428750"/>
                <a:gd name="connsiteX536" fmla="*/ 561023 w 1990725"/>
                <a:gd name="connsiteY536" fmla="*/ 1145857 h 1428750"/>
                <a:gd name="connsiteX537" fmla="*/ 552450 w 1990725"/>
                <a:gd name="connsiteY537" fmla="*/ 1155382 h 1428750"/>
                <a:gd name="connsiteX538" fmla="*/ 548640 w 1990725"/>
                <a:gd name="connsiteY538" fmla="*/ 1158240 h 1428750"/>
                <a:gd name="connsiteX539" fmla="*/ 526732 w 1990725"/>
                <a:gd name="connsiteY539" fmla="*/ 1162050 h 1428750"/>
                <a:gd name="connsiteX540" fmla="*/ 421005 w 1990725"/>
                <a:gd name="connsiteY540" fmla="*/ 1130618 h 1428750"/>
                <a:gd name="connsiteX541" fmla="*/ 409575 w 1990725"/>
                <a:gd name="connsiteY541" fmla="*/ 1122997 h 1428750"/>
                <a:gd name="connsiteX542" fmla="*/ 402907 w 1990725"/>
                <a:gd name="connsiteY542" fmla="*/ 1122997 h 1428750"/>
                <a:gd name="connsiteX543" fmla="*/ 400050 w 1990725"/>
                <a:gd name="connsiteY543" fmla="*/ 1122045 h 1428750"/>
                <a:gd name="connsiteX544" fmla="*/ 399098 w 1990725"/>
                <a:gd name="connsiteY544" fmla="*/ 1119188 h 1428750"/>
                <a:gd name="connsiteX545" fmla="*/ 397193 w 1990725"/>
                <a:gd name="connsiteY545" fmla="*/ 1109663 h 1428750"/>
                <a:gd name="connsiteX546" fmla="*/ 394335 w 1990725"/>
                <a:gd name="connsiteY546" fmla="*/ 1100138 h 1428750"/>
                <a:gd name="connsiteX547" fmla="*/ 392430 w 1990725"/>
                <a:gd name="connsiteY547" fmla="*/ 1089660 h 1428750"/>
                <a:gd name="connsiteX548" fmla="*/ 389573 w 1990725"/>
                <a:gd name="connsiteY548" fmla="*/ 1084897 h 1428750"/>
                <a:gd name="connsiteX549" fmla="*/ 399098 w 1990725"/>
                <a:gd name="connsiteY549" fmla="*/ 1076325 h 1428750"/>
                <a:gd name="connsiteX550" fmla="*/ 401955 w 1990725"/>
                <a:gd name="connsiteY550" fmla="*/ 1071563 h 1428750"/>
                <a:gd name="connsiteX551" fmla="*/ 403860 w 1990725"/>
                <a:gd name="connsiteY551" fmla="*/ 1063943 h 1428750"/>
                <a:gd name="connsiteX552" fmla="*/ 387668 w 1990725"/>
                <a:gd name="connsiteY552" fmla="*/ 1070610 h 1428750"/>
                <a:gd name="connsiteX553" fmla="*/ 374332 w 1990725"/>
                <a:gd name="connsiteY553" fmla="*/ 1072515 h 1428750"/>
                <a:gd name="connsiteX554" fmla="*/ 360045 w 1990725"/>
                <a:gd name="connsiteY554" fmla="*/ 1069657 h 1428750"/>
                <a:gd name="connsiteX555" fmla="*/ 337185 w 1990725"/>
                <a:gd name="connsiteY555" fmla="*/ 1061085 h 1428750"/>
                <a:gd name="connsiteX556" fmla="*/ 329565 w 1990725"/>
                <a:gd name="connsiteY556" fmla="*/ 1060132 h 1428750"/>
                <a:gd name="connsiteX557" fmla="*/ 322898 w 1990725"/>
                <a:gd name="connsiteY557" fmla="*/ 1056322 h 1428750"/>
                <a:gd name="connsiteX558" fmla="*/ 302895 w 1990725"/>
                <a:gd name="connsiteY558" fmla="*/ 1029652 h 1428750"/>
                <a:gd name="connsiteX559" fmla="*/ 287655 w 1990725"/>
                <a:gd name="connsiteY559" fmla="*/ 1017270 h 1428750"/>
                <a:gd name="connsiteX560" fmla="*/ 271463 w 1990725"/>
                <a:gd name="connsiteY560" fmla="*/ 1023938 h 1428750"/>
                <a:gd name="connsiteX561" fmla="*/ 244793 w 1990725"/>
                <a:gd name="connsiteY561" fmla="*/ 1009650 h 1428750"/>
                <a:gd name="connsiteX562" fmla="*/ 200978 w 1990725"/>
                <a:gd name="connsiteY562" fmla="*/ 976313 h 1428750"/>
                <a:gd name="connsiteX563" fmla="*/ 200025 w 1990725"/>
                <a:gd name="connsiteY563" fmla="*/ 984885 h 1428750"/>
                <a:gd name="connsiteX564" fmla="*/ 202882 w 1990725"/>
                <a:gd name="connsiteY564" fmla="*/ 994410 h 1428750"/>
                <a:gd name="connsiteX565" fmla="*/ 203835 w 1990725"/>
                <a:gd name="connsiteY565" fmla="*/ 1003935 h 1428750"/>
                <a:gd name="connsiteX566" fmla="*/ 200025 w 1990725"/>
                <a:gd name="connsiteY566" fmla="*/ 1006793 h 1428750"/>
                <a:gd name="connsiteX567" fmla="*/ 166688 w 1990725"/>
                <a:gd name="connsiteY567" fmla="*/ 1005840 h 1428750"/>
                <a:gd name="connsiteX568" fmla="*/ 157163 w 1990725"/>
                <a:gd name="connsiteY568" fmla="*/ 1002982 h 1428750"/>
                <a:gd name="connsiteX569" fmla="*/ 148590 w 1990725"/>
                <a:gd name="connsiteY569" fmla="*/ 997268 h 1428750"/>
                <a:gd name="connsiteX570" fmla="*/ 141923 w 1990725"/>
                <a:gd name="connsiteY570" fmla="*/ 988695 h 1428750"/>
                <a:gd name="connsiteX571" fmla="*/ 139065 w 1990725"/>
                <a:gd name="connsiteY571" fmla="*/ 977265 h 1428750"/>
                <a:gd name="connsiteX572" fmla="*/ 145732 w 1990725"/>
                <a:gd name="connsiteY572" fmla="*/ 966788 h 1428750"/>
                <a:gd name="connsiteX573" fmla="*/ 156210 w 1990725"/>
                <a:gd name="connsiteY573" fmla="*/ 959168 h 1428750"/>
                <a:gd name="connsiteX574" fmla="*/ 164782 w 1990725"/>
                <a:gd name="connsiteY574" fmla="*/ 954405 h 1428750"/>
                <a:gd name="connsiteX575" fmla="*/ 176213 w 1990725"/>
                <a:gd name="connsiteY575" fmla="*/ 953452 h 1428750"/>
                <a:gd name="connsiteX576" fmla="*/ 204788 w 1990725"/>
                <a:gd name="connsiteY576" fmla="*/ 960120 h 1428750"/>
                <a:gd name="connsiteX577" fmla="*/ 244793 w 1990725"/>
                <a:gd name="connsiteY577" fmla="*/ 952500 h 1428750"/>
                <a:gd name="connsiteX578" fmla="*/ 249555 w 1990725"/>
                <a:gd name="connsiteY578" fmla="*/ 948690 h 1428750"/>
                <a:gd name="connsiteX579" fmla="*/ 277178 w 1990725"/>
                <a:gd name="connsiteY579" fmla="*/ 922972 h 1428750"/>
                <a:gd name="connsiteX580" fmla="*/ 283845 w 1990725"/>
                <a:gd name="connsiteY580" fmla="*/ 922020 h 1428750"/>
                <a:gd name="connsiteX581" fmla="*/ 290513 w 1990725"/>
                <a:gd name="connsiteY581" fmla="*/ 922020 h 1428750"/>
                <a:gd name="connsiteX582" fmla="*/ 294323 w 1990725"/>
                <a:gd name="connsiteY582" fmla="*/ 919163 h 1428750"/>
                <a:gd name="connsiteX583" fmla="*/ 289560 w 1990725"/>
                <a:gd name="connsiteY583" fmla="*/ 910590 h 1428750"/>
                <a:gd name="connsiteX584" fmla="*/ 265748 w 1990725"/>
                <a:gd name="connsiteY584" fmla="*/ 877252 h 1428750"/>
                <a:gd name="connsiteX585" fmla="*/ 257175 w 1990725"/>
                <a:gd name="connsiteY585" fmla="*/ 873442 h 1428750"/>
                <a:gd name="connsiteX586" fmla="*/ 238125 w 1990725"/>
                <a:gd name="connsiteY586" fmla="*/ 875347 h 1428750"/>
                <a:gd name="connsiteX587" fmla="*/ 214313 w 1990725"/>
                <a:gd name="connsiteY587" fmla="*/ 871538 h 1428750"/>
                <a:gd name="connsiteX588" fmla="*/ 164782 w 1990725"/>
                <a:gd name="connsiteY588" fmla="*/ 851535 h 1428750"/>
                <a:gd name="connsiteX589" fmla="*/ 183832 w 1990725"/>
                <a:gd name="connsiteY589" fmla="*/ 821055 h 1428750"/>
                <a:gd name="connsiteX590" fmla="*/ 188595 w 1990725"/>
                <a:gd name="connsiteY590" fmla="*/ 822960 h 1428750"/>
                <a:gd name="connsiteX591" fmla="*/ 233363 w 1990725"/>
                <a:gd name="connsiteY591" fmla="*/ 822960 h 1428750"/>
                <a:gd name="connsiteX592" fmla="*/ 279082 w 1990725"/>
                <a:gd name="connsiteY592" fmla="*/ 833438 h 1428750"/>
                <a:gd name="connsiteX593" fmla="*/ 309563 w 1990725"/>
                <a:gd name="connsiteY593" fmla="*/ 828675 h 1428750"/>
                <a:gd name="connsiteX594" fmla="*/ 320993 w 1990725"/>
                <a:gd name="connsiteY594" fmla="*/ 828675 h 1428750"/>
                <a:gd name="connsiteX595" fmla="*/ 378143 w 1990725"/>
                <a:gd name="connsiteY595" fmla="*/ 842010 h 1428750"/>
                <a:gd name="connsiteX596" fmla="*/ 407670 w 1990725"/>
                <a:gd name="connsiteY596" fmla="*/ 860107 h 1428750"/>
                <a:gd name="connsiteX597" fmla="*/ 428625 w 1990725"/>
                <a:gd name="connsiteY597" fmla="*/ 865822 h 1428750"/>
                <a:gd name="connsiteX598" fmla="*/ 452438 w 1990725"/>
                <a:gd name="connsiteY598" fmla="*/ 863917 h 1428750"/>
                <a:gd name="connsiteX599" fmla="*/ 472440 w 1990725"/>
                <a:gd name="connsiteY599" fmla="*/ 854392 h 1428750"/>
                <a:gd name="connsiteX600" fmla="*/ 486728 w 1990725"/>
                <a:gd name="connsiteY600" fmla="*/ 839152 h 1428750"/>
                <a:gd name="connsiteX601" fmla="*/ 477203 w 1990725"/>
                <a:gd name="connsiteY601" fmla="*/ 824865 h 1428750"/>
                <a:gd name="connsiteX602" fmla="*/ 491490 w 1990725"/>
                <a:gd name="connsiteY602" fmla="*/ 804863 h 1428750"/>
                <a:gd name="connsiteX603" fmla="*/ 528638 w 1990725"/>
                <a:gd name="connsiteY603" fmla="*/ 773430 h 1428750"/>
                <a:gd name="connsiteX604" fmla="*/ 538163 w 1990725"/>
                <a:gd name="connsiteY604" fmla="*/ 766763 h 1428750"/>
                <a:gd name="connsiteX605" fmla="*/ 562928 w 1990725"/>
                <a:gd name="connsiteY605" fmla="*/ 763905 h 1428750"/>
                <a:gd name="connsiteX606" fmla="*/ 571500 w 1990725"/>
                <a:gd name="connsiteY606" fmla="*/ 758190 h 1428750"/>
                <a:gd name="connsiteX607" fmla="*/ 580073 w 1990725"/>
                <a:gd name="connsiteY607" fmla="*/ 749617 h 1428750"/>
                <a:gd name="connsiteX608" fmla="*/ 588645 w 1990725"/>
                <a:gd name="connsiteY608" fmla="*/ 742950 h 1428750"/>
                <a:gd name="connsiteX609" fmla="*/ 596265 w 1990725"/>
                <a:gd name="connsiteY609" fmla="*/ 736282 h 1428750"/>
                <a:gd name="connsiteX610" fmla="*/ 601980 w 1990725"/>
                <a:gd name="connsiteY610" fmla="*/ 722947 h 1428750"/>
                <a:gd name="connsiteX611" fmla="*/ 589598 w 1990725"/>
                <a:gd name="connsiteY611" fmla="*/ 729615 h 1428750"/>
                <a:gd name="connsiteX612" fmla="*/ 575310 w 1990725"/>
                <a:gd name="connsiteY612" fmla="*/ 740092 h 1428750"/>
                <a:gd name="connsiteX613" fmla="*/ 561023 w 1990725"/>
                <a:gd name="connsiteY613" fmla="*/ 747713 h 1428750"/>
                <a:gd name="connsiteX614" fmla="*/ 548640 w 1990725"/>
                <a:gd name="connsiteY614" fmla="*/ 744855 h 1428750"/>
                <a:gd name="connsiteX615" fmla="*/ 477203 w 1990725"/>
                <a:gd name="connsiteY615" fmla="*/ 784860 h 1428750"/>
                <a:gd name="connsiteX616" fmla="*/ 439103 w 1990725"/>
                <a:gd name="connsiteY616" fmla="*/ 790575 h 1428750"/>
                <a:gd name="connsiteX617" fmla="*/ 403860 w 1990725"/>
                <a:gd name="connsiteY617" fmla="*/ 770572 h 1428750"/>
                <a:gd name="connsiteX618" fmla="*/ 395288 w 1990725"/>
                <a:gd name="connsiteY618" fmla="*/ 758190 h 1428750"/>
                <a:gd name="connsiteX619" fmla="*/ 392430 w 1990725"/>
                <a:gd name="connsiteY619" fmla="*/ 755332 h 1428750"/>
                <a:gd name="connsiteX620" fmla="*/ 386715 w 1990725"/>
                <a:gd name="connsiteY620" fmla="*/ 758190 h 1428750"/>
                <a:gd name="connsiteX621" fmla="*/ 378143 w 1990725"/>
                <a:gd name="connsiteY621" fmla="*/ 768667 h 1428750"/>
                <a:gd name="connsiteX622" fmla="*/ 372428 w 1990725"/>
                <a:gd name="connsiteY622" fmla="*/ 770572 h 1428750"/>
                <a:gd name="connsiteX623" fmla="*/ 366713 w 1990725"/>
                <a:gd name="connsiteY623" fmla="*/ 771525 h 1428750"/>
                <a:gd name="connsiteX624" fmla="*/ 356235 w 1990725"/>
                <a:gd name="connsiteY624" fmla="*/ 775335 h 1428750"/>
                <a:gd name="connsiteX625" fmla="*/ 351473 w 1990725"/>
                <a:gd name="connsiteY625" fmla="*/ 776288 h 1428750"/>
                <a:gd name="connsiteX626" fmla="*/ 339090 w 1990725"/>
                <a:gd name="connsiteY626" fmla="*/ 791527 h 1428750"/>
                <a:gd name="connsiteX627" fmla="*/ 331470 w 1990725"/>
                <a:gd name="connsiteY627" fmla="*/ 783907 h 1428750"/>
                <a:gd name="connsiteX628" fmla="*/ 323850 w 1990725"/>
                <a:gd name="connsiteY628" fmla="*/ 756285 h 1428750"/>
                <a:gd name="connsiteX629" fmla="*/ 315278 w 1990725"/>
                <a:gd name="connsiteY629" fmla="*/ 749617 h 1428750"/>
                <a:gd name="connsiteX630" fmla="*/ 282893 w 1990725"/>
                <a:gd name="connsiteY630" fmla="*/ 742950 h 1428750"/>
                <a:gd name="connsiteX631" fmla="*/ 273368 w 1990725"/>
                <a:gd name="connsiteY631" fmla="*/ 739140 h 1428750"/>
                <a:gd name="connsiteX632" fmla="*/ 266700 w 1990725"/>
                <a:gd name="connsiteY632" fmla="*/ 730567 h 1428750"/>
                <a:gd name="connsiteX633" fmla="*/ 258128 w 1990725"/>
                <a:gd name="connsiteY633" fmla="*/ 717232 h 1428750"/>
                <a:gd name="connsiteX634" fmla="*/ 251460 w 1990725"/>
                <a:gd name="connsiteY634" fmla="*/ 701992 h 1428750"/>
                <a:gd name="connsiteX635" fmla="*/ 248603 w 1990725"/>
                <a:gd name="connsiteY635" fmla="*/ 689610 h 1428750"/>
                <a:gd name="connsiteX636" fmla="*/ 245745 w 1990725"/>
                <a:gd name="connsiteY636" fmla="*/ 674370 h 1428750"/>
                <a:gd name="connsiteX637" fmla="*/ 242888 w 1990725"/>
                <a:gd name="connsiteY637" fmla="*/ 667702 h 1428750"/>
                <a:gd name="connsiteX638" fmla="*/ 243840 w 1990725"/>
                <a:gd name="connsiteY638" fmla="*/ 663892 h 1428750"/>
                <a:gd name="connsiteX639" fmla="*/ 270510 w 1990725"/>
                <a:gd name="connsiteY639" fmla="*/ 664845 h 1428750"/>
                <a:gd name="connsiteX640" fmla="*/ 278130 w 1990725"/>
                <a:gd name="connsiteY640" fmla="*/ 661988 h 1428750"/>
                <a:gd name="connsiteX641" fmla="*/ 282893 w 1990725"/>
                <a:gd name="connsiteY641" fmla="*/ 657225 h 1428750"/>
                <a:gd name="connsiteX642" fmla="*/ 291465 w 1990725"/>
                <a:gd name="connsiteY642" fmla="*/ 650557 h 1428750"/>
                <a:gd name="connsiteX643" fmla="*/ 296228 w 1990725"/>
                <a:gd name="connsiteY643" fmla="*/ 649605 h 1428750"/>
                <a:gd name="connsiteX644" fmla="*/ 300038 w 1990725"/>
                <a:gd name="connsiteY644" fmla="*/ 648652 h 1428750"/>
                <a:gd name="connsiteX645" fmla="*/ 305753 w 1990725"/>
                <a:gd name="connsiteY645" fmla="*/ 649605 h 1428750"/>
                <a:gd name="connsiteX646" fmla="*/ 314325 w 1990725"/>
                <a:gd name="connsiteY646" fmla="*/ 655320 h 1428750"/>
                <a:gd name="connsiteX647" fmla="*/ 320993 w 1990725"/>
                <a:gd name="connsiteY647" fmla="*/ 657225 h 1428750"/>
                <a:gd name="connsiteX648" fmla="*/ 326707 w 1990725"/>
                <a:gd name="connsiteY648" fmla="*/ 657225 h 1428750"/>
                <a:gd name="connsiteX649" fmla="*/ 342900 w 1990725"/>
                <a:gd name="connsiteY649" fmla="*/ 652463 h 1428750"/>
                <a:gd name="connsiteX650" fmla="*/ 352425 w 1990725"/>
                <a:gd name="connsiteY650" fmla="*/ 648652 h 1428750"/>
                <a:gd name="connsiteX651" fmla="*/ 356235 w 1990725"/>
                <a:gd name="connsiteY651" fmla="*/ 645795 h 1428750"/>
                <a:gd name="connsiteX652" fmla="*/ 359093 w 1990725"/>
                <a:gd name="connsiteY652" fmla="*/ 641985 h 1428750"/>
                <a:gd name="connsiteX653" fmla="*/ 360998 w 1990725"/>
                <a:gd name="connsiteY653" fmla="*/ 639127 h 1428750"/>
                <a:gd name="connsiteX654" fmla="*/ 365760 w 1990725"/>
                <a:gd name="connsiteY654" fmla="*/ 629602 h 1428750"/>
                <a:gd name="connsiteX655" fmla="*/ 371475 w 1990725"/>
                <a:gd name="connsiteY655" fmla="*/ 615315 h 1428750"/>
                <a:gd name="connsiteX656" fmla="*/ 372428 w 1990725"/>
                <a:gd name="connsiteY656" fmla="*/ 611505 h 1428750"/>
                <a:gd name="connsiteX657" fmla="*/ 374332 w 1990725"/>
                <a:gd name="connsiteY657" fmla="*/ 607695 h 1428750"/>
                <a:gd name="connsiteX658" fmla="*/ 379095 w 1990725"/>
                <a:gd name="connsiteY658" fmla="*/ 603885 h 1428750"/>
                <a:gd name="connsiteX659" fmla="*/ 381953 w 1990725"/>
                <a:gd name="connsiteY659" fmla="*/ 601980 h 1428750"/>
                <a:gd name="connsiteX660" fmla="*/ 385763 w 1990725"/>
                <a:gd name="connsiteY660" fmla="*/ 600075 h 1428750"/>
                <a:gd name="connsiteX661" fmla="*/ 392430 w 1990725"/>
                <a:gd name="connsiteY661" fmla="*/ 599122 h 1428750"/>
                <a:gd name="connsiteX662" fmla="*/ 398145 w 1990725"/>
                <a:gd name="connsiteY662" fmla="*/ 599122 h 1428750"/>
                <a:gd name="connsiteX663" fmla="*/ 428625 w 1990725"/>
                <a:gd name="connsiteY663" fmla="*/ 610552 h 1428750"/>
                <a:gd name="connsiteX664" fmla="*/ 442913 w 1990725"/>
                <a:gd name="connsiteY664" fmla="*/ 611505 h 1428750"/>
                <a:gd name="connsiteX665" fmla="*/ 446723 w 1990725"/>
                <a:gd name="connsiteY665" fmla="*/ 610552 h 1428750"/>
                <a:gd name="connsiteX666" fmla="*/ 449580 w 1990725"/>
                <a:gd name="connsiteY666" fmla="*/ 608647 h 1428750"/>
                <a:gd name="connsiteX667" fmla="*/ 450532 w 1990725"/>
                <a:gd name="connsiteY667" fmla="*/ 606742 h 1428750"/>
                <a:gd name="connsiteX668" fmla="*/ 457200 w 1990725"/>
                <a:gd name="connsiteY668" fmla="*/ 587692 h 1428750"/>
                <a:gd name="connsiteX669" fmla="*/ 459105 w 1990725"/>
                <a:gd name="connsiteY669" fmla="*/ 583882 h 1428750"/>
                <a:gd name="connsiteX670" fmla="*/ 462915 w 1990725"/>
                <a:gd name="connsiteY670" fmla="*/ 579120 h 1428750"/>
                <a:gd name="connsiteX671" fmla="*/ 466725 w 1990725"/>
                <a:gd name="connsiteY671" fmla="*/ 577215 h 1428750"/>
                <a:gd name="connsiteX672" fmla="*/ 484823 w 1990725"/>
                <a:gd name="connsiteY672" fmla="*/ 572452 h 1428750"/>
                <a:gd name="connsiteX673" fmla="*/ 496253 w 1990725"/>
                <a:gd name="connsiteY673" fmla="*/ 571500 h 1428750"/>
                <a:gd name="connsiteX674" fmla="*/ 499110 w 1990725"/>
                <a:gd name="connsiteY674" fmla="*/ 571500 h 1428750"/>
                <a:gd name="connsiteX675" fmla="*/ 501015 w 1990725"/>
                <a:gd name="connsiteY675" fmla="*/ 572452 h 1428750"/>
                <a:gd name="connsiteX676" fmla="*/ 502920 w 1990725"/>
                <a:gd name="connsiteY676" fmla="*/ 574357 h 1428750"/>
                <a:gd name="connsiteX677" fmla="*/ 505778 w 1990725"/>
                <a:gd name="connsiteY677" fmla="*/ 581977 h 1428750"/>
                <a:gd name="connsiteX678" fmla="*/ 509588 w 1990725"/>
                <a:gd name="connsiteY678" fmla="*/ 583882 h 1428750"/>
                <a:gd name="connsiteX679" fmla="*/ 514350 w 1990725"/>
                <a:gd name="connsiteY679" fmla="*/ 584835 h 1428750"/>
                <a:gd name="connsiteX680" fmla="*/ 533400 w 1990725"/>
                <a:gd name="connsiteY680" fmla="*/ 582930 h 1428750"/>
                <a:gd name="connsiteX681" fmla="*/ 537210 w 1990725"/>
                <a:gd name="connsiteY681" fmla="*/ 581977 h 1428750"/>
                <a:gd name="connsiteX682" fmla="*/ 540068 w 1990725"/>
                <a:gd name="connsiteY682" fmla="*/ 580072 h 1428750"/>
                <a:gd name="connsiteX683" fmla="*/ 542925 w 1990725"/>
                <a:gd name="connsiteY683" fmla="*/ 576263 h 1428750"/>
                <a:gd name="connsiteX684" fmla="*/ 544830 w 1990725"/>
                <a:gd name="connsiteY684" fmla="*/ 569595 h 1428750"/>
                <a:gd name="connsiteX685" fmla="*/ 544830 w 1990725"/>
                <a:gd name="connsiteY685" fmla="*/ 566738 h 1428750"/>
                <a:gd name="connsiteX686" fmla="*/ 544830 w 1990725"/>
                <a:gd name="connsiteY686" fmla="*/ 555307 h 1428750"/>
                <a:gd name="connsiteX687" fmla="*/ 545782 w 1990725"/>
                <a:gd name="connsiteY687" fmla="*/ 551497 h 1428750"/>
                <a:gd name="connsiteX688" fmla="*/ 547688 w 1990725"/>
                <a:gd name="connsiteY688" fmla="*/ 550545 h 1428750"/>
                <a:gd name="connsiteX689" fmla="*/ 550545 w 1990725"/>
                <a:gd name="connsiteY689" fmla="*/ 550545 h 1428750"/>
                <a:gd name="connsiteX690" fmla="*/ 552450 w 1990725"/>
                <a:gd name="connsiteY690" fmla="*/ 551497 h 1428750"/>
                <a:gd name="connsiteX691" fmla="*/ 556260 w 1990725"/>
                <a:gd name="connsiteY691" fmla="*/ 555307 h 1428750"/>
                <a:gd name="connsiteX692" fmla="*/ 558165 w 1990725"/>
                <a:gd name="connsiteY692" fmla="*/ 556260 h 1428750"/>
                <a:gd name="connsiteX693" fmla="*/ 562928 w 1990725"/>
                <a:gd name="connsiteY693" fmla="*/ 557213 h 1428750"/>
                <a:gd name="connsiteX694" fmla="*/ 564832 w 1990725"/>
                <a:gd name="connsiteY694" fmla="*/ 558165 h 1428750"/>
                <a:gd name="connsiteX695" fmla="*/ 568643 w 1990725"/>
                <a:gd name="connsiteY695" fmla="*/ 560070 h 1428750"/>
                <a:gd name="connsiteX696" fmla="*/ 574357 w 1990725"/>
                <a:gd name="connsiteY696" fmla="*/ 561022 h 1428750"/>
                <a:gd name="connsiteX697" fmla="*/ 595313 w 1990725"/>
                <a:gd name="connsiteY697" fmla="*/ 561022 h 1428750"/>
                <a:gd name="connsiteX698" fmla="*/ 599123 w 1990725"/>
                <a:gd name="connsiteY698" fmla="*/ 561975 h 1428750"/>
                <a:gd name="connsiteX699" fmla="*/ 602932 w 1990725"/>
                <a:gd name="connsiteY699" fmla="*/ 564832 h 1428750"/>
                <a:gd name="connsiteX700" fmla="*/ 605790 w 1990725"/>
                <a:gd name="connsiteY700" fmla="*/ 566738 h 1428750"/>
                <a:gd name="connsiteX701" fmla="*/ 617220 w 1990725"/>
                <a:gd name="connsiteY701" fmla="*/ 570547 h 1428750"/>
                <a:gd name="connsiteX702" fmla="*/ 620078 w 1990725"/>
                <a:gd name="connsiteY702" fmla="*/ 571500 h 1428750"/>
                <a:gd name="connsiteX703" fmla="*/ 622935 w 1990725"/>
                <a:gd name="connsiteY703" fmla="*/ 575310 h 1428750"/>
                <a:gd name="connsiteX704" fmla="*/ 626745 w 1990725"/>
                <a:gd name="connsiteY704" fmla="*/ 581977 h 1428750"/>
                <a:gd name="connsiteX705" fmla="*/ 629603 w 1990725"/>
                <a:gd name="connsiteY705" fmla="*/ 585788 h 1428750"/>
                <a:gd name="connsiteX706" fmla="*/ 631507 w 1990725"/>
                <a:gd name="connsiteY706" fmla="*/ 587692 h 1428750"/>
                <a:gd name="connsiteX707" fmla="*/ 635318 w 1990725"/>
                <a:gd name="connsiteY707" fmla="*/ 589597 h 1428750"/>
                <a:gd name="connsiteX708" fmla="*/ 641032 w 1990725"/>
                <a:gd name="connsiteY708" fmla="*/ 589597 h 1428750"/>
                <a:gd name="connsiteX709" fmla="*/ 669607 w 1990725"/>
                <a:gd name="connsiteY709" fmla="*/ 585788 h 1428750"/>
                <a:gd name="connsiteX710" fmla="*/ 695325 w 1990725"/>
                <a:gd name="connsiteY710" fmla="*/ 586740 h 1428750"/>
                <a:gd name="connsiteX711" fmla="*/ 698182 w 1990725"/>
                <a:gd name="connsiteY711" fmla="*/ 585788 h 1428750"/>
                <a:gd name="connsiteX712" fmla="*/ 702945 w 1990725"/>
                <a:gd name="connsiteY712" fmla="*/ 582930 h 1428750"/>
                <a:gd name="connsiteX713" fmla="*/ 743903 w 1990725"/>
                <a:gd name="connsiteY713" fmla="*/ 568642 h 1428750"/>
                <a:gd name="connsiteX714" fmla="*/ 752475 w 1990725"/>
                <a:gd name="connsiteY714" fmla="*/ 563880 h 1428750"/>
                <a:gd name="connsiteX715" fmla="*/ 758190 w 1990725"/>
                <a:gd name="connsiteY715" fmla="*/ 560070 h 1428750"/>
                <a:gd name="connsiteX716" fmla="*/ 756285 w 1990725"/>
                <a:gd name="connsiteY716" fmla="*/ 558165 h 1428750"/>
                <a:gd name="connsiteX717" fmla="*/ 754380 w 1990725"/>
                <a:gd name="connsiteY717" fmla="*/ 557213 h 1428750"/>
                <a:gd name="connsiteX718" fmla="*/ 749618 w 1990725"/>
                <a:gd name="connsiteY718" fmla="*/ 558165 h 1428750"/>
                <a:gd name="connsiteX719" fmla="*/ 746760 w 1990725"/>
                <a:gd name="connsiteY719" fmla="*/ 557213 h 1428750"/>
                <a:gd name="connsiteX720" fmla="*/ 741998 w 1990725"/>
                <a:gd name="connsiteY720" fmla="*/ 554355 h 1428750"/>
                <a:gd name="connsiteX721" fmla="*/ 738188 w 1990725"/>
                <a:gd name="connsiteY721" fmla="*/ 553402 h 1428750"/>
                <a:gd name="connsiteX722" fmla="*/ 709613 w 1990725"/>
                <a:gd name="connsiteY722" fmla="*/ 556260 h 1428750"/>
                <a:gd name="connsiteX723" fmla="*/ 697230 w 1990725"/>
                <a:gd name="connsiteY723" fmla="*/ 555307 h 1428750"/>
                <a:gd name="connsiteX724" fmla="*/ 693420 w 1990725"/>
                <a:gd name="connsiteY724" fmla="*/ 553402 h 1428750"/>
                <a:gd name="connsiteX725" fmla="*/ 689610 w 1990725"/>
                <a:gd name="connsiteY725" fmla="*/ 551497 h 1428750"/>
                <a:gd name="connsiteX726" fmla="*/ 687705 w 1990725"/>
                <a:gd name="connsiteY726" fmla="*/ 549592 h 1428750"/>
                <a:gd name="connsiteX727" fmla="*/ 686753 w 1990725"/>
                <a:gd name="connsiteY727" fmla="*/ 546735 h 1428750"/>
                <a:gd name="connsiteX728" fmla="*/ 686753 w 1990725"/>
                <a:gd name="connsiteY728" fmla="*/ 543877 h 1428750"/>
                <a:gd name="connsiteX729" fmla="*/ 689610 w 1990725"/>
                <a:gd name="connsiteY729" fmla="*/ 540067 h 1428750"/>
                <a:gd name="connsiteX730" fmla="*/ 692468 w 1990725"/>
                <a:gd name="connsiteY730" fmla="*/ 539115 h 1428750"/>
                <a:gd name="connsiteX731" fmla="*/ 743903 w 1990725"/>
                <a:gd name="connsiteY731" fmla="*/ 530542 h 1428750"/>
                <a:gd name="connsiteX732" fmla="*/ 748665 w 1990725"/>
                <a:gd name="connsiteY732" fmla="*/ 528638 h 1428750"/>
                <a:gd name="connsiteX733" fmla="*/ 760095 w 1990725"/>
                <a:gd name="connsiteY733" fmla="*/ 515302 h 1428750"/>
                <a:gd name="connsiteX734" fmla="*/ 767715 w 1990725"/>
                <a:gd name="connsiteY734" fmla="*/ 511492 h 1428750"/>
                <a:gd name="connsiteX735" fmla="*/ 788670 w 1990725"/>
                <a:gd name="connsiteY735" fmla="*/ 505777 h 1428750"/>
                <a:gd name="connsiteX736" fmla="*/ 794385 w 1990725"/>
                <a:gd name="connsiteY736" fmla="*/ 502920 h 1428750"/>
                <a:gd name="connsiteX737" fmla="*/ 797243 w 1990725"/>
                <a:gd name="connsiteY737" fmla="*/ 499110 h 1428750"/>
                <a:gd name="connsiteX738" fmla="*/ 796290 w 1990725"/>
                <a:gd name="connsiteY738" fmla="*/ 497205 h 1428750"/>
                <a:gd name="connsiteX739" fmla="*/ 793432 w 1990725"/>
                <a:gd name="connsiteY739" fmla="*/ 493395 h 1428750"/>
                <a:gd name="connsiteX740" fmla="*/ 789623 w 1990725"/>
                <a:gd name="connsiteY740" fmla="*/ 491490 h 1428750"/>
                <a:gd name="connsiteX741" fmla="*/ 770573 w 1990725"/>
                <a:gd name="connsiteY741" fmla="*/ 491490 h 1428750"/>
                <a:gd name="connsiteX742" fmla="*/ 768668 w 1990725"/>
                <a:gd name="connsiteY742" fmla="*/ 490538 h 1428750"/>
                <a:gd name="connsiteX743" fmla="*/ 764857 w 1990725"/>
                <a:gd name="connsiteY743" fmla="*/ 486727 h 1428750"/>
                <a:gd name="connsiteX744" fmla="*/ 762953 w 1990725"/>
                <a:gd name="connsiteY744" fmla="*/ 481965 h 1428750"/>
                <a:gd name="connsiteX745" fmla="*/ 762953 w 1990725"/>
                <a:gd name="connsiteY745" fmla="*/ 476250 h 1428750"/>
                <a:gd name="connsiteX746" fmla="*/ 762000 w 1990725"/>
                <a:gd name="connsiteY746" fmla="*/ 467677 h 1428750"/>
                <a:gd name="connsiteX747" fmla="*/ 762953 w 1990725"/>
                <a:gd name="connsiteY747" fmla="*/ 463867 h 1428750"/>
                <a:gd name="connsiteX748" fmla="*/ 764857 w 1990725"/>
                <a:gd name="connsiteY748" fmla="*/ 460057 h 1428750"/>
                <a:gd name="connsiteX749" fmla="*/ 770573 w 1990725"/>
                <a:gd name="connsiteY749" fmla="*/ 455295 h 1428750"/>
                <a:gd name="connsiteX750" fmla="*/ 775335 w 1990725"/>
                <a:gd name="connsiteY750" fmla="*/ 453390 h 1428750"/>
                <a:gd name="connsiteX751" fmla="*/ 779145 w 1990725"/>
                <a:gd name="connsiteY751" fmla="*/ 456247 h 1428750"/>
                <a:gd name="connsiteX752" fmla="*/ 782003 w 1990725"/>
                <a:gd name="connsiteY752" fmla="*/ 460057 h 1428750"/>
                <a:gd name="connsiteX753" fmla="*/ 784860 w 1990725"/>
                <a:gd name="connsiteY753" fmla="*/ 463867 h 1428750"/>
                <a:gd name="connsiteX754" fmla="*/ 787718 w 1990725"/>
                <a:gd name="connsiteY754" fmla="*/ 466725 h 1428750"/>
                <a:gd name="connsiteX755" fmla="*/ 802005 w 1990725"/>
                <a:gd name="connsiteY755" fmla="*/ 476250 h 1428750"/>
                <a:gd name="connsiteX756" fmla="*/ 802957 w 1990725"/>
                <a:gd name="connsiteY756" fmla="*/ 475297 h 1428750"/>
                <a:gd name="connsiteX757" fmla="*/ 802957 w 1990725"/>
                <a:gd name="connsiteY757" fmla="*/ 470535 h 1428750"/>
                <a:gd name="connsiteX758" fmla="*/ 803910 w 1990725"/>
                <a:gd name="connsiteY758" fmla="*/ 466725 h 1428750"/>
                <a:gd name="connsiteX759" fmla="*/ 805815 w 1990725"/>
                <a:gd name="connsiteY759" fmla="*/ 463867 h 1428750"/>
                <a:gd name="connsiteX760" fmla="*/ 815340 w 1990725"/>
                <a:gd name="connsiteY760" fmla="*/ 453390 h 1428750"/>
                <a:gd name="connsiteX761" fmla="*/ 819150 w 1990725"/>
                <a:gd name="connsiteY761" fmla="*/ 446722 h 1428750"/>
                <a:gd name="connsiteX762" fmla="*/ 821055 w 1990725"/>
                <a:gd name="connsiteY762" fmla="*/ 441007 h 1428750"/>
                <a:gd name="connsiteX763" fmla="*/ 821055 w 1990725"/>
                <a:gd name="connsiteY763" fmla="*/ 439102 h 1428750"/>
                <a:gd name="connsiteX764" fmla="*/ 820103 w 1990725"/>
                <a:gd name="connsiteY764" fmla="*/ 436245 h 1428750"/>
                <a:gd name="connsiteX765" fmla="*/ 796290 w 1990725"/>
                <a:gd name="connsiteY765" fmla="*/ 413385 h 1428750"/>
                <a:gd name="connsiteX766" fmla="*/ 765810 w 1990725"/>
                <a:gd name="connsiteY766" fmla="*/ 395288 h 1428750"/>
                <a:gd name="connsiteX767" fmla="*/ 760095 w 1990725"/>
                <a:gd name="connsiteY767" fmla="*/ 394335 h 1428750"/>
                <a:gd name="connsiteX768" fmla="*/ 752475 w 1990725"/>
                <a:gd name="connsiteY768" fmla="*/ 395288 h 1428750"/>
                <a:gd name="connsiteX769" fmla="*/ 749618 w 1990725"/>
                <a:gd name="connsiteY769" fmla="*/ 395288 h 1428750"/>
                <a:gd name="connsiteX770" fmla="*/ 747713 w 1990725"/>
                <a:gd name="connsiteY770" fmla="*/ 393382 h 1428750"/>
                <a:gd name="connsiteX771" fmla="*/ 746760 w 1990725"/>
                <a:gd name="connsiteY771" fmla="*/ 391477 h 1428750"/>
                <a:gd name="connsiteX772" fmla="*/ 745807 w 1990725"/>
                <a:gd name="connsiteY772" fmla="*/ 383857 h 1428750"/>
                <a:gd name="connsiteX773" fmla="*/ 744855 w 1990725"/>
                <a:gd name="connsiteY773" fmla="*/ 378142 h 1428750"/>
                <a:gd name="connsiteX774" fmla="*/ 743903 w 1990725"/>
                <a:gd name="connsiteY774" fmla="*/ 373380 h 1428750"/>
                <a:gd name="connsiteX775" fmla="*/ 745807 w 1990725"/>
                <a:gd name="connsiteY775" fmla="*/ 367665 h 1428750"/>
                <a:gd name="connsiteX776" fmla="*/ 755332 w 1990725"/>
                <a:gd name="connsiteY776" fmla="*/ 355282 h 1428750"/>
                <a:gd name="connsiteX777" fmla="*/ 768668 w 1990725"/>
                <a:gd name="connsiteY777" fmla="*/ 325755 h 1428750"/>
                <a:gd name="connsiteX778" fmla="*/ 773430 w 1990725"/>
                <a:gd name="connsiteY778" fmla="*/ 312420 h 1428750"/>
                <a:gd name="connsiteX779" fmla="*/ 776288 w 1990725"/>
                <a:gd name="connsiteY779" fmla="*/ 308610 h 1428750"/>
                <a:gd name="connsiteX780" fmla="*/ 779145 w 1990725"/>
                <a:gd name="connsiteY780" fmla="*/ 307657 h 1428750"/>
                <a:gd name="connsiteX781" fmla="*/ 781050 w 1990725"/>
                <a:gd name="connsiteY781" fmla="*/ 308610 h 1428750"/>
                <a:gd name="connsiteX782" fmla="*/ 786765 w 1990725"/>
                <a:gd name="connsiteY782" fmla="*/ 315277 h 1428750"/>
                <a:gd name="connsiteX783" fmla="*/ 787718 w 1990725"/>
                <a:gd name="connsiteY783" fmla="*/ 316230 h 1428750"/>
                <a:gd name="connsiteX784" fmla="*/ 800100 w 1990725"/>
                <a:gd name="connsiteY784" fmla="*/ 316230 h 1428750"/>
                <a:gd name="connsiteX785" fmla="*/ 807720 w 1990725"/>
                <a:gd name="connsiteY785" fmla="*/ 315277 h 1428750"/>
                <a:gd name="connsiteX786" fmla="*/ 811530 w 1990725"/>
                <a:gd name="connsiteY786" fmla="*/ 313372 h 1428750"/>
                <a:gd name="connsiteX787" fmla="*/ 814388 w 1990725"/>
                <a:gd name="connsiteY787" fmla="*/ 311467 h 1428750"/>
                <a:gd name="connsiteX788" fmla="*/ 829628 w 1990725"/>
                <a:gd name="connsiteY788" fmla="*/ 293370 h 1428750"/>
                <a:gd name="connsiteX789" fmla="*/ 833438 w 1990725"/>
                <a:gd name="connsiteY789" fmla="*/ 291465 h 1428750"/>
                <a:gd name="connsiteX790" fmla="*/ 836295 w 1990725"/>
                <a:gd name="connsiteY790" fmla="*/ 290513 h 1428750"/>
                <a:gd name="connsiteX791" fmla="*/ 839153 w 1990725"/>
                <a:gd name="connsiteY791" fmla="*/ 291465 h 1428750"/>
                <a:gd name="connsiteX792" fmla="*/ 845820 w 1990725"/>
                <a:gd name="connsiteY792" fmla="*/ 295275 h 1428750"/>
                <a:gd name="connsiteX793" fmla="*/ 848678 w 1990725"/>
                <a:gd name="connsiteY793" fmla="*/ 296227 h 1428750"/>
                <a:gd name="connsiteX794" fmla="*/ 852488 w 1990725"/>
                <a:gd name="connsiteY794" fmla="*/ 296227 h 1428750"/>
                <a:gd name="connsiteX795" fmla="*/ 855345 w 1990725"/>
                <a:gd name="connsiteY795" fmla="*/ 294322 h 1428750"/>
                <a:gd name="connsiteX796" fmla="*/ 856298 w 1990725"/>
                <a:gd name="connsiteY796" fmla="*/ 291465 h 1428750"/>
                <a:gd name="connsiteX797" fmla="*/ 858203 w 1990725"/>
                <a:gd name="connsiteY797" fmla="*/ 285750 h 1428750"/>
                <a:gd name="connsiteX798" fmla="*/ 861060 w 1990725"/>
                <a:gd name="connsiteY798" fmla="*/ 279082 h 1428750"/>
                <a:gd name="connsiteX799" fmla="*/ 861060 w 1990725"/>
                <a:gd name="connsiteY799" fmla="*/ 277177 h 1428750"/>
                <a:gd name="connsiteX800" fmla="*/ 860107 w 1990725"/>
                <a:gd name="connsiteY800" fmla="*/ 274320 h 1428750"/>
                <a:gd name="connsiteX801" fmla="*/ 848678 w 1990725"/>
                <a:gd name="connsiteY801" fmla="*/ 254317 h 1428750"/>
                <a:gd name="connsiteX802" fmla="*/ 845820 w 1990725"/>
                <a:gd name="connsiteY802" fmla="*/ 246697 h 1428750"/>
                <a:gd name="connsiteX803" fmla="*/ 843915 w 1990725"/>
                <a:gd name="connsiteY803" fmla="*/ 241935 h 1428750"/>
                <a:gd name="connsiteX804" fmla="*/ 843915 w 1990725"/>
                <a:gd name="connsiteY804" fmla="*/ 236220 h 1428750"/>
                <a:gd name="connsiteX805" fmla="*/ 844868 w 1990725"/>
                <a:gd name="connsiteY805" fmla="*/ 229552 h 1428750"/>
                <a:gd name="connsiteX806" fmla="*/ 847725 w 1990725"/>
                <a:gd name="connsiteY806" fmla="*/ 220027 h 1428750"/>
                <a:gd name="connsiteX807" fmla="*/ 852488 w 1990725"/>
                <a:gd name="connsiteY807" fmla="*/ 205740 h 1428750"/>
                <a:gd name="connsiteX808" fmla="*/ 854393 w 1990725"/>
                <a:gd name="connsiteY808" fmla="*/ 199072 h 1428750"/>
                <a:gd name="connsiteX809" fmla="*/ 854393 w 1990725"/>
                <a:gd name="connsiteY809" fmla="*/ 194310 h 1428750"/>
                <a:gd name="connsiteX810" fmla="*/ 854393 w 1990725"/>
                <a:gd name="connsiteY810" fmla="*/ 189547 h 1428750"/>
                <a:gd name="connsiteX811" fmla="*/ 852488 w 1990725"/>
                <a:gd name="connsiteY811" fmla="*/ 181927 h 1428750"/>
                <a:gd name="connsiteX812" fmla="*/ 841057 w 1990725"/>
                <a:gd name="connsiteY812" fmla="*/ 156210 h 1428750"/>
                <a:gd name="connsiteX813" fmla="*/ 840105 w 1990725"/>
                <a:gd name="connsiteY813" fmla="*/ 154305 h 1428750"/>
                <a:gd name="connsiteX814" fmla="*/ 837248 w 1990725"/>
                <a:gd name="connsiteY814" fmla="*/ 153352 h 1428750"/>
                <a:gd name="connsiteX815" fmla="*/ 835343 w 1990725"/>
                <a:gd name="connsiteY815" fmla="*/ 152400 h 1428750"/>
                <a:gd name="connsiteX816" fmla="*/ 817245 w 1990725"/>
                <a:gd name="connsiteY816" fmla="*/ 152400 h 1428750"/>
                <a:gd name="connsiteX817" fmla="*/ 811530 w 1990725"/>
                <a:gd name="connsiteY817" fmla="*/ 150495 h 1428750"/>
                <a:gd name="connsiteX818" fmla="*/ 807720 w 1990725"/>
                <a:gd name="connsiteY818" fmla="*/ 146685 h 1428750"/>
                <a:gd name="connsiteX819" fmla="*/ 804863 w 1990725"/>
                <a:gd name="connsiteY819" fmla="*/ 142875 h 1428750"/>
                <a:gd name="connsiteX820" fmla="*/ 802957 w 1990725"/>
                <a:gd name="connsiteY820" fmla="*/ 138113 h 1428750"/>
                <a:gd name="connsiteX821" fmla="*/ 802957 w 1990725"/>
                <a:gd name="connsiteY821" fmla="*/ 136207 h 1428750"/>
                <a:gd name="connsiteX822" fmla="*/ 805815 w 1990725"/>
                <a:gd name="connsiteY822" fmla="*/ 129540 h 1428750"/>
                <a:gd name="connsiteX823" fmla="*/ 813435 w 1990725"/>
                <a:gd name="connsiteY823" fmla="*/ 118110 h 1428750"/>
                <a:gd name="connsiteX824" fmla="*/ 815340 w 1990725"/>
                <a:gd name="connsiteY824" fmla="*/ 114300 h 1428750"/>
                <a:gd name="connsiteX825" fmla="*/ 817245 w 1990725"/>
                <a:gd name="connsiteY825" fmla="*/ 107632 h 1428750"/>
                <a:gd name="connsiteX826" fmla="*/ 818198 w 1990725"/>
                <a:gd name="connsiteY826" fmla="*/ 102870 h 1428750"/>
                <a:gd name="connsiteX827" fmla="*/ 820103 w 1990725"/>
                <a:gd name="connsiteY827" fmla="*/ 101917 h 1428750"/>
                <a:gd name="connsiteX828" fmla="*/ 822007 w 1990725"/>
                <a:gd name="connsiteY828" fmla="*/ 102870 h 1428750"/>
                <a:gd name="connsiteX829" fmla="*/ 822960 w 1990725"/>
                <a:gd name="connsiteY829" fmla="*/ 104775 h 1428750"/>
                <a:gd name="connsiteX830" fmla="*/ 828675 w 1990725"/>
                <a:gd name="connsiteY830" fmla="*/ 116205 h 1428750"/>
                <a:gd name="connsiteX831" fmla="*/ 831532 w 1990725"/>
                <a:gd name="connsiteY831" fmla="*/ 126682 h 1428750"/>
                <a:gd name="connsiteX832" fmla="*/ 832485 w 1990725"/>
                <a:gd name="connsiteY832" fmla="*/ 128588 h 1428750"/>
                <a:gd name="connsiteX833" fmla="*/ 833438 w 1990725"/>
                <a:gd name="connsiteY833" fmla="*/ 130492 h 1428750"/>
                <a:gd name="connsiteX834" fmla="*/ 839153 w 1990725"/>
                <a:gd name="connsiteY834" fmla="*/ 132397 h 1428750"/>
                <a:gd name="connsiteX835" fmla="*/ 849630 w 1990725"/>
                <a:gd name="connsiteY835" fmla="*/ 131445 h 1428750"/>
                <a:gd name="connsiteX836" fmla="*/ 854393 w 1990725"/>
                <a:gd name="connsiteY836" fmla="*/ 129540 h 1428750"/>
                <a:gd name="connsiteX837" fmla="*/ 856298 w 1990725"/>
                <a:gd name="connsiteY837" fmla="*/ 127635 h 1428750"/>
                <a:gd name="connsiteX838" fmla="*/ 857250 w 1990725"/>
                <a:gd name="connsiteY838" fmla="*/ 124777 h 1428750"/>
                <a:gd name="connsiteX839" fmla="*/ 857250 w 1990725"/>
                <a:gd name="connsiteY839" fmla="*/ 119063 h 1428750"/>
                <a:gd name="connsiteX840" fmla="*/ 853440 w 1990725"/>
                <a:gd name="connsiteY840" fmla="*/ 110490 h 1428750"/>
                <a:gd name="connsiteX841" fmla="*/ 852488 w 1990725"/>
                <a:gd name="connsiteY841" fmla="*/ 104775 h 1428750"/>
                <a:gd name="connsiteX842" fmla="*/ 852488 w 1990725"/>
                <a:gd name="connsiteY842" fmla="*/ 100965 h 1428750"/>
                <a:gd name="connsiteX843" fmla="*/ 853440 w 1990725"/>
                <a:gd name="connsiteY843" fmla="*/ 94297 h 1428750"/>
                <a:gd name="connsiteX844" fmla="*/ 855345 w 1990725"/>
                <a:gd name="connsiteY844" fmla="*/ 88582 h 1428750"/>
                <a:gd name="connsiteX845" fmla="*/ 855345 w 1990725"/>
                <a:gd name="connsiteY845" fmla="*/ 81915 h 1428750"/>
                <a:gd name="connsiteX846" fmla="*/ 853440 w 1990725"/>
                <a:gd name="connsiteY846" fmla="*/ 78105 h 1428750"/>
                <a:gd name="connsiteX847" fmla="*/ 851535 w 1990725"/>
                <a:gd name="connsiteY847" fmla="*/ 72390 h 1428750"/>
                <a:gd name="connsiteX848" fmla="*/ 847725 w 1990725"/>
                <a:gd name="connsiteY848" fmla="*/ 64770 h 1428750"/>
                <a:gd name="connsiteX849" fmla="*/ 847725 w 1990725"/>
                <a:gd name="connsiteY849" fmla="*/ 60007 h 1428750"/>
                <a:gd name="connsiteX850" fmla="*/ 847725 w 1990725"/>
                <a:gd name="connsiteY850" fmla="*/ 57150 h 1428750"/>
                <a:gd name="connsiteX851" fmla="*/ 851535 w 1990725"/>
                <a:gd name="connsiteY851" fmla="*/ 48577 h 1428750"/>
                <a:gd name="connsiteX852" fmla="*/ 851535 w 1990725"/>
                <a:gd name="connsiteY852" fmla="*/ 45720 h 1428750"/>
                <a:gd name="connsiteX853" fmla="*/ 849630 w 1990725"/>
                <a:gd name="connsiteY853" fmla="*/ 40957 h 1428750"/>
                <a:gd name="connsiteX854" fmla="*/ 846773 w 1990725"/>
                <a:gd name="connsiteY854" fmla="*/ 38100 h 1428750"/>
                <a:gd name="connsiteX855" fmla="*/ 839153 w 1990725"/>
                <a:gd name="connsiteY855" fmla="*/ 31432 h 1428750"/>
                <a:gd name="connsiteX856" fmla="*/ 836295 w 1990725"/>
                <a:gd name="connsiteY856" fmla="*/ 26670 h 1428750"/>
                <a:gd name="connsiteX857" fmla="*/ 835343 w 1990725"/>
                <a:gd name="connsiteY857" fmla="*/ 21907 h 1428750"/>
                <a:gd name="connsiteX858" fmla="*/ 834390 w 1990725"/>
                <a:gd name="connsiteY858" fmla="*/ 16192 h 1428750"/>
                <a:gd name="connsiteX859" fmla="*/ 835343 w 1990725"/>
                <a:gd name="connsiteY859" fmla="*/ 6667 h 1428750"/>
                <a:gd name="connsiteX860" fmla="*/ 836295 w 1990725"/>
                <a:gd name="connsiteY860" fmla="*/ 0 h 1428750"/>
                <a:gd name="connsiteX861" fmla="*/ 876300 w 1990725"/>
                <a:gd name="connsiteY861" fmla="*/ 11430 h 1428750"/>
                <a:gd name="connsiteX862" fmla="*/ 879157 w 1990725"/>
                <a:gd name="connsiteY862" fmla="*/ 12382 h 1428750"/>
                <a:gd name="connsiteX863" fmla="*/ 886778 w 1990725"/>
                <a:gd name="connsiteY863" fmla="*/ 19050 h 1428750"/>
                <a:gd name="connsiteX864" fmla="*/ 890588 w 1990725"/>
                <a:gd name="connsiteY864" fmla="*/ 22860 h 1428750"/>
                <a:gd name="connsiteX865" fmla="*/ 929640 w 1990725"/>
                <a:gd name="connsiteY865" fmla="*/ 30480 h 1428750"/>
                <a:gd name="connsiteX866" fmla="*/ 938213 w 1990725"/>
                <a:gd name="connsiteY866" fmla="*/ 34290 h 1428750"/>
                <a:gd name="connsiteX867" fmla="*/ 943928 w 1990725"/>
                <a:gd name="connsiteY867" fmla="*/ 37147 h 1428750"/>
                <a:gd name="connsiteX868" fmla="*/ 945832 w 1990725"/>
                <a:gd name="connsiteY868" fmla="*/ 41910 h 1428750"/>
                <a:gd name="connsiteX869" fmla="*/ 947738 w 1990725"/>
                <a:gd name="connsiteY869" fmla="*/ 49530 h 1428750"/>
                <a:gd name="connsiteX870" fmla="*/ 949643 w 1990725"/>
                <a:gd name="connsiteY870" fmla="*/ 54292 h 1428750"/>
                <a:gd name="connsiteX871" fmla="*/ 950595 w 1990725"/>
                <a:gd name="connsiteY871" fmla="*/ 56197 h 1428750"/>
                <a:gd name="connsiteX872" fmla="*/ 954405 w 1990725"/>
                <a:gd name="connsiteY872" fmla="*/ 60007 h 1428750"/>
                <a:gd name="connsiteX873" fmla="*/ 959168 w 1990725"/>
                <a:gd name="connsiteY873" fmla="*/ 64770 h 1428750"/>
                <a:gd name="connsiteX874" fmla="*/ 964882 w 1990725"/>
                <a:gd name="connsiteY874" fmla="*/ 67627 h 1428750"/>
                <a:gd name="connsiteX875" fmla="*/ 967740 w 1990725"/>
                <a:gd name="connsiteY875" fmla="*/ 68580 h 1428750"/>
                <a:gd name="connsiteX876" fmla="*/ 971550 w 1990725"/>
                <a:gd name="connsiteY876" fmla="*/ 68580 h 1428750"/>
                <a:gd name="connsiteX877" fmla="*/ 974407 w 1990725"/>
                <a:gd name="connsiteY877" fmla="*/ 65722 h 1428750"/>
                <a:gd name="connsiteX878" fmla="*/ 976313 w 1990725"/>
                <a:gd name="connsiteY878" fmla="*/ 63817 h 1428750"/>
                <a:gd name="connsiteX879" fmla="*/ 977265 w 1990725"/>
                <a:gd name="connsiteY879" fmla="*/ 59055 h 1428750"/>
                <a:gd name="connsiteX880" fmla="*/ 980123 w 1990725"/>
                <a:gd name="connsiteY880" fmla="*/ 54292 h 1428750"/>
                <a:gd name="connsiteX881" fmla="*/ 983932 w 1990725"/>
                <a:gd name="connsiteY881" fmla="*/ 52388 h 1428750"/>
                <a:gd name="connsiteX882" fmla="*/ 1040130 w 1990725"/>
                <a:gd name="connsiteY882" fmla="*/ 40957 h 1428750"/>
                <a:gd name="connsiteX883" fmla="*/ 1044893 w 1990725"/>
                <a:gd name="connsiteY883" fmla="*/ 39052 h 1428750"/>
                <a:gd name="connsiteX884" fmla="*/ 1048703 w 1990725"/>
                <a:gd name="connsiteY884" fmla="*/ 35242 h 1428750"/>
                <a:gd name="connsiteX885" fmla="*/ 1049655 w 1990725"/>
                <a:gd name="connsiteY885" fmla="*/ 32385 h 1428750"/>
                <a:gd name="connsiteX886" fmla="*/ 1049655 w 1990725"/>
                <a:gd name="connsiteY886" fmla="*/ 26670 h 1428750"/>
                <a:gd name="connsiteX887" fmla="*/ 1047750 w 1990725"/>
                <a:gd name="connsiteY887" fmla="*/ 19050 h 1428750"/>
                <a:gd name="connsiteX888" fmla="*/ 1048703 w 1990725"/>
                <a:gd name="connsiteY888" fmla="*/ 16192 h 1428750"/>
                <a:gd name="connsiteX889" fmla="*/ 1049655 w 1990725"/>
                <a:gd name="connsiteY889" fmla="*/ 14288 h 1428750"/>
                <a:gd name="connsiteX890" fmla="*/ 1054418 w 1990725"/>
                <a:gd name="connsiteY890" fmla="*/ 12382 h 1428750"/>
                <a:gd name="connsiteX891" fmla="*/ 1085850 w 1990725"/>
                <a:gd name="connsiteY891" fmla="*/ 5715 h 1428750"/>
                <a:gd name="connsiteX892" fmla="*/ 1088707 w 1990725"/>
                <a:gd name="connsiteY892" fmla="*/ 6667 h 1428750"/>
                <a:gd name="connsiteX893" fmla="*/ 1092518 w 1990725"/>
                <a:gd name="connsiteY893" fmla="*/ 7620 h 1428750"/>
                <a:gd name="connsiteX894" fmla="*/ 1096328 w 1990725"/>
                <a:gd name="connsiteY894" fmla="*/ 11430 h 1428750"/>
                <a:gd name="connsiteX895" fmla="*/ 1098232 w 1990725"/>
                <a:gd name="connsiteY895" fmla="*/ 14288 h 1428750"/>
                <a:gd name="connsiteX896" fmla="*/ 1099185 w 1990725"/>
                <a:gd name="connsiteY896" fmla="*/ 18097 h 1428750"/>
                <a:gd name="connsiteX897" fmla="*/ 1099185 w 1990725"/>
                <a:gd name="connsiteY897" fmla="*/ 20002 h 1428750"/>
                <a:gd name="connsiteX898" fmla="*/ 1094423 w 1990725"/>
                <a:gd name="connsiteY898" fmla="*/ 29527 h 1428750"/>
                <a:gd name="connsiteX899" fmla="*/ 1092518 w 1990725"/>
                <a:gd name="connsiteY899" fmla="*/ 35242 h 1428750"/>
                <a:gd name="connsiteX900" fmla="*/ 1092518 w 1990725"/>
                <a:gd name="connsiteY900" fmla="*/ 38100 h 1428750"/>
                <a:gd name="connsiteX901" fmla="*/ 1094423 w 1990725"/>
                <a:gd name="connsiteY901" fmla="*/ 42863 h 1428750"/>
                <a:gd name="connsiteX902" fmla="*/ 1097280 w 1990725"/>
                <a:gd name="connsiteY902" fmla="*/ 53340 h 1428750"/>
                <a:gd name="connsiteX903" fmla="*/ 1099185 w 1990725"/>
                <a:gd name="connsiteY903" fmla="*/ 55245 h 1428750"/>
                <a:gd name="connsiteX904" fmla="*/ 1102043 w 1990725"/>
                <a:gd name="connsiteY904" fmla="*/ 56197 h 1428750"/>
                <a:gd name="connsiteX905" fmla="*/ 1114425 w 1990725"/>
                <a:gd name="connsiteY905" fmla="*/ 55245 h 1428750"/>
                <a:gd name="connsiteX906" fmla="*/ 1118235 w 1990725"/>
                <a:gd name="connsiteY906" fmla="*/ 55245 h 1428750"/>
                <a:gd name="connsiteX907" fmla="*/ 1121093 w 1990725"/>
                <a:gd name="connsiteY907" fmla="*/ 58102 h 1428750"/>
                <a:gd name="connsiteX908" fmla="*/ 1123950 w 1990725"/>
                <a:gd name="connsiteY908" fmla="*/ 62865 h 1428750"/>
                <a:gd name="connsiteX909" fmla="*/ 1126807 w 1990725"/>
                <a:gd name="connsiteY909" fmla="*/ 71438 h 1428750"/>
                <a:gd name="connsiteX910" fmla="*/ 1127760 w 1990725"/>
                <a:gd name="connsiteY910" fmla="*/ 73342 h 1428750"/>
                <a:gd name="connsiteX911" fmla="*/ 1134428 w 1990725"/>
                <a:gd name="connsiteY911" fmla="*/ 75247 h 1428750"/>
                <a:gd name="connsiteX912" fmla="*/ 1185863 w 1990725"/>
                <a:gd name="connsiteY912" fmla="*/ 71438 h 1428750"/>
                <a:gd name="connsiteX913" fmla="*/ 1252538 w 1990725"/>
                <a:gd name="connsiteY913" fmla="*/ 53340 h 1428750"/>
                <a:gd name="connsiteX914" fmla="*/ 1264920 w 1990725"/>
                <a:gd name="connsiteY914" fmla="*/ 53340 h 1428750"/>
                <a:gd name="connsiteX915" fmla="*/ 1346835 w 1990725"/>
                <a:gd name="connsiteY915" fmla="*/ 80010 h 1428750"/>
                <a:gd name="connsiteX916" fmla="*/ 1399223 w 1990725"/>
                <a:gd name="connsiteY916" fmla="*/ 84772 h 1428750"/>
                <a:gd name="connsiteX917" fmla="*/ 1423988 w 1990725"/>
                <a:gd name="connsiteY917" fmla="*/ 80963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</a:cxnLst>
              <a:rect l="l" t="t" r="r" b="b"/>
              <a:pathLst>
                <a:path w="1990725" h="1428750">
                  <a:moveTo>
                    <a:pt x="599123" y="1174432"/>
                  </a:moveTo>
                  <a:lnTo>
                    <a:pt x="674370" y="1183957"/>
                  </a:lnTo>
                  <a:lnTo>
                    <a:pt x="710565" y="1177290"/>
                  </a:lnTo>
                  <a:lnTo>
                    <a:pt x="726757" y="1177290"/>
                  </a:lnTo>
                  <a:lnTo>
                    <a:pt x="742950" y="1190625"/>
                  </a:lnTo>
                  <a:lnTo>
                    <a:pt x="764857" y="1180147"/>
                  </a:lnTo>
                  <a:lnTo>
                    <a:pt x="778193" y="1179195"/>
                  </a:lnTo>
                  <a:lnTo>
                    <a:pt x="782955" y="1186815"/>
                  </a:lnTo>
                  <a:lnTo>
                    <a:pt x="788670" y="1192530"/>
                  </a:lnTo>
                  <a:lnTo>
                    <a:pt x="812482" y="1190625"/>
                  </a:lnTo>
                  <a:lnTo>
                    <a:pt x="819150" y="1200150"/>
                  </a:lnTo>
                  <a:lnTo>
                    <a:pt x="809625" y="1210627"/>
                  </a:lnTo>
                  <a:lnTo>
                    <a:pt x="588645" y="1174432"/>
                  </a:lnTo>
                  <a:lnTo>
                    <a:pt x="592455" y="1169670"/>
                  </a:lnTo>
                  <a:lnTo>
                    <a:pt x="594360" y="1169670"/>
                  </a:lnTo>
                  <a:lnTo>
                    <a:pt x="599123" y="1174432"/>
                  </a:lnTo>
                  <a:close/>
                  <a:moveTo>
                    <a:pt x="1983105" y="1021080"/>
                  </a:moveTo>
                  <a:lnTo>
                    <a:pt x="1990725" y="1025843"/>
                  </a:lnTo>
                  <a:lnTo>
                    <a:pt x="1982153" y="1035368"/>
                  </a:lnTo>
                  <a:lnTo>
                    <a:pt x="1954530" y="1090613"/>
                  </a:lnTo>
                  <a:lnTo>
                    <a:pt x="1941195" y="1108710"/>
                  </a:lnTo>
                  <a:lnTo>
                    <a:pt x="1928813" y="1122045"/>
                  </a:lnTo>
                  <a:lnTo>
                    <a:pt x="1907857" y="1129665"/>
                  </a:lnTo>
                  <a:lnTo>
                    <a:pt x="1894523" y="1140143"/>
                  </a:lnTo>
                  <a:lnTo>
                    <a:pt x="1876425" y="1144905"/>
                  </a:lnTo>
                  <a:lnTo>
                    <a:pt x="1864043" y="1154430"/>
                  </a:lnTo>
                  <a:lnTo>
                    <a:pt x="1844040" y="1163955"/>
                  </a:lnTo>
                  <a:lnTo>
                    <a:pt x="1834515" y="1160145"/>
                  </a:lnTo>
                  <a:lnTo>
                    <a:pt x="1835468" y="1153477"/>
                  </a:lnTo>
                  <a:lnTo>
                    <a:pt x="1852613" y="1133475"/>
                  </a:lnTo>
                  <a:lnTo>
                    <a:pt x="1870710" y="1122045"/>
                  </a:lnTo>
                  <a:lnTo>
                    <a:pt x="1869757" y="1119188"/>
                  </a:lnTo>
                  <a:lnTo>
                    <a:pt x="1866900" y="1111568"/>
                  </a:lnTo>
                  <a:lnTo>
                    <a:pt x="1922145" y="1094422"/>
                  </a:lnTo>
                  <a:lnTo>
                    <a:pt x="1949768" y="1080135"/>
                  </a:lnTo>
                  <a:lnTo>
                    <a:pt x="1964055" y="1050607"/>
                  </a:lnTo>
                  <a:lnTo>
                    <a:pt x="1976438" y="1036320"/>
                  </a:lnTo>
                  <a:lnTo>
                    <a:pt x="1982153" y="1023938"/>
                  </a:lnTo>
                  <a:lnTo>
                    <a:pt x="1983105" y="1021080"/>
                  </a:lnTo>
                  <a:close/>
                  <a:moveTo>
                    <a:pt x="341948" y="1101090"/>
                  </a:moveTo>
                  <a:lnTo>
                    <a:pt x="349568" y="1105852"/>
                  </a:lnTo>
                  <a:lnTo>
                    <a:pt x="337185" y="1103947"/>
                  </a:lnTo>
                  <a:lnTo>
                    <a:pt x="315278" y="1092518"/>
                  </a:lnTo>
                  <a:lnTo>
                    <a:pt x="122873" y="1051560"/>
                  </a:lnTo>
                  <a:lnTo>
                    <a:pt x="40005" y="1019175"/>
                  </a:lnTo>
                  <a:lnTo>
                    <a:pt x="23813" y="1004888"/>
                  </a:lnTo>
                  <a:lnTo>
                    <a:pt x="9525" y="981075"/>
                  </a:lnTo>
                  <a:lnTo>
                    <a:pt x="5715" y="968693"/>
                  </a:lnTo>
                  <a:lnTo>
                    <a:pt x="953" y="949643"/>
                  </a:lnTo>
                  <a:lnTo>
                    <a:pt x="0" y="935355"/>
                  </a:lnTo>
                  <a:lnTo>
                    <a:pt x="9525" y="939165"/>
                  </a:lnTo>
                  <a:lnTo>
                    <a:pt x="18098" y="971550"/>
                  </a:lnTo>
                  <a:lnTo>
                    <a:pt x="26670" y="994410"/>
                  </a:lnTo>
                  <a:lnTo>
                    <a:pt x="39053" y="1009650"/>
                  </a:lnTo>
                  <a:lnTo>
                    <a:pt x="60007" y="1022032"/>
                  </a:lnTo>
                  <a:lnTo>
                    <a:pt x="230505" y="1063943"/>
                  </a:lnTo>
                  <a:lnTo>
                    <a:pt x="299085" y="1081088"/>
                  </a:lnTo>
                  <a:lnTo>
                    <a:pt x="341948" y="1101090"/>
                  </a:lnTo>
                  <a:close/>
                  <a:moveTo>
                    <a:pt x="1423988" y="80963"/>
                  </a:moveTo>
                  <a:lnTo>
                    <a:pt x="1437323" y="118110"/>
                  </a:lnTo>
                  <a:lnTo>
                    <a:pt x="1463993" y="205740"/>
                  </a:lnTo>
                  <a:lnTo>
                    <a:pt x="1469707" y="219075"/>
                  </a:lnTo>
                  <a:lnTo>
                    <a:pt x="1470660" y="224790"/>
                  </a:lnTo>
                  <a:lnTo>
                    <a:pt x="1471613" y="237172"/>
                  </a:lnTo>
                  <a:lnTo>
                    <a:pt x="1472565" y="240030"/>
                  </a:lnTo>
                  <a:lnTo>
                    <a:pt x="1473518" y="241935"/>
                  </a:lnTo>
                  <a:lnTo>
                    <a:pt x="1477328" y="243840"/>
                  </a:lnTo>
                  <a:lnTo>
                    <a:pt x="1480185" y="243840"/>
                  </a:lnTo>
                  <a:lnTo>
                    <a:pt x="1483043" y="243840"/>
                  </a:lnTo>
                  <a:lnTo>
                    <a:pt x="1487805" y="241935"/>
                  </a:lnTo>
                  <a:lnTo>
                    <a:pt x="1493520" y="237172"/>
                  </a:lnTo>
                  <a:lnTo>
                    <a:pt x="1495425" y="236220"/>
                  </a:lnTo>
                  <a:lnTo>
                    <a:pt x="1503045" y="235267"/>
                  </a:lnTo>
                  <a:lnTo>
                    <a:pt x="1505903" y="236220"/>
                  </a:lnTo>
                  <a:lnTo>
                    <a:pt x="1513523" y="240030"/>
                  </a:lnTo>
                  <a:lnTo>
                    <a:pt x="1519238" y="241935"/>
                  </a:lnTo>
                  <a:lnTo>
                    <a:pt x="1524000" y="240030"/>
                  </a:lnTo>
                  <a:lnTo>
                    <a:pt x="1524953" y="238125"/>
                  </a:lnTo>
                  <a:lnTo>
                    <a:pt x="1527810" y="232410"/>
                  </a:lnTo>
                  <a:lnTo>
                    <a:pt x="1532573" y="225742"/>
                  </a:lnTo>
                  <a:lnTo>
                    <a:pt x="1533525" y="222885"/>
                  </a:lnTo>
                  <a:lnTo>
                    <a:pt x="1534478" y="217170"/>
                  </a:lnTo>
                  <a:lnTo>
                    <a:pt x="1535430" y="214313"/>
                  </a:lnTo>
                  <a:lnTo>
                    <a:pt x="1537335" y="212407"/>
                  </a:lnTo>
                  <a:lnTo>
                    <a:pt x="1542098" y="210502"/>
                  </a:lnTo>
                  <a:lnTo>
                    <a:pt x="1578293" y="206692"/>
                  </a:lnTo>
                  <a:lnTo>
                    <a:pt x="1582103" y="207645"/>
                  </a:lnTo>
                  <a:lnTo>
                    <a:pt x="1584007" y="211455"/>
                  </a:lnTo>
                  <a:lnTo>
                    <a:pt x="1583055" y="215265"/>
                  </a:lnTo>
                  <a:lnTo>
                    <a:pt x="1580198" y="218122"/>
                  </a:lnTo>
                  <a:lnTo>
                    <a:pt x="1572578" y="220980"/>
                  </a:lnTo>
                  <a:lnTo>
                    <a:pt x="1568768" y="224790"/>
                  </a:lnTo>
                  <a:lnTo>
                    <a:pt x="1567815" y="231457"/>
                  </a:lnTo>
                  <a:lnTo>
                    <a:pt x="1566863" y="238125"/>
                  </a:lnTo>
                  <a:lnTo>
                    <a:pt x="1567815" y="243840"/>
                  </a:lnTo>
                  <a:lnTo>
                    <a:pt x="1568768" y="246697"/>
                  </a:lnTo>
                  <a:lnTo>
                    <a:pt x="1572578" y="250507"/>
                  </a:lnTo>
                  <a:lnTo>
                    <a:pt x="1580198" y="256222"/>
                  </a:lnTo>
                  <a:lnTo>
                    <a:pt x="1581150" y="259080"/>
                  </a:lnTo>
                  <a:lnTo>
                    <a:pt x="1582103" y="261938"/>
                  </a:lnTo>
                  <a:lnTo>
                    <a:pt x="1582103" y="267652"/>
                  </a:lnTo>
                  <a:lnTo>
                    <a:pt x="1581150" y="271463"/>
                  </a:lnTo>
                  <a:lnTo>
                    <a:pt x="1580198" y="273367"/>
                  </a:lnTo>
                  <a:lnTo>
                    <a:pt x="1577340" y="276225"/>
                  </a:lnTo>
                  <a:lnTo>
                    <a:pt x="1576388" y="278130"/>
                  </a:lnTo>
                  <a:lnTo>
                    <a:pt x="1575435" y="280988"/>
                  </a:lnTo>
                  <a:lnTo>
                    <a:pt x="1575435" y="286702"/>
                  </a:lnTo>
                  <a:lnTo>
                    <a:pt x="1580198" y="307657"/>
                  </a:lnTo>
                  <a:lnTo>
                    <a:pt x="1580198" y="313372"/>
                  </a:lnTo>
                  <a:lnTo>
                    <a:pt x="1578293" y="329565"/>
                  </a:lnTo>
                  <a:lnTo>
                    <a:pt x="1579245" y="338138"/>
                  </a:lnTo>
                  <a:lnTo>
                    <a:pt x="1579245" y="343852"/>
                  </a:lnTo>
                  <a:lnTo>
                    <a:pt x="1582103" y="354330"/>
                  </a:lnTo>
                  <a:lnTo>
                    <a:pt x="1582103" y="360045"/>
                  </a:lnTo>
                  <a:lnTo>
                    <a:pt x="1583055" y="362902"/>
                  </a:lnTo>
                  <a:lnTo>
                    <a:pt x="1584960" y="365760"/>
                  </a:lnTo>
                  <a:lnTo>
                    <a:pt x="1589723" y="368617"/>
                  </a:lnTo>
                  <a:lnTo>
                    <a:pt x="1596390" y="370522"/>
                  </a:lnTo>
                  <a:lnTo>
                    <a:pt x="1599248" y="372427"/>
                  </a:lnTo>
                  <a:lnTo>
                    <a:pt x="1601153" y="376238"/>
                  </a:lnTo>
                  <a:lnTo>
                    <a:pt x="1609725" y="412432"/>
                  </a:lnTo>
                  <a:lnTo>
                    <a:pt x="1610678" y="439102"/>
                  </a:lnTo>
                  <a:lnTo>
                    <a:pt x="1611630" y="443865"/>
                  </a:lnTo>
                  <a:lnTo>
                    <a:pt x="1612582" y="446722"/>
                  </a:lnTo>
                  <a:lnTo>
                    <a:pt x="1614488" y="448627"/>
                  </a:lnTo>
                  <a:lnTo>
                    <a:pt x="1619250" y="451485"/>
                  </a:lnTo>
                  <a:lnTo>
                    <a:pt x="1625918" y="452438"/>
                  </a:lnTo>
                  <a:lnTo>
                    <a:pt x="1628775" y="454342"/>
                  </a:lnTo>
                  <a:lnTo>
                    <a:pt x="1629728" y="457200"/>
                  </a:lnTo>
                  <a:lnTo>
                    <a:pt x="1631632" y="461010"/>
                  </a:lnTo>
                  <a:lnTo>
                    <a:pt x="1633538" y="468630"/>
                  </a:lnTo>
                  <a:lnTo>
                    <a:pt x="1634490" y="480060"/>
                  </a:lnTo>
                  <a:lnTo>
                    <a:pt x="1635443" y="481965"/>
                  </a:lnTo>
                  <a:lnTo>
                    <a:pt x="1637348" y="484822"/>
                  </a:lnTo>
                  <a:lnTo>
                    <a:pt x="1640205" y="486727"/>
                  </a:lnTo>
                  <a:lnTo>
                    <a:pt x="1653540" y="489585"/>
                  </a:lnTo>
                  <a:lnTo>
                    <a:pt x="1658303" y="492442"/>
                  </a:lnTo>
                  <a:lnTo>
                    <a:pt x="1664970" y="497205"/>
                  </a:lnTo>
                  <a:lnTo>
                    <a:pt x="1669732" y="500063"/>
                  </a:lnTo>
                  <a:lnTo>
                    <a:pt x="1694498" y="508635"/>
                  </a:lnTo>
                  <a:lnTo>
                    <a:pt x="1697355" y="509588"/>
                  </a:lnTo>
                  <a:lnTo>
                    <a:pt x="1699260" y="512445"/>
                  </a:lnTo>
                  <a:lnTo>
                    <a:pt x="1701165" y="517207"/>
                  </a:lnTo>
                  <a:lnTo>
                    <a:pt x="1706880" y="541972"/>
                  </a:lnTo>
                  <a:lnTo>
                    <a:pt x="1709738" y="546735"/>
                  </a:lnTo>
                  <a:lnTo>
                    <a:pt x="1713548" y="549592"/>
                  </a:lnTo>
                  <a:lnTo>
                    <a:pt x="1717357" y="550545"/>
                  </a:lnTo>
                  <a:lnTo>
                    <a:pt x="1723073" y="551497"/>
                  </a:lnTo>
                  <a:lnTo>
                    <a:pt x="1725930" y="552450"/>
                  </a:lnTo>
                  <a:lnTo>
                    <a:pt x="1729740" y="555307"/>
                  </a:lnTo>
                  <a:lnTo>
                    <a:pt x="1731645" y="560070"/>
                  </a:lnTo>
                  <a:lnTo>
                    <a:pt x="1733550" y="564832"/>
                  </a:lnTo>
                  <a:lnTo>
                    <a:pt x="1736407" y="577215"/>
                  </a:lnTo>
                  <a:lnTo>
                    <a:pt x="1736407" y="582930"/>
                  </a:lnTo>
                  <a:lnTo>
                    <a:pt x="1735455" y="586740"/>
                  </a:lnTo>
                  <a:lnTo>
                    <a:pt x="1733550" y="588645"/>
                  </a:lnTo>
                  <a:lnTo>
                    <a:pt x="1719263" y="594360"/>
                  </a:lnTo>
                  <a:lnTo>
                    <a:pt x="1714500" y="595313"/>
                  </a:lnTo>
                  <a:lnTo>
                    <a:pt x="1711643" y="597217"/>
                  </a:lnTo>
                  <a:lnTo>
                    <a:pt x="1710690" y="598170"/>
                  </a:lnTo>
                  <a:lnTo>
                    <a:pt x="1708785" y="603885"/>
                  </a:lnTo>
                  <a:lnTo>
                    <a:pt x="1708785" y="621982"/>
                  </a:lnTo>
                  <a:lnTo>
                    <a:pt x="1706880" y="626745"/>
                  </a:lnTo>
                  <a:lnTo>
                    <a:pt x="1703070" y="631507"/>
                  </a:lnTo>
                  <a:lnTo>
                    <a:pt x="1701165" y="636270"/>
                  </a:lnTo>
                  <a:lnTo>
                    <a:pt x="1698307" y="645795"/>
                  </a:lnTo>
                  <a:lnTo>
                    <a:pt x="1694498" y="650557"/>
                  </a:lnTo>
                  <a:lnTo>
                    <a:pt x="1692593" y="651510"/>
                  </a:lnTo>
                  <a:lnTo>
                    <a:pt x="1687830" y="653415"/>
                  </a:lnTo>
                  <a:lnTo>
                    <a:pt x="1684020" y="656272"/>
                  </a:lnTo>
                  <a:lnTo>
                    <a:pt x="1681163" y="661035"/>
                  </a:lnTo>
                  <a:lnTo>
                    <a:pt x="1678305" y="665797"/>
                  </a:lnTo>
                  <a:lnTo>
                    <a:pt x="1676400" y="667702"/>
                  </a:lnTo>
                  <a:lnTo>
                    <a:pt x="1671638" y="668655"/>
                  </a:lnTo>
                  <a:lnTo>
                    <a:pt x="1657350" y="669607"/>
                  </a:lnTo>
                  <a:lnTo>
                    <a:pt x="1652588" y="670560"/>
                  </a:lnTo>
                  <a:lnTo>
                    <a:pt x="1650682" y="672465"/>
                  </a:lnTo>
                  <a:lnTo>
                    <a:pt x="1647825" y="676275"/>
                  </a:lnTo>
                  <a:lnTo>
                    <a:pt x="1646873" y="681990"/>
                  </a:lnTo>
                  <a:lnTo>
                    <a:pt x="1647825" y="690563"/>
                  </a:lnTo>
                  <a:lnTo>
                    <a:pt x="1648778" y="693420"/>
                  </a:lnTo>
                  <a:lnTo>
                    <a:pt x="1651635" y="695325"/>
                  </a:lnTo>
                  <a:lnTo>
                    <a:pt x="1656398" y="697230"/>
                  </a:lnTo>
                  <a:lnTo>
                    <a:pt x="1660207" y="697230"/>
                  </a:lnTo>
                  <a:lnTo>
                    <a:pt x="1664970" y="695325"/>
                  </a:lnTo>
                  <a:lnTo>
                    <a:pt x="1667828" y="696277"/>
                  </a:lnTo>
                  <a:lnTo>
                    <a:pt x="1677353" y="703897"/>
                  </a:lnTo>
                  <a:lnTo>
                    <a:pt x="1681163" y="705802"/>
                  </a:lnTo>
                  <a:lnTo>
                    <a:pt x="1684973" y="706755"/>
                  </a:lnTo>
                  <a:lnTo>
                    <a:pt x="1696403" y="708660"/>
                  </a:lnTo>
                  <a:lnTo>
                    <a:pt x="1700213" y="710565"/>
                  </a:lnTo>
                  <a:lnTo>
                    <a:pt x="1703070" y="713422"/>
                  </a:lnTo>
                  <a:lnTo>
                    <a:pt x="1705928" y="720090"/>
                  </a:lnTo>
                  <a:lnTo>
                    <a:pt x="1707832" y="727710"/>
                  </a:lnTo>
                  <a:lnTo>
                    <a:pt x="1708785" y="735330"/>
                  </a:lnTo>
                  <a:lnTo>
                    <a:pt x="1707832" y="741045"/>
                  </a:lnTo>
                  <a:lnTo>
                    <a:pt x="1706880" y="743902"/>
                  </a:lnTo>
                  <a:lnTo>
                    <a:pt x="1701165" y="749617"/>
                  </a:lnTo>
                  <a:lnTo>
                    <a:pt x="1698307" y="754380"/>
                  </a:lnTo>
                  <a:lnTo>
                    <a:pt x="1697355" y="759142"/>
                  </a:lnTo>
                  <a:lnTo>
                    <a:pt x="1697355" y="764857"/>
                  </a:lnTo>
                  <a:lnTo>
                    <a:pt x="1701165" y="771525"/>
                  </a:lnTo>
                  <a:lnTo>
                    <a:pt x="1713548" y="791527"/>
                  </a:lnTo>
                  <a:lnTo>
                    <a:pt x="1716405" y="800100"/>
                  </a:lnTo>
                  <a:lnTo>
                    <a:pt x="1718310" y="802005"/>
                  </a:lnTo>
                  <a:lnTo>
                    <a:pt x="1721168" y="803910"/>
                  </a:lnTo>
                  <a:lnTo>
                    <a:pt x="1725930" y="804863"/>
                  </a:lnTo>
                  <a:lnTo>
                    <a:pt x="1744028" y="803910"/>
                  </a:lnTo>
                  <a:lnTo>
                    <a:pt x="1768793" y="805815"/>
                  </a:lnTo>
                  <a:lnTo>
                    <a:pt x="1771650" y="807720"/>
                  </a:lnTo>
                  <a:lnTo>
                    <a:pt x="1773555" y="809625"/>
                  </a:lnTo>
                  <a:lnTo>
                    <a:pt x="1773555" y="814388"/>
                  </a:lnTo>
                  <a:lnTo>
                    <a:pt x="1772603" y="817245"/>
                  </a:lnTo>
                  <a:lnTo>
                    <a:pt x="1770698" y="820102"/>
                  </a:lnTo>
                  <a:lnTo>
                    <a:pt x="1766888" y="822960"/>
                  </a:lnTo>
                  <a:lnTo>
                    <a:pt x="1765935" y="825817"/>
                  </a:lnTo>
                  <a:lnTo>
                    <a:pt x="1765935" y="836295"/>
                  </a:lnTo>
                  <a:lnTo>
                    <a:pt x="1766888" y="838200"/>
                  </a:lnTo>
                  <a:lnTo>
                    <a:pt x="1768793" y="839152"/>
                  </a:lnTo>
                  <a:lnTo>
                    <a:pt x="1775460" y="840105"/>
                  </a:lnTo>
                  <a:lnTo>
                    <a:pt x="1800225" y="837247"/>
                  </a:lnTo>
                  <a:lnTo>
                    <a:pt x="1804035" y="838200"/>
                  </a:lnTo>
                  <a:lnTo>
                    <a:pt x="1815465" y="848677"/>
                  </a:lnTo>
                  <a:lnTo>
                    <a:pt x="1823085" y="853440"/>
                  </a:lnTo>
                  <a:lnTo>
                    <a:pt x="1826895" y="854392"/>
                  </a:lnTo>
                  <a:lnTo>
                    <a:pt x="1835468" y="859155"/>
                  </a:lnTo>
                  <a:lnTo>
                    <a:pt x="1841182" y="862013"/>
                  </a:lnTo>
                  <a:lnTo>
                    <a:pt x="1855470" y="862013"/>
                  </a:lnTo>
                  <a:lnTo>
                    <a:pt x="1859280" y="864870"/>
                  </a:lnTo>
                  <a:lnTo>
                    <a:pt x="1862138" y="871538"/>
                  </a:lnTo>
                  <a:lnTo>
                    <a:pt x="1875473" y="926782"/>
                  </a:lnTo>
                  <a:lnTo>
                    <a:pt x="1875473" y="930592"/>
                  </a:lnTo>
                  <a:lnTo>
                    <a:pt x="1875473" y="934402"/>
                  </a:lnTo>
                  <a:lnTo>
                    <a:pt x="1872615" y="942975"/>
                  </a:lnTo>
                  <a:lnTo>
                    <a:pt x="1871663" y="948690"/>
                  </a:lnTo>
                  <a:lnTo>
                    <a:pt x="1871663" y="954405"/>
                  </a:lnTo>
                  <a:lnTo>
                    <a:pt x="1874520" y="969645"/>
                  </a:lnTo>
                  <a:lnTo>
                    <a:pt x="1874520" y="972502"/>
                  </a:lnTo>
                  <a:lnTo>
                    <a:pt x="1875473" y="986790"/>
                  </a:lnTo>
                  <a:lnTo>
                    <a:pt x="1880235" y="991552"/>
                  </a:lnTo>
                  <a:lnTo>
                    <a:pt x="1899285" y="995363"/>
                  </a:lnTo>
                  <a:lnTo>
                    <a:pt x="1883093" y="1013460"/>
                  </a:lnTo>
                  <a:lnTo>
                    <a:pt x="1860232" y="1027747"/>
                  </a:lnTo>
                  <a:lnTo>
                    <a:pt x="1809750" y="1040130"/>
                  </a:lnTo>
                  <a:lnTo>
                    <a:pt x="1804988" y="1041082"/>
                  </a:lnTo>
                  <a:lnTo>
                    <a:pt x="1798320" y="1038225"/>
                  </a:lnTo>
                  <a:lnTo>
                    <a:pt x="1795463" y="1033463"/>
                  </a:lnTo>
                  <a:lnTo>
                    <a:pt x="1794510" y="1027747"/>
                  </a:lnTo>
                  <a:lnTo>
                    <a:pt x="1793557" y="1024890"/>
                  </a:lnTo>
                  <a:lnTo>
                    <a:pt x="1787843" y="1027747"/>
                  </a:lnTo>
                  <a:lnTo>
                    <a:pt x="1784032" y="1034415"/>
                  </a:lnTo>
                  <a:lnTo>
                    <a:pt x="1783080" y="1043940"/>
                  </a:lnTo>
                  <a:lnTo>
                    <a:pt x="1781175" y="1050607"/>
                  </a:lnTo>
                  <a:lnTo>
                    <a:pt x="1758315" y="1062038"/>
                  </a:lnTo>
                  <a:lnTo>
                    <a:pt x="1756410" y="1064895"/>
                  </a:lnTo>
                  <a:lnTo>
                    <a:pt x="1747838" y="1078230"/>
                  </a:lnTo>
                  <a:lnTo>
                    <a:pt x="1744980" y="1084897"/>
                  </a:lnTo>
                  <a:lnTo>
                    <a:pt x="1744028" y="1093470"/>
                  </a:lnTo>
                  <a:lnTo>
                    <a:pt x="1744980" y="1099185"/>
                  </a:lnTo>
                  <a:lnTo>
                    <a:pt x="1747838" y="1111568"/>
                  </a:lnTo>
                  <a:lnTo>
                    <a:pt x="1750695" y="1160145"/>
                  </a:lnTo>
                  <a:lnTo>
                    <a:pt x="1753553" y="1171575"/>
                  </a:lnTo>
                  <a:lnTo>
                    <a:pt x="1758315" y="1183957"/>
                  </a:lnTo>
                  <a:lnTo>
                    <a:pt x="1777365" y="1275397"/>
                  </a:lnTo>
                  <a:lnTo>
                    <a:pt x="1782128" y="1285875"/>
                  </a:lnTo>
                  <a:lnTo>
                    <a:pt x="1788795" y="1294447"/>
                  </a:lnTo>
                  <a:lnTo>
                    <a:pt x="1793557" y="1303972"/>
                  </a:lnTo>
                  <a:lnTo>
                    <a:pt x="1821180" y="1379220"/>
                  </a:lnTo>
                  <a:lnTo>
                    <a:pt x="1844993" y="1424940"/>
                  </a:lnTo>
                  <a:lnTo>
                    <a:pt x="1831657" y="1433513"/>
                  </a:lnTo>
                  <a:lnTo>
                    <a:pt x="1812607" y="1402080"/>
                  </a:lnTo>
                  <a:lnTo>
                    <a:pt x="1807845" y="1388745"/>
                  </a:lnTo>
                  <a:lnTo>
                    <a:pt x="1801178" y="1360170"/>
                  </a:lnTo>
                  <a:lnTo>
                    <a:pt x="1796415" y="1348740"/>
                  </a:lnTo>
                  <a:lnTo>
                    <a:pt x="1793557" y="1343025"/>
                  </a:lnTo>
                  <a:lnTo>
                    <a:pt x="1787843" y="1336357"/>
                  </a:lnTo>
                  <a:lnTo>
                    <a:pt x="1782128" y="1330643"/>
                  </a:lnTo>
                  <a:lnTo>
                    <a:pt x="1776413" y="1329690"/>
                  </a:lnTo>
                  <a:lnTo>
                    <a:pt x="1772603" y="1333500"/>
                  </a:lnTo>
                  <a:lnTo>
                    <a:pt x="1770698" y="1338263"/>
                  </a:lnTo>
                  <a:lnTo>
                    <a:pt x="1769745" y="1344930"/>
                  </a:lnTo>
                  <a:lnTo>
                    <a:pt x="1765935" y="1350645"/>
                  </a:lnTo>
                  <a:lnTo>
                    <a:pt x="1762125" y="1355407"/>
                  </a:lnTo>
                  <a:lnTo>
                    <a:pt x="1757363" y="1358265"/>
                  </a:lnTo>
                  <a:lnTo>
                    <a:pt x="1752600" y="1360170"/>
                  </a:lnTo>
                  <a:lnTo>
                    <a:pt x="1746885" y="1361122"/>
                  </a:lnTo>
                  <a:lnTo>
                    <a:pt x="1744028" y="1357313"/>
                  </a:lnTo>
                  <a:lnTo>
                    <a:pt x="1744980" y="1349693"/>
                  </a:lnTo>
                  <a:lnTo>
                    <a:pt x="1755457" y="1309688"/>
                  </a:lnTo>
                  <a:lnTo>
                    <a:pt x="1754505" y="1309688"/>
                  </a:lnTo>
                  <a:lnTo>
                    <a:pt x="1752600" y="1307782"/>
                  </a:lnTo>
                  <a:lnTo>
                    <a:pt x="1751648" y="1303020"/>
                  </a:lnTo>
                  <a:lnTo>
                    <a:pt x="1751648" y="1299210"/>
                  </a:lnTo>
                  <a:lnTo>
                    <a:pt x="1752600" y="1298257"/>
                  </a:lnTo>
                  <a:lnTo>
                    <a:pt x="1757363" y="1294447"/>
                  </a:lnTo>
                  <a:lnTo>
                    <a:pt x="1760220" y="1293495"/>
                  </a:lnTo>
                  <a:lnTo>
                    <a:pt x="1762125" y="1289685"/>
                  </a:lnTo>
                  <a:lnTo>
                    <a:pt x="1763078" y="1285875"/>
                  </a:lnTo>
                  <a:lnTo>
                    <a:pt x="1760220" y="1283018"/>
                  </a:lnTo>
                  <a:lnTo>
                    <a:pt x="1758315" y="1283018"/>
                  </a:lnTo>
                  <a:lnTo>
                    <a:pt x="1751648" y="1277302"/>
                  </a:lnTo>
                  <a:lnTo>
                    <a:pt x="1749743" y="1275397"/>
                  </a:lnTo>
                  <a:lnTo>
                    <a:pt x="1745932" y="1268730"/>
                  </a:lnTo>
                  <a:lnTo>
                    <a:pt x="1744980" y="1261110"/>
                  </a:lnTo>
                  <a:lnTo>
                    <a:pt x="1744980" y="1243965"/>
                  </a:lnTo>
                  <a:lnTo>
                    <a:pt x="1743075" y="1231582"/>
                  </a:lnTo>
                  <a:lnTo>
                    <a:pt x="1740218" y="1213485"/>
                  </a:lnTo>
                  <a:lnTo>
                    <a:pt x="1735455" y="1197293"/>
                  </a:lnTo>
                  <a:lnTo>
                    <a:pt x="1729740" y="1190625"/>
                  </a:lnTo>
                  <a:lnTo>
                    <a:pt x="1723073" y="1192530"/>
                  </a:lnTo>
                  <a:lnTo>
                    <a:pt x="1720215" y="1199197"/>
                  </a:lnTo>
                  <a:lnTo>
                    <a:pt x="1718310" y="1206818"/>
                  </a:lnTo>
                  <a:lnTo>
                    <a:pt x="1713548" y="1210627"/>
                  </a:lnTo>
                  <a:lnTo>
                    <a:pt x="1709738" y="1207770"/>
                  </a:lnTo>
                  <a:lnTo>
                    <a:pt x="1693545" y="1192530"/>
                  </a:lnTo>
                  <a:lnTo>
                    <a:pt x="1691640" y="1181100"/>
                  </a:lnTo>
                  <a:lnTo>
                    <a:pt x="1684020" y="1169670"/>
                  </a:lnTo>
                  <a:lnTo>
                    <a:pt x="1674495" y="1159193"/>
                  </a:lnTo>
                  <a:lnTo>
                    <a:pt x="1664970" y="1153477"/>
                  </a:lnTo>
                  <a:lnTo>
                    <a:pt x="1669732" y="1146810"/>
                  </a:lnTo>
                  <a:lnTo>
                    <a:pt x="1676400" y="1142047"/>
                  </a:lnTo>
                  <a:lnTo>
                    <a:pt x="1697355" y="1136332"/>
                  </a:lnTo>
                  <a:lnTo>
                    <a:pt x="1709738" y="1137285"/>
                  </a:lnTo>
                  <a:lnTo>
                    <a:pt x="1713548" y="1140143"/>
                  </a:lnTo>
                  <a:lnTo>
                    <a:pt x="1720215" y="1150620"/>
                  </a:lnTo>
                  <a:lnTo>
                    <a:pt x="1724978" y="1153477"/>
                  </a:lnTo>
                  <a:lnTo>
                    <a:pt x="1731645" y="1147763"/>
                  </a:lnTo>
                  <a:lnTo>
                    <a:pt x="1731645" y="1135380"/>
                  </a:lnTo>
                  <a:lnTo>
                    <a:pt x="1726882" y="1121093"/>
                  </a:lnTo>
                  <a:lnTo>
                    <a:pt x="1723073" y="1111568"/>
                  </a:lnTo>
                  <a:lnTo>
                    <a:pt x="1707832" y="1096327"/>
                  </a:lnTo>
                  <a:lnTo>
                    <a:pt x="1684020" y="1082040"/>
                  </a:lnTo>
                  <a:lnTo>
                    <a:pt x="1660207" y="1079182"/>
                  </a:lnTo>
                  <a:lnTo>
                    <a:pt x="1643063" y="1096327"/>
                  </a:lnTo>
                  <a:lnTo>
                    <a:pt x="1641157" y="1112520"/>
                  </a:lnTo>
                  <a:lnTo>
                    <a:pt x="1644015" y="1127760"/>
                  </a:lnTo>
                  <a:lnTo>
                    <a:pt x="1647825" y="1142047"/>
                  </a:lnTo>
                  <a:lnTo>
                    <a:pt x="1650682" y="1155382"/>
                  </a:lnTo>
                  <a:lnTo>
                    <a:pt x="1647825" y="1165860"/>
                  </a:lnTo>
                  <a:lnTo>
                    <a:pt x="1620203" y="1222057"/>
                  </a:lnTo>
                  <a:lnTo>
                    <a:pt x="1608773" y="1232535"/>
                  </a:lnTo>
                  <a:lnTo>
                    <a:pt x="1587818" y="1223963"/>
                  </a:lnTo>
                  <a:lnTo>
                    <a:pt x="1570673" y="1244918"/>
                  </a:lnTo>
                  <a:lnTo>
                    <a:pt x="1560195" y="1242060"/>
                  </a:lnTo>
                  <a:lnTo>
                    <a:pt x="1565910" y="1224915"/>
                  </a:lnTo>
                  <a:lnTo>
                    <a:pt x="1560195" y="1217295"/>
                  </a:lnTo>
                  <a:lnTo>
                    <a:pt x="1546860" y="1215390"/>
                  </a:lnTo>
                  <a:lnTo>
                    <a:pt x="1532573" y="1215390"/>
                  </a:lnTo>
                  <a:lnTo>
                    <a:pt x="1527810" y="1210627"/>
                  </a:lnTo>
                  <a:lnTo>
                    <a:pt x="1530668" y="1201102"/>
                  </a:lnTo>
                  <a:lnTo>
                    <a:pt x="1536382" y="1189672"/>
                  </a:lnTo>
                  <a:lnTo>
                    <a:pt x="1542098" y="1184910"/>
                  </a:lnTo>
                  <a:lnTo>
                    <a:pt x="1548765" y="1185863"/>
                  </a:lnTo>
                  <a:lnTo>
                    <a:pt x="1554480" y="1191577"/>
                  </a:lnTo>
                  <a:lnTo>
                    <a:pt x="1559243" y="1193482"/>
                  </a:lnTo>
                  <a:lnTo>
                    <a:pt x="1564005" y="1184910"/>
                  </a:lnTo>
                  <a:lnTo>
                    <a:pt x="1553528" y="1176338"/>
                  </a:lnTo>
                  <a:lnTo>
                    <a:pt x="1547813" y="1163955"/>
                  </a:lnTo>
                  <a:lnTo>
                    <a:pt x="1547813" y="1150620"/>
                  </a:lnTo>
                  <a:lnTo>
                    <a:pt x="1552575" y="1137285"/>
                  </a:lnTo>
                  <a:lnTo>
                    <a:pt x="1570673" y="1122045"/>
                  </a:lnTo>
                  <a:lnTo>
                    <a:pt x="1577340" y="1122997"/>
                  </a:lnTo>
                  <a:lnTo>
                    <a:pt x="1577340" y="1126807"/>
                  </a:lnTo>
                  <a:lnTo>
                    <a:pt x="1575435" y="1130618"/>
                  </a:lnTo>
                  <a:lnTo>
                    <a:pt x="1574482" y="1134427"/>
                  </a:lnTo>
                  <a:lnTo>
                    <a:pt x="1576388" y="1147763"/>
                  </a:lnTo>
                  <a:lnTo>
                    <a:pt x="1580198" y="1140143"/>
                  </a:lnTo>
                  <a:lnTo>
                    <a:pt x="1586865" y="1126807"/>
                  </a:lnTo>
                  <a:lnTo>
                    <a:pt x="1592580" y="1122045"/>
                  </a:lnTo>
                  <a:lnTo>
                    <a:pt x="1594485" y="1129665"/>
                  </a:lnTo>
                  <a:lnTo>
                    <a:pt x="1600200" y="1144905"/>
                  </a:lnTo>
                  <a:lnTo>
                    <a:pt x="1607820" y="1154430"/>
                  </a:lnTo>
                  <a:lnTo>
                    <a:pt x="1610678" y="1144905"/>
                  </a:lnTo>
                  <a:lnTo>
                    <a:pt x="1611630" y="1137285"/>
                  </a:lnTo>
                  <a:lnTo>
                    <a:pt x="1617345" y="1127760"/>
                  </a:lnTo>
                  <a:lnTo>
                    <a:pt x="1618298" y="1119188"/>
                  </a:lnTo>
                  <a:lnTo>
                    <a:pt x="1618298" y="1098232"/>
                  </a:lnTo>
                  <a:lnTo>
                    <a:pt x="1616393" y="1090613"/>
                  </a:lnTo>
                  <a:lnTo>
                    <a:pt x="1609725" y="1082993"/>
                  </a:lnTo>
                  <a:lnTo>
                    <a:pt x="1603057" y="1077277"/>
                  </a:lnTo>
                  <a:lnTo>
                    <a:pt x="1597343" y="1074420"/>
                  </a:lnTo>
                  <a:lnTo>
                    <a:pt x="1594485" y="1078230"/>
                  </a:lnTo>
                  <a:lnTo>
                    <a:pt x="1591628" y="1083945"/>
                  </a:lnTo>
                  <a:lnTo>
                    <a:pt x="1588770" y="1096327"/>
                  </a:lnTo>
                  <a:lnTo>
                    <a:pt x="1571625" y="1108710"/>
                  </a:lnTo>
                  <a:lnTo>
                    <a:pt x="1552575" y="1103947"/>
                  </a:lnTo>
                  <a:lnTo>
                    <a:pt x="1516380" y="1074420"/>
                  </a:lnTo>
                  <a:lnTo>
                    <a:pt x="1484948" y="1058227"/>
                  </a:lnTo>
                  <a:lnTo>
                    <a:pt x="1480185" y="1056322"/>
                  </a:lnTo>
                  <a:lnTo>
                    <a:pt x="1478280" y="1061085"/>
                  </a:lnTo>
                  <a:lnTo>
                    <a:pt x="1474470" y="1064895"/>
                  </a:lnTo>
                  <a:lnTo>
                    <a:pt x="1470660" y="1069657"/>
                  </a:lnTo>
                  <a:lnTo>
                    <a:pt x="1469707" y="1074420"/>
                  </a:lnTo>
                  <a:lnTo>
                    <a:pt x="1473518" y="1079182"/>
                  </a:lnTo>
                  <a:lnTo>
                    <a:pt x="1485900" y="1081088"/>
                  </a:lnTo>
                  <a:lnTo>
                    <a:pt x="1490663" y="1084897"/>
                  </a:lnTo>
                  <a:lnTo>
                    <a:pt x="1490663" y="1095375"/>
                  </a:lnTo>
                  <a:lnTo>
                    <a:pt x="1488757" y="1115377"/>
                  </a:lnTo>
                  <a:lnTo>
                    <a:pt x="1483995" y="1134427"/>
                  </a:lnTo>
                  <a:lnTo>
                    <a:pt x="1478280" y="1142047"/>
                  </a:lnTo>
                  <a:lnTo>
                    <a:pt x="1473518" y="1139190"/>
                  </a:lnTo>
                  <a:lnTo>
                    <a:pt x="1472565" y="1130618"/>
                  </a:lnTo>
                  <a:lnTo>
                    <a:pt x="1472565" y="1111568"/>
                  </a:lnTo>
                  <a:lnTo>
                    <a:pt x="1470660" y="1102043"/>
                  </a:lnTo>
                  <a:lnTo>
                    <a:pt x="1468755" y="1097280"/>
                  </a:lnTo>
                  <a:lnTo>
                    <a:pt x="1441132" y="1041082"/>
                  </a:lnTo>
                  <a:lnTo>
                    <a:pt x="1428750" y="1021080"/>
                  </a:lnTo>
                  <a:lnTo>
                    <a:pt x="1412557" y="1006793"/>
                  </a:lnTo>
                  <a:lnTo>
                    <a:pt x="1402080" y="1003935"/>
                  </a:lnTo>
                  <a:lnTo>
                    <a:pt x="1396365" y="1009650"/>
                  </a:lnTo>
                  <a:lnTo>
                    <a:pt x="1394460" y="1022032"/>
                  </a:lnTo>
                  <a:lnTo>
                    <a:pt x="1394460" y="1041082"/>
                  </a:lnTo>
                  <a:lnTo>
                    <a:pt x="1397318" y="1052513"/>
                  </a:lnTo>
                  <a:lnTo>
                    <a:pt x="1403985" y="1062038"/>
                  </a:lnTo>
                  <a:lnTo>
                    <a:pt x="1423035" y="1080135"/>
                  </a:lnTo>
                  <a:lnTo>
                    <a:pt x="1401128" y="1102995"/>
                  </a:lnTo>
                  <a:lnTo>
                    <a:pt x="1400175" y="1107757"/>
                  </a:lnTo>
                  <a:lnTo>
                    <a:pt x="1398270" y="1104900"/>
                  </a:lnTo>
                  <a:lnTo>
                    <a:pt x="1394460" y="1096327"/>
                  </a:lnTo>
                  <a:lnTo>
                    <a:pt x="1397318" y="1080135"/>
                  </a:lnTo>
                  <a:lnTo>
                    <a:pt x="1397318" y="1074420"/>
                  </a:lnTo>
                  <a:lnTo>
                    <a:pt x="1393507" y="1067752"/>
                  </a:lnTo>
                  <a:lnTo>
                    <a:pt x="1387793" y="1061085"/>
                  </a:lnTo>
                  <a:lnTo>
                    <a:pt x="1382078" y="1060132"/>
                  </a:lnTo>
                  <a:lnTo>
                    <a:pt x="1379220" y="1066800"/>
                  </a:lnTo>
                  <a:lnTo>
                    <a:pt x="1377315" y="1075372"/>
                  </a:lnTo>
                  <a:lnTo>
                    <a:pt x="1371600" y="1078230"/>
                  </a:lnTo>
                  <a:lnTo>
                    <a:pt x="1357313" y="1074420"/>
                  </a:lnTo>
                  <a:lnTo>
                    <a:pt x="1357313" y="1080135"/>
                  </a:lnTo>
                  <a:lnTo>
                    <a:pt x="1365885" y="1085850"/>
                  </a:lnTo>
                  <a:lnTo>
                    <a:pt x="1371600" y="1089660"/>
                  </a:lnTo>
                  <a:lnTo>
                    <a:pt x="1377315" y="1090613"/>
                  </a:lnTo>
                  <a:lnTo>
                    <a:pt x="1381125" y="1094422"/>
                  </a:lnTo>
                  <a:lnTo>
                    <a:pt x="1385888" y="1111568"/>
                  </a:lnTo>
                  <a:lnTo>
                    <a:pt x="1388745" y="1119188"/>
                  </a:lnTo>
                  <a:lnTo>
                    <a:pt x="1388745" y="1124902"/>
                  </a:lnTo>
                  <a:lnTo>
                    <a:pt x="1383030" y="1124902"/>
                  </a:lnTo>
                  <a:lnTo>
                    <a:pt x="1372553" y="1122045"/>
                  </a:lnTo>
                  <a:lnTo>
                    <a:pt x="1369695" y="1122045"/>
                  </a:lnTo>
                  <a:lnTo>
                    <a:pt x="1363980" y="1122997"/>
                  </a:lnTo>
                  <a:lnTo>
                    <a:pt x="1361123" y="1122045"/>
                  </a:lnTo>
                  <a:lnTo>
                    <a:pt x="1360170" y="1118235"/>
                  </a:lnTo>
                  <a:lnTo>
                    <a:pt x="1357313" y="1107757"/>
                  </a:lnTo>
                  <a:lnTo>
                    <a:pt x="1357313" y="1105852"/>
                  </a:lnTo>
                  <a:lnTo>
                    <a:pt x="1351598" y="1104900"/>
                  </a:lnTo>
                  <a:lnTo>
                    <a:pt x="1347788" y="1106805"/>
                  </a:lnTo>
                  <a:lnTo>
                    <a:pt x="1344930" y="1109663"/>
                  </a:lnTo>
                  <a:lnTo>
                    <a:pt x="1340168" y="1112520"/>
                  </a:lnTo>
                  <a:lnTo>
                    <a:pt x="1337310" y="1115377"/>
                  </a:lnTo>
                  <a:lnTo>
                    <a:pt x="1334453" y="1116330"/>
                  </a:lnTo>
                  <a:lnTo>
                    <a:pt x="1332548" y="1114425"/>
                  </a:lnTo>
                  <a:lnTo>
                    <a:pt x="1329690" y="1107757"/>
                  </a:lnTo>
                  <a:lnTo>
                    <a:pt x="1326832" y="1105852"/>
                  </a:lnTo>
                  <a:lnTo>
                    <a:pt x="1320165" y="1098232"/>
                  </a:lnTo>
                  <a:lnTo>
                    <a:pt x="1306830" y="1066800"/>
                  </a:lnTo>
                  <a:lnTo>
                    <a:pt x="1302068" y="1059180"/>
                  </a:lnTo>
                  <a:lnTo>
                    <a:pt x="1290638" y="1057275"/>
                  </a:lnTo>
                  <a:lnTo>
                    <a:pt x="1260157" y="1043940"/>
                  </a:lnTo>
                  <a:lnTo>
                    <a:pt x="1253490" y="1043940"/>
                  </a:lnTo>
                  <a:lnTo>
                    <a:pt x="1245870" y="1047750"/>
                  </a:lnTo>
                  <a:lnTo>
                    <a:pt x="1240155" y="1049655"/>
                  </a:lnTo>
                  <a:lnTo>
                    <a:pt x="1228725" y="1049655"/>
                  </a:lnTo>
                  <a:lnTo>
                    <a:pt x="1223010" y="1048702"/>
                  </a:lnTo>
                  <a:lnTo>
                    <a:pt x="1220153" y="1046797"/>
                  </a:lnTo>
                  <a:lnTo>
                    <a:pt x="1216343" y="1038225"/>
                  </a:lnTo>
                  <a:lnTo>
                    <a:pt x="1206818" y="1033463"/>
                  </a:lnTo>
                  <a:lnTo>
                    <a:pt x="1195388" y="1031557"/>
                  </a:lnTo>
                  <a:lnTo>
                    <a:pt x="1187768" y="1032510"/>
                  </a:lnTo>
                  <a:lnTo>
                    <a:pt x="1179195" y="1039177"/>
                  </a:lnTo>
                  <a:lnTo>
                    <a:pt x="1172528" y="1047750"/>
                  </a:lnTo>
                  <a:lnTo>
                    <a:pt x="1165860" y="1052513"/>
                  </a:lnTo>
                  <a:lnTo>
                    <a:pt x="1155382" y="1049655"/>
                  </a:lnTo>
                  <a:lnTo>
                    <a:pt x="1141095" y="1049655"/>
                  </a:lnTo>
                  <a:lnTo>
                    <a:pt x="1141095" y="1054418"/>
                  </a:lnTo>
                  <a:lnTo>
                    <a:pt x="1142048" y="1054418"/>
                  </a:lnTo>
                  <a:lnTo>
                    <a:pt x="1138238" y="1060132"/>
                  </a:lnTo>
                  <a:lnTo>
                    <a:pt x="1143000" y="1087755"/>
                  </a:lnTo>
                  <a:lnTo>
                    <a:pt x="1137285" y="1106805"/>
                  </a:lnTo>
                  <a:lnTo>
                    <a:pt x="1120140" y="1124902"/>
                  </a:lnTo>
                  <a:lnTo>
                    <a:pt x="1112520" y="1109663"/>
                  </a:lnTo>
                  <a:lnTo>
                    <a:pt x="1103948" y="1101090"/>
                  </a:lnTo>
                  <a:lnTo>
                    <a:pt x="1090613" y="1105852"/>
                  </a:lnTo>
                  <a:lnTo>
                    <a:pt x="1079182" y="1116330"/>
                  </a:lnTo>
                  <a:lnTo>
                    <a:pt x="1069657" y="1126807"/>
                  </a:lnTo>
                  <a:lnTo>
                    <a:pt x="1068705" y="1138238"/>
                  </a:lnTo>
                  <a:lnTo>
                    <a:pt x="1082993" y="1147763"/>
                  </a:lnTo>
                  <a:lnTo>
                    <a:pt x="1082993" y="1153477"/>
                  </a:lnTo>
                  <a:lnTo>
                    <a:pt x="1068705" y="1154430"/>
                  </a:lnTo>
                  <a:lnTo>
                    <a:pt x="1055370" y="1158240"/>
                  </a:lnTo>
                  <a:lnTo>
                    <a:pt x="1050607" y="1167765"/>
                  </a:lnTo>
                  <a:lnTo>
                    <a:pt x="1061085" y="1183957"/>
                  </a:lnTo>
                  <a:lnTo>
                    <a:pt x="1056323" y="1183957"/>
                  </a:lnTo>
                  <a:lnTo>
                    <a:pt x="1044893" y="1179195"/>
                  </a:lnTo>
                  <a:lnTo>
                    <a:pt x="1012507" y="1179195"/>
                  </a:lnTo>
                  <a:lnTo>
                    <a:pt x="1007745" y="1175385"/>
                  </a:lnTo>
                  <a:lnTo>
                    <a:pt x="991553" y="1153477"/>
                  </a:lnTo>
                  <a:lnTo>
                    <a:pt x="977265" y="1141095"/>
                  </a:lnTo>
                  <a:lnTo>
                    <a:pt x="963930" y="1138238"/>
                  </a:lnTo>
                  <a:lnTo>
                    <a:pt x="952500" y="1153477"/>
                  </a:lnTo>
                  <a:lnTo>
                    <a:pt x="950595" y="1149668"/>
                  </a:lnTo>
                  <a:lnTo>
                    <a:pt x="947738" y="1148715"/>
                  </a:lnTo>
                  <a:lnTo>
                    <a:pt x="944880" y="1148715"/>
                  </a:lnTo>
                  <a:lnTo>
                    <a:pt x="942023" y="1147763"/>
                  </a:lnTo>
                  <a:lnTo>
                    <a:pt x="950595" y="1139190"/>
                  </a:lnTo>
                  <a:lnTo>
                    <a:pt x="956310" y="1128713"/>
                  </a:lnTo>
                  <a:lnTo>
                    <a:pt x="955357" y="1120140"/>
                  </a:lnTo>
                  <a:lnTo>
                    <a:pt x="943928" y="1116330"/>
                  </a:lnTo>
                  <a:lnTo>
                    <a:pt x="902018" y="1122045"/>
                  </a:lnTo>
                  <a:lnTo>
                    <a:pt x="905828" y="1111568"/>
                  </a:lnTo>
                  <a:lnTo>
                    <a:pt x="907732" y="1102043"/>
                  </a:lnTo>
                  <a:lnTo>
                    <a:pt x="912495" y="1049655"/>
                  </a:lnTo>
                  <a:lnTo>
                    <a:pt x="901065" y="1062990"/>
                  </a:lnTo>
                  <a:lnTo>
                    <a:pt x="891540" y="1083945"/>
                  </a:lnTo>
                  <a:lnTo>
                    <a:pt x="881063" y="1102995"/>
                  </a:lnTo>
                  <a:lnTo>
                    <a:pt x="864870" y="1111568"/>
                  </a:lnTo>
                  <a:lnTo>
                    <a:pt x="860107" y="1112520"/>
                  </a:lnTo>
                  <a:lnTo>
                    <a:pt x="853440" y="1116330"/>
                  </a:lnTo>
                  <a:lnTo>
                    <a:pt x="848678" y="1116330"/>
                  </a:lnTo>
                  <a:lnTo>
                    <a:pt x="842963" y="1114425"/>
                  </a:lnTo>
                  <a:lnTo>
                    <a:pt x="832485" y="1105852"/>
                  </a:lnTo>
                  <a:lnTo>
                    <a:pt x="801053" y="1090613"/>
                  </a:lnTo>
                  <a:lnTo>
                    <a:pt x="805815" y="1112520"/>
                  </a:lnTo>
                  <a:lnTo>
                    <a:pt x="798195" y="1122997"/>
                  </a:lnTo>
                  <a:lnTo>
                    <a:pt x="742950" y="1132522"/>
                  </a:lnTo>
                  <a:lnTo>
                    <a:pt x="736282" y="1131570"/>
                  </a:lnTo>
                  <a:lnTo>
                    <a:pt x="731520" y="1130618"/>
                  </a:lnTo>
                  <a:lnTo>
                    <a:pt x="726757" y="1127760"/>
                  </a:lnTo>
                  <a:lnTo>
                    <a:pt x="723900" y="1127760"/>
                  </a:lnTo>
                  <a:lnTo>
                    <a:pt x="711518" y="1127760"/>
                  </a:lnTo>
                  <a:lnTo>
                    <a:pt x="706755" y="1127760"/>
                  </a:lnTo>
                  <a:lnTo>
                    <a:pt x="678180" y="1117282"/>
                  </a:lnTo>
                  <a:lnTo>
                    <a:pt x="665798" y="1116330"/>
                  </a:lnTo>
                  <a:lnTo>
                    <a:pt x="658178" y="1118235"/>
                  </a:lnTo>
                  <a:lnTo>
                    <a:pt x="638175" y="1128713"/>
                  </a:lnTo>
                  <a:lnTo>
                    <a:pt x="571500" y="1140143"/>
                  </a:lnTo>
                  <a:lnTo>
                    <a:pt x="566738" y="1142047"/>
                  </a:lnTo>
                  <a:lnTo>
                    <a:pt x="561023" y="1145857"/>
                  </a:lnTo>
                  <a:lnTo>
                    <a:pt x="552450" y="1155382"/>
                  </a:lnTo>
                  <a:lnTo>
                    <a:pt x="548640" y="1158240"/>
                  </a:lnTo>
                  <a:lnTo>
                    <a:pt x="526732" y="1162050"/>
                  </a:lnTo>
                  <a:lnTo>
                    <a:pt x="421005" y="1130618"/>
                  </a:lnTo>
                  <a:lnTo>
                    <a:pt x="409575" y="1122997"/>
                  </a:lnTo>
                  <a:lnTo>
                    <a:pt x="402907" y="1122997"/>
                  </a:lnTo>
                  <a:lnTo>
                    <a:pt x="400050" y="1122045"/>
                  </a:lnTo>
                  <a:lnTo>
                    <a:pt x="399098" y="1119188"/>
                  </a:lnTo>
                  <a:lnTo>
                    <a:pt x="397193" y="1109663"/>
                  </a:lnTo>
                  <a:lnTo>
                    <a:pt x="394335" y="1100138"/>
                  </a:lnTo>
                  <a:lnTo>
                    <a:pt x="392430" y="1089660"/>
                  </a:lnTo>
                  <a:lnTo>
                    <a:pt x="389573" y="1084897"/>
                  </a:lnTo>
                  <a:lnTo>
                    <a:pt x="399098" y="1076325"/>
                  </a:lnTo>
                  <a:lnTo>
                    <a:pt x="401955" y="1071563"/>
                  </a:lnTo>
                  <a:lnTo>
                    <a:pt x="403860" y="1063943"/>
                  </a:lnTo>
                  <a:lnTo>
                    <a:pt x="387668" y="1070610"/>
                  </a:lnTo>
                  <a:lnTo>
                    <a:pt x="374332" y="1072515"/>
                  </a:lnTo>
                  <a:lnTo>
                    <a:pt x="360045" y="1069657"/>
                  </a:lnTo>
                  <a:lnTo>
                    <a:pt x="337185" y="1061085"/>
                  </a:lnTo>
                  <a:lnTo>
                    <a:pt x="329565" y="1060132"/>
                  </a:lnTo>
                  <a:lnTo>
                    <a:pt x="322898" y="1056322"/>
                  </a:lnTo>
                  <a:lnTo>
                    <a:pt x="302895" y="1029652"/>
                  </a:lnTo>
                  <a:lnTo>
                    <a:pt x="287655" y="1017270"/>
                  </a:lnTo>
                  <a:lnTo>
                    <a:pt x="271463" y="1023938"/>
                  </a:lnTo>
                  <a:lnTo>
                    <a:pt x="244793" y="1009650"/>
                  </a:lnTo>
                  <a:lnTo>
                    <a:pt x="200978" y="976313"/>
                  </a:lnTo>
                  <a:lnTo>
                    <a:pt x="200025" y="984885"/>
                  </a:lnTo>
                  <a:lnTo>
                    <a:pt x="202882" y="994410"/>
                  </a:lnTo>
                  <a:lnTo>
                    <a:pt x="203835" y="1003935"/>
                  </a:lnTo>
                  <a:lnTo>
                    <a:pt x="200025" y="1006793"/>
                  </a:lnTo>
                  <a:lnTo>
                    <a:pt x="166688" y="1005840"/>
                  </a:lnTo>
                  <a:lnTo>
                    <a:pt x="157163" y="1002982"/>
                  </a:lnTo>
                  <a:lnTo>
                    <a:pt x="148590" y="997268"/>
                  </a:lnTo>
                  <a:lnTo>
                    <a:pt x="141923" y="988695"/>
                  </a:lnTo>
                  <a:lnTo>
                    <a:pt x="139065" y="977265"/>
                  </a:lnTo>
                  <a:lnTo>
                    <a:pt x="145732" y="966788"/>
                  </a:lnTo>
                  <a:lnTo>
                    <a:pt x="156210" y="959168"/>
                  </a:lnTo>
                  <a:lnTo>
                    <a:pt x="164782" y="954405"/>
                  </a:lnTo>
                  <a:lnTo>
                    <a:pt x="176213" y="953452"/>
                  </a:lnTo>
                  <a:lnTo>
                    <a:pt x="204788" y="960120"/>
                  </a:lnTo>
                  <a:lnTo>
                    <a:pt x="244793" y="952500"/>
                  </a:lnTo>
                  <a:lnTo>
                    <a:pt x="249555" y="948690"/>
                  </a:lnTo>
                  <a:lnTo>
                    <a:pt x="277178" y="922972"/>
                  </a:lnTo>
                  <a:lnTo>
                    <a:pt x="283845" y="922020"/>
                  </a:lnTo>
                  <a:lnTo>
                    <a:pt x="290513" y="922020"/>
                  </a:lnTo>
                  <a:lnTo>
                    <a:pt x="294323" y="919163"/>
                  </a:lnTo>
                  <a:lnTo>
                    <a:pt x="289560" y="910590"/>
                  </a:lnTo>
                  <a:lnTo>
                    <a:pt x="265748" y="877252"/>
                  </a:lnTo>
                  <a:lnTo>
                    <a:pt x="257175" y="873442"/>
                  </a:lnTo>
                  <a:lnTo>
                    <a:pt x="238125" y="875347"/>
                  </a:lnTo>
                  <a:lnTo>
                    <a:pt x="214313" y="871538"/>
                  </a:lnTo>
                  <a:lnTo>
                    <a:pt x="164782" y="851535"/>
                  </a:lnTo>
                  <a:lnTo>
                    <a:pt x="183832" y="821055"/>
                  </a:lnTo>
                  <a:lnTo>
                    <a:pt x="188595" y="822960"/>
                  </a:lnTo>
                  <a:lnTo>
                    <a:pt x="233363" y="822960"/>
                  </a:lnTo>
                  <a:lnTo>
                    <a:pt x="279082" y="833438"/>
                  </a:lnTo>
                  <a:lnTo>
                    <a:pt x="309563" y="828675"/>
                  </a:lnTo>
                  <a:lnTo>
                    <a:pt x="320993" y="828675"/>
                  </a:lnTo>
                  <a:lnTo>
                    <a:pt x="378143" y="842010"/>
                  </a:lnTo>
                  <a:lnTo>
                    <a:pt x="407670" y="860107"/>
                  </a:lnTo>
                  <a:lnTo>
                    <a:pt x="428625" y="865822"/>
                  </a:lnTo>
                  <a:lnTo>
                    <a:pt x="452438" y="863917"/>
                  </a:lnTo>
                  <a:lnTo>
                    <a:pt x="472440" y="854392"/>
                  </a:lnTo>
                  <a:lnTo>
                    <a:pt x="486728" y="839152"/>
                  </a:lnTo>
                  <a:lnTo>
                    <a:pt x="477203" y="824865"/>
                  </a:lnTo>
                  <a:lnTo>
                    <a:pt x="491490" y="804863"/>
                  </a:lnTo>
                  <a:lnTo>
                    <a:pt x="528638" y="773430"/>
                  </a:lnTo>
                  <a:lnTo>
                    <a:pt x="538163" y="766763"/>
                  </a:lnTo>
                  <a:lnTo>
                    <a:pt x="562928" y="763905"/>
                  </a:lnTo>
                  <a:lnTo>
                    <a:pt x="571500" y="758190"/>
                  </a:lnTo>
                  <a:lnTo>
                    <a:pt x="580073" y="749617"/>
                  </a:lnTo>
                  <a:lnTo>
                    <a:pt x="588645" y="742950"/>
                  </a:lnTo>
                  <a:lnTo>
                    <a:pt x="596265" y="736282"/>
                  </a:lnTo>
                  <a:lnTo>
                    <a:pt x="601980" y="722947"/>
                  </a:lnTo>
                  <a:lnTo>
                    <a:pt x="589598" y="729615"/>
                  </a:lnTo>
                  <a:lnTo>
                    <a:pt x="575310" y="740092"/>
                  </a:lnTo>
                  <a:lnTo>
                    <a:pt x="561023" y="747713"/>
                  </a:lnTo>
                  <a:lnTo>
                    <a:pt x="548640" y="744855"/>
                  </a:lnTo>
                  <a:lnTo>
                    <a:pt x="477203" y="784860"/>
                  </a:lnTo>
                  <a:lnTo>
                    <a:pt x="439103" y="790575"/>
                  </a:lnTo>
                  <a:lnTo>
                    <a:pt x="403860" y="770572"/>
                  </a:lnTo>
                  <a:lnTo>
                    <a:pt x="395288" y="758190"/>
                  </a:lnTo>
                  <a:lnTo>
                    <a:pt x="392430" y="755332"/>
                  </a:lnTo>
                  <a:lnTo>
                    <a:pt x="386715" y="758190"/>
                  </a:lnTo>
                  <a:lnTo>
                    <a:pt x="378143" y="768667"/>
                  </a:lnTo>
                  <a:lnTo>
                    <a:pt x="372428" y="770572"/>
                  </a:lnTo>
                  <a:lnTo>
                    <a:pt x="366713" y="771525"/>
                  </a:lnTo>
                  <a:lnTo>
                    <a:pt x="356235" y="775335"/>
                  </a:lnTo>
                  <a:lnTo>
                    <a:pt x="351473" y="776288"/>
                  </a:lnTo>
                  <a:lnTo>
                    <a:pt x="339090" y="791527"/>
                  </a:lnTo>
                  <a:lnTo>
                    <a:pt x="331470" y="783907"/>
                  </a:lnTo>
                  <a:lnTo>
                    <a:pt x="323850" y="756285"/>
                  </a:lnTo>
                  <a:lnTo>
                    <a:pt x="315278" y="749617"/>
                  </a:lnTo>
                  <a:lnTo>
                    <a:pt x="282893" y="742950"/>
                  </a:lnTo>
                  <a:lnTo>
                    <a:pt x="273368" y="739140"/>
                  </a:lnTo>
                  <a:lnTo>
                    <a:pt x="266700" y="730567"/>
                  </a:lnTo>
                  <a:lnTo>
                    <a:pt x="258128" y="717232"/>
                  </a:lnTo>
                  <a:lnTo>
                    <a:pt x="251460" y="701992"/>
                  </a:lnTo>
                  <a:lnTo>
                    <a:pt x="248603" y="689610"/>
                  </a:lnTo>
                  <a:lnTo>
                    <a:pt x="245745" y="674370"/>
                  </a:lnTo>
                  <a:lnTo>
                    <a:pt x="242888" y="667702"/>
                  </a:lnTo>
                  <a:lnTo>
                    <a:pt x="243840" y="663892"/>
                  </a:lnTo>
                  <a:lnTo>
                    <a:pt x="270510" y="664845"/>
                  </a:lnTo>
                  <a:lnTo>
                    <a:pt x="278130" y="661988"/>
                  </a:lnTo>
                  <a:lnTo>
                    <a:pt x="282893" y="657225"/>
                  </a:lnTo>
                  <a:lnTo>
                    <a:pt x="291465" y="650557"/>
                  </a:lnTo>
                  <a:lnTo>
                    <a:pt x="296228" y="649605"/>
                  </a:lnTo>
                  <a:lnTo>
                    <a:pt x="300038" y="648652"/>
                  </a:lnTo>
                  <a:lnTo>
                    <a:pt x="305753" y="649605"/>
                  </a:lnTo>
                  <a:lnTo>
                    <a:pt x="314325" y="655320"/>
                  </a:lnTo>
                  <a:lnTo>
                    <a:pt x="320993" y="657225"/>
                  </a:lnTo>
                  <a:lnTo>
                    <a:pt x="326707" y="657225"/>
                  </a:lnTo>
                  <a:lnTo>
                    <a:pt x="342900" y="652463"/>
                  </a:lnTo>
                  <a:lnTo>
                    <a:pt x="352425" y="648652"/>
                  </a:lnTo>
                  <a:lnTo>
                    <a:pt x="356235" y="645795"/>
                  </a:lnTo>
                  <a:lnTo>
                    <a:pt x="359093" y="641985"/>
                  </a:lnTo>
                  <a:lnTo>
                    <a:pt x="360998" y="639127"/>
                  </a:lnTo>
                  <a:lnTo>
                    <a:pt x="365760" y="629602"/>
                  </a:lnTo>
                  <a:lnTo>
                    <a:pt x="371475" y="615315"/>
                  </a:lnTo>
                  <a:lnTo>
                    <a:pt x="372428" y="611505"/>
                  </a:lnTo>
                  <a:lnTo>
                    <a:pt x="374332" y="607695"/>
                  </a:lnTo>
                  <a:lnTo>
                    <a:pt x="379095" y="603885"/>
                  </a:lnTo>
                  <a:lnTo>
                    <a:pt x="381953" y="601980"/>
                  </a:lnTo>
                  <a:lnTo>
                    <a:pt x="385763" y="600075"/>
                  </a:lnTo>
                  <a:lnTo>
                    <a:pt x="392430" y="599122"/>
                  </a:lnTo>
                  <a:lnTo>
                    <a:pt x="398145" y="599122"/>
                  </a:lnTo>
                  <a:lnTo>
                    <a:pt x="428625" y="610552"/>
                  </a:lnTo>
                  <a:lnTo>
                    <a:pt x="442913" y="611505"/>
                  </a:lnTo>
                  <a:lnTo>
                    <a:pt x="446723" y="610552"/>
                  </a:lnTo>
                  <a:lnTo>
                    <a:pt x="449580" y="608647"/>
                  </a:lnTo>
                  <a:lnTo>
                    <a:pt x="450532" y="606742"/>
                  </a:lnTo>
                  <a:lnTo>
                    <a:pt x="457200" y="587692"/>
                  </a:lnTo>
                  <a:lnTo>
                    <a:pt x="459105" y="583882"/>
                  </a:lnTo>
                  <a:lnTo>
                    <a:pt x="462915" y="579120"/>
                  </a:lnTo>
                  <a:lnTo>
                    <a:pt x="466725" y="577215"/>
                  </a:lnTo>
                  <a:lnTo>
                    <a:pt x="484823" y="572452"/>
                  </a:lnTo>
                  <a:lnTo>
                    <a:pt x="496253" y="571500"/>
                  </a:lnTo>
                  <a:lnTo>
                    <a:pt x="499110" y="571500"/>
                  </a:lnTo>
                  <a:lnTo>
                    <a:pt x="501015" y="572452"/>
                  </a:lnTo>
                  <a:lnTo>
                    <a:pt x="502920" y="574357"/>
                  </a:lnTo>
                  <a:lnTo>
                    <a:pt x="505778" y="581977"/>
                  </a:lnTo>
                  <a:lnTo>
                    <a:pt x="509588" y="583882"/>
                  </a:lnTo>
                  <a:lnTo>
                    <a:pt x="514350" y="584835"/>
                  </a:lnTo>
                  <a:lnTo>
                    <a:pt x="533400" y="582930"/>
                  </a:lnTo>
                  <a:lnTo>
                    <a:pt x="537210" y="581977"/>
                  </a:lnTo>
                  <a:lnTo>
                    <a:pt x="540068" y="580072"/>
                  </a:lnTo>
                  <a:lnTo>
                    <a:pt x="542925" y="576263"/>
                  </a:lnTo>
                  <a:lnTo>
                    <a:pt x="544830" y="569595"/>
                  </a:lnTo>
                  <a:lnTo>
                    <a:pt x="544830" y="566738"/>
                  </a:lnTo>
                  <a:lnTo>
                    <a:pt x="544830" y="555307"/>
                  </a:lnTo>
                  <a:lnTo>
                    <a:pt x="545782" y="551497"/>
                  </a:lnTo>
                  <a:lnTo>
                    <a:pt x="547688" y="550545"/>
                  </a:lnTo>
                  <a:lnTo>
                    <a:pt x="550545" y="550545"/>
                  </a:lnTo>
                  <a:lnTo>
                    <a:pt x="552450" y="551497"/>
                  </a:lnTo>
                  <a:lnTo>
                    <a:pt x="556260" y="555307"/>
                  </a:lnTo>
                  <a:lnTo>
                    <a:pt x="558165" y="556260"/>
                  </a:lnTo>
                  <a:lnTo>
                    <a:pt x="562928" y="557213"/>
                  </a:lnTo>
                  <a:lnTo>
                    <a:pt x="564832" y="558165"/>
                  </a:lnTo>
                  <a:lnTo>
                    <a:pt x="568643" y="560070"/>
                  </a:lnTo>
                  <a:lnTo>
                    <a:pt x="574357" y="561022"/>
                  </a:lnTo>
                  <a:lnTo>
                    <a:pt x="595313" y="561022"/>
                  </a:lnTo>
                  <a:lnTo>
                    <a:pt x="599123" y="561975"/>
                  </a:lnTo>
                  <a:lnTo>
                    <a:pt x="602932" y="564832"/>
                  </a:lnTo>
                  <a:lnTo>
                    <a:pt x="605790" y="566738"/>
                  </a:lnTo>
                  <a:lnTo>
                    <a:pt x="617220" y="570547"/>
                  </a:lnTo>
                  <a:lnTo>
                    <a:pt x="620078" y="571500"/>
                  </a:lnTo>
                  <a:lnTo>
                    <a:pt x="622935" y="575310"/>
                  </a:lnTo>
                  <a:lnTo>
                    <a:pt x="626745" y="581977"/>
                  </a:lnTo>
                  <a:lnTo>
                    <a:pt x="629603" y="585788"/>
                  </a:lnTo>
                  <a:lnTo>
                    <a:pt x="631507" y="587692"/>
                  </a:lnTo>
                  <a:lnTo>
                    <a:pt x="635318" y="589597"/>
                  </a:lnTo>
                  <a:lnTo>
                    <a:pt x="641032" y="589597"/>
                  </a:lnTo>
                  <a:lnTo>
                    <a:pt x="669607" y="585788"/>
                  </a:lnTo>
                  <a:lnTo>
                    <a:pt x="695325" y="586740"/>
                  </a:lnTo>
                  <a:lnTo>
                    <a:pt x="698182" y="585788"/>
                  </a:lnTo>
                  <a:lnTo>
                    <a:pt x="702945" y="582930"/>
                  </a:lnTo>
                  <a:lnTo>
                    <a:pt x="743903" y="568642"/>
                  </a:lnTo>
                  <a:lnTo>
                    <a:pt x="752475" y="563880"/>
                  </a:lnTo>
                  <a:lnTo>
                    <a:pt x="758190" y="560070"/>
                  </a:lnTo>
                  <a:lnTo>
                    <a:pt x="756285" y="558165"/>
                  </a:lnTo>
                  <a:lnTo>
                    <a:pt x="754380" y="557213"/>
                  </a:lnTo>
                  <a:lnTo>
                    <a:pt x="749618" y="558165"/>
                  </a:lnTo>
                  <a:lnTo>
                    <a:pt x="746760" y="557213"/>
                  </a:lnTo>
                  <a:lnTo>
                    <a:pt x="741998" y="554355"/>
                  </a:lnTo>
                  <a:lnTo>
                    <a:pt x="738188" y="553402"/>
                  </a:lnTo>
                  <a:lnTo>
                    <a:pt x="709613" y="556260"/>
                  </a:lnTo>
                  <a:lnTo>
                    <a:pt x="697230" y="555307"/>
                  </a:lnTo>
                  <a:lnTo>
                    <a:pt x="693420" y="553402"/>
                  </a:lnTo>
                  <a:lnTo>
                    <a:pt x="689610" y="551497"/>
                  </a:lnTo>
                  <a:lnTo>
                    <a:pt x="687705" y="549592"/>
                  </a:lnTo>
                  <a:lnTo>
                    <a:pt x="686753" y="546735"/>
                  </a:lnTo>
                  <a:lnTo>
                    <a:pt x="686753" y="543877"/>
                  </a:lnTo>
                  <a:lnTo>
                    <a:pt x="689610" y="540067"/>
                  </a:lnTo>
                  <a:lnTo>
                    <a:pt x="692468" y="539115"/>
                  </a:lnTo>
                  <a:lnTo>
                    <a:pt x="743903" y="530542"/>
                  </a:lnTo>
                  <a:lnTo>
                    <a:pt x="748665" y="528638"/>
                  </a:lnTo>
                  <a:lnTo>
                    <a:pt x="760095" y="515302"/>
                  </a:lnTo>
                  <a:lnTo>
                    <a:pt x="767715" y="511492"/>
                  </a:lnTo>
                  <a:lnTo>
                    <a:pt x="788670" y="505777"/>
                  </a:lnTo>
                  <a:lnTo>
                    <a:pt x="794385" y="502920"/>
                  </a:lnTo>
                  <a:lnTo>
                    <a:pt x="797243" y="499110"/>
                  </a:lnTo>
                  <a:lnTo>
                    <a:pt x="796290" y="497205"/>
                  </a:lnTo>
                  <a:lnTo>
                    <a:pt x="793432" y="493395"/>
                  </a:lnTo>
                  <a:lnTo>
                    <a:pt x="789623" y="491490"/>
                  </a:lnTo>
                  <a:lnTo>
                    <a:pt x="770573" y="491490"/>
                  </a:lnTo>
                  <a:lnTo>
                    <a:pt x="768668" y="490538"/>
                  </a:lnTo>
                  <a:lnTo>
                    <a:pt x="764857" y="486727"/>
                  </a:lnTo>
                  <a:lnTo>
                    <a:pt x="762953" y="481965"/>
                  </a:lnTo>
                  <a:lnTo>
                    <a:pt x="762953" y="476250"/>
                  </a:lnTo>
                  <a:lnTo>
                    <a:pt x="762000" y="467677"/>
                  </a:lnTo>
                  <a:lnTo>
                    <a:pt x="762953" y="463867"/>
                  </a:lnTo>
                  <a:lnTo>
                    <a:pt x="764857" y="460057"/>
                  </a:lnTo>
                  <a:lnTo>
                    <a:pt x="770573" y="455295"/>
                  </a:lnTo>
                  <a:lnTo>
                    <a:pt x="775335" y="453390"/>
                  </a:lnTo>
                  <a:lnTo>
                    <a:pt x="779145" y="456247"/>
                  </a:lnTo>
                  <a:lnTo>
                    <a:pt x="782003" y="460057"/>
                  </a:lnTo>
                  <a:lnTo>
                    <a:pt x="784860" y="463867"/>
                  </a:lnTo>
                  <a:lnTo>
                    <a:pt x="787718" y="466725"/>
                  </a:lnTo>
                  <a:lnTo>
                    <a:pt x="802005" y="476250"/>
                  </a:lnTo>
                  <a:lnTo>
                    <a:pt x="802957" y="475297"/>
                  </a:lnTo>
                  <a:lnTo>
                    <a:pt x="802957" y="470535"/>
                  </a:lnTo>
                  <a:lnTo>
                    <a:pt x="803910" y="466725"/>
                  </a:lnTo>
                  <a:lnTo>
                    <a:pt x="805815" y="463867"/>
                  </a:lnTo>
                  <a:lnTo>
                    <a:pt x="815340" y="453390"/>
                  </a:lnTo>
                  <a:lnTo>
                    <a:pt x="819150" y="446722"/>
                  </a:lnTo>
                  <a:lnTo>
                    <a:pt x="821055" y="441007"/>
                  </a:lnTo>
                  <a:lnTo>
                    <a:pt x="821055" y="439102"/>
                  </a:lnTo>
                  <a:lnTo>
                    <a:pt x="820103" y="436245"/>
                  </a:lnTo>
                  <a:lnTo>
                    <a:pt x="796290" y="413385"/>
                  </a:lnTo>
                  <a:lnTo>
                    <a:pt x="765810" y="395288"/>
                  </a:lnTo>
                  <a:lnTo>
                    <a:pt x="760095" y="394335"/>
                  </a:lnTo>
                  <a:lnTo>
                    <a:pt x="752475" y="395288"/>
                  </a:lnTo>
                  <a:lnTo>
                    <a:pt x="749618" y="395288"/>
                  </a:lnTo>
                  <a:lnTo>
                    <a:pt x="747713" y="393382"/>
                  </a:lnTo>
                  <a:lnTo>
                    <a:pt x="746760" y="391477"/>
                  </a:lnTo>
                  <a:lnTo>
                    <a:pt x="745807" y="383857"/>
                  </a:lnTo>
                  <a:lnTo>
                    <a:pt x="744855" y="378142"/>
                  </a:lnTo>
                  <a:lnTo>
                    <a:pt x="743903" y="373380"/>
                  </a:lnTo>
                  <a:lnTo>
                    <a:pt x="745807" y="367665"/>
                  </a:lnTo>
                  <a:lnTo>
                    <a:pt x="755332" y="355282"/>
                  </a:lnTo>
                  <a:lnTo>
                    <a:pt x="768668" y="325755"/>
                  </a:lnTo>
                  <a:lnTo>
                    <a:pt x="773430" y="312420"/>
                  </a:lnTo>
                  <a:lnTo>
                    <a:pt x="776288" y="308610"/>
                  </a:lnTo>
                  <a:lnTo>
                    <a:pt x="779145" y="307657"/>
                  </a:lnTo>
                  <a:lnTo>
                    <a:pt x="781050" y="308610"/>
                  </a:lnTo>
                  <a:lnTo>
                    <a:pt x="786765" y="315277"/>
                  </a:lnTo>
                  <a:lnTo>
                    <a:pt x="787718" y="316230"/>
                  </a:lnTo>
                  <a:lnTo>
                    <a:pt x="800100" y="316230"/>
                  </a:lnTo>
                  <a:lnTo>
                    <a:pt x="807720" y="315277"/>
                  </a:lnTo>
                  <a:lnTo>
                    <a:pt x="811530" y="313372"/>
                  </a:lnTo>
                  <a:lnTo>
                    <a:pt x="814388" y="311467"/>
                  </a:lnTo>
                  <a:lnTo>
                    <a:pt x="829628" y="293370"/>
                  </a:lnTo>
                  <a:lnTo>
                    <a:pt x="833438" y="291465"/>
                  </a:lnTo>
                  <a:lnTo>
                    <a:pt x="836295" y="290513"/>
                  </a:lnTo>
                  <a:lnTo>
                    <a:pt x="839153" y="291465"/>
                  </a:lnTo>
                  <a:lnTo>
                    <a:pt x="845820" y="295275"/>
                  </a:lnTo>
                  <a:lnTo>
                    <a:pt x="848678" y="296227"/>
                  </a:lnTo>
                  <a:lnTo>
                    <a:pt x="852488" y="296227"/>
                  </a:lnTo>
                  <a:lnTo>
                    <a:pt x="855345" y="294322"/>
                  </a:lnTo>
                  <a:lnTo>
                    <a:pt x="856298" y="291465"/>
                  </a:lnTo>
                  <a:lnTo>
                    <a:pt x="858203" y="285750"/>
                  </a:lnTo>
                  <a:lnTo>
                    <a:pt x="861060" y="279082"/>
                  </a:lnTo>
                  <a:lnTo>
                    <a:pt x="861060" y="277177"/>
                  </a:lnTo>
                  <a:lnTo>
                    <a:pt x="860107" y="274320"/>
                  </a:lnTo>
                  <a:lnTo>
                    <a:pt x="848678" y="254317"/>
                  </a:lnTo>
                  <a:lnTo>
                    <a:pt x="845820" y="246697"/>
                  </a:lnTo>
                  <a:lnTo>
                    <a:pt x="843915" y="241935"/>
                  </a:lnTo>
                  <a:lnTo>
                    <a:pt x="843915" y="236220"/>
                  </a:lnTo>
                  <a:lnTo>
                    <a:pt x="844868" y="229552"/>
                  </a:lnTo>
                  <a:lnTo>
                    <a:pt x="847725" y="220027"/>
                  </a:lnTo>
                  <a:lnTo>
                    <a:pt x="852488" y="205740"/>
                  </a:lnTo>
                  <a:lnTo>
                    <a:pt x="854393" y="199072"/>
                  </a:lnTo>
                  <a:lnTo>
                    <a:pt x="854393" y="194310"/>
                  </a:lnTo>
                  <a:lnTo>
                    <a:pt x="854393" y="189547"/>
                  </a:lnTo>
                  <a:lnTo>
                    <a:pt x="852488" y="181927"/>
                  </a:lnTo>
                  <a:lnTo>
                    <a:pt x="841057" y="156210"/>
                  </a:lnTo>
                  <a:lnTo>
                    <a:pt x="840105" y="154305"/>
                  </a:lnTo>
                  <a:lnTo>
                    <a:pt x="837248" y="153352"/>
                  </a:lnTo>
                  <a:lnTo>
                    <a:pt x="835343" y="152400"/>
                  </a:lnTo>
                  <a:lnTo>
                    <a:pt x="817245" y="152400"/>
                  </a:lnTo>
                  <a:lnTo>
                    <a:pt x="811530" y="150495"/>
                  </a:lnTo>
                  <a:lnTo>
                    <a:pt x="807720" y="146685"/>
                  </a:lnTo>
                  <a:lnTo>
                    <a:pt x="804863" y="142875"/>
                  </a:lnTo>
                  <a:lnTo>
                    <a:pt x="802957" y="138113"/>
                  </a:lnTo>
                  <a:lnTo>
                    <a:pt x="802957" y="136207"/>
                  </a:lnTo>
                  <a:lnTo>
                    <a:pt x="805815" y="129540"/>
                  </a:lnTo>
                  <a:lnTo>
                    <a:pt x="813435" y="118110"/>
                  </a:lnTo>
                  <a:lnTo>
                    <a:pt x="815340" y="114300"/>
                  </a:lnTo>
                  <a:lnTo>
                    <a:pt x="817245" y="107632"/>
                  </a:lnTo>
                  <a:lnTo>
                    <a:pt x="818198" y="102870"/>
                  </a:lnTo>
                  <a:lnTo>
                    <a:pt x="820103" y="101917"/>
                  </a:lnTo>
                  <a:lnTo>
                    <a:pt x="822007" y="102870"/>
                  </a:lnTo>
                  <a:lnTo>
                    <a:pt x="822960" y="104775"/>
                  </a:lnTo>
                  <a:lnTo>
                    <a:pt x="828675" y="116205"/>
                  </a:lnTo>
                  <a:lnTo>
                    <a:pt x="831532" y="126682"/>
                  </a:lnTo>
                  <a:lnTo>
                    <a:pt x="832485" y="128588"/>
                  </a:lnTo>
                  <a:lnTo>
                    <a:pt x="833438" y="130492"/>
                  </a:lnTo>
                  <a:lnTo>
                    <a:pt x="839153" y="132397"/>
                  </a:lnTo>
                  <a:lnTo>
                    <a:pt x="849630" y="131445"/>
                  </a:lnTo>
                  <a:lnTo>
                    <a:pt x="854393" y="129540"/>
                  </a:lnTo>
                  <a:lnTo>
                    <a:pt x="856298" y="127635"/>
                  </a:lnTo>
                  <a:lnTo>
                    <a:pt x="857250" y="124777"/>
                  </a:lnTo>
                  <a:lnTo>
                    <a:pt x="857250" y="119063"/>
                  </a:lnTo>
                  <a:lnTo>
                    <a:pt x="853440" y="110490"/>
                  </a:lnTo>
                  <a:lnTo>
                    <a:pt x="852488" y="104775"/>
                  </a:lnTo>
                  <a:lnTo>
                    <a:pt x="852488" y="100965"/>
                  </a:lnTo>
                  <a:lnTo>
                    <a:pt x="853440" y="94297"/>
                  </a:lnTo>
                  <a:lnTo>
                    <a:pt x="855345" y="88582"/>
                  </a:lnTo>
                  <a:lnTo>
                    <a:pt x="855345" y="81915"/>
                  </a:lnTo>
                  <a:lnTo>
                    <a:pt x="853440" y="78105"/>
                  </a:lnTo>
                  <a:lnTo>
                    <a:pt x="851535" y="72390"/>
                  </a:lnTo>
                  <a:lnTo>
                    <a:pt x="847725" y="64770"/>
                  </a:lnTo>
                  <a:lnTo>
                    <a:pt x="847725" y="60007"/>
                  </a:lnTo>
                  <a:lnTo>
                    <a:pt x="847725" y="57150"/>
                  </a:lnTo>
                  <a:lnTo>
                    <a:pt x="851535" y="48577"/>
                  </a:lnTo>
                  <a:lnTo>
                    <a:pt x="851535" y="45720"/>
                  </a:lnTo>
                  <a:lnTo>
                    <a:pt x="849630" y="40957"/>
                  </a:lnTo>
                  <a:lnTo>
                    <a:pt x="846773" y="38100"/>
                  </a:lnTo>
                  <a:lnTo>
                    <a:pt x="839153" y="31432"/>
                  </a:lnTo>
                  <a:lnTo>
                    <a:pt x="836295" y="26670"/>
                  </a:lnTo>
                  <a:lnTo>
                    <a:pt x="835343" y="21907"/>
                  </a:lnTo>
                  <a:lnTo>
                    <a:pt x="834390" y="16192"/>
                  </a:lnTo>
                  <a:lnTo>
                    <a:pt x="835343" y="6667"/>
                  </a:lnTo>
                  <a:lnTo>
                    <a:pt x="836295" y="0"/>
                  </a:lnTo>
                  <a:lnTo>
                    <a:pt x="876300" y="11430"/>
                  </a:lnTo>
                  <a:lnTo>
                    <a:pt x="879157" y="12382"/>
                  </a:lnTo>
                  <a:lnTo>
                    <a:pt x="886778" y="19050"/>
                  </a:lnTo>
                  <a:lnTo>
                    <a:pt x="890588" y="22860"/>
                  </a:lnTo>
                  <a:lnTo>
                    <a:pt x="929640" y="30480"/>
                  </a:lnTo>
                  <a:lnTo>
                    <a:pt x="938213" y="34290"/>
                  </a:lnTo>
                  <a:lnTo>
                    <a:pt x="943928" y="37147"/>
                  </a:lnTo>
                  <a:lnTo>
                    <a:pt x="945832" y="41910"/>
                  </a:lnTo>
                  <a:lnTo>
                    <a:pt x="947738" y="49530"/>
                  </a:lnTo>
                  <a:lnTo>
                    <a:pt x="949643" y="54292"/>
                  </a:lnTo>
                  <a:lnTo>
                    <a:pt x="950595" y="56197"/>
                  </a:lnTo>
                  <a:lnTo>
                    <a:pt x="954405" y="60007"/>
                  </a:lnTo>
                  <a:lnTo>
                    <a:pt x="959168" y="64770"/>
                  </a:lnTo>
                  <a:lnTo>
                    <a:pt x="964882" y="67627"/>
                  </a:lnTo>
                  <a:lnTo>
                    <a:pt x="967740" y="68580"/>
                  </a:lnTo>
                  <a:lnTo>
                    <a:pt x="971550" y="68580"/>
                  </a:lnTo>
                  <a:lnTo>
                    <a:pt x="974407" y="65722"/>
                  </a:lnTo>
                  <a:lnTo>
                    <a:pt x="976313" y="63817"/>
                  </a:lnTo>
                  <a:lnTo>
                    <a:pt x="977265" y="59055"/>
                  </a:lnTo>
                  <a:lnTo>
                    <a:pt x="980123" y="54292"/>
                  </a:lnTo>
                  <a:lnTo>
                    <a:pt x="983932" y="52388"/>
                  </a:lnTo>
                  <a:lnTo>
                    <a:pt x="1040130" y="40957"/>
                  </a:lnTo>
                  <a:lnTo>
                    <a:pt x="1044893" y="39052"/>
                  </a:lnTo>
                  <a:lnTo>
                    <a:pt x="1048703" y="35242"/>
                  </a:lnTo>
                  <a:lnTo>
                    <a:pt x="1049655" y="32385"/>
                  </a:lnTo>
                  <a:lnTo>
                    <a:pt x="1049655" y="26670"/>
                  </a:lnTo>
                  <a:lnTo>
                    <a:pt x="1047750" y="19050"/>
                  </a:lnTo>
                  <a:lnTo>
                    <a:pt x="1048703" y="16192"/>
                  </a:lnTo>
                  <a:lnTo>
                    <a:pt x="1049655" y="14288"/>
                  </a:lnTo>
                  <a:lnTo>
                    <a:pt x="1054418" y="12382"/>
                  </a:lnTo>
                  <a:lnTo>
                    <a:pt x="1085850" y="5715"/>
                  </a:lnTo>
                  <a:lnTo>
                    <a:pt x="1088707" y="6667"/>
                  </a:lnTo>
                  <a:lnTo>
                    <a:pt x="1092518" y="7620"/>
                  </a:lnTo>
                  <a:lnTo>
                    <a:pt x="1096328" y="11430"/>
                  </a:lnTo>
                  <a:lnTo>
                    <a:pt x="1098232" y="14288"/>
                  </a:lnTo>
                  <a:lnTo>
                    <a:pt x="1099185" y="18097"/>
                  </a:lnTo>
                  <a:lnTo>
                    <a:pt x="1099185" y="20002"/>
                  </a:lnTo>
                  <a:lnTo>
                    <a:pt x="1094423" y="29527"/>
                  </a:lnTo>
                  <a:lnTo>
                    <a:pt x="1092518" y="35242"/>
                  </a:lnTo>
                  <a:lnTo>
                    <a:pt x="1092518" y="38100"/>
                  </a:lnTo>
                  <a:lnTo>
                    <a:pt x="1094423" y="42863"/>
                  </a:lnTo>
                  <a:lnTo>
                    <a:pt x="1097280" y="53340"/>
                  </a:lnTo>
                  <a:lnTo>
                    <a:pt x="1099185" y="55245"/>
                  </a:lnTo>
                  <a:lnTo>
                    <a:pt x="1102043" y="56197"/>
                  </a:lnTo>
                  <a:lnTo>
                    <a:pt x="1114425" y="55245"/>
                  </a:lnTo>
                  <a:lnTo>
                    <a:pt x="1118235" y="55245"/>
                  </a:lnTo>
                  <a:lnTo>
                    <a:pt x="1121093" y="58102"/>
                  </a:lnTo>
                  <a:lnTo>
                    <a:pt x="1123950" y="62865"/>
                  </a:lnTo>
                  <a:lnTo>
                    <a:pt x="1126807" y="71438"/>
                  </a:lnTo>
                  <a:lnTo>
                    <a:pt x="1127760" y="73342"/>
                  </a:lnTo>
                  <a:lnTo>
                    <a:pt x="1134428" y="75247"/>
                  </a:lnTo>
                  <a:lnTo>
                    <a:pt x="1185863" y="71438"/>
                  </a:lnTo>
                  <a:lnTo>
                    <a:pt x="1252538" y="53340"/>
                  </a:lnTo>
                  <a:lnTo>
                    <a:pt x="1264920" y="53340"/>
                  </a:lnTo>
                  <a:lnTo>
                    <a:pt x="1346835" y="80010"/>
                  </a:lnTo>
                  <a:lnTo>
                    <a:pt x="1399223" y="84772"/>
                  </a:lnTo>
                  <a:lnTo>
                    <a:pt x="1423988" y="8096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59" name="Полилиния: фигура 29">
              <a:extLst>
                <a:ext uri="{FF2B5EF4-FFF2-40B4-BE49-F238E27FC236}">
                  <a16:creationId xmlns:a16="http://schemas.microsoft.com/office/drawing/2014/main" id="{1132C5B4-533D-7520-BF0B-D343FF9B7A48}"/>
                </a:ext>
              </a:extLst>
            </p:cNvPr>
            <p:cNvSpPr/>
            <p:nvPr/>
          </p:nvSpPr>
          <p:spPr>
            <a:xfrm>
              <a:off x="7269480" y="6260782"/>
              <a:ext cx="247650" cy="333375"/>
            </a:xfrm>
            <a:custGeom>
              <a:avLst/>
              <a:gdLst>
                <a:gd name="connsiteX0" fmla="*/ 188595 w 247650"/>
                <a:gd name="connsiteY0" fmla="*/ 337185 h 333375"/>
                <a:gd name="connsiteX1" fmla="*/ 183832 w 247650"/>
                <a:gd name="connsiteY1" fmla="*/ 336232 h 333375"/>
                <a:gd name="connsiteX2" fmla="*/ 144780 w 247650"/>
                <a:gd name="connsiteY2" fmla="*/ 317182 h 333375"/>
                <a:gd name="connsiteX3" fmla="*/ 137160 w 247650"/>
                <a:gd name="connsiteY3" fmla="*/ 310515 h 333375"/>
                <a:gd name="connsiteX4" fmla="*/ 134302 w 247650"/>
                <a:gd name="connsiteY4" fmla="*/ 296228 h 333375"/>
                <a:gd name="connsiteX5" fmla="*/ 131445 w 247650"/>
                <a:gd name="connsiteY5" fmla="*/ 289560 h 333375"/>
                <a:gd name="connsiteX6" fmla="*/ 115252 w 247650"/>
                <a:gd name="connsiteY6" fmla="*/ 268605 h 333375"/>
                <a:gd name="connsiteX7" fmla="*/ 109538 w 247650"/>
                <a:gd name="connsiteY7" fmla="*/ 263843 h 333375"/>
                <a:gd name="connsiteX8" fmla="*/ 100013 w 247650"/>
                <a:gd name="connsiteY8" fmla="*/ 264795 h 333375"/>
                <a:gd name="connsiteX9" fmla="*/ 88582 w 247650"/>
                <a:gd name="connsiteY9" fmla="*/ 267653 h 333375"/>
                <a:gd name="connsiteX10" fmla="*/ 77152 w 247650"/>
                <a:gd name="connsiteY10" fmla="*/ 268605 h 333375"/>
                <a:gd name="connsiteX11" fmla="*/ 67627 w 247650"/>
                <a:gd name="connsiteY11" fmla="*/ 260985 h 333375"/>
                <a:gd name="connsiteX12" fmla="*/ 60960 w 247650"/>
                <a:gd name="connsiteY12" fmla="*/ 254318 h 333375"/>
                <a:gd name="connsiteX13" fmla="*/ 3810 w 247650"/>
                <a:gd name="connsiteY13" fmla="*/ 214313 h 333375"/>
                <a:gd name="connsiteX14" fmla="*/ 0 w 247650"/>
                <a:gd name="connsiteY14" fmla="*/ 204788 h 333375"/>
                <a:gd name="connsiteX15" fmla="*/ 0 w 247650"/>
                <a:gd name="connsiteY15" fmla="*/ 196215 h 333375"/>
                <a:gd name="connsiteX16" fmla="*/ 1905 w 247650"/>
                <a:gd name="connsiteY16" fmla="*/ 198120 h 333375"/>
                <a:gd name="connsiteX17" fmla="*/ 18097 w 247650"/>
                <a:gd name="connsiteY17" fmla="*/ 195263 h 333375"/>
                <a:gd name="connsiteX18" fmla="*/ 21907 w 247650"/>
                <a:gd name="connsiteY18" fmla="*/ 192405 h 333375"/>
                <a:gd name="connsiteX19" fmla="*/ 34290 w 247650"/>
                <a:gd name="connsiteY19" fmla="*/ 183832 h 333375"/>
                <a:gd name="connsiteX20" fmla="*/ 39052 w 247650"/>
                <a:gd name="connsiteY20" fmla="*/ 182880 h 333375"/>
                <a:gd name="connsiteX21" fmla="*/ 50482 w 247650"/>
                <a:gd name="connsiteY21" fmla="*/ 182880 h 333375"/>
                <a:gd name="connsiteX22" fmla="*/ 56197 w 247650"/>
                <a:gd name="connsiteY22" fmla="*/ 182880 h 333375"/>
                <a:gd name="connsiteX23" fmla="*/ 60007 w 247650"/>
                <a:gd name="connsiteY23" fmla="*/ 180023 h 333375"/>
                <a:gd name="connsiteX24" fmla="*/ 67627 w 247650"/>
                <a:gd name="connsiteY24" fmla="*/ 177165 h 333375"/>
                <a:gd name="connsiteX25" fmla="*/ 94297 w 247650"/>
                <a:gd name="connsiteY25" fmla="*/ 177165 h 333375"/>
                <a:gd name="connsiteX26" fmla="*/ 105727 w 247650"/>
                <a:gd name="connsiteY26" fmla="*/ 172403 h 333375"/>
                <a:gd name="connsiteX27" fmla="*/ 98107 w 247650"/>
                <a:gd name="connsiteY27" fmla="*/ 169545 h 333375"/>
                <a:gd name="connsiteX28" fmla="*/ 80963 w 247650"/>
                <a:gd name="connsiteY28" fmla="*/ 166688 h 333375"/>
                <a:gd name="connsiteX29" fmla="*/ 76200 w 247650"/>
                <a:gd name="connsiteY29" fmla="*/ 161925 h 333375"/>
                <a:gd name="connsiteX30" fmla="*/ 75247 w 247650"/>
                <a:gd name="connsiteY30" fmla="*/ 151448 h 333375"/>
                <a:gd name="connsiteX31" fmla="*/ 80010 w 247650"/>
                <a:gd name="connsiteY31" fmla="*/ 141923 h 333375"/>
                <a:gd name="connsiteX32" fmla="*/ 86677 w 247650"/>
                <a:gd name="connsiteY32" fmla="*/ 134303 h 333375"/>
                <a:gd name="connsiteX33" fmla="*/ 91440 w 247650"/>
                <a:gd name="connsiteY33" fmla="*/ 126682 h 333375"/>
                <a:gd name="connsiteX34" fmla="*/ 93345 w 247650"/>
                <a:gd name="connsiteY34" fmla="*/ 114300 h 333375"/>
                <a:gd name="connsiteX35" fmla="*/ 92393 w 247650"/>
                <a:gd name="connsiteY35" fmla="*/ 106680 h 333375"/>
                <a:gd name="connsiteX36" fmla="*/ 86677 w 247650"/>
                <a:gd name="connsiteY36" fmla="*/ 91440 h 333375"/>
                <a:gd name="connsiteX37" fmla="*/ 83820 w 247650"/>
                <a:gd name="connsiteY37" fmla="*/ 70485 h 333375"/>
                <a:gd name="connsiteX38" fmla="*/ 80963 w 247650"/>
                <a:gd name="connsiteY38" fmla="*/ 60007 h 333375"/>
                <a:gd name="connsiteX39" fmla="*/ 76200 w 247650"/>
                <a:gd name="connsiteY39" fmla="*/ 50482 h 333375"/>
                <a:gd name="connsiteX40" fmla="*/ 80963 w 247650"/>
                <a:gd name="connsiteY40" fmla="*/ 46673 h 333375"/>
                <a:gd name="connsiteX41" fmla="*/ 81915 w 247650"/>
                <a:gd name="connsiteY41" fmla="*/ 43815 h 333375"/>
                <a:gd name="connsiteX42" fmla="*/ 83820 w 247650"/>
                <a:gd name="connsiteY42" fmla="*/ 40005 h 333375"/>
                <a:gd name="connsiteX43" fmla="*/ 87630 w 247650"/>
                <a:gd name="connsiteY43" fmla="*/ 24765 h 333375"/>
                <a:gd name="connsiteX44" fmla="*/ 92393 w 247650"/>
                <a:gd name="connsiteY44" fmla="*/ 11430 h 333375"/>
                <a:gd name="connsiteX45" fmla="*/ 99060 w 247650"/>
                <a:gd name="connsiteY45" fmla="*/ 1905 h 333375"/>
                <a:gd name="connsiteX46" fmla="*/ 104775 w 247650"/>
                <a:gd name="connsiteY46" fmla="*/ 0 h 333375"/>
                <a:gd name="connsiteX47" fmla="*/ 110490 w 247650"/>
                <a:gd name="connsiteY47" fmla="*/ 24765 h 333375"/>
                <a:gd name="connsiteX48" fmla="*/ 129540 w 247650"/>
                <a:gd name="connsiteY48" fmla="*/ 26670 h 333375"/>
                <a:gd name="connsiteX49" fmla="*/ 160020 w 247650"/>
                <a:gd name="connsiteY49" fmla="*/ 45720 h 333375"/>
                <a:gd name="connsiteX50" fmla="*/ 167640 w 247650"/>
                <a:gd name="connsiteY50" fmla="*/ 73343 h 333375"/>
                <a:gd name="connsiteX51" fmla="*/ 126682 w 247650"/>
                <a:gd name="connsiteY51" fmla="*/ 98107 h 333375"/>
                <a:gd name="connsiteX52" fmla="*/ 133350 w 247650"/>
                <a:gd name="connsiteY52" fmla="*/ 141923 h 333375"/>
                <a:gd name="connsiteX53" fmla="*/ 178118 w 247650"/>
                <a:gd name="connsiteY53" fmla="*/ 138113 h 333375"/>
                <a:gd name="connsiteX54" fmla="*/ 200025 w 247650"/>
                <a:gd name="connsiteY54" fmla="*/ 169545 h 333375"/>
                <a:gd name="connsiteX55" fmla="*/ 180022 w 247650"/>
                <a:gd name="connsiteY55" fmla="*/ 200978 h 333375"/>
                <a:gd name="connsiteX56" fmla="*/ 188595 w 247650"/>
                <a:gd name="connsiteY56" fmla="*/ 221932 h 333375"/>
                <a:gd name="connsiteX57" fmla="*/ 209550 w 247650"/>
                <a:gd name="connsiteY57" fmla="*/ 220028 h 333375"/>
                <a:gd name="connsiteX58" fmla="*/ 214313 w 247650"/>
                <a:gd name="connsiteY58" fmla="*/ 238125 h 333375"/>
                <a:gd name="connsiteX59" fmla="*/ 228600 w 247650"/>
                <a:gd name="connsiteY59" fmla="*/ 241935 h 333375"/>
                <a:gd name="connsiteX60" fmla="*/ 248602 w 247650"/>
                <a:gd name="connsiteY60" fmla="*/ 294323 h 333375"/>
                <a:gd name="connsiteX61" fmla="*/ 253365 w 247650"/>
                <a:gd name="connsiteY61" fmla="*/ 312420 h 333375"/>
                <a:gd name="connsiteX62" fmla="*/ 218122 w 247650"/>
                <a:gd name="connsiteY62" fmla="*/ 317182 h 333375"/>
                <a:gd name="connsiteX63" fmla="*/ 208597 w 247650"/>
                <a:gd name="connsiteY63" fmla="*/ 321945 h 333375"/>
                <a:gd name="connsiteX64" fmla="*/ 207645 w 247650"/>
                <a:gd name="connsiteY64" fmla="*/ 331470 h 333375"/>
                <a:gd name="connsiteX65" fmla="*/ 188595 w 247650"/>
                <a:gd name="connsiteY65" fmla="*/ 337185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47650" h="333375">
                  <a:moveTo>
                    <a:pt x="188595" y="337185"/>
                  </a:moveTo>
                  <a:lnTo>
                    <a:pt x="183832" y="336232"/>
                  </a:lnTo>
                  <a:lnTo>
                    <a:pt x="144780" y="317182"/>
                  </a:lnTo>
                  <a:lnTo>
                    <a:pt x="137160" y="310515"/>
                  </a:lnTo>
                  <a:lnTo>
                    <a:pt x="134302" y="296228"/>
                  </a:lnTo>
                  <a:lnTo>
                    <a:pt x="131445" y="289560"/>
                  </a:lnTo>
                  <a:lnTo>
                    <a:pt x="115252" y="268605"/>
                  </a:lnTo>
                  <a:lnTo>
                    <a:pt x="109538" y="263843"/>
                  </a:lnTo>
                  <a:lnTo>
                    <a:pt x="100013" y="264795"/>
                  </a:lnTo>
                  <a:lnTo>
                    <a:pt x="88582" y="267653"/>
                  </a:lnTo>
                  <a:lnTo>
                    <a:pt x="77152" y="268605"/>
                  </a:lnTo>
                  <a:lnTo>
                    <a:pt x="67627" y="260985"/>
                  </a:lnTo>
                  <a:lnTo>
                    <a:pt x="60960" y="254318"/>
                  </a:lnTo>
                  <a:lnTo>
                    <a:pt x="3810" y="214313"/>
                  </a:lnTo>
                  <a:lnTo>
                    <a:pt x="0" y="204788"/>
                  </a:lnTo>
                  <a:lnTo>
                    <a:pt x="0" y="196215"/>
                  </a:lnTo>
                  <a:lnTo>
                    <a:pt x="1905" y="198120"/>
                  </a:lnTo>
                  <a:lnTo>
                    <a:pt x="18097" y="195263"/>
                  </a:lnTo>
                  <a:lnTo>
                    <a:pt x="21907" y="192405"/>
                  </a:lnTo>
                  <a:lnTo>
                    <a:pt x="34290" y="183832"/>
                  </a:lnTo>
                  <a:lnTo>
                    <a:pt x="39052" y="182880"/>
                  </a:lnTo>
                  <a:lnTo>
                    <a:pt x="50482" y="182880"/>
                  </a:lnTo>
                  <a:lnTo>
                    <a:pt x="56197" y="182880"/>
                  </a:lnTo>
                  <a:lnTo>
                    <a:pt x="60007" y="180023"/>
                  </a:lnTo>
                  <a:lnTo>
                    <a:pt x="67627" y="177165"/>
                  </a:lnTo>
                  <a:lnTo>
                    <a:pt x="94297" y="177165"/>
                  </a:lnTo>
                  <a:lnTo>
                    <a:pt x="105727" y="172403"/>
                  </a:lnTo>
                  <a:lnTo>
                    <a:pt x="98107" y="169545"/>
                  </a:lnTo>
                  <a:lnTo>
                    <a:pt x="80963" y="166688"/>
                  </a:lnTo>
                  <a:lnTo>
                    <a:pt x="76200" y="161925"/>
                  </a:lnTo>
                  <a:lnTo>
                    <a:pt x="75247" y="151448"/>
                  </a:lnTo>
                  <a:lnTo>
                    <a:pt x="80010" y="141923"/>
                  </a:lnTo>
                  <a:lnTo>
                    <a:pt x="86677" y="134303"/>
                  </a:lnTo>
                  <a:lnTo>
                    <a:pt x="91440" y="126682"/>
                  </a:lnTo>
                  <a:lnTo>
                    <a:pt x="93345" y="114300"/>
                  </a:lnTo>
                  <a:lnTo>
                    <a:pt x="92393" y="106680"/>
                  </a:lnTo>
                  <a:lnTo>
                    <a:pt x="86677" y="91440"/>
                  </a:lnTo>
                  <a:lnTo>
                    <a:pt x="83820" y="70485"/>
                  </a:lnTo>
                  <a:lnTo>
                    <a:pt x="80963" y="60007"/>
                  </a:lnTo>
                  <a:lnTo>
                    <a:pt x="76200" y="50482"/>
                  </a:lnTo>
                  <a:lnTo>
                    <a:pt x="80963" y="46673"/>
                  </a:lnTo>
                  <a:lnTo>
                    <a:pt x="81915" y="43815"/>
                  </a:lnTo>
                  <a:lnTo>
                    <a:pt x="83820" y="40005"/>
                  </a:lnTo>
                  <a:lnTo>
                    <a:pt x="87630" y="24765"/>
                  </a:lnTo>
                  <a:lnTo>
                    <a:pt x="92393" y="11430"/>
                  </a:lnTo>
                  <a:lnTo>
                    <a:pt x="99060" y="1905"/>
                  </a:lnTo>
                  <a:lnTo>
                    <a:pt x="104775" y="0"/>
                  </a:lnTo>
                  <a:lnTo>
                    <a:pt x="110490" y="24765"/>
                  </a:lnTo>
                  <a:lnTo>
                    <a:pt x="129540" y="26670"/>
                  </a:lnTo>
                  <a:lnTo>
                    <a:pt x="160020" y="45720"/>
                  </a:lnTo>
                  <a:lnTo>
                    <a:pt x="167640" y="73343"/>
                  </a:lnTo>
                  <a:lnTo>
                    <a:pt x="126682" y="98107"/>
                  </a:lnTo>
                  <a:lnTo>
                    <a:pt x="133350" y="141923"/>
                  </a:lnTo>
                  <a:lnTo>
                    <a:pt x="178118" y="138113"/>
                  </a:lnTo>
                  <a:lnTo>
                    <a:pt x="200025" y="169545"/>
                  </a:lnTo>
                  <a:lnTo>
                    <a:pt x="180022" y="200978"/>
                  </a:lnTo>
                  <a:lnTo>
                    <a:pt x="188595" y="221932"/>
                  </a:lnTo>
                  <a:lnTo>
                    <a:pt x="209550" y="220028"/>
                  </a:lnTo>
                  <a:lnTo>
                    <a:pt x="214313" y="238125"/>
                  </a:lnTo>
                  <a:lnTo>
                    <a:pt x="228600" y="241935"/>
                  </a:lnTo>
                  <a:lnTo>
                    <a:pt x="248602" y="294323"/>
                  </a:lnTo>
                  <a:lnTo>
                    <a:pt x="253365" y="312420"/>
                  </a:lnTo>
                  <a:lnTo>
                    <a:pt x="218122" y="317182"/>
                  </a:lnTo>
                  <a:lnTo>
                    <a:pt x="208597" y="321945"/>
                  </a:lnTo>
                  <a:lnTo>
                    <a:pt x="207645" y="331470"/>
                  </a:lnTo>
                  <a:lnTo>
                    <a:pt x="188595" y="33718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60" name="Полилиния: фигура 735">
              <a:extLst>
                <a:ext uri="{FF2B5EF4-FFF2-40B4-BE49-F238E27FC236}">
                  <a16:creationId xmlns:a16="http://schemas.microsoft.com/office/drawing/2014/main" id="{B6F3A1EF-44E9-A686-B1AF-559E37515756}"/>
                </a:ext>
              </a:extLst>
            </p:cNvPr>
            <p:cNvSpPr/>
            <p:nvPr/>
          </p:nvSpPr>
          <p:spPr>
            <a:xfrm>
              <a:off x="6453188" y="3761423"/>
              <a:ext cx="19050" cy="19050"/>
            </a:xfrm>
            <a:custGeom>
              <a:avLst/>
              <a:gdLst>
                <a:gd name="connsiteX0" fmla="*/ 19050 w 19050"/>
                <a:gd name="connsiteY0" fmla="*/ 9525 h 19050"/>
                <a:gd name="connsiteX1" fmla="*/ 9525 w 19050"/>
                <a:gd name="connsiteY1" fmla="*/ 19050 h 19050"/>
                <a:gd name="connsiteX2" fmla="*/ 0 w 19050"/>
                <a:gd name="connsiteY2" fmla="*/ 9525 h 19050"/>
                <a:gd name="connsiteX3" fmla="*/ 9525 w 19050"/>
                <a:gd name="connsiteY3" fmla="*/ 0 h 19050"/>
                <a:gd name="connsiteX4" fmla="*/ 19050 w 19050"/>
                <a:gd name="connsiteY4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50" y="9525"/>
                  </a:moveTo>
                  <a:cubicBezTo>
                    <a:pt x="19050" y="14785"/>
                    <a:pt x="14786" y="19050"/>
                    <a:pt x="9525" y="19050"/>
                  </a:cubicBezTo>
                  <a:cubicBezTo>
                    <a:pt x="4264" y="19050"/>
                    <a:pt x="0" y="14785"/>
                    <a:pt x="0" y="9525"/>
                  </a:cubicBezTo>
                  <a:cubicBezTo>
                    <a:pt x="0" y="4265"/>
                    <a:pt x="4264" y="0"/>
                    <a:pt x="9525" y="0"/>
                  </a:cubicBezTo>
                  <a:cubicBezTo>
                    <a:pt x="14786" y="0"/>
                    <a:pt x="19050" y="4265"/>
                    <a:pt x="19050" y="9525"/>
                  </a:cubicBez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</p:grpSp>
      <p:grpSp>
        <p:nvGrpSpPr>
          <p:cNvPr id="135" name="Групувати 134">
            <a:extLst>
              <a:ext uri="{FF2B5EF4-FFF2-40B4-BE49-F238E27FC236}">
                <a16:creationId xmlns:a16="http://schemas.microsoft.com/office/drawing/2014/main" id="{07290221-96E6-8C22-D064-5A3D12CA7DCD}"/>
              </a:ext>
            </a:extLst>
          </p:cNvPr>
          <p:cNvGrpSpPr/>
          <p:nvPr/>
        </p:nvGrpSpPr>
        <p:grpSpPr>
          <a:xfrm>
            <a:off x="3211731" y="2129729"/>
            <a:ext cx="2476419" cy="1350902"/>
            <a:chOff x="-6522720" y="-347878"/>
            <a:chExt cx="4786769" cy="2536982"/>
          </a:xfrm>
        </p:grpSpPr>
        <p:sp>
          <p:nvSpPr>
            <p:cNvPr id="136" name="Прямокутник 50">
              <a:extLst>
                <a:ext uri="{FF2B5EF4-FFF2-40B4-BE49-F238E27FC236}">
                  <a16:creationId xmlns:a16="http://schemas.microsoft.com/office/drawing/2014/main" id="{7C1002AC-7C3F-8D0B-1489-222D1117B4A7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37" name="Прямокутник 50">
              <a:extLst>
                <a:ext uri="{FF2B5EF4-FFF2-40B4-BE49-F238E27FC236}">
                  <a16:creationId xmlns:a16="http://schemas.microsoft.com/office/drawing/2014/main" id="{6C98BAB6-F7BA-B59D-5930-FAD2B3A99993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grpSp>
        <p:nvGrpSpPr>
          <p:cNvPr id="138" name="Групувати 137">
            <a:extLst>
              <a:ext uri="{FF2B5EF4-FFF2-40B4-BE49-F238E27FC236}">
                <a16:creationId xmlns:a16="http://schemas.microsoft.com/office/drawing/2014/main" id="{3C58503B-0061-0C74-40E7-1305D81C4C62}"/>
              </a:ext>
            </a:extLst>
          </p:cNvPr>
          <p:cNvGrpSpPr/>
          <p:nvPr/>
        </p:nvGrpSpPr>
        <p:grpSpPr>
          <a:xfrm>
            <a:off x="3211731" y="4534752"/>
            <a:ext cx="2476419" cy="1350902"/>
            <a:chOff x="-6522720" y="-347878"/>
            <a:chExt cx="4786769" cy="2536982"/>
          </a:xfrm>
        </p:grpSpPr>
        <p:sp>
          <p:nvSpPr>
            <p:cNvPr id="139" name="Прямокутник 50">
              <a:extLst>
                <a:ext uri="{FF2B5EF4-FFF2-40B4-BE49-F238E27FC236}">
                  <a16:creationId xmlns:a16="http://schemas.microsoft.com/office/drawing/2014/main" id="{DF652DD5-C133-DE2D-A07B-528691ACF2F0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0" name="Прямокутник 50">
              <a:extLst>
                <a:ext uri="{FF2B5EF4-FFF2-40B4-BE49-F238E27FC236}">
                  <a16:creationId xmlns:a16="http://schemas.microsoft.com/office/drawing/2014/main" id="{585EC7BA-DE3E-BF81-AD52-C850F4716ACE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grpSp>
        <p:nvGrpSpPr>
          <p:cNvPr id="90" name="Групувати 89">
            <a:extLst>
              <a:ext uri="{FF2B5EF4-FFF2-40B4-BE49-F238E27FC236}">
                <a16:creationId xmlns:a16="http://schemas.microsoft.com/office/drawing/2014/main" id="{35FBBCB1-B9E4-C182-0BA4-5E13CC8FAAF1}"/>
              </a:ext>
            </a:extLst>
          </p:cNvPr>
          <p:cNvGrpSpPr/>
          <p:nvPr/>
        </p:nvGrpSpPr>
        <p:grpSpPr>
          <a:xfrm>
            <a:off x="415147" y="2129729"/>
            <a:ext cx="2476419" cy="1350902"/>
            <a:chOff x="-6522720" y="-347878"/>
            <a:chExt cx="4786769" cy="2536982"/>
          </a:xfrm>
        </p:grpSpPr>
        <p:sp>
          <p:nvSpPr>
            <p:cNvPr id="91" name="Прямокутник 50">
              <a:extLst>
                <a:ext uri="{FF2B5EF4-FFF2-40B4-BE49-F238E27FC236}">
                  <a16:creationId xmlns:a16="http://schemas.microsoft.com/office/drawing/2014/main" id="{0C5E9EA4-0CF8-A131-A399-AAB6231EE20A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2" name="Прямокутник 50">
              <a:extLst>
                <a:ext uri="{FF2B5EF4-FFF2-40B4-BE49-F238E27FC236}">
                  <a16:creationId xmlns:a16="http://schemas.microsoft.com/office/drawing/2014/main" id="{83B236C7-5D55-75AA-30EB-DCD1F375584C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18" name="Freeform 2">
            <a:extLst>
              <a:ext uri="{FF2B5EF4-FFF2-40B4-BE49-F238E27FC236}">
                <a16:creationId xmlns:a16="http://schemas.microsoft.com/office/drawing/2014/main" id="{75380ACA-4A86-A0B3-35D7-83CE272BA3EB}"/>
              </a:ext>
            </a:extLst>
          </p:cNvPr>
          <p:cNvSpPr/>
          <p:nvPr/>
        </p:nvSpPr>
        <p:spPr>
          <a:xfrm>
            <a:off x="620263" y="425876"/>
            <a:ext cx="2212693" cy="771168"/>
          </a:xfrm>
          <a:custGeom>
            <a:avLst/>
            <a:gdLst/>
            <a:ahLst/>
            <a:cxnLst/>
            <a:rect l="l" t="t" r="r" b="b"/>
            <a:pathLst>
              <a:path w="18322762" h="1281633">
                <a:moveTo>
                  <a:pt x="0" y="0"/>
                </a:moveTo>
                <a:lnTo>
                  <a:pt x="18322762" y="0"/>
                </a:lnTo>
                <a:lnTo>
                  <a:pt x="18322762" y="1281633"/>
                </a:lnTo>
                <a:lnTo>
                  <a:pt x="0" y="1281633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12433" r="-385826"/>
            </a:stretch>
          </a:blipFill>
        </p:spPr>
        <p:txBody>
          <a:bodyPr/>
          <a:lstStyle/>
          <a:p>
            <a:endParaRPr lang="uk-UA"/>
          </a:p>
        </p:txBody>
      </p:sp>
      <p:grpSp>
        <p:nvGrpSpPr>
          <p:cNvPr id="10" name="Рисунок 2">
            <a:extLst>
              <a:ext uri="{FF2B5EF4-FFF2-40B4-BE49-F238E27FC236}">
                <a16:creationId xmlns:a16="http://schemas.microsoft.com/office/drawing/2014/main" id="{7815EBF4-7C06-918B-145B-DA9CFDF2AF4E}"/>
              </a:ext>
            </a:extLst>
          </p:cNvPr>
          <p:cNvGrpSpPr/>
          <p:nvPr/>
        </p:nvGrpSpPr>
        <p:grpSpPr>
          <a:xfrm>
            <a:off x="9141230" y="2023275"/>
            <a:ext cx="2252065" cy="1506040"/>
            <a:chOff x="1343025" y="247650"/>
            <a:chExt cx="9505950" cy="6356985"/>
          </a:xfrm>
          <a:solidFill>
            <a:schemeClr val="bg2"/>
          </a:solidFill>
        </p:grpSpPr>
        <p:sp>
          <p:nvSpPr>
            <p:cNvPr id="19" name="Полилиния: фигура 3">
              <a:extLst>
                <a:ext uri="{FF2B5EF4-FFF2-40B4-BE49-F238E27FC236}">
                  <a16:creationId xmlns:a16="http://schemas.microsoft.com/office/drawing/2014/main" id="{A5D4A780-EA66-9005-D7A5-D21D5740EE59}"/>
                </a:ext>
              </a:extLst>
            </p:cNvPr>
            <p:cNvSpPr/>
            <p:nvPr/>
          </p:nvSpPr>
          <p:spPr>
            <a:xfrm>
              <a:off x="6799898" y="5233035"/>
              <a:ext cx="2190750" cy="1371600"/>
            </a:xfrm>
            <a:custGeom>
              <a:avLst/>
              <a:gdLst>
                <a:gd name="connsiteX0" fmla="*/ 1316355 w 2190750"/>
                <a:gd name="connsiteY0" fmla="*/ 379095 h 1371600"/>
                <a:gd name="connsiteX1" fmla="*/ 1329690 w 2190750"/>
                <a:gd name="connsiteY1" fmla="*/ 370522 h 1371600"/>
                <a:gd name="connsiteX2" fmla="*/ 1351597 w 2190750"/>
                <a:gd name="connsiteY2" fmla="*/ 415290 h 1371600"/>
                <a:gd name="connsiteX3" fmla="*/ 1503045 w 2190750"/>
                <a:gd name="connsiteY3" fmla="*/ 640080 h 1371600"/>
                <a:gd name="connsiteX4" fmla="*/ 1582102 w 2190750"/>
                <a:gd name="connsiteY4" fmla="*/ 695325 h 1371600"/>
                <a:gd name="connsiteX5" fmla="*/ 1601152 w 2190750"/>
                <a:gd name="connsiteY5" fmla="*/ 697230 h 1371600"/>
                <a:gd name="connsiteX6" fmla="*/ 1694497 w 2190750"/>
                <a:gd name="connsiteY6" fmla="*/ 670560 h 1371600"/>
                <a:gd name="connsiteX7" fmla="*/ 1705927 w 2190750"/>
                <a:gd name="connsiteY7" fmla="*/ 662940 h 1371600"/>
                <a:gd name="connsiteX8" fmla="*/ 1720215 w 2190750"/>
                <a:gd name="connsiteY8" fmla="*/ 647700 h 1371600"/>
                <a:gd name="connsiteX9" fmla="*/ 1722120 w 2190750"/>
                <a:gd name="connsiteY9" fmla="*/ 640080 h 1371600"/>
                <a:gd name="connsiteX10" fmla="*/ 1723072 w 2190750"/>
                <a:gd name="connsiteY10" fmla="*/ 633413 h 1371600"/>
                <a:gd name="connsiteX11" fmla="*/ 1724977 w 2190750"/>
                <a:gd name="connsiteY11" fmla="*/ 628650 h 1371600"/>
                <a:gd name="connsiteX12" fmla="*/ 1732597 w 2190750"/>
                <a:gd name="connsiteY12" fmla="*/ 626745 h 1371600"/>
                <a:gd name="connsiteX13" fmla="*/ 1735455 w 2190750"/>
                <a:gd name="connsiteY13" fmla="*/ 623888 h 1371600"/>
                <a:gd name="connsiteX14" fmla="*/ 1744027 w 2190750"/>
                <a:gd name="connsiteY14" fmla="*/ 612457 h 1371600"/>
                <a:gd name="connsiteX15" fmla="*/ 1745932 w 2190750"/>
                <a:gd name="connsiteY15" fmla="*/ 609600 h 1371600"/>
                <a:gd name="connsiteX16" fmla="*/ 1747838 w 2190750"/>
                <a:gd name="connsiteY16" fmla="*/ 595313 h 1371600"/>
                <a:gd name="connsiteX17" fmla="*/ 1752600 w 2190750"/>
                <a:gd name="connsiteY17" fmla="*/ 581977 h 1371600"/>
                <a:gd name="connsiteX18" fmla="*/ 1759267 w 2190750"/>
                <a:gd name="connsiteY18" fmla="*/ 570547 h 1371600"/>
                <a:gd name="connsiteX19" fmla="*/ 1767840 w 2190750"/>
                <a:gd name="connsiteY19" fmla="*/ 564832 h 1371600"/>
                <a:gd name="connsiteX20" fmla="*/ 1780222 w 2190750"/>
                <a:gd name="connsiteY20" fmla="*/ 566738 h 1371600"/>
                <a:gd name="connsiteX21" fmla="*/ 1782127 w 2190750"/>
                <a:gd name="connsiteY21" fmla="*/ 573405 h 1371600"/>
                <a:gd name="connsiteX22" fmla="*/ 1777365 w 2190750"/>
                <a:gd name="connsiteY22" fmla="*/ 584835 h 1371600"/>
                <a:gd name="connsiteX23" fmla="*/ 1774507 w 2190750"/>
                <a:gd name="connsiteY23" fmla="*/ 599122 h 1371600"/>
                <a:gd name="connsiteX24" fmla="*/ 1778317 w 2190750"/>
                <a:gd name="connsiteY24" fmla="*/ 607695 h 1371600"/>
                <a:gd name="connsiteX25" fmla="*/ 1787842 w 2190750"/>
                <a:gd name="connsiteY25" fmla="*/ 615315 h 1371600"/>
                <a:gd name="connsiteX26" fmla="*/ 1827847 w 2190750"/>
                <a:gd name="connsiteY26" fmla="*/ 639127 h 1371600"/>
                <a:gd name="connsiteX27" fmla="*/ 1847850 w 2190750"/>
                <a:gd name="connsiteY27" fmla="*/ 646747 h 1371600"/>
                <a:gd name="connsiteX28" fmla="*/ 1867852 w 2190750"/>
                <a:gd name="connsiteY28" fmla="*/ 641985 h 1371600"/>
                <a:gd name="connsiteX29" fmla="*/ 1883092 w 2190750"/>
                <a:gd name="connsiteY29" fmla="*/ 621982 h 1371600"/>
                <a:gd name="connsiteX30" fmla="*/ 1889760 w 2190750"/>
                <a:gd name="connsiteY30" fmla="*/ 599122 h 1371600"/>
                <a:gd name="connsiteX31" fmla="*/ 1891665 w 2190750"/>
                <a:gd name="connsiteY31" fmla="*/ 596265 h 1371600"/>
                <a:gd name="connsiteX32" fmla="*/ 1906905 w 2190750"/>
                <a:gd name="connsiteY32" fmla="*/ 586740 h 1371600"/>
                <a:gd name="connsiteX33" fmla="*/ 1917382 w 2190750"/>
                <a:gd name="connsiteY33" fmla="*/ 575310 h 1371600"/>
                <a:gd name="connsiteX34" fmla="*/ 1927860 w 2190750"/>
                <a:gd name="connsiteY34" fmla="*/ 571500 h 1371600"/>
                <a:gd name="connsiteX35" fmla="*/ 1988820 w 2190750"/>
                <a:gd name="connsiteY35" fmla="*/ 572452 h 1371600"/>
                <a:gd name="connsiteX36" fmla="*/ 1996440 w 2190750"/>
                <a:gd name="connsiteY36" fmla="*/ 567690 h 1371600"/>
                <a:gd name="connsiteX37" fmla="*/ 2005013 w 2190750"/>
                <a:gd name="connsiteY37" fmla="*/ 561022 h 1371600"/>
                <a:gd name="connsiteX38" fmla="*/ 2013585 w 2190750"/>
                <a:gd name="connsiteY38" fmla="*/ 562927 h 1371600"/>
                <a:gd name="connsiteX39" fmla="*/ 2017395 w 2190750"/>
                <a:gd name="connsiteY39" fmla="*/ 572452 h 1371600"/>
                <a:gd name="connsiteX40" fmla="*/ 2013585 w 2190750"/>
                <a:gd name="connsiteY40" fmla="*/ 585788 h 1371600"/>
                <a:gd name="connsiteX41" fmla="*/ 2020252 w 2190750"/>
                <a:gd name="connsiteY41" fmla="*/ 585788 h 1371600"/>
                <a:gd name="connsiteX42" fmla="*/ 2025015 w 2190750"/>
                <a:gd name="connsiteY42" fmla="*/ 581977 h 1371600"/>
                <a:gd name="connsiteX43" fmla="*/ 2029777 w 2190750"/>
                <a:gd name="connsiteY43" fmla="*/ 577215 h 1371600"/>
                <a:gd name="connsiteX44" fmla="*/ 2035492 w 2190750"/>
                <a:gd name="connsiteY44" fmla="*/ 575310 h 1371600"/>
                <a:gd name="connsiteX45" fmla="*/ 2045017 w 2190750"/>
                <a:gd name="connsiteY45" fmla="*/ 577215 h 1371600"/>
                <a:gd name="connsiteX46" fmla="*/ 2062163 w 2190750"/>
                <a:gd name="connsiteY46" fmla="*/ 588645 h 1371600"/>
                <a:gd name="connsiteX47" fmla="*/ 2072640 w 2190750"/>
                <a:gd name="connsiteY47" fmla="*/ 591502 h 1371600"/>
                <a:gd name="connsiteX48" fmla="*/ 2104072 w 2190750"/>
                <a:gd name="connsiteY48" fmla="*/ 583882 h 1371600"/>
                <a:gd name="connsiteX49" fmla="*/ 2114550 w 2190750"/>
                <a:gd name="connsiteY49" fmla="*/ 585788 h 1371600"/>
                <a:gd name="connsiteX50" fmla="*/ 2127885 w 2190750"/>
                <a:gd name="connsiteY50" fmla="*/ 603885 h 1371600"/>
                <a:gd name="connsiteX51" fmla="*/ 2136458 w 2190750"/>
                <a:gd name="connsiteY51" fmla="*/ 611505 h 1371600"/>
                <a:gd name="connsiteX52" fmla="*/ 2145030 w 2190750"/>
                <a:gd name="connsiteY52" fmla="*/ 609600 h 1371600"/>
                <a:gd name="connsiteX53" fmla="*/ 2154555 w 2190750"/>
                <a:gd name="connsiteY53" fmla="*/ 599122 h 1371600"/>
                <a:gd name="connsiteX54" fmla="*/ 2163127 w 2190750"/>
                <a:gd name="connsiteY54" fmla="*/ 598170 h 1371600"/>
                <a:gd name="connsiteX55" fmla="*/ 2171700 w 2190750"/>
                <a:gd name="connsiteY55" fmla="*/ 602932 h 1371600"/>
                <a:gd name="connsiteX56" fmla="*/ 2179320 w 2190750"/>
                <a:gd name="connsiteY56" fmla="*/ 611505 h 1371600"/>
                <a:gd name="connsiteX57" fmla="*/ 2188845 w 2190750"/>
                <a:gd name="connsiteY57" fmla="*/ 637222 h 1371600"/>
                <a:gd name="connsiteX58" fmla="*/ 2192655 w 2190750"/>
                <a:gd name="connsiteY58" fmla="*/ 655320 h 1371600"/>
                <a:gd name="connsiteX59" fmla="*/ 2187892 w 2190750"/>
                <a:gd name="connsiteY59" fmla="*/ 662940 h 1371600"/>
                <a:gd name="connsiteX60" fmla="*/ 2170747 w 2190750"/>
                <a:gd name="connsiteY60" fmla="*/ 667702 h 1371600"/>
                <a:gd name="connsiteX61" fmla="*/ 2165033 w 2190750"/>
                <a:gd name="connsiteY61" fmla="*/ 667702 h 1371600"/>
                <a:gd name="connsiteX62" fmla="*/ 2158365 w 2190750"/>
                <a:gd name="connsiteY62" fmla="*/ 666750 h 1371600"/>
                <a:gd name="connsiteX63" fmla="*/ 2143125 w 2190750"/>
                <a:gd name="connsiteY63" fmla="*/ 658177 h 1371600"/>
                <a:gd name="connsiteX64" fmla="*/ 2130742 w 2190750"/>
                <a:gd name="connsiteY64" fmla="*/ 656272 h 1371600"/>
                <a:gd name="connsiteX65" fmla="*/ 2120265 w 2190750"/>
                <a:gd name="connsiteY65" fmla="*/ 658177 h 1371600"/>
                <a:gd name="connsiteX66" fmla="*/ 2113597 w 2190750"/>
                <a:gd name="connsiteY66" fmla="*/ 666750 h 1371600"/>
                <a:gd name="connsiteX67" fmla="*/ 2110740 w 2190750"/>
                <a:gd name="connsiteY67" fmla="*/ 681038 h 1371600"/>
                <a:gd name="connsiteX68" fmla="*/ 2112645 w 2190750"/>
                <a:gd name="connsiteY68" fmla="*/ 686752 h 1371600"/>
                <a:gd name="connsiteX69" fmla="*/ 2116455 w 2190750"/>
                <a:gd name="connsiteY69" fmla="*/ 689610 h 1371600"/>
                <a:gd name="connsiteX70" fmla="*/ 2117408 w 2190750"/>
                <a:gd name="connsiteY70" fmla="*/ 693420 h 1371600"/>
                <a:gd name="connsiteX71" fmla="*/ 2114550 w 2190750"/>
                <a:gd name="connsiteY71" fmla="*/ 699135 h 1371600"/>
                <a:gd name="connsiteX72" fmla="*/ 2109788 w 2190750"/>
                <a:gd name="connsiteY72" fmla="*/ 701992 h 1371600"/>
                <a:gd name="connsiteX73" fmla="*/ 2097405 w 2190750"/>
                <a:gd name="connsiteY73" fmla="*/ 702945 h 1371600"/>
                <a:gd name="connsiteX74" fmla="*/ 2093595 w 2190750"/>
                <a:gd name="connsiteY74" fmla="*/ 704850 h 1371600"/>
                <a:gd name="connsiteX75" fmla="*/ 2085975 w 2190750"/>
                <a:gd name="connsiteY75" fmla="*/ 714375 h 1371600"/>
                <a:gd name="connsiteX76" fmla="*/ 2080260 w 2190750"/>
                <a:gd name="connsiteY76" fmla="*/ 729615 h 1371600"/>
                <a:gd name="connsiteX77" fmla="*/ 2076450 w 2190750"/>
                <a:gd name="connsiteY77" fmla="*/ 745807 h 1371600"/>
                <a:gd name="connsiteX78" fmla="*/ 2071688 w 2190750"/>
                <a:gd name="connsiteY78" fmla="*/ 789622 h 1371600"/>
                <a:gd name="connsiteX79" fmla="*/ 2071688 w 2190750"/>
                <a:gd name="connsiteY79" fmla="*/ 805815 h 1371600"/>
                <a:gd name="connsiteX80" fmla="*/ 2074545 w 2190750"/>
                <a:gd name="connsiteY80" fmla="*/ 822007 h 1371600"/>
                <a:gd name="connsiteX81" fmla="*/ 2088832 w 2190750"/>
                <a:gd name="connsiteY81" fmla="*/ 838200 h 1371600"/>
                <a:gd name="connsiteX82" fmla="*/ 2095500 w 2190750"/>
                <a:gd name="connsiteY82" fmla="*/ 849630 h 1371600"/>
                <a:gd name="connsiteX83" fmla="*/ 2094547 w 2190750"/>
                <a:gd name="connsiteY83" fmla="*/ 861060 h 1371600"/>
                <a:gd name="connsiteX84" fmla="*/ 2087880 w 2190750"/>
                <a:gd name="connsiteY84" fmla="*/ 867727 h 1371600"/>
                <a:gd name="connsiteX85" fmla="*/ 2049780 w 2190750"/>
                <a:gd name="connsiteY85" fmla="*/ 882015 h 1371600"/>
                <a:gd name="connsiteX86" fmla="*/ 2002155 w 2190750"/>
                <a:gd name="connsiteY86" fmla="*/ 883920 h 1371600"/>
                <a:gd name="connsiteX87" fmla="*/ 1996440 w 2190750"/>
                <a:gd name="connsiteY87" fmla="*/ 885825 h 1371600"/>
                <a:gd name="connsiteX88" fmla="*/ 1991677 w 2190750"/>
                <a:gd name="connsiteY88" fmla="*/ 888682 h 1371600"/>
                <a:gd name="connsiteX89" fmla="*/ 1989772 w 2190750"/>
                <a:gd name="connsiteY89" fmla="*/ 893445 h 1371600"/>
                <a:gd name="connsiteX90" fmla="*/ 1986915 w 2190750"/>
                <a:gd name="connsiteY90" fmla="*/ 905827 h 1371600"/>
                <a:gd name="connsiteX91" fmla="*/ 1984057 w 2190750"/>
                <a:gd name="connsiteY91" fmla="*/ 909638 h 1371600"/>
                <a:gd name="connsiteX92" fmla="*/ 1974532 w 2190750"/>
                <a:gd name="connsiteY92" fmla="*/ 912495 h 1371600"/>
                <a:gd name="connsiteX93" fmla="*/ 1926907 w 2190750"/>
                <a:gd name="connsiteY93" fmla="*/ 902017 h 1371600"/>
                <a:gd name="connsiteX94" fmla="*/ 1897380 w 2190750"/>
                <a:gd name="connsiteY94" fmla="*/ 882967 h 1371600"/>
                <a:gd name="connsiteX95" fmla="*/ 1897380 w 2190750"/>
                <a:gd name="connsiteY95" fmla="*/ 888682 h 1371600"/>
                <a:gd name="connsiteX96" fmla="*/ 1881188 w 2190750"/>
                <a:gd name="connsiteY96" fmla="*/ 882015 h 1371600"/>
                <a:gd name="connsiteX97" fmla="*/ 1868805 w 2190750"/>
                <a:gd name="connsiteY97" fmla="*/ 893445 h 1371600"/>
                <a:gd name="connsiteX98" fmla="*/ 1860232 w 2190750"/>
                <a:gd name="connsiteY98" fmla="*/ 910590 h 1371600"/>
                <a:gd name="connsiteX99" fmla="*/ 1852613 w 2190750"/>
                <a:gd name="connsiteY99" fmla="*/ 919163 h 1371600"/>
                <a:gd name="connsiteX100" fmla="*/ 1811655 w 2190750"/>
                <a:gd name="connsiteY100" fmla="*/ 917257 h 1371600"/>
                <a:gd name="connsiteX101" fmla="*/ 1775460 w 2190750"/>
                <a:gd name="connsiteY101" fmla="*/ 923925 h 1371600"/>
                <a:gd name="connsiteX102" fmla="*/ 1764982 w 2190750"/>
                <a:gd name="connsiteY102" fmla="*/ 918210 h 1371600"/>
                <a:gd name="connsiteX103" fmla="*/ 1760220 w 2190750"/>
                <a:gd name="connsiteY103" fmla="*/ 902017 h 1371600"/>
                <a:gd name="connsiteX104" fmla="*/ 1757363 w 2190750"/>
                <a:gd name="connsiteY104" fmla="*/ 894397 h 1371600"/>
                <a:gd name="connsiteX105" fmla="*/ 1741170 w 2190750"/>
                <a:gd name="connsiteY105" fmla="*/ 875347 h 1371600"/>
                <a:gd name="connsiteX106" fmla="*/ 1734502 w 2190750"/>
                <a:gd name="connsiteY106" fmla="*/ 868680 h 1371600"/>
                <a:gd name="connsiteX107" fmla="*/ 1701165 w 2190750"/>
                <a:gd name="connsiteY107" fmla="*/ 847725 h 1371600"/>
                <a:gd name="connsiteX108" fmla="*/ 1663065 w 2190750"/>
                <a:gd name="connsiteY108" fmla="*/ 832485 h 1371600"/>
                <a:gd name="connsiteX109" fmla="*/ 1640205 w 2190750"/>
                <a:gd name="connsiteY109" fmla="*/ 828675 h 1371600"/>
                <a:gd name="connsiteX110" fmla="*/ 1617345 w 2190750"/>
                <a:gd name="connsiteY110" fmla="*/ 828675 h 1371600"/>
                <a:gd name="connsiteX111" fmla="*/ 1595438 w 2190750"/>
                <a:gd name="connsiteY111" fmla="*/ 833438 h 1371600"/>
                <a:gd name="connsiteX112" fmla="*/ 1576388 w 2190750"/>
                <a:gd name="connsiteY112" fmla="*/ 842963 h 1371600"/>
                <a:gd name="connsiteX113" fmla="*/ 1547813 w 2190750"/>
                <a:gd name="connsiteY113" fmla="*/ 864870 h 1371600"/>
                <a:gd name="connsiteX114" fmla="*/ 1543050 w 2190750"/>
                <a:gd name="connsiteY114" fmla="*/ 871538 h 1371600"/>
                <a:gd name="connsiteX115" fmla="*/ 1542097 w 2190750"/>
                <a:gd name="connsiteY115" fmla="*/ 880110 h 1371600"/>
                <a:gd name="connsiteX116" fmla="*/ 1539240 w 2190750"/>
                <a:gd name="connsiteY116" fmla="*/ 885825 h 1371600"/>
                <a:gd name="connsiteX117" fmla="*/ 1538288 w 2190750"/>
                <a:gd name="connsiteY117" fmla="*/ 891540 h 1371600"/>
                <a:gd name="connsiteX118" fmla="*/ 1539240 w 2190750"/>
                <a:gd name="connsiteY118" fmla="*/ 899160 h 1371600"/>
                <a:gd name="connsiteX119" fmla="*/ 1543050 w 2190750"/>
                <a:gd name="connsiteY119" fmla="*/ 902970 h 1371600"/>
                <a:gd name="connsiteX120" fmla="*/ 1558290 w 2190750"/>
                <a:gd name="connsiteY120" fmla="*/ 909638 h 1371600"/>
                <a:gd name="connsiteX121" fmla="*/ 1558290 w 2190750"/>
                <a:gd name="connsiteY121" fmla="*/ 914400 h 1371600"/>
                <a:gd name="connsiteX122" fmla="*/ 1550670 w 2190750"/>
                <a:gd name="connsiteY122" fmla="*/ 917257 h 1371600"/>
                <a:gd name="connsiteX123" fmla="*/ 1533525 w 2190750"/>
                <a:gd name="connsiteY123" fmla="*/ 916305 h 1371600"/>
                <a:gd name="connsiteX124" fmla="*/ 1525905 w 2190750"/>
                <a:gd name="connsiteY124" fmla="*/ 919163 h 1371600"/>
                <a:gd name="connsiteX125" fmla="*/ 1519238 w 2190750"/>
                <a:gd name="connsiteY125" fmla="*/ 927735 h 1371600"/>
                <a:gd name="connsiteX126" fmla="*/ 1518285 w 2190750"/>
                <a:gd name="connsiteY126" fmla="*/ 937260 h 1371600"/>
                <a:gd name="connsiteX127" fmla="*/ 1522095 w 2190750"/>
                <a:gd name="connsiteY127" fmla="*/ 960120 h 1371600"/>
                <a:gd name="connsiteX128" fmla="*/ 1496377 w 2190750"/>
                <a:gd name="connsiteY128" fmla="*/ 940117 h 1371600"/>
                <a:gd name="connsiteX129" fmla="*/ 1494472 w 2190750"/>
                <a:gd name="connsiteY129" fmla="*/ 942975 h 1371600"/>
                <a:gd name="connsiteX130" fmla="*/ 1488757 w 2190750"/>
                <a:gd name="connsiteY130" fmla="*/ 946785 h 1371600"/>
                <a:gd name="connsiteX131" fmla="*/ 1485900 w 2190750"/>
                <a:gd name="connsiteY131" fmla="*/ 950595 h 1371600"/>
                <a:gd name="connsiteX132" fmla="*/ 1472565 w 2190750"/>
                <a:gd name="connsiteY132" fmla="*/ 942975 h 1371600"/>
                <a:gd name="connsiteX133" fmla="*/ 1463040 w 2190750"/>
                <a:gd name="connsiteY133" fmla="*/ 948690 h 1371600"/>
                <a:gd name="connsiteX134" fmla="*/ 1451610 w 2190750"/>
                <a:gd name="connsiteY134" fmla="*/ 973455 h 1371600"/>
                <a:gd name="connsiteX135" fmla="*/ 1442085 w 2190750"/>
                <a:gd name="connsiteY135" fmla="*/ 982027 h 1371600"/>
                <a:gd name="connsiteX136" fmla="*/ 1419225 w 2190750"/>
                <a:gd name="connsiteY136" fmla="*/ 986790 h 1371600"/>
                <a:gd name="connsiteX137" fmla="*/ 1409700 w 2190750"/>
                <a:gd name="connsiteY137" fmla="*/ 991552 h 1371600"/>
                <a:gd name="connsiteX138" fmla="*/ 1396365 w 2190750"/>
                <a:gd name="connsiteY138" fmla="*/ 1016317 h 1371600"/>
                <a:gd name="connsiteX139" fmla="*/ 1385888 w 2190750"/>
                <a:gd name="connsiteY139" fmla="*/ 1048702 h 1371600"/>
                <a:gd name="connsiteX140" fmla="*/ 1370647 w 2190750"/>
                <a:gd name="connsiteY140" fmla="*/ 1071563 h 1371600"/>
                <a:gd name="connsiteX141" fmla="*/ 1347788 w 2190750"/>
                <a:gd name="connsiteY141" fmla="*/ 1067752 h 1371600"/>
                <a:gd name="connsiteX142" fmla="*/ 1343025 w 2190750"/>
                <a:gd name="connsiteY142" fmla="*/ 1060132 h 1371600"/>
                <a:gd name="connsiteX143" fmla="*/ 1337310 w 2190750"/>
                <a:gd name="connsiteY143" fmla="*/ 1049655 h 1371600"/>
                <a:gd name="connsiteX144" fmla="*/ 1331595 w 2190750"/>
                <a:gd name="connsiteY144" fmla="*/ 1041082 h 1371600"/>
                <a:gd name="connsiteX145" fmla="*/ 1321117 w 2190750"/>
                <a:gd name="connsiteY145" fmla="*/ 1037272 h 1371600"/>
                <a:gd name="connsiteX146" fmla="*/ 1303020 w 2190750"/>
                <a:gd name="connsiteY146" fmla="*/ 1036320 h 1371600"/>
                <a:gd name="connsiteX147" fmla="*/ 1297305 w 2190750"/>
                <a:gd name="connsiteY147" fmla="*/ 1037272 h 1371600"/>
                <a:gd name="connsiteX148" fmla="*/ 1291590 w 2190750"/>
                <a:gd name="connsiteY148" fmla="*/ 1040130 h 1371600"/>
                <a:gd name="connsiteX149" fmla="*/ 1287780 w 2190750"/>
                <a:gd name="connsiteY149" fmla="*/ 1043940 h 1371600"/>
                <a:gd name="connsiteX150" fmla="*/ 1283970 w 2190750"/>
                <a:gd name="connsiteY150" fmla="*/ 1047750 h 1371600"/>
                <a:gd name="connsiteX151" fmla="*/ 1280160 w 2190750"/>
                <a:gd name="connsiteY151" fmla="*/ 1051560 h 1371600"/>
                <a:gd name="connsiteX152" fmla="*/ 1270635 w 2190750"/>
                <a:gd name="connsiteY152" fmla="*/ 1053465 h 1371600"/>
                <a:gd name="connsiteX153" fmla="*/ 1252538 w 2190750"/>
                <a:gd name="connsiteY153" fmla="*/ 1049655 h 1371600"/>
                <a:gd name="connsiteX154" fmla="*/ 1244917 w 2190750"/>
                <a:gd name="connsiteY154" fmla="*/ 1054417 h 1371600"/>
                <a:gd name="connsiteX155" fmla="*/ 1237297 w 2190750"/>
                <a:gd name="connsiteY155" fmla="*/ 1058227 h 1371600"/>
                <a:gd name="connsiteX156" fmla="*/ 1200150 w 2190750"/>
                <a:gd name="connsiteY156" fmla="*/ 1051560 h 1371600"/>
                <a:gd name="connsiteX157" fmla="*/ 1181100 w 2190750"/>
                <a:gd name="connsiteY157" fmla="*/ 1059180 h 1371600"/>
                <a:gd name="connsiteX158" fmla="*/ 1143952 w 2190750"/>
                <a:gd name="connsiteY158" fmla="*/ 1083945 h 1371600"/>
                <a:gd name="connsiteX159" fmla="*/ 1123950 w 2190750"/>
                <a:gd name="connsiteY159" fmla="*/ 1092517 h 1371600"/>
                <a:gd name="connsiteX160" fmla="*/ 1082040 w 2190750"/>
                <a:gd name="connsiteY160" fmla="*/ 1102042 h 1371600"/>
                <a:gd name="connsiteX161" fmla="*/ 1064895 w 2190750"/>
                <a:gd name="connsiteY161" fmla="*/ 1109663 h 1371600"/>
                <a:gd name="connsiteX162" fmla="*/ 1051560 w 2190750"/>
                <a:gd name="connsiteY162" fmla="*/ 1123950 h 1371600"/>
                <a:gd name="connsiteX163" fmla="*/ 1050607 w 2190750"/>
                <a:gd name="connsiteY163" fmla="*/ 1119188 h 1371600"/>
                <a:gd name="connsiteX164" fmla="*/ 1048702 w 2190750"/>
                <a:gd name="connsiteY164" fmla="*/ 1119188 h 1371600"/>
                <a:gd name="connsiteX165" fmla="*/ 1027747 w 2190750"/>
                <a:gd name="connsiteY165" fmla="*/ 1148715 h 1371600"/>
                <a:gd name="connsiteX166" fmla="*/ 1024890 w 2190750"/>
                <a:gd name="connsiteY166" fmla="*/ 1154430 h 1371600"/>
                <a:gd name="connsiteX167" fmla="*/ 1019175 w 2190750"/>
                <a:gd name="connsiteY167" fmla="*/ 1161097 h 1371600"/>
                <a:gd name="connsiteX168" fmla="*/ 1001077 w 2190750"/>
                <a:gd name="connsiteY168" fmla="*/ 1192530 h 1371600"/>
                <a:gd name="connsiteX169" fmla="*/ 981075 w 2190750"/>
                <a:gd name="connsiteY169" fmla="*/ 1245870 h 1371600"/>
                <a:gd name="connsiteX170" fmla="*/ 975360 w 2190750"/>
                <a:gd name="connsiteY170" fmla="*/ 1255395 h 1371600"/>
                <a:gd name="connsiteX171" fmla="*/ 971550 w 2190750"/>
                <a:gd name="connsiteY171" fmla="*/ 1257300 h 1371600"/>
                <a:gd name="connsiteX172" fmla="*/ 959167 w 2190750"/>
                <a:gd name="connsiteY172" fmla="*/ 1255395 h 1371600"/>
                <a:gd name="connsiteX173" fmla="*/ 951547 w 2190750"/>
                <a:gd name="connsiteY173" fmla="*/ 1255395 h 1371600"/>
                <a:gd name="connsiteX174" fmla="*/ 945832 w 2190750"/>
                <a:gd name="connsiteY174" fmla="*/ 1255395 h 1371600"/>
                <a:gd name="connsiteX175" fmla="*/ 943927 w 2190750"/>
                <a:gd name="connsiteY175" fmla="*/ 1255395 h 1371600"/>
                <a:gd name="connsiteX176" fmla="*/ 941070 w 2190750"/>
                <a:gd name="connsiteY176" fmla="*/ 1258252 h 1371600"/>
                <a:gd name="connsiteX177" fmla="*/ 941070 w 2190750"/>
                <a:gd name="connsiteY177" fmla="*/ 1263015 h 1371600"/>
                <a:gd name="connsiteX178" fmla="*/ 940117 w 2190750"/>
                <a:gd name="connsiteY178" fmla="*/ 1265872 h 1371600"/>
                <a:gd name="connsiteX179" fmla="*/ 928688 w 2190750"/>
                <a:gd name="connsiteY179" fmla="*/ 1283970 h 1371600"/>
                <a:gd name="connsiteX180" fmla="*/ 922020 w 2190750"/>
                <a:gd name="connsiteY180" fmla="*/ 1289685 h 1371600"/>
                <a:gd name="connsiteX181" fmla="*/ 897255 w 2190750"/>
                <a:gd name="connsiteY181" fmla="*/ 1294447 h 1371600"/>
                <a:gd name="connsiteX182" fmla="*/ 890588 w 2190750"/>
                <a:gd name="connsiteY182" fmla="*/ 1303020 h 1371600"/>
                <a:gd name="connsiteX183" fmla="*/ 885825 w 2190750"/>
                <a:gd name="connsiteY183" fmla="*/ 1314450 h 1371600"/>
                <a:gd name="connsiteX184" fmla="*/ 879157 w 2190750"/>
                <a:gd name="connsiteY184" fmla="*/ 1326832 h 1371600"/>
                <a:gd name="connsiteX185" fmla="*/ 872490 w 2190750"/>
                <a:gd name="connsiteY185" fmla="*/ 1332547 h 1371600"/>
                <a:gd name="connsiteX186" fmla="*/ 855345 w 2190750"/>
                <a:gd name="connsiteY186" fmla="*/ 1344930 h 1371600"/>
                <a:gd name="connsiteX187" fmla="*/ 847725 w 2190750"/>
                <a:gd name="connsiteY187" fmla="*/ 1346835 h 1371600"/>
                <a:gd name="connsiteX188" fmla="*/ 835342 w 2190750"/>
                <a:gd name="connsiteY188" fmla="*/ 1348740 h 1371600"/>
                <a:gd name="connsiteX189" fmla="*/ 779145 w 2190750"/>
                <a:gd name="connsiteY189" fmla="*/ 1375410 h 1371600"/>
                <a:gd name="connsiteX190" fmla="*/ 767715 w 2190750"/>
                <a:gd name="connsiteY190" fmla="*/ 1377315 h 1371600"/>
                <a:gd name="connsiteX191" fmla="*/ 756285 w 2190750"/>
                <a:gd name="connsiteY191" fmla="*/ 1375410 h 1371600"/>
                <a:gd name="connsiteX192" fmla="*/ 722947 w 2190750"/>
                <a:gd name="connsiteY192" fmla="*/ 1362075 h 1371600"/>
                <a:gd name="connsiteX193" fmla="*/ 716280 w 2190750"/>
                <a:gd name="connsiteY193" fmla="*/ 1362075 h 1371600"/>
                <a:gd name="connsiteX194" fmla="*/ 705802 w 2190750"/>
                <a:gd name="connsiteY194" fmla="*/ 1365885 h 1371600"/>
                <a:gd name="connsiteX195" fmla="*/ 699135 w 2190750"/>
                <a:gd name="connsiteY195" fmla="*/ 1366838 h 1371600"/>
                <a:gd name="connsiteX196" fmla="*/ 664845 w 2190750"/>
                <a:gd name="connsiteY196" fmla="*/ 1365885 h 1371600"/>
                <a:gd name="connsiteX197" fmla="*/ 658177 w 2190750"/>
                <a:gd name="connsiteY197" fmla="*/ 1364932 h 1371600"/>
                <a:gd name="connsiteX198" fmla="*/ 677227 w 2190750"/>
                <a:gd name="connsiteY198" fmla="*/ 1359217 h 1371600"/>
                <a:gd name="connsiteX199" fmla="*/ 678180 w 2190750"/>
                <a:gd name="connsiteY199" fmla="*/ 1349692 h 1371600"/>
                <a:gd name="connsiteX200" fmla="*/ 687705 w 2190750"/>
                <a:gd name="connsiteY200" fmla="*/ 1344930 h 1371600"/>
                <a:gd name="connsiteX201" fmla="*/ 722947 w 2190750"/>
                <a:gd name="connsiteY201" fmla="*/ 1340167 h 1371600"/>
                <a:gd name="connsiteX202" fmla="*/ 718185 w 2190750"/>
                <a:gd name="connsiteY202" fmla="*/ 1322070 h 1371600"/>
                <a:gd name="connsiteX203" fmla="*/ 698182 w 2190750"/>
                <a:gd name="connsiteY203" fmla="*/ 1269682 h 1371600"/>
                <a:gd name="connsiteX204" fmla="*/ 683895 w 2190750"/>
                <a:gd name="connsiteY204" fmla="*/ 1265872 h 1371600"/>
                <a:gd name="connsiteX205" fmla="*/ 679132 w 2190750"/>
                <a:gd name="connsiteY205" fmla="*/ 1247775 h 1371600"/>
                <a:gd name="connsiteX206" fmla="*/ 658177 w 2190750"/>
                <a:gd name="connsiteY206" fmla="*/ 1249680 h 1371600"/>
                <a:gd name="connsiteX207" fmla="*/ 649605 w 2190750"/>
                <a:gd name="connsiteY207" fmla="*/ 1228725 h 1371600"/>
                <a:gd name="connsiteX208" fmla="*/ 669607 w 2190750"/>
                <a:gd name="connsiteY208" fmla="*/ 1197292 h 1371600"/>
                <a:gd name="connsiteX209" fmla="*/ 647700 w 2190750"/>
                <a:gd name="connsiteY209" fmla="*/ 1165860 h 1371600"/>
                <a:gd name="connsiteX210" fmla="*/ 602932 w 2190750"/>
                <a:gd name="connsiteY210" fmla="*/ 1169670 h 1371600"/>
                <a:gd name="connsiteX211" fmla="*/ 596265 w 2190750"/>
                <a:gd name="connsiteY211" fmla="*/ 1125855 h 1371600"/>
                <a:gd name="connsiteX212" fmla="*/ 637222 w 2190750"/>
                <a:gd name="connsiteY212" fmla="*/ 1101090 h 1371600"/>
                <a:gd name="connsiteX213" fmla="*/ 629602 w 2190750"/>
                <a:gd name="connsiteY213" fmla="*/ 1073467 h 1371600"/>
                <a:gd name="connsiteX214" fmla="*/ 599122 w 2190750"/>
                <a:gd name="connsiteY214" fmla="*/ 1054417 h 1371600"/>
                <a:gd name="connsiteX215" fmla="*/ 580072 w 2190750"/>
                <a:gd name="connsiteY215" fmla="*/ 1052513 h 1371600"/>
                <a:gd name="connsiteX216" fmla="*/ 574357 w 2190750"/>
                <a:gd name="connsiteY216" fmla="*/ 1027747 h 1371600"/>
                <a:gd name="connsiteX217" fmla="*/ 589597 w 2190750"/>
                <a:gd name="connsiteY217" fmla="*/ 1022985 h 1371600"/>
                <a:gd name="connsiteX218" fmla="*/ 595313 w 2190750"/>
                <a:gd name="connsiteY218" fmla="*/ 1013460 h 1371600"/>
                <a:gd name="connsiteX219" fmla="*/ 598170 w 2190750"/>
                <a:gd name="connsiteY219" fmla="*/ 1001077 h 1371600"/>
                <a:gd name="connsiteX220" fmla="*/ 600075 w 2190750"/>
                <a:gd name="connsiteY220" fmla="*/ 985838 h 1371600"/>
                <a:gd name="connsiteX221" fmla="*/ 600075 w 2190750"/>
                <a:gd name="connsiteY221" fmla="*/ 968692 h 1371600"/>
                <a:gd name="connsiteX222" fmla="*/ 594360 w 2190750"/>
                <a:gd name="connsiteY222" fmla="*/ 940117 h 1371600"/>
                <a:gd name="connsiteX223" fmla="*/ 593407 w 2190750"/>
                <a:gd name="connsiteY223" fmla="*/ 927735 h 1371600"/>
                <a:gd name="connsiteX224" fmla="*/ 591502 w 2190750"/>
                <a:gd name="connsiteY224" fmla="*/ 922972 h 1371600"/>
                <a:gd name="connsiteX225" fmla="*/ 581977 w 2190750"/>
                <a:gd name="connsiteY225" fmla="*/ 903922 h 1371600"/>
                <a:gd name="connsiteX226" fmla="*/ 580072 w 2190750"/>
                <a:gd name="connsiteY226" fmla="*/ 897255 h 1371600"/>
                <a:gd name="connsiteX227" fmla="*/ 579120 w 2190750"/>
                <a:gd name="connsiteY227" fmla="*/ 878205 h 1371600"/>
                <a:gd name="connsiteX228" fmla="*/ 570547 w 2190750"/>
                <a:gd name="connsiteY228" fmla="*/ 847725 h 1371600"/>
                <a:gd name="connsiteX229" fmla="*/ 557213 w 2190750"/>
                <a:gd name="connsiteY229" fmla="*/ 830580 h 1371600"/>
                <a:gd name="connsiteX230" fmla="*/ 521017 w 2190750"/>
                <a:gd name="connsiteY230" fmla="*/ 806767 h 1371600"/>
                <a:gd name="connsiteX231" fmla="*/ 491490 w 2190750"/>
                <a:gd name="connsiteY231" fmla="*/ 780097 h 1371600"/>
                <a:gd name="connsiteX232" fmla="*/ 482917 w 2190750"/>
                <a:gd name="connsiteY232" fmla="*/ 776288 h 1371600"/>
                <a:gd name="connsiteX233" fmla="*/ 461010 w 2190750"/>
                <a:gd name="connsiteY233" fmla="*/ 779145 h 1371600"/>
                <a:gd name="connsiteX234" fmla="*/ 441007 w 2190750"/>
                <a:gd name="connsiteY234" fmla="*/ 786765 h 1371600"/>
                <a:gd name="connsiteX235" fmla="*/ 422910 w 2190750"/>
                <a:gd name="connsiteY235" fmla="*/ 798195 h 1371600"/>
                <a:gd name="connsiteX236" fmla="*/ 410527 w 2190750"/>
                <a:gd name="connsiteY236" fmla="*/ 801052 h 1371600"/>
                <a:gd name="connsiteX237" fmla="*/ 404813 w 2190750"/>
                <a:gd name="connsiteY237" fmla="*/ 794385 h 1371600"/>
                <a:gd name="connsiteX238" fmla="*/ 400050 w 2190750"/>
                <a:gd name="connsiteY238" fmla="*/ 783907 h 1371600"/>
                <a:gd name="connsiteX239" fmla="*/ 388620 w 2190750"/>
                <a:gd name="connsiteY239" fmla="*/ 778192 h 1371600"/>
                <a:gd name="connsiteX240" fmla="*/ 364807 w 2190750"/>
                <a:gd name="connsiteY240" fmla="*/ 770572 h 1371600"/>
                <a:gd name="connsiteX241" fmla="*/ 357188 w 2190750"/>
                <a:gd name="connsiteY241" fmla="*/ 762952 h 1371600"/>
                <a:gd name="connsiteX242" fmla="*/ 339090 w 2190750"/>
                <a:gd name="connsiteY242" fmla="*/ 740092 h 1371600"/>
                <a:gd name="connsiteX243" fmla="*/ 325755 w 2190750"/>
                <a:gd name="connsiteY243" fmla="*/ 732472 h 1371600"/>
                <a:gd name="connsiteX244" fmla="*/ 320992 w 2190750"/>
                <a:gd name="connsiteY244" fmla="*/ 725805 h 1371600"/>
                <a:gd name="connsiteX245" fmla="*/ 315277 w 2190750"/>
                <a:gd name="connsiteY245" fmla="*/ 714375 h 1371600"/>
                <a:gd name="connsiteX246" fmla="*/ 310515 w 2190750"/>
                <a:gd name="connsiteY246" fmla="*/ 711517 h 1371600"/>
                <a:gd name="connsiteX247" fmla="*/ 300990 w 2190750"/>
                <a:gd name="connsiteY247" fmla="*/ 707707 h 1371600"/>
                <a:gd name="connsiteX248" fmla="*/ 296227 w 2190750"/>
                <a:gd name="connsiteY248" fmla="*/ 704850 h 1371600"/>
                <a:gd name="connsiteX249" fmla="*/ 260985 w 2190750"/>
                <a:gd name="connsiteY249" fmla="*/ 674370 h 1371600"/>
                <a:gd name="connsiteX250" fmla="*/ 241935 w 2190750"/>
                <a:gd name="connsiteY250" fmla="*/ 661988 h 1371600"/>
                <a:gd name="connsiteX251" fmla="*/ 220980 w 2190750"/>
                <a:gd name="connsiteY251" fmla="*/ 652463 h 1371600"/>
                <a:gd name="connsiteX252" fmla="*/ 141922 w 2190750"/>
                <a:gd name="connsiteY252" fmla="*/ 645795 h 1371600"/>
                <a:gd name="connsiteX253" fmla="*/ 130492 w 2190750"/>
                <a:gd name="connsiteY253" fmla="*/ 647700 h 1371600"/>
                <a:gd name="connsiteX254" fmla="*/ 121920 w 2190750"/>
                <a:gd name="connsiteY254" fmla="*/ 653415 h 1371600"/>
                <a:gd name="connsiteX255" fmla="*/ 103822 w 2190750"/>
                <a:gd name="connsiteY255" fmla="*/ 674370 h 1371600"/>
                <a:gd name="connsiteX256" fmla="*/ 96202 w 2190750"/>
                <a:gd name="connsiteY256" fmla="*/ 678180 h 1371600"/>
                <a:gd name="connsiteX257" fmla="*/ 58102 w 2190750"/>
                <a:gd name="connsiteY257" fmla="*/ 678180 h 1371600"/>
                <a:gd name="connsiteX258" fmla="*/ 46672 w 2190750"/>
                <a:gd name="connsiteY258" fmla="*/ 674370 h 1371600"/>
                <a:gd name="connsiteX259" fmla="*/ 28575 w 2190750"/>
                <a:gd name="connsiteY259" fmla="*/ 664845 h 1371600"/>
                <a:gd name="connsiteX260" fmla="*/ 17145 w 2190750"/>
                <a:gd name="connsiteY260" fmla="*/ 662940 h 1371600"/>
                <a:gd name="connsiteX261" fmla="*/ 2857 w 2190750"/>
                <a:gd name="connsiteY261" fmla="*/ 621982 h 1371600"/>
                <a:gd name="connsiteX262" fmla="*/ 0 w 2190750"/>
                <a:gd name="connsiteY262" fmla="*/ 611505 h 1371600"/>
                <a:gd name="connsiteX263" fmla="*/ 7620 w 2190750"/>
                <a:gd name="connsiteY263" fmla="*/ 591502 h 1371600"/>
                <a:gd name="connsiteX264" fmla="*/ 22860 w 2190750"/>
                <a:gd name="connsiteY264" fmla="*/ 574357 h 1371600"/>
                <a:gd name="connsiteX265" fmla="*/ 85725 w 2190750"/>
                <a:gd name="connsiteY265" fmla="*/ 526732 h 1371600"/>
                <a:gd name="connsiteX266" fmla="*/ 96202 w 2190750"/>
                <a:gd name="connsiteY266" fmla="*/ 523875 h 1371600"/>
                <a:gd name="connsiteX267" fmla="*/ 108585 w 2190750"/>
                <a:gd name="connsiteY267" fmla="*/ 522922 h 1371600"/>
                <a:gd name="connsiteX268" fmla="*/ 118110 w 2190750"/>
                <a:gd name="connsiteY268" fmla="*/ 520065 h 1371600"/>
                <a:gd name="connsiteX269" fmla="*/ 126682 w 2190750"/>
                <a:gd name="connsiteY269" fmla="*/ 515302 h 1371600"/>
                <a:gd name="connsiteX270" fmla="*/ 133350 w 2190750"/>
                <a:gd name="connsiteY270" fmla="*/ 508635 h 1371600"/>
                <a:gd name="connsiteX271" fmla="*/ 138113 w 2190750"/>
                <a:gd name="connsiteY271" fmla="*/ 503872 h 1371600"/>
                <a:gd name="connsiteX272" fmla="*/ 141922 w 2190750"/>
                <a:gd name="connsiteY272" fmla="*/ 498157 h 1371600"/>
                <a:gd name="connsiteX273" fmla="*/ 145732 w 2190750"/>
                <a:gd name="connsiteY273" fmla="*/ 494347 h 1371600"/>
                <a:gd name="connsiteX274" fmla="*/ 154305 w 2190750"/>
                <a:gd name="connsiteY274" fmla="*/ 493395 h 1371600"/>
                <a:gd name="connsiteX275" fmla="*/ 159067 w 2190750"/>
                <a:gd name="connsiteY275" fmla="*/ 494347 h 1371600"/>
                <a:gd name="connsiteX276" fmla="*/ 169545 w 2190750"/>
                <a:gd name="connsiteY276" fmla="*/ 498157 h 1371600"/>
                <a:gd name="connsiteX277" fmla="*/ 175260 w 2190750"/>
                <a:gd name="connsiteY277" fmla="*/ 499110 h 1371600"/>
                <a:gd name="connsiteX278" fmla="*/ 182880 w 2190750"/>
                <a:gd name="connsiteY278" fmla="*/ 496252 h 1371600"/>
                <a:gd name="connsiteX279" fmla="*/ 183832 w 2190750"/>
                <a:gd name="connsiteY279" fmla="*/ 490538 h 1371600"/>
                <a:gd name="connsiteX280" fmla="*/ 181927 w 2190750"/>
                <a:gd name="connsiteY280" fmla="*/ 483870 h 1371600"/>
                <a:gd name="connsiteX281" fmla="*/ 180975 w 2190750"/>
                <a:gd name="connsiteY281" fmla="*/ 478155 h 1371600"/>
                <a:gd name="connsiteX282" fmla="*/ 182880 w 2190750"/>
                <a:gd name="connsiteY282" fmla="*/ 471488 h 1371600"/>
                <a:gd name="connsiteX283" fmla="*/ 184785 w 2190750"/>
                <a:gd name="connsiteY283" fmla="*/ 466725 h 1371600"/>
                <a:gd name="connsiteX284" fmla="*/ 187642 w 2190750"/>
                <a:gd name="connsiteY284" fmla="*/ 461963 h 1371600"/>
                <a:gd name="connsiteX285" fmla="*/ 203835 w 2190750"/>
                <a:gd name="connsiteY285" fmla="*/ 444817 h 1371600"/>
                <a:gd name="connsiteX286" fmla="*/ 240030 w 2190750"/>
                <a:gd name="connsiteY286" fmla="*/ 421005 h 1371600"/>
                <a:gd name="connsiteX287" fmla="*/ 360045 w 2190750"/>
                <a:gd name="connsiteY287" fmla="*/ 364807 h 1371600"/>
                <a:gd name="connsiteX288" fmla="*/ 366713 w 2190750"/>
                <a:gd name="connsiteY288" fmla="*/ 360045 h 1371600"/>
                <a:gd name="connsiteX289" fmla="*/ 369570 w 2190750"/>
                <a:gd name="connsiteY289" fmla="*/ 350520 h 1371600"/>
                <a:gd name="connsiteX290" fmla="*/ 366713 w 2190750"/>
                <a:gd name="connsiteY290" fmla="*/ 347663 h 1371600"/>
                <a:gd name="connsiteX291" fmla="*/ 361950 w 2190750"/>
                <a:gd name="connsiteY291" fmla="*/ 344805 h 1371600"/>
                <a:gd name="connsiteX292" fmla="*/ 357188 w 2190750"/>
                <a:gd name="connsiteY292" fmla="*/ 340995 h 1371600"/>
                <a:gd name="connsiteX293" fmla="*/ 358140 w 2190750"/>
                <a:gd name="connsiteY293" fmla="*/ 332422 h 1371600"/>
                <a:gd name="connsiteX294" fmla="*/ 362902 w 2190750"/>
                <a:gd name="connsiteY294" fmla="*/ 328613 h 1371600"/>
                <a:gd name="connsiteX295" fmla="*/ 367665 w 2190750"/>
                <a:gd name="connsiteY295" fmla="*/ 331470 h 1371600"/>
                <a:gd name="connsiteX296" fmla="*/ 376238 w 2190750"/>
                <a:gd name="connsiteY296" fmla="*/ 342900 h 1371600"/>
                <a:gd name="connsiteX297" fmla="*/ 395288 w 2190750"/>
                <a:gd name="connsiteY297" fmla="*/ 354330 h 1371600"/>
                <a:gd name="connsiteX298" fmla="*/ 413385 w 2190750"/>
                <a:gd name="connsiteY298" fmla="*/ 351472 h 1371600"/>
                <a:gd name="connsiteX299" fmla="*/ 452438 w 2190750"/>
                <a:gd name="connsiteY299" fmla="*/ 327660 h 1371600"/>
                <a:gd name="connsiteX300" fmla="*/ 471488 w 2190750"/>
                <a:gd name="connsiteY300" fmla="*/ 319088 h 1371600"/>
                <a:gd name="connsiteX301" fmla="*/ 473392 w 2190750"/>
                <a:gd name="connsiteY301" fmla="*/ 314325 h 1371600"/>
                <a:gd name="connsiteX302" fmla="*/ 489585 w 2190750"/>
                <a:gd name="connsiteY302" fmla="*/ 297180 h 1371600"/>
                <a:gd name="connsiteX303" fmla="*/ 498157 w 2190750"/>
                <a:gd name="connsiteY303" fmla="*/ 293370 h 1371600"/>
                <a:gd name="connsiteX304" fmla="*/ 520065 w 2190750"/>
                <a:gd name="connsiteY304" fmla="*/ 279082 h 1371600"/>
                <a:gd name="connsiteX305" fmla="*/ 527685 w 2190750"/>
                <a:gd name="connsiteY305" fmla="*/ 275272 h 1371600"/>
                <a:gd name="connsiteX306" fmla="*/ 531495 w 2190750"/>
                <a:gd name="connsiteY306" fmla="*/ 277177 h 1371600"/>
                <a:gd name="connsiteX307" fmla="*/ 541020 w 2190750"/>
                <a:gd name="connsiteY307" fmla="*/ 283845 h 1371600"/>
                <a:gd name="connsiteX308" fmla="*/ 547688 w 2190750"/>
                <a:gd name="connsiteY308" fmla="*/ 285750 h 1371600"/>
                <a:gd name="connsiteX309" fmla="*/ 553402 w 2190750"/>
                <a:gd name="connsiteY309" fmla="*/ 284797 h 1371600"/>
                <a:gd name="connsiteX310" fmla="*/ 565785 w 2190750"/>
                <a:gd name="connsiteY310" fmla="*/ 280988 h 1371600"/>
                <a:gd name="connsiteX311" fmla="*/ 579120 w 2190750"/>
                <a:gd name="connsiteY311" fmla="*/ 264795 h 1371600"/>
                <a:gd name="connsiteX312" fmla="*/ 589597 w 2190750"/>
                <a:gd name="connsiteY312" fmla="*/ 258127 h 1371600"/>
                <a:gd name="connsiteX313" fmla="*/ 595313 w 2190750"/>
                <a:gd name="connsiteY313" fmla="*/ 255270 h 1371600"/>
                <a:gd name="connsiteX314" fmla="*/ 600075 w 2190750"/>
                <a:gd name="connsiteY314" fmla="*/ 255270 h 1371600"/>
                <a:gd name="connsiteX315" fmla="*/ 605790 w 2190750"/>
                <a:gd name="connsiteY315" fmla="*/ 256222 h 1371600"/>
                <a:gd name="connsiteX316" fmla="*/ 612457 w 2190750"/>
                <a:gd name="connsiteY316" fmla="*/ 259080 h 1371600"/>
                <a:gd name="connsiteX317" fmla="*/ 616267 w 2190750"/>
                <a:gd name="connsiteY317" fmla="*/ 262890 h 1371600"/>
                <a:gd name="connsiteX318" fmla="*/ 618172 w 2190750"/>
                <a:gd name="connsiteY318" fmla="*/ 267652 h 1371600"/>
                <a:gd name="connsiteX319" fmla="*/ 621030 w 2190750"/>
                <a:gd name="connsiteY319" fmla="*/ 271463 h 1371600"/>
                <a:gd name="connsiteX320" fmla="*/ 626745 w 2190750"/>
                <a:gd name="connsiteY320" fmla="*/ 272415 h 1371600"/>
                <a:gd name="connsiteX321" fmla="*/ 638175 w 2190750"/>
                <a:gd name="connsiteY321" fmla="*/ 270510 h 1371600"/>
                <a:gd name="connsiteX322" fmla="*/ 639127 w 2190750"/>
                <a:gd name="connsiteY322" fmla="*/ 261938 h 1371600"/>
                <a:gd name="connsiteX323" fmla="*/ 638175 w 2190750"/>
                <a:gd name="connsiteY323" fmla="*/ 243840 h 1371600"/>
                <a:gd name="connsiteX324" fmla="*/ 639127 w 2190750"/>
                <a:gd name="connsiteY324" fmla="*/ 230505 h 1371600"/>
                <a:gd name="connsiteX325" fmla="*/ 647700 w 2190750"/>
                <a:gd name="connsiteY325" fmla="*/ 233363 h 1371600"/>
                <a:gd name="connsiteX326" fmla="*/ 656272 w 2190750"/>
                <a:gd name="connsiteY326" fmla="*/ 228600 h 1371600"/>
                <a:gd name="connsiteX327" fmla="*/ 674370 w 2190750"/>
                <a:gd name="connsiteY327" fmla="*/ 223838 h 1371600"/>
                <a:gd name="connsiteX328" fmla="*/ 682942 w 2190750"/>
                <a:gd name="connsiteY328" fmla="*/ 219075 h 1371600"/>
                <a:gd name="connsiteX329" fmla="*/ 673417 w 2190750"/>
                <a:gd name="connsiteY329" fmla="*/ 210502 h 1371600"/>
                <a:gd name="connsiteX330" fmla="*/ 663892 w 2190750"/>
                <a:gd name="connsiteY330" fmla="*/ 204788 h 1371600"/>
                <a:gd name="connsiteX331" fmla="*/ 633413 w 2190750"/>
                <a:gd name="connsiteY331" fmla="*/ 197167 h 1371600"/>
                <a:gd name="connsiteX332" fmla="*/ 620077 w 2190750"/>
                <a:gd name="connsiteY332" fmla="*/ 198120 h 1371600"/>
                <a:gd name="connsiteX333" fmla="*/ 614363 w 2190750"/>
                <a:gd name="connsiteY333" fmla="*/ 200025 h 1371600"/>
                <a:gd name="connsiteX334" fmla="*/ 610552 w 2190750"/>
                <a:gd name="connsiteY334" fmla="*/ 204788 h 1371600"/>
                <a:gd name="connsiteX335" fmla="*/ 606742 w 2190750"/>
                <a:gd name="connsiteY335" fmla="*/ 207645 h 1371600"/>
                <a:gd name="connsiteX336" fmla="*/ 600075 w 2190750"/>
                <a:gd name="connsiteY336" fmla="*/ 202882 h 1371600"/>
                <a:gd name="connsiteX337" fmla="*/ 610552 w 2190750"/>
                <a:gd name="connsiteY337" fmla="*/ 189547 h 1371600"/>
                <a:gd name="connsiteX338" fmla="*/ 614363 w 2190750"/>
                <a:gd name="connsiteY338" fmla="*/ 180975 h 1371600"/>
                <a:gd name="connsiteX339" fmla="*/ 613410 w 2190750"/>
                <a:gd name="connsiteY339" fmla="*/ 176213 h 1371600"/>
                <a:gd name="connsiteX340" fmla="*/ 606742 w 2190750"/>
                <a:gd name="connsiteY340" fmla="*/ 174307 h 1371600"/>
                <a:gd name="connsiteX341" fmla="*/ 606742 w 2190750"/>
                <a:gd name="connsiteY341" fmla="*/ 167640 h 1371600"/>
                <a:gd name="connsiteX342" fmla="*/ 609600 w 2190750"/>
                <a:gd name="connsiteY342" fmla="*/ 160020 h 1371600"/>
                <a:gd name="connsiteX343" fmla="*/ 613410 w 2190750"/>
                <a:gd name="connsiteY343" fmla="*/ 154305 h 1371600"/>
                <a:gd name="connsiteX344" fmla="*/ 612457 w 2190750"/>
                <a:gd name="connsiteY344" fmla="*/ 148590 h 1371600"/>
                <a:gd name="connsiteX345" fmla="*/ 605790 w 2190750"/>
                <a:gd name="connsiteY345" fmla="*/ 121920 h 1371600"/>
                <a:gd name="connsiteX346" fmla="*/ 604838 w 2190750"/>
                <a:gd name="connsiteY346" fmla="*/ 113347 h 1371600"/>
                <a:gd name="connsiteX347" fmla="*/ 610552 w 2190750"/>
                <a:gd name="connsiteY347" fmla="*/ 105727 h 1371600"/>
                <a:gd name="connsiteX348" fmla="*/ 615315 w 2190750"/>
                <a:gd name="connsiteY348" fmla="*/ 97155 h 1371600"/>
                <a:gd name="connsiteX349" fmla="*/ 613410 w 2190750"/>
                <a:gd name="connsiteY349" fmla="*/ 85725 h 1371600"/>
                <a:gd name="connsiteX350" fmla="*/ 604838 w 2190750"/>
                <a:gd name="connsiteY350" fmla="*/ 70485 h 1371600"/>
                <a:gd name="connsiteX351" fmla="*/ 621982 w 2190750"/>
                <a:gd name="connsiteY351" fmla="*/ 52388 h 1371600"/>
                <a:gd name="connsiteX352" fmla="*/ 627697 w 2190750"/>
                <a:gd name="connsiteY352" fmla="*/ 33338 h 1371600"/>
                <a:gd name="connsiteX353" fmla="*/ 622935 w 2190750"/>
                <a:gd name="connsiteY353" fmla="*/ 5715 h 1371600"/>
                <a:gd name="connsiteX354" fmla="*/ 626745 w 2190750"/>
                <a:gd name="connsiteY354" fmla="*/ 0 h 1371600"/>
                <a:gd name="connsiteX355" fmla="*/ 632460 w 2190750"/>
                <a:gd name="connsiteY355" fmla="*/ 4763 h 1371600"/>
                <a:gd name="connsiteX356" fmla="*/ 636270 w 2190750"/>
                <a:gd name="connsiteY356" fmla="*/ 10477 h 1371600"/>
                <a:gd name="connsiteX357" fmla="*/ 660082 w 2190750"/>
                <a:gd name="connsiteY357" fmla="*/ 54292 h 1371600"/>
                <a:gd name="connsiteX358" fmla="*/ 664845 w 2190750"/>
                <a:gd name="connsiteY358" fmla="*/ 59055 h 1371600"/>
                <a:gd name="connsiteX359" fmla="*/ 688657 w 2190750"/>
                <a:gd name="connsiteY359" fmla="*/ 73342 h 1371600"/>
                <a:gd name="connsiteX360" fmla="*/ 695325 w 2190750"/>
                <a:gd name="connsiteY360" fmla="*/ 67627 h 1371600"/>
                <a:gd name="connsiteX361" fmla="*/ 698182 w 2190750"/>
                <a:gd name="connsiteY361" fmla="*/ 56197 h 1371600"/>
                <a:gd name="connsiteX362" fmla="*/ 698182 w 2190750"/>
                <a:gd name="connsiteY362" fmla="*/ 30480 h 1371600"/>
                <a:gd name="connsiteX363" fmla="*/ 720090 w 2190750"/>
                <a:gd name="connsiteY363" fmla="*/ 40005 h 1371600"/>
                <a:gd name="connsiteX364" fmla="*/ 722947 w 2190750"/>
                <a:gd name="connsiteY364" fmla="*/ 43815 h 1371600"/>
                <a:gd name="connsiteX365" fmla="*/ 722947 w 2190750"/>
                <a:gd name="connsiteY365" fmla="*/ 64770 h 1371600"/>
                <a:gd name="connsiteX366" fmla="*/ 721042 w 2190750"/>
                <a:gd name="connsiteY366" fmla="*/ 72390 h 1371600"/>
                <a:gd name="connsiteX367" fmla="*/ 716280 w 2190750"/>
                <a:gd name="connsiteY367" fmla="*/ 78105 h 1371600"/>
                <a:gd name="connsiteX368" fmla="*/ 736282 w 2190750"/>
                <a:gd name="connsiteY368" fmla="*/ 102870 h 1371600"/>
                <a:gd name="connsiteX369" fmla="*/ 741045 w 2190750"/>
                <a:gd name="connsiteY369" fmla="*/ 115252 h 1371600"/>
                <a:gd name="connsiteX370" fmla="*/ 730567 w 2190750"/>
                <a:gd name="connsiteY370" fmla="*/ 120015 h 1371600"/>
                <a:gd name="connsiteX371" fmla="*/ 730567 w 2190750"/>
                <a:gd name="connsiteY371" fmla="*/ 122872 h 1371600"/>
                <a:gd name="connsiteX372" fmla="*/ 731520 w 2190750"/>
                <a:gd name="connsiteY372" fmla="*/ 125730 h 1371600"/>
                <a:gd name="connsiteX373" fmla="*/ 734377 w 2190750"/>
                <a:gd name="connsiteY373" fmla="*/ 130492 h 1371600"/>
                <a:gd name="connsiteX374" fmla="*/ 730567 w 2190750"/>
                <a:gd name="connsiteY374" fmla="*/ 136207 h 1371600"/>
                <a:gd name="connsiteX375" fmla="*/ 739140 w 2190750"/>
                <a:gd name="connsiteY375" fmla="*/ 135255 h 1371600"/>
                <a:gd name="connsiteX376" fmla="*/ 745807 w 2190750"/>
                <a:gd name="connsiteY376" fmla="*/ 129540 h 1371600"/>
                <a:gd name="connsiteX377" fmla="*/ 750570 w 2190750"/>
                <a:gd name="connsiteY377" fmla="*/ 122872 h 1371600"/>
                <a:gd name="connsiteX378" fmla="*/ 755332 w 2190750"/>
                <a:gd name="connsiteY378" fmla="*/ 120015 h 1371600"/>
                <a:gd name="connsiteX379" fmla="*/ 762000 w 2190750"/>
                <a:gd name="connsiteY379" fmla="*/ 122872 h 1371600"/>
                <a:gd name="connsiteX380" fmla="*/ 765810 w 2190750"/>
                <a:gd name="connsiteY380" fmla="*/ 130492 h 1371600"/>
                <a:gd name="connsiteX381" fmla="*/ 767715 w 2190750"/>
                <a:gd name="connsiteY381" fmla="*/ 137160 h 1371600"/>
                <a:gd name="connsiteX382" fmla="*/ 771525 w 2190750"/>
                <a:gd name="connsiteY382" fmla="*/ 140017 h 1371600"/>
                <a:gd name="connsiteX383" fmla="*/ 774382 w 2190750"/>
                <a:gd name="connsiteY383" fmla="*/ 143827 h 1371600"/>
                <a:gd name="connsiteX384" fmla="*/ 782955 w 2190750"/>
                <a:gd name="connsiteY384" fmla="*/ 149542 h 1371600"/>
                <a:gd name="connsiteX385" fmla="*/ 791527 w 2190750"/>
                <a:gd name="connsiteY385" fmla="*/ 152400 h 1371600"/>
                <a:gd name="connsiteX386" fmla="*/ 795338 w 2190750"/>
                <a:gd name="connsiteY386" fmla="*/ 142875 h 1371600"/>
                <a:gd name="connsiteX387" fmla="*/ 792480 w 2190750"/>
                <a:gd name="connsiteY387" fmla="*/ 134302 h 1371600"/>
                <a:gd name="connsiteX388" fmla="*/ 788670 w 2190750"/>
                <a:gd name="connsiteY388" fmla="*/ 125730 h 1371600"/>
                <a:gd name="connsiteX389" fmla="*/ 788670 w 2190750"/>
                <a:gd name="connsiteY389" fmla="*/ 119063 h 1371600"/>
                <a:gd name="connsiteX390" fmla="*/ 799147 w 2190750"/>
                <a:gd name="connsiteY390" fmla="*/ 114300 h 1371600"/>
                <a:gd name="connsiteX391" fmla="*/ 796290 w 2190750"/>
                <a:gd name="connsiteY391" fmla="*/ 106680 h 1371600"/>
                <a:gd name="connsiteX392" fmla="*/ 792480 w 2190750"/>
                <a:gd name="connsiteY392" fmla="*/ 105727 h 1371600"/>
                <a:gd name="connsiteX393" fmla="*/ 786765 w 2190750"/>
                <a:gd name="connsiteY393" fmla="*/ 106680 h 1371600"/>
                <a:gd name="connsiteX394" fmla="*/ 781050 w 2190750"/>
                <a:gd name="connsiteY394" fmla="*/ 103822 h 1371600"/>
                <a:gd name="connsiteX395" fmla="*/ 771525 w 2190750"/>
                <a:gd name="connsiteY395" fmla="*/ 95250 h 1371600"/>
                <a:gd name="connsiteX396" fmla="*/ 769620 w 2190750"/>
                <a:gd name="connsiteY396" fmla="*/ 90488 h 1371600"/>
                <a:gd name="connsiteX397" fmla="*/ 775335 w 2190750"/>
                <a:gd name="connsiteY397" fmla="*/ 87630 h 1371600"/>
                <a:gd name="connsiteX398" fmla="*/ 800100 w 2190750"/>
                <a:gd name="connsiteY398" fmla="*/ 88582 h 1371600"/>
                <a:gd name="connsiteX399" fmla="*/ 810577 w 2190750"/>
                <a:gd name="connsiteY399" fmla="*/ 92392 h 1371600"/>
                <a:gd name="connsiteX400" fmla="*/ 821055 w 2190750"/>
                <a:gd name="connsiteY400" fmla="*/ 99060 h 1371600"/>
                <a:gd name="connsiteX401" fmla="*/ 842963 w 2190750"/>
                <a:gd name="connsiteY401" fmla="*/ 130492 h 1371600"/>
                <a:gd name="connsiteX402" fmla="*/ 860107 w 2190750"/>
                <a:gd name="connsiteY402" fmla="*/ 140017 h 1371600"/>
                <a:gd name="connsiteX403" fmla="*/ 889635 w 2190750"/>
                <a:gd name="connsiteY403" fmla="*/ 166688 h 1371600"/>
                <a:gd name="connsiteX404" fmla="*/ 889635 w 2190750"/>
                <a:gd name="connsiteY404" fmla="*/ 171450 h 1371600"/>
                <a:gd name="connsiteX405" fmla="*/ 883920 w 2190750"/>
                <a:gd name="connsiteY405" fmla="*/ 178117 h 1371600"/>
                <a:gd name="connsiteX406" fmla="*/ 877252 w 2190750"/>
                <a:gd name="connsiteY406" fmla="*/ 180975 h 1371600"/>
                <a:gd name="connsiteX407" fmla="*/ 869632 w 2190750"/>
                <a:gd name="connsiteY407" fmla="*/ 180975 h 1371600"/>
                <a:gd name="connsiteX408" fmla="*/ 860107 w 2190750"/>
                <a:gd name="connsiteY408" fmla="*/ 177165 h 1371600"/>
                <a:gd name="connsiteX409" fmla="*/ 862965 w 2190750"/>
                <a:gd name="connsiteY409" fmla="*/ 189547 h 1371600"/>
                <a:gd name="connsiteX410" fmla="*/ 868680 w 2190750"/>
                <a:gd name="connsiteY410" fmla="*/ 200025 h 1371600"/>
                <a:gd name="connsiteX411" fmla="*/ 882015 w 2190750"/>
                <a:gd name="connsiteY411" fmla="*/ 213360 h 1371600"/>
                <a:gd name="connsiteX412" fmla="*/ 888682 w 2190750"/>
                <a:gd name="connsiteY412" fmla="*/ 207645 h 1371600"/>
                <a:gd name="connsiteX413" fmla="*/ 897255 w 2190750"/>
                <a:gd name="connsiteY413" fmla="*/ 206692 h 1371600"/>
                <a:gd name="connsiteX414" fmla="*/ 904875 w 2190750"/>
                <a:gd name="connsiteY414" fmla="*/ 202882 h 1371600"/>
                <a:gd name="connsiteX415" fmla="*/ 907732 w 2190750"/>
                <a:gd name="connsiteY415" fmla="*/ 189547 h 1371600"/>
                <a:gd name="connsiteX416" fmla="*/ 906780 w 2190750"/>
                <a:gd name="connsiteY416" fmla="*/ 174307 h 1371600"/>
                <a:gd name="connsiteX417" fmla="*/ 903922 w 2190750"/>
                <a:gd name="connsiteY417" fmla="*/ 164782 h 1371600"/>
                <a:gd name="connsiteX418" fmla="*/ 898207 w 2190750"/>
                <a:gd name="connsiteY418" fmla="*/ 159067 h 1371600"/>
                <a:gd name="connsiteX419" fmla="*/ 867727 w 2190750"/>
                <a:gd name="connsiteY419" fmla="*/ 132397 h 1371600"/>
                <a:gd name="connsiteX420" fmla="*/ 862013 w 2190750"/>
                <a:gd name="connsiteY420" fmla="*/ 130492 h 1371600"/>
                <a:gd name="connsiteX421" fmla="*/ 861060 w 2190750"/>
                <a:gd name="connsiteY421" fmla="*/ 128588 h 1371600"/>
                <a:gd name="connsiteX422" fmla="*/ 860107 w 2190750"/>
                <a:gd name="connsiteY422" fmla="*/ 124777 h 1371600"/>
                <a:gd name="connsiteX423" fmla="*/ 861060 w 2190750"/>
                <a:gd name="connsiteY423" fmla="*/ 120967 h 1371600"/>
                <a:gd name="connsiteX424" fmla="*/ 862013 w 2190750"/>
                <a:gd name="connsiteY424" fmla="*/ 120015 h 1371600"/>
                <a:gd name="connsiteX425" fmla="*/ 864870 w 2190750"/>
                <a:gd name="connsiteY425" fmla="*/ 120015 h 1371600"/>
                <a:gd name="connsiteX426" fmla="*/ 869632 w 2190750"/>
                <a:gd name="connsiteY426" fmla="*/ 123825 h 1371600"/>
                <a:gd name="connsiteX427" fmla="*/ 876300 w 2190750"/>
                <a:gd name="connsiteY427" fmla="*/ 126682 h 1371600"/>
                <a:gd name="connsiteX428" fmla="*/ 880110 w 2190750"/>
                <a:gd name="connsiteY428" fmla="*/ 128588 h 1371600"/>
                <a:gd name="connsiteX429" fmla="*/ 883920 w 2190750"/>
                <a:gd name="connsiteY429" fmla="*/ 132397 h 1371600"/>
                <a:gd name="connsiteX430" fmla="*/ 885825 w 2190750"/>
                <a:gd name="connsiteY430" fmla="*/ 136207 h 1371600"/>
                <a:gd name="connsiteX431" fmla="*/ 889635 w 2190750"/>
                <a:gd name="connsiteY431" fmla="*/ 130492 h 1371600"/>
                <a:gd name="connsiteX432" fmla="*/ 912495 w 2190750"/>
                <a:gd name="connsiteY432" fmla="*/ 137160 h 1371600"/>
                <a:gd name="connsiteX433" fmla="*/ 921067 w 2190750"/>
                <a:gd name="connsiteY433" fmla="*/ 142875 h 1371600"/>
                <a:gd name="connsiteX434" fmla="*/ 914400 w 2190750"/>
                <a:gd name="connsiteY434" fmla="*/ 151447 h 1371600"/>
                <a:gd name="connsiteX435" fmla="*/ 920115 w 2190750"/>
                <a:gd name="connsiteY435" fmla="*/ 161925 h 1371600"/>
                <a:gd name="connsiteX436" fmla="*/ 927735 w 2190750"/>
                <a:gd name="connsiteY436" fmla="*/ 160020 h 1371600"/>
                <a:gd name="connsiteX437" fmla="*/ 946785 w 2190750"/>
                <a:gd name="connsiteY437" fmla="*/ 130492 h 1371600"/>
                <a:gd name="connsiteX438" fmla="*/ 947738 w 2190750"/>
                <a:gd name="connsiteY438" fmla="*/ 135255 h 1371600"/>
                <a:gd name="connsiteX439" fmla="*/ 946785 w 2190750"/>
                <a:gd name="connsiteY439" fmla="*/ 147638 h 1371600"/>
                <a:gd name="connsiteX440" fmla="*/ 948690 w 2190750"/>
                <a:gd name="connsiteY440" fmla="*/ 159067 h 1371600"/>
                <a:gd name="connsiteX441" fmla="*/ 952500 w 2190750"/>
                <a:gd name="connsiteY441" fmla="*/ 162877 h 1371600"/>
                <a:gd name="connsiteX442" fmla="*/ 958215 w 2190750"/>
                <a:gd name="connsiteY442" fmla="*/ 165735 h 1371600"/>
                <a:gd name="connsiteX443" fmla="*/ 963930 w 2190750"/>
                <a:gd name="connsiteY443" fmla="*/ 167640 h 1371600"/>
                <a:gd name="connsiteX444" fmla="*/ 968692 w 2190750"/>
                <a:gd name="connsiteY444" fmla="*/ 166688 h 1371600"/>
                <a:gd name="connsiteX445" fmla="*/ 971550 w 2190750"/>
                <a:gd name="connsiteY445" fmla="*/ 162877 h 1371600"/>
                <a:gd name="connsiteX446" fmla="*/ 973455 w 2190750"/>
                <a:gd name="connsiteY446" fmla="*/ 149542 h 1371600"/>
                <a:gd name="connsiteX447" fmla="*/ 975360 w 2190750"/>
                <a:gd name="connsiteY447" fmla="*/ 145732 h 1371600"/>
                <a:gd name="connsiteX448" fmla="*/ 985838 w 2190750"/>
                <a:gd name="connsiteY448" fmla="*/ 145732 h 1371600"/>
                <a:gd name="connsiteX449" fmla="*/ 992505 w 2190750"/>
                <a:gd name="connsiteY449" fmla="*/ 152400 h 1371600"/>
                <a:gd name="connsiteX450" fmla="*/ 1004888 w 2190750"/>
                <a:gd name="connsiteY450" fmla="*/ 171450 h 1371600"/>
                <a:gd name="connsiteX451" fmla="*/ 994410 w 2190750"/>
                <a:gd name="connsiteY451" fmla="*/ 176213 h 1371600"/>
                <a:gd name="connsiteX452" fmla="*/ 990600 w 2190750"/>
                <a:gd name="connsiteY452" fmla="*/ 177165 h 1371600"/>
                <a:gd name="connsiteX453" fmla="*/ 999172 w 2190750"/>
                <a:gd name="connsiteY453" fmla="*/ 184785 h 1371600"/>
                <a:gd name="connsiteX454" fmla="*/ 1010602 w 2190750"/>
                <a:gd name="connsiteY454" fmla="*/ 190500 h 1371600"/>
                <a:gd name="connsiteX455" fmla="*/ 1017270 w 2190750"/>
                <a:gd name="connsiteY455" fmla="*/ 198120 h 1371600"/>
                <a:gd name="connsiteX456" fmla="*/ 1015365 w 2190750"/>
                <a:gd name="connsiteY456" fmla="*/ 213360 h 1371600"/>
                <a:gd name="connsiteX457" fmla="*/ 1011555 w 2190750"/>
                <a:gd name="connsiteY457" fmla="*/ 216217 h 1371600"/>
                <a:gd name="connsiteX458" fmla="*/ 1000125 w 2190750"/>
                <a:gd name="connsiteY458" fmla="*/ 221932 h 1371600"/>
                <a:gd name="connsiteX459" fmla="*/ 997267 w 2190750"/>
                <a:gd name="connsiteY459" fmla="*/ 225742 h 1371600"/>
                <a:gd name="connsiteX460" fmla="*/ 996315 w 2190750"/>
                <a:gd name="connsiteY460" fmla="*/ 235267 h 1371600"/>
                <a:gd name="connsiteX461" fmla="*/ 991552 w 2190750"/>
                <a:gd name="connsiteY461" fmla="*/ 247650 h 1371600"/>
                <a:gd name="connsiteX462" fmla="*/ 990600 w 2190750"/>
                <a:gd name="connsiteY462" fmla="*/ 255270 h 1371600"/>
                <a:gd name="connsiteX463" fmla="*/ 1004888 w 2190750"/>
                <a:gd name="connsiteY463" fmla="*/ 239077 h 1371600"/>
                <a:gd name="connsiteX464" fmla="*/ 1004888 w 2190750"/>
                <a:gd name="connsiteY464" fmla="*/ 245745 h 1371600"/>
                <a:gd name="connsiteX465" fmla="*/ 1004888 w 2190750"/>
                <a:gd name="connsiteY465" fmla="*/ 249555 h 1371600"/>
                <a:gd name="connsiteX466" fmla="*/ 1001077 w 2190750"/>
                <a:gd name="connsiteY466" fmla="*/ 255270 h 1371600"/>
                <a:gd name="connsiteX467" fmla="*/ 1005840 w 2190750"/>
                <a:gd name="connsiteY467" fmla="*/ 253365 h 1371600"/>
                <a:gd name="connsiteX468" fmla="*/ 1008697 w 2190750"/>
                <a:gd name="connsiteY468" fmla="*/ 252413 h 1371600"/>
                <a:gd name="connsiteX469" fmla="*/ 1010602 w 2190750"/>
                <a:gd name="connsiteY469" fmla="*/ 249555 h 1371600"/>
                <a:gd name="connsiteX470" fmla="*/ 1012507 w 2190750"/>
                <a:gd name="connsiteY470" fmla="*/ 244792 h 1371600"/>
                <a:gd name="connsiteX471" fmla="*/ 1015365 w 2190750"/>
                <a:gd name="connsiteY471" fmla="*/ 244792 h 1371600"/>
                <a:gd name="connsiteX472" fmla="*/ 1015365 w 2190750"/>
                <a:gd name="connsiteY472" fmla="*/ 262890 h 1371600"/>
                <a:gd name="connsiteX473" fmla="*/ 1018222 w 2190750"/>
                <a:gd name="connsiteY473" fmla="*/ 267652 h 1371600"/>
                <a:gd name="connsiteX474" fmla="*/ 1021080 w 2190750"/>
                <a:gd name="connsiteY474" fmla="*/ 260985 h 1371600"/>
                <a:gd name="connsiteX475" fmla="*/ 1022985 w 2190750"/>
                <a:gd name="connsiteY475" fmla="*/ 241935 h 1371600"/>
                <a:gd name="connsiteX476" fmla="*/ 1026795 w 2190750"/>
                <a:gd name="connsiteY476" fmla="*/ 226695 h 1371600"/>
                <a:gd name="connsiteX477" fmla="*/ 1035367 w 2190750"/>
                <a:gd name="connsiteY477" fmla="*/ 216217 h 1371600"/>
                <a:gd name="connsiteX478" fmla="*/ 1046797 w 2190750"/>
                <a:gd name="connsiteY478" fmla="*/ 213360 h 1371600"/>
                <a:gd name="connsiteX479" fmla="*/ 1055370 w 2190750"/>
                <a:gd name="connsiteY479" fmla="*/ 218122 h 1371600"/>
                <a:gd name="connsiteX480" fmla="*/ 1051560 w 2190750"/>
                <a:gd name="connsiteY480" fmla="*/ 221932 h 1371600"/>
                <a:gd name="connsiteX481" fmla="*/ 1044892 w 2190750"/>
                <a:gd name="connsiteY481" fmla="*/ 233363 h 1371600"/>
                <a:gd name="connsiteX482" fmla="*/ 1052513 w 2190750"/>
                <a:gd name="connsiteY482" fmla="*/ 252413 h 1371600"/>
                <a:gd name="connsiteX483" fmla="*/ 1058227 w 2190750"/>
                <a:gd name="connsiteY483" fmla="*/ 260032 h 1371600"/>
                <a:gd name="connsiteX484" fmla="*/ 1064895 w 2190750"/>
                <a:gd name="connsiteY484" fmla="*/ 257175 h 1371600"/>
                <a:gd name="connsiteX485" fmla="*/ 1074420 w 2190750"/>
                <a:gd name="connsiteY485" fmla="*/ 241935 h 1371600"/>
                <a:gd name="connsiteX486" fmla="*/ 1079182 w 2190750"/>
                <a:gd name="connsiteY486" fmla="*/ 232410 h 1371600"/>
                <a:gd name="connsiteX487" fmla="*/ 1081088 w 2190750"/>
                <a:gd name="connsiteY487" fmla="*/ 225742 h 1371600"/>
                <a:gd name="connsiteX488" fmla="*/ 1083945 w 2190750"/>
                <a:gd name="connsiteY488" fmla="*/ 223838 h 1371600"/>
                <a:gd name="connsiteX489" fmla="*/ 1092517 w 2190750"/>
                <a:gd name="connsiteY489" fmla="*/ 226695 h 1371600"/>
                <a:gd name="connsiteX490" fmla="*/ 1101090 w 2190750"/>
                <a:gd name="connsiteY490" fmla="*/ 227647 h 1371600"/>
                <a:gd name="connsiteX491" fmla="*/ 1105852 w 2190750"/>
                <a:gd name="connsiteY491" fmla="*/ 218122 h 1371600"/>
                <a:gd name="connsiteX492" fmla="*/ 1103947 w 2190750"/>
                <a:gd name="connsiteY492" fmla="*/ 211455 h 1371600"/>
                <a:gd name="connsiteX493" fmla="*/ 1098232 w 2190750"/>
                <a:gd name="connsiteY493" fmla="*/ 203835 h 1371600"/>
                <a:gd name="connsiteX494" fmla="*/ 1087755 w 2190750"/>
                <a:gd name="connsiteY494" fmla="*/ 192405 h 1371600"/>
                <a:gd name="connsiteX495" fmla="*/ 1087755 w 2190750"/>
                <a:gd name="connsiteY495" fmla="*/ 187642 h 1371600"/>
                <a:gd name="connsiteX496" fmla="*/ 1125855 w 2190750"/>
                <a:gd name="connsiteY496" fmla="*/ 200977 h 1371600"/>
                <a:gd name="connsiteX497" fmla="*/ 1131570 w 2190750"/>
                <a:gd name="connsiteY497" fmla="*/ 204788 h 1371600"/>
                <a:gd name="connsiteX498" fmla="*/ 1132522 w 2190750"/>
                <a:gd name="connsiteY498" fmla="*/ 212407 h 1371600"/>
                <a:gd name="connsiteX499" fmla="*/ 1134427 w 2190750"/>
                <a:gd name="connsiteY499" fmla="*/ 216217 h 1371600"/>
                <a:gd name="connsiteX500" fmla="*/ 1134427 w 2190750"/>
                <a:gd name="connsiteY500" fmla="*/ 221932 h 1371600"/>
                <a:gd name="connsiteX501" fmla="*/ 1131570 w 2190750"/>
                <a:gd name="connsiteY501" fmla="*/ 233363 h 1371600"/>
                <a:gd name="connsiteX502" fmla="*/ 1129665 w 2190750"/>
                <a:gd name="connsiteY502" fmla="*/ 238125 h 1371600"/>
                <a:gd name="connsiteX503" fmla="*/ 1121092 w 2190750"/>
                <a:gd name="connsiteY503" fmla="*/ 249555 h 1371600"/>
                <a:gd name="connsiteX504" fmla="*/ 1117282 w 2190750"/>
                <a:gd name="connsiteY504" fmla="*/ 255270 h 1371600"/>
                <a:gd name="connsiteX505" fmla="*/ 1112520 w 2190750"/>
                <a:gd name="connsiteY505" fmla="*/ 258127 h 1371600"/>
                <a:gd name="connsiteX506" fmla="*/ 1107757 w 2190750"/>
                <a:gd name="connsiteY506" fmla="*/ 261938 h 1371600"/>
                <a:gd name="connsiteX507" fmla="*/ 1100138 w 2190750"/>
                <a:gd name="connsiteY507" fmla="*/ 263842 h 1371600"/>
                <a:gd name="connsiteX508" fmla="*/ 1093470 w 2190750"/>
                <a:gd name="connsiteY508" fmla="*/ 264795 h 1371600"/>
                <a:gd name="connsiteX509" fmla="*/ 1088707 w 2190750"/>
                <a:gd name="connsiteY509" fmla="*/ 269557 h 1371600"/>
                <a:gd name="connsiteX510" fmla="*/ 1086802 w 2190750"/>
                <a:gd name="connsiteY510" fmla="*/ 286702 h 1371600"/>
                <a:gd name="connsiteX511" fmla="*/ 1082040 w 2190750"/>
                <a:gd name="connsiteY511" fmla="*/ 291465 h 1371600"/>
                <a:gd name="connsiteX512" fmla="*/ 1075372 w 2190750"/>
                <a:gd name="connsiteY512" fmla="*/ 294322 h 1371600"/>
                <a:gd name="connsiteX513" fmla="*/ 1071563 w 2190750"/>
                <a:gd name="connsiteY513" fmla="*/ 301942 h 1371600"/>
                <a:gd name="connsiteX514" fmla="*/ 1068705 w 2190750"/>
                <a:gd name="connsiteY514" fmla="*/ 310515 h 1371600"/>
                <a:gd name="connsiteX515" fmla="*/ 1065847 w 2190750"/>
                <a:gd name="connsiteY515" fmla="*/ 317182 h 1371600"/>
                <a:gd name="connsiteX516" fmla="*/ 1060132 w 2190750"/>
                <a:gd name="connsiteY516" fmla="*/ 322897 h 1371600"/>
                <a:gd name="connsiteX517" fmla="*/ 1044892 w 2190750"/>
                <a:gd name="connsiteY517" fmla="*/ 333375 h 1371600"/>
                <a:gd name="connsiteX518" fmla="*/ 1044892 w 2190750"/>
                <a:gd name="connsiteY518" fmla="*/ 338138 h 1371600"/>
                <a:gd name="connsiteX519" fmla="*/ 1067752 w 2190750"/>
                <a:gd name="connsiteY519" fmla="*/ 333375 h 1371600"/>
                <a:gd name="connsiteX520" fmla="*/ 1088707 w 2190750"/>
                <a:gd name="connsiteY520" fmla="*/ 322897 h 1371600"/>
                <a:gd name="connsiteX521" fmla="*/ 1143000 w 2190750"/>
                <a:gd name="connsiteY521" fmla="*/ 272415 h 1371600"/>
                <a:gd name="connsiteX522" fmla="*/ 1151572 w 2190750"/>
                <a:gd name="connsiteY522" fmla="*/ 267652 h 1371600"/>
                <a:gd name="connsiteX523" fmla="*/ 1173480 w 2190750"/>
                <a:gd name="connsiteY523" fmla="*/ 262890 h 1371600"/>
                <a:gd name="connsiteX524" fmla="*/ 1182052 w 2190750"/>
                <a:gd name="connsiteY524" fmla="*/ 256222 h 1371600"/>
                <a:gd name="connsiteX525" fmla="*/ 1196340 w 2190750"/>
                <a:gd name="connsiteY525" fmla="*/ 239077 h 1371600"/>
                <a:gd name="connsiteX526" fmla="*/ 1199197 w 2190750"/>
                <a:gd name="connsiteY526" fmla="*/ 249555 h 1371600"/>
                <a:gd name="connsiteX527" fmla="*/ 1200150 w 2190750"/>
                <a:gd name="connsiteY527" fmla="*/ 258127 h 1371600"/>
                <a:gd name="connsiteX528" fmla="*/ 1199197 w 2190750"/>
                <a:gd name="connsiteY528" fmla="*/ 265747 h 1371600"/>
                <a:gd name="connsiteX529" fmla="*/ 1195388 w 2190750"/>
                <a:gd name="connsiteY529" fmla="*/ 272415 h 1371600"/>
                <a:gd name="connsiteX530" fmla="*/ 1191577 w 2190750"/>
                <a:gd name="connsiteY530" fmla="*/ 271463 h 1371600"/>
                <a:gd name="connsiteX531" fmla="*/ 1174432 w 2190750"/>
                <a:gd name="connsiteY531" fmla="*/ 274320 h 1371600"/>
                <a:gd name="connsiteX532" fmla="*/ 1173480 w 2190750"/>
                <a:gd name="connsiteY532" fmla="*/ 275272 h 1371600"/>
                <a:gd name="connsiteX533" fmla="*/ 1165860 w 2190750"/>
                <a:gd name="connsiteY533" fmla="*/ 277177 h 1371600"/>
                <a:gd name="connsiteX534" fmla="*/ 1160145 w 2190750"/>
                <a:gd name="connsiteY534" fmla="*/ 280035 h 1371600"/>
                <a:gd name="connsiteX535" fmla="*/ 1155382 w 2190750"/>
                <a:gd name="connsiteY535" fmla="*/ 285750 h 1371600"/>
                <a:gd name="connsiteX536" fmla="*/ 1153477 w 2190750"/>
                <a:gd name="connsiteY536" fmla="*/ 294322 h 1371600"/>
                <a:gd name="connsiteX537" fmla="*/ 1151572 w 2190750"/>
                <a:gd name="connsiteY537" fmla="*/ 304800 h 1371600"/>
                <a:gd name="connsiteX538" fmla="*/ 1144905 w 2190750"/>
                <a:gd name="connsiteY538" fmla="*/ 318135 h 1371600"/>
                <a:gd name="connsiteX539" fmla="*/ 1142047 w 2190750"/>
                <a:gd name="connsiteY539" fmla="*/ 327660 h 1371600"/>
                <a:gd name="connsiteX540" fmla="*/ 1156335 w 2190750"/>
                <a:gd name="connsiteY540" fmla="*/ 321945 h 1371600"/>
                <a:gd name="connsiteX541" fmla="*/ 1169670 w 2190750"/>
                <a:gd name="connsiteY541" fmla="*/ 312420 h 1371600"/>
                <a:gd name="connsiteX542" fmla="*/ 1183005 w 2190750"/>
                <a:gd name="connsiteY542" fmla="*/ 306705 h 1371600"/>
                <a:gd name="connsiteX543" fmla="*/ 1196340 w 2190750"/>
                <a:gd name="connsiteY543" fmla="*/ 312420 h 1371600"/>
                <a:gd name="connsiteX544" fmla="*/ 1203960 w 2190750"/>
                <a:gd name="connsiteY544" fmla="*/ 329565 h 1371600"/>
                <a:gd name="connsiteX545" fmla="*/ 1198245 w 2190750"/>
                <a:gd name="connsiteY545" fmla="*/ 345757 h 1371600"/>
                <a:gd name="connsiteX546" fmla="*/ 1186815 w 2190750"/>
                <a:gd name="connsiteY546" fmla="*/ 360997 h 1371600"/>
                <a:gd name="connsiteX547" fmla="*/ 1178242 w 2190750"/>
                <a:gd name="connsiteY547" fmla="*/ 374332 h 1371600"/>
                <a:gd name="connsiteX548" fmla="*/ 1189672 w 2190750"/>
                <a:gd name="connsiteY548" fmla="*/ 370522 h 1371600"/>
                <a:gd name="connsiteX549" fmla="*/ 1199197 w 2190750"/>
                <a:gd name="connsiteY549" fmla="*/ 372427 h 1371600"/>
                <a:gd name="connsiteX550" fmla="*/ 1218247 w 2190750"/>
                <a:gd name="connsiteY550" fmla="*/ 379095 h 1371600"/>
                <a:gd name="connsiteX551" fmla="*/ 1230630 w 2190750"/>
                <a:gd name="connsiteY551" fmla="*/ 377190 h 1371600"/>
                <a:gd name="connsiteX552" fmla="*/ 1249680 w 2190750"/>
                <a:gd name="connsiteY552" fmla="*/ 365760 h 1371600"/>
                <a:gd name="connsiteX553" fmla="*/ 1261110 w 2190750"/>
                <a:gd name="connsiteY553" fmla="*/ 363855 h 1371600"/>
                <a:gd name="connsiteX554" fmla="*/ 1261110 w 2190750"/>
                <a:gd name="connsiteY554" fmla="*/ 368617 h 1371600"/>
                <a:gd name="connsiteX555" fmla="*/ 1257300 w 2190750"/>
                <a:gd name="connsiteY555" fmla="*/ 373380 h 1371600"/>
                <a:gd name="connsiteX556" fmla="*/ 1247775 w 2190750"/>
                <a:gd name="connsiteY556" fmla="*/ 382905 h 1371600"/>
                <a:gd name="connsiteX557" fmla="*/ 1243013 w 2190750"/>
                <a:gd name="connsiteY557" fmla="*/ 389572 h 1371600"/>
                <a:gd name="connsiteX558" fmla="*/ 1257300 w 2190750"/>
                <a:gd name="connsiteY558" fmla="*/ 392430 h 1371600"/>
                <a:gd name="connsiteX559" fmla="*/ 1261110 w 2190750"/>
                <a:gd name="connsiteY559" fmla="*/ 394335 h 1371600"/>
                <a:gd name="connsiteX560" fmla="*/ 1264920 w 2190750"/>
                <a:gd name="connsiteY560" fmla="*/ 400050 h 1371600"/>
                <a:gd name="connsiteX561" fmla="*/ 1271588 w 2190750"/>
                <a:gd name="connsiteY561" fmla="*/ 411480 h 1371600"/>
                <a:gd name="connsiteX562" fmla="*/ 1275397 w 2190750"/>
                <a:gd name="connsiteY562" fmla="*/ 416242 h 1371600"/>
                <a:gd name="connsiteX563" fmla="*/ 1283017 w 2190750"/>
                <a:gd name="connsiteY563" fmla="*/ 418147 h 1371600"/>
                <a:gd name="connsiteX564" fmla="*/ 1310640 w 2190750"/>
                <a:gd name="connsiteY564" fmla="*/ 416242 h 1371600"/>
                <a:gd name="connsiteX565" fmla="*/ 1316355 w 2190750"/>
                <a:gd name="connsiteY565" fmla="*/ 420052 h 1371600"/>
                <a:gd name="connsiteX566" fmla="*/ 1329690 w 2190750"/>
                <a:gd name="connsiteY566" fmla="*/ 451485 h 1371600"/>
                <a:gd name="connsiteX567" fmla="*/ 1335405 w 2190750"/>
                <a:gd name="connsiteY567" fmla="*/ 456247 h 1371600"/>
                <a:gd name="connsiteX568" fmla="*/ 1342072 w 2190750"/>
                <a:gd name="connsiteY568" fmla="*/ 459105 h 1371600"/>
                <a:gd name="connsiteX569" fmla="*/ 1345882 w 2190750"/>
                <a:gd name="connsiteY569" fmla="*/ 463867 h 1371600"/>
                <a:gd name="connsiteX570" fmla="*/ 1347788 w 2190750"/>
                <a:gd name="connsiteY570" fmla="*/ 475297 h 1371600"/>
                <a:gd name="connsiteX571" fmla="*/ 1350645 w 2190750"/>
                <a:gd name="connsiteY571" fmla="*/ 484822 h 1371600"/>
                <a:gd name="connsiteX572" fmla="*/ 1363980 w 2190750"/>
                <a:gd name="connsiteY572" fmla="*/ 497205 h 1371600"/>
                <a:gd name="connsiteX573" fmla="*/ 1366838 w 2190750"/>
                <a:gd name="connsiteY573" fmla="*/ 506730 h 1371600"/>
                <a:gd name="connsiteX574" fmla="*/ 1375410 w 2190750"/>
                <a:gd name="connsiteY574" fmla="*/ 558165 h 1371600"/>
                <a:gd name="connsiteX575" fmla="*/ 1377315 w 2190750"/>
                <a:gd name="connsiteY575" fmla="*/ 560070 h 1371600"/>
                <a:gd name="connsiteX576" fmla="*/ 1379220 w 2190750"/>
                <a:gd name="connsiteY576" fmla="*/ 562927 h 1371600"/>
                <a:gd name="connsiteX577" fmla="*/ 1377315 w 2190750"/>
                <a:gd name="connsiteY577" fmla="*/ 570547 h 1371600"/>
                <a:gd name="connsiteX578" fmla="*/ 1374457 w 2190750"/>
                <a:gd name="connsiteY578" fmla="*/ 575310 h 1371600"/>
                <a:gd name="connsiteX579" fmla="*/ 1367790 w 2190750"/>
                <a:gd name="connsiteY579" fmla="*/ 580072 h 1371600"/>
                <a:gd name="connsiteX580" fmla="*/ 1364932 w 2190750"/>
                <a:gd name="connsiteY580" fmla="*/ 582930 h 1371600"/>
                <a:gd name="connsiteX581" fmla="*/ 1358265 w 2190750"/>
                <a:gd name="connsiteY581" fmla="*/ 588645 h 1371600"/>
                <a:gd name="connsiteX582" fmla="*/ 1340167 w 2190750"/>
                <a:gd name="connsiteY582" fmla="*/ 592455 h 1371600"/>
                <a:gd name="connsiteX583" fmla="*/ 1333500 w 2190750"/>
                <a:gd name="connsiteY583" fmla="*/ 596265 h 1371600"/>
                <a:gd name="connsiteX584" fmla="*/ 1333500 w 2190750"/>
                <a:gd name="connsiteY584" fmla="*/ 601980 h 1371600"/>
                <a:gd name="connsiteX585" fmla="*/ 1341120 w 2190750"/>
                <a:gd name="connsiteY585" fmla="*/ 608647 h 1371600"/>
                <a:gd name="connsiteX586" fmla="*/ 1355407 w 2190750"/>
                <a:gd name="connsiteY586" fmla="*/ 637222 h 1371600"/>
                <a:gd name="connsiteX587" fmla="*/ 1362075 w 2190750"/>
                <a:gd name="connsiteY587" fmla="*/ 644842 h 1371600"/>
                <a:gd name="connsiteX588" fmla="*/ 1393507 w 2190750"/>
                <a:gd name="connsiteY588" fmla="*/ 669607 h 1371600"/>
                <a:gd name="connsiteX589" fmla="*/ 1398270 w 2190750"/>
                <a:gd name="connsiteY589" fmla="*/ 669607 h 1371600"/>
                <a:gd name="connsiteX590" fmla="*/ 1403985 w 2190750"/>
                <a:gd name="connsiteY590" fmla="*/ 666750 h 1371600"/>
                <a:gd name="connsiteX591" fmla="*/ 1413510 w 2190750"/>
                <a:gd name="connsiteY591" fmla="*/ 662940 h 1371600"/>
                <a:gd name="connsiteX592" fmla="*/ 1421130 w 2190750"/>
                <a:gd name="connsiteY592" fmla="*/ 663892 h 1371600"/>
                <a:gd name="connsiteX593" fmla="*/ 1430655 w 2190750"/>
                <a:gd name="connsiteY593" fmla="*/ 665797 h 1371600"/>
                <a:gd name="connsiteX594" fmla="*/ 1438275 w 2190750"/>
                <a:gd name="connsiteY594" fmla="*/ 670560 h 1371600"/>
                <a:gd name="connsiteX595" fmla="*/ 1442085 w 2190750"/>
                <a:gd name="connsiteY595" fmla="*/ 676275 h 1371600"/>
                <a:gd name="connsiteX596" fmla="*/ 1452563 w 2190750"/>
                <a:gd name="connsiteY596" fmla="*/ 682942 h 1371600"/>
                <a:gd name="connsiteX597" fmla="*/ 1512570 w 2190750"/>
                <a:gd name="connsiteY597" fmla="*/ 704850 h 1371600"/>
                <a:gd name="connsiteX598" fmla="*/ 1517332 w 2190750"/>
                <a:gd name="connsiteY598" fmla="*/ 708660 h 1371600"/>
                <a:gd name="connsiteX599" fmla="*/ 1524000 w 2190750"/>
                <a:gd name="connsiteY599" fmla="*/ 717232 h 1371600"/>
                <a:gd name="connsiteX600" fmla="*/ 1532572 w 2190750"/>
                <a:gd name="connsiteY600" fmla="*/ 725805 h 1371600"/>
                <a:gd name="connsiteX601" fmla="*/ 1541145 w 2190750"/>
                <a:gd name="connsiteY601" fmla="*/ 730567 h 1371600"/>
                <a:gd name="connsiteX602" fmla="*/ 1549717 w 2190750"/>
                <a:gd name="connsiteY602" fmla="*/ 727710 h 1371600"/>
                <a:gd name="connsiteX603" fmla="*/ 1557338 w 2190750"/>
                <a:gd name="connsiteY603" fmla="*/ 722947 h 1371600"/>
                <a:gd name="connsiteX604" fmla="*/ 1568767 w 2190750"/>
                <a:gd name="connsiteY604" fmla="*/ 709613 h 1371600"/>
                <a:gd name="connsiteX605" fmla="*/ 1561147 w 2190750"/>
                <a:gd name="connsiteY605" fmla="*/ 699135 h 1371600"/>
                <a:gd name="connsiteX606" fmla="*/ 1552575 w 2190750"/>
                <a:gd name="connsiteY606" fmla="*/ 695325 h 1371600"/>
                <a:gd name="connsiteX607" fmla="*/ 1543050 w 2190750"/>
                <a:gd name="connsiteY607" fmla="*/ 693420 h 1371600"/>
                <a:gd name="connsiteX608" fmla="*/ 1532572 w 2190750"/>
                <a:gd name="connsiteY608" fmla="*/ 688657 h 1371600"/>
                <a:gd name="connsiteX609" fmla="*/ 1527810 w 2190750"/>
                <a:gd name="connsiteY609" fmla="*/ 682942 h 1371600"/>
                <a:gd name="connsiteX610" fmla="*/ 1524952 w 2190750"/>
                <a:gd name="connsiteY610" fmla="*/ 676275 h 1371600"/>
                <a:gd name="connsiteX611" fmla="*/ 1522095 w 2190750"/>
                <a:gd name="connsiteY611" fmla="*/ 670560 h 1371600"/>
                <a:gd name="connsiteX612" fmla="*/ 1516380 w 2190750"/>
                <a:gd name="connsiteY612" fmla="*/ 667702 h 1371600"/>
                <a:gd name="connsiteX613" fmla="*/ 1510665 w 2190750"/>
                <a:gd name="connsiteY613" fmla="*/ 666750 h 1371600"/>
                <a:gd name="connsiteX614" fmla="*/ 1506855 w 2190750"/>
                <a:gd name="connsiteY614" fmla="*/ 663892 h 1371600"/>
                <a:gd name="connsiteX615" fmla="*/ 1395413 w 2190750"/>
                <a:gd name="connsiteY615" fmla="*/ 502920 h 1371600"/>
                <a:gd name="connsiteX616" fmla="*/ 1372552 w 2190750"/>
                <a:gd name="connsiteY616" fmla="*/ 477202 h 1371600"/>
                <a:gd name="connsiteX617" fmla="*/ 1369695 w 2190750"/>
                <a:gd name="connsiteY617" fmla="*/ 470535 h 1371600"/>
                <a:gd name="connsiteX618" fmla="*/ 1355407 w 2190750"/>
                <a:gd name="connsiteY618" fmla="*/ 451485 h 1371600"/>
                <a:gd name="connsiteX619" fmla="*/ 1345882 w 2190750"/>
                <a:gd name="connsiteY619" fmla="*/ 428625 h 1371600"/>
                <a:gd name="connsiteX620" fmla="*/ 1341120 w 2190750"/>
                <a:gd name="connsiteY620" fmla="*/ 421005 h 1371600"/>
                <a:gd name="connsiteX621" fmla="*/ 1337310 w 2190750"/>
                <a:gd name="connsiteY621" fmla="*/ 417195 h 1371600"/>
                <a:gd name="connsiteX622" fmla="*/ 1332547 w 2190750"/>
                <a:gd name="connsiteY622" fmla="*/ 415290 h 1371600"/>
                <a:gd name="connsiteX623" fmla="*/ 1327785 w 2190750"/>
                <a:gd name="connsiteY623" fmla="*/ 411480 h 1371600"/>
                <a:gd name="connsiteX624" fmla="*/ 1326832 w 2190750"/>
                <a:gd name="connsiteY624" fmla="*/ 401955 h 1371600"/>
                <a:gd name="connsiteX625" fmla="*/ 1318260 w 2190750"/>
                <a:gd name="connsiteY625" fmla="*/ 387667 h 1371600"/>
                <a:gd name="connsiteX626" fmla="*/ 1317307 w 2190750"/>
                <a:gd name="connsiteY626" fmla="*/ 384810 h 1371600"/>
                <a:gd name="connsiteX627" fmla="*/ 1316355 w 2190750"/>
                <a:gd name="connsiteY627" fmla="*/ 379095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</a:cxnLst>
              <a:rect l="l" t="t" r="r" b="b"/>
              <a:pathLst>
                <a:path w="2190750" h="1371600">
                  <a:moveTo>
                    <a:pt x="1316355" y="379095"/>
                  </a:moveTo>
                  <a:lnTo>
                    <a:pt x="1329690" y="370522"/>
                  </a:lnTo>
                  <a:lnTo>
                    <a:pt x="1351597" y="415290"/>
                  </a:lnTo>
                  <a:lnTo>
                    <a:pt x="1503045" y="640080"/>
                  </a:lnTo>
                  <a:lnTo>
                    <a:pt x="1582102" y="695325"/>
                  </a:lnTo>
                  <a:lnTo>
                    <a:pt x="1601152" y="697230"/>
                  </a:lnTo>
                  <a:lnTo>
                    <a:pt x="1694497" y="670560"/>
                  </a:lnTo>
                  <a:lnTo>
                    <a:pt x="1705927" y="662940"/>
                  </a:lnTo>
                  <a:lnTo>
                    <a:pt x="1720215" y="647700"/>
                  </a:lnTo>
                  <a:lnTo>
                    <a:pt x="1722120" y="640080"/>
                  </a:lnTo>
                  <a:lnTo>
                    <a:pt x="1723072" y="633413"/>
                  </a:lnTo>
                  <a:lnTo>
                    <a:pt x="1724977" y="628650"/>
                  </a:lnTo>
                  <a:lnTo>
                    <a:pt x="1732597" y="626745"/>
                  </a:lnTo>
                  <a:lnTo>
                    <a:pt x="1735455" y="623888"/>
                  </a:lnTo>
                  <a:lnTo>
                    <a:pt x="1744027" y="612457"/>
                  </a:lnTo>
                  <a:lnTo>
                    <a:pt x="1745932" y="609600"/>
                  </a:lnTo>
                  <a:lnTo>
                    <a:pt x="1747838" y="595313"/>
                  </a:lnTo>
                  <a:lnTo>
                    <a:pt x="1752600" y="581977"/>
                  </a:lnTo>
                  <a:lnTo>
                    <a:pt x="1759267" y="570547"/>
                  </a:lnTo>
                  <a:lnTo>
                    <a:pt x="1767840" y="564832"/>
                  </a:lnTo>
                  <a:lnTo>
                    <a:pt x="1780222" y="566738"/>
                  </a:lnTo>
                  <a:lnTo>
                    <a:pt x="1782127" y="573405"/>
                  </a:lnTo>
                  <a:lnTo>
                    <a:pt x="1777365" y="584835"/>
                  </a:lnTo>
                  <a:lnTo>
                    <a:pt x="1774507" y="599122"/>
                  </a:lnTo>
                  <a:lnTo>
                    <a:pt x="1778317" y="607695"/>
                  </a:lnTo>
                  <a:lnTo>
                    <a:pt x="1787842" y="615315"/>
                  </a:lnTo>
                  <a:lnTo>
                    <a:pt x="1827847" y="639127"/>
                  </a:lnTo>
                  <a:lnTo>
                    <a:pt x="1847850" y="646747"/>
                  </a:lnTo>
                  <a:lnTo>
                    <a:pt x="1867852" y="641985"/>
                  </a:lnTo>
                  <a:lnTo>
                    <a:pt x="1883092" y="621982"/>
                  </a:lnTo>
                  <a:lnTo>
                    <a:pt x="1889760" y="599122"/>
                  </a:lnTo>
                  <a:lnTo>
                    <a:pt x="1891665" y="596265"/>
                  </a:lnTo>
                  <a:lnTo>
                    <a:pt x="1906905" y="586740"/>
                  </a:lnTo>
                  <a:lnTo>
                    <a:pt x="1917382" y="575310"/>
                  </a:lnTo>
                  <a:lnTo>
                    <a:pt x="1927860" y="571500"/>
                  </a:lnTo>
                  <a:lnTo>
                    <a:pt x="1988820" y="572452"/>
                  </a:lnTo>
                  <a:lnTo>
                    <a:pt x="1996440" y="567690"/>
                  </a:lnTo>
                  <a:lnTo>
                    <a:pt x="2005013" y="561022"/>
                  </a:lnTo>
                  <a:lnTo>
                    <a:pt x="2013585" y="562927"/>
                  </a:lnTo>
                  <a:lnTo>
                    <a:pt x="2017395" y="572452"/>
                  </a:lnTo>
                  <a:lnTo>
                    <a:pt x="2013585" y="585788"/>
                  </a:lnTo>
                  <a:lnTo>
                    <a:pt x="2020252" y="585788"/>
                  </a:lnTo>
                  <a:lnTo>
                    <a:pt x="2025015" y="581977"/>
                  </a:lnTo>
                  <a:lnTo>
                    <a:pt x="2029777" y="577215"/>
                  </a:lnTo>
                  <a:lnTo>
                    <a:pt x="2035492" y="575310"/>
                  </a:lnTo>
                  <a:lnTo>
                    <a:pt x="2045017" y="577215"/>
                  </a:lnTo>
                  <a:lnTo>
                    <a:pt x="2062163" y="588645"/>
                  </a:lnTo>
                  <a:lnTo>
                    <a:pt x="2072640" y="591502"/>
                  </a:lnTo>
                  <a:lnTo>
                    <a:pt x="2104072" y="583882"/>
                  </a:lnTo>
                  <a:lnTo>
                    <a:pt x="2114550" y="585788"/>
                  </a:lnTo>
                  <a:lnTo>
                    <a:pt x="2127885" y="603885"/>
                  </a:lnTo>
                  <a:lnTo>
                    <a:pt x="2136458" y="611505"/>
                  </a:lnTo>
                  <a:lnTo>
                    <a:pt x="2145030" y="609600"/>
                  </a:lnTo>
                  <a:lnTo>
                    <a:pt x="2154555" y="599122"/>
                  </a:lnTo>
                  <a:lnTo>
                    <a:pt x="2163127" y="598170"/>
                  </a:lnTo>
                  <a:lnTo>
                    <a:pt x="2171700" y="602932"/>
                  </a:lnTo>
                  <a:lnTo>
                    <a:pt x="2179320" y="611505"/>
                  </a:lnTo>
                  <a:lnTo>
                    <a:pt x="2188845" y="637222"/>
                  </a:lnTo>
                  <a:lnTo>
                    <a:pt x="2192655" y="655320"/>
                  </a:lnTo>
                  <a:lnTo>
                    <a:pt x="2187892" y="662940"/>
                  </a:lnTo>
                  <a:lnTo>
                    <a:pt x="2170747" y="667702"/>
                  </a:lnTo>
                  <a:lnTo>
                    <a:pt x="2165033" y="667702"/>
                  </a:lnTo>
                  <a:lnTo>
                    <a:pt x="2158365" y="666750"/>
                  </a:lnTo>
                  <a:lnTo>
                    <a:pt x="2143125" y="658177"/>
                  </a:lnTo>
                  <a:lnTo>
                    <a:pt x="2130742" y="656272"/>
                  </a:lnTo>
                  <a:lnTo>
                    <a:pt x="2120265" y="658177"/>
                  </a:lnTo>
                  <a:lnTo>
                    <a:pt x="2113597" y="666750"/>
                  </a:lnTo>
                  <a:lnTo>
                    <a:pt x="2110740" y="681038"/>
                  </a:lnTo>
                  <a:lnTo>
                    <a:pt x="2112645" y="686752"/>
                  </a:lnTo>
                  <a:lnTo>
                    <a:pt x="2116455" y="689610"/>
                  </a:lnTo>
                  <a:lnTo>
                    <a:pt x="2117408" y="693420"/>
                  </a:lnTo>
                  <a:lnTo>
                    <a:pt x="2114550" y="699135"/>
                  </a:lnTo>
                  <a:lnTo>
                    <a:pt x="2109788" y="701992"/>
                  </a:lnTo>
                  <a:lnTo>
                    <a:pt x="2097405" y="702945"/>
                  </a:lnTo>
                  <a:lnTo>
                    <a:pt x="2093595" y="704850"/>
                  </a:lnTo>
                  <a:lnTo>
                    <a:pt x="2085975" y="714375"/>
                  </a:lnTo>
                  <a:lnTo>
                    <a:pt x="2080260" y="729615"/>
                  </a:lnTo>
                  <a:lnTo>
                    <a:pt x="2076450" y="745807"/>
                  </a:lnTo>
                  <a:lnTo>
                    <a:pt x="2071688" y="789622"/>
                  </a:lnTo>
                  <a:lnTo>
                    <a:pt x="2071688" y="805815"/>
                  </a:lnTo>
                  <a:lnTo>
                    <a:pt x="2074545" y="822007"/>
                  </a:lnTo>
                  <a:lnTo>
                    <a:pt x="2088832" y="838200"/>
                  </a:lnTo>
                  <a:lnTo>
                    <a:pt x="2095500" y="849630"/>
                  </a:lnTo>
                  <a:lnTo>
                    <a:pt x="2094547" y="861060"/>
                  </a:lnTo>
                  <a:lnTo>
                    <a:pt x="2087880" y="867727"/>
                  </a:lnTo>
                  <a:lnTo>
                    <a:pt x="2049780" y="882015"/>
                  </a:lnTo>
                  <a:lnTo>
                    <a:pt x="2002155" y="883920"/>
                  </a:lnTo>
                  <a:lnTo>
                    <a:pt x="1996440" y="885825"/>
                  </a:lnTo>
                  <a:lnTo>
                    <a:pt x="1991677" y="888682"/>
                  </a:lnTo>
                  <a:lnTo>
                    <a:pt x="1989772" y="893445"/>
                  </a:lnTo>
                  <a:lnTo>
                    <a:pt x="1986915" y="905827"/>
                  </a:lnTo>
                  <a:lnTo>
                    <a:pt x="1984057" y="909638"/>
                  </a:lnTo>
                  <a:lnTo>
                    <a:pt x="1974532" y="912495"/>
                  </a:lnTo>
                  <a:lnTo>
                    <a:pt x="1926907" y="902017"/>
                  </a:lnTo>
                  <a:lnTo>
                    <a:pt x="1897380" y="882967"/>
                  </a:lnTo>
                  <a:lnTo>
                    <a:pt x="1897380" y="888682"/>
                  </a:lnTo>
                  <a:lnTo>
                    <a:pt x="1881188" y="882015"/>
                  </a:lnTo>
                  <a:lnTo>
                    <a:pt x="1868805" y="893445"/>
                  </a:lnTo>
                  <a:lnTo>
                    <a:pt x="1860232" y="910590"/>
                  </a:lnTo>
                  <a:lnTo>
                    <a:pt x="1852613" y="919163"/>
                  </a:lnTo>
                  <a:lnTo>
                    <a:pt x="1811655" y="917257"/>
                  </a:lnTo>
                  <a:lnTo>
                    <a:pt x="1775460" y="923925"/>
                  </a:lnTo>
                  <a:lnTo>
                    <a:pt x="1764982" y="918210"/>
                  </a:lnTo>
                  <a:lnTo>
                    <a:pt x="1760220" y="902017"/>
                  </a:lnTo>
                  <a:lnTo>
                    <a:pt x="1757363" y="894397"/>
                  </a:lnTo>
                  <a:lnTo>
                    <a:pt x="1741170" y="875347"/>
                  </a:lnTo>
                  <a:lnTo>
                    <a:pt x="1734502" y="868680"/>
                  </a:lnTo>
                  <a:lnTo>
                    <a:pt x="1701165" y="847725"/>
                  </a:lnTo>
                  <a:lnTo>
                    <a:pt x="1663065" y="832485"/>
                  </a:lnTo>
                  <a:lnTo>
                    <a:pt x="1640205" y="828675"/>
                  </a:lnTo>
                  <a:lnTo>
                    <a:pt x="1617345" y="828675"/>
                  </a:lnTo>
                  <a:lnTo>
                    <a:pt x="1595438" y="833438"/>
                  </a:lnTo>
                  <a:lnTo>
                    <a:pt x="1576388" y="842963"/>
                  </a:lnTo>
                  <a:lnTo>
                    <a:pt x="1547813" y="864870"/>
                  </a:lnTo>
                  <a:lnTo>
                    <a:pt x="1543050" y="871538"/>
                  </a:lnTo>
                  <a:lnTo>
                    <a:pt x="1542097" y="880110"/>
                  </a:lnTo>
                  <a:lnTo>
                    <a:pt x="1539240" y="885825"/>
                  </a:lnTo>
                  <a:lnTo>
                    <a:pt x="1538288" y="891540"/>
                  </a:lnTo>
                  <a:lnTo>
                    <a:pt x="1539240" y="899160"/>
                  </a:lnTo>
                  <a:lnTo>
                    <a:pt x="1543050" y="902970"/>
                  </a:lnTo>
                  <a:lnTo>
                    <a:pt x="1558290" y="909638"/>
                  </a:lnTo>
                  <a:lnTo>
                    <a:pt x="1558290" y="914400"/>
                  </a:lnTo>
                  <a:lnTo>
                    <a:pt x="1550670" y="917257"/>
                  </a:lnTo>
                  <a:lnTo>
                    <a:pt x="1533525" y="916305"/>
                  </a:lnTo>
                  <a:lnTo>
                    <a:pt x="1525905" y="919163"/>
                  </a:lnTo>
                  <a:lnTo>
                    <a:pt x="1519238" y="927735"/>
                  </a:lnTo>
                  <a:lnTo>
                    <a:pt x="1518285" y="937260"/>
                  </a:lnTo>
                  <a:lnTo>
                    <a:pt x="1522095" y="960120"/>
                  </a:lnTo>
                  <a:lnTo>
                    <a:pt x="1496377" y="940117"/>
                  </a:lnTo>
                  <a:lnTo>
                    <a:pt x="1494472" y="942975"/>
                  </a:lnTo>
                  <a:lnTo>
                    <a:pt x="1488757" y="946785"/>
                  </a:lnTo>
                  <a:lnTo>
                    <a:pt x="1485900" y="950595"/>
                  </a:lnTo>
                  <a:lnTo>
                    <a:pt x="1472565" y="942975"/>
                  </a:lnTo>
                  <a:lnTo>
                    <a:pt x="1463040" y="948690"/>
                  </a:lnTo>
                  <a:lnTo>
                    <a:pt x="1451610" y="973455"/>
                  </a:lnTo>
                  <a:lnTo>
                    <a:pt x="1442085" y="982027"/>
                  </a:lnTo>
                  <a:lnTo>
                    <a:pt x="1419225" y="986790"/>
                  </a:lnTo>
                  <a:lnTo>
                    <a:pt x="1409700" y="991552"/>
                  </a:lnTo>
                  <a:lnTo>
                    <a:pt x="1396365" y="1016317"/>
                  </a:lnTo>
                  <a:lnTo>
                    <a:pt x="1385888" y="1048702"/>
                  </a:lnTo>
                  <a:lnTo>
                    <a:pt x="1370647" y="1071563"/>
                  </a:lnTo>
                  <a:lnTo>
                    <a:pt x="1347788" y="1067752"/>
                  </a:lnTo>
                  <a:lnTo>
                    <a:pt x="1343025" y="1060132"/>
                  </a:lnTo>
                  <a:lnTo>
                    <a:pt x="1337310" y="1049655"/>
                  </a:lnTo>
                  <a:lnTo>
                    <a:pt x="1331595" y="1041082"/>
                  </a:lnTo>
                  <a:lnTo>
                    <a:pt x="1321117" y="1037272"/>
                  </a:lnTo>
                  <a:lnTo>
                    <a:pt x="1303020" y="1036320"/>
                  </a:lnTo>
                  <a:lnTo>
                    <a:pt x="1297305" y="1037272"/>
                  </a:lnTo>
                  <a:lnTo>
                    <a:pt x="1291590" y="1040130"/>
                  </a:lnTo>
                  <a:lnTo>
                    <a:pt x="1287780" y="1043940"/>
                  </a:lnTo>
                  <a:lnTo>
                    <a:pt x="1283970" y="1047750"/>
                  </a:lnTo>
                  <a:lnTo>
                    <a:pt x="1280160" y="1051560"/>
                  </a:lnTo>
                  <a:lnTo>
                    <a:pt x="1270635" y="1053465"/>
                  </a:lnTo>
                  <a:lnTo>
                    <a:pt x="1252538" y="1049655"/>
                  </a:lnTo>
                  <a:lnTo>
                    <a:pt x="1244917" y="1054417"/>
                  </a:lnTo>
                  <a:lnTo>
                    <a:pt x="1237297" y="1058227"/>
                  </a:lnTo>
                  <a:lnTo>
                    <a:pt x="1200150" y="1051560"/>
                  </a:lnTo>
                  <a:lnTo>
                    <a:pt x="1181100" y="1059180"/>
                  </a:lnTo>
                  <a:lnTo>
                    <a:pt x="1143952" y="1083945"/>
                  </a:lnTo>
                  <a:lnTo>
                    <a:pt x="1123950" y="1092517"/>
                  </a:lnTo>
                  <a:lnTo>
                    <a:pt x="1082040" y="1102042"/>
                  </a:lnTo>
                  <a:lnTo>
                    <a:pt x="1064895" y="1109663"/>
                  </a:lnTo>
                  <a:lnTo>
                    <a:pt x="1051560" y="1123950"/>
                  </a:lnTo>
                  <a:lnTo>
                    <a:pt x="1050607" y="1119188"/>
                  </a:lnTo>
                  <a:lnTo>
                    <a:pt x="1048702" y="1119188"/>
                  </a:lnTo>
                  <a:lnTo>
                    <a:pt x="1027747" y="1148715"/>
                  </a:lnTo>
                  <a:lnTo>
                    <a:pt x="1024890" y="1154430"/>
                  </a:lnTo>
                  <a:lnTo>
                    <a:pt x="1019175" y="1161097"/>
                  </a:lnTo>
                  <a:lnTo>
                    <a:pt x="1001077" y="1192530"/>
                  </a:lnTo>
                  <a:lnTo>
                    <a:pt x="981075" y="1245870"/>
                  </a:lnTo>
                  <a:lnTo>
                    <a:pt x="975360" y="1255395"/>
                  </a:lnTo>
                  <a:lnTo>
                    <a:pt x="971550" y="1257300"/>
                  </a:lnTo>
                  <a:lnTo>
                    <a:pt x="959167" y="1255395"/>
                  </a:lnTo>
                  <a:lnTo>
                    <a:pt x="951547" y="1255395"/>
                  </a:lnTo>
                  <a:lnTo>
                    <a:pt x="945832" y="1255395"/>
                  </a:lnTo>
                  <a:lnTo>
                    <a:pt x="943927" y="1255395"/>
                  </a:lnTo>
                  <a:lnTo>
                    <a:pt x="941070" y="1258252"/>
                  </a:lnTo>
                  <a:lnTo>
                    <a:pt x="941070" y="1263015"/>
                  </a:lnTo>
                  <a:lnTo>
                    <a:pt x="940117" y="1265872"/>
                  </a:lnTo>
                  <a:lnTo>
                    <a:pt x="928688" y="1283970"/>
                  </a:lnTo>
                  <a:lnTo>
                    <a:pt x="922020" y="1289685"/>
                  </a:lnTo>
                  <a:lnTo>
                    <a:pt x="897255" y="1294447"/>
                  </a:lnTo>
                  <a:lnTo>
                    <a:pt x="890588" y="1303020"/>
                  </a:lnTo>
                  <a:lnTo>
                    <a:pt x="885825" y="1314450"/>
                  </a:lnTo>
                  <a:lnTo>
                    <a:pt x="879157" y="1326832"/>
                  </a:lnTo>
                  <a:lnTo>
                    <a:pt x="872490" y="1332547"/>
                  </a:lnTo>
                  <a:lnTo>
                    <a:pt x="855345" y="1344930"/>
                  </a:lnTo>
                  <a:lnTo>
                    <a:pt x="847725" y="1346835"/>
                  </a:lnTo>
                  <a:lnTo>
                    <a:pt x="835342" y="1348740"/>
                  </a:lnTo>
                  <a:lnTo>
                    <a:pt x="779145" y="1375410"/>
                  </a:lnTo>
                  <a:lnTo>
                    <a:pt x="767715" y="1377315"/>
                  </a:lnTo>
                  <a:lnTo>
                    <a:pt x="756285" y="1375410"/>
                  </a:lnTo>
                  <a:lnTo>
                    <a:pt x="722947" y="1362075"/>
                  </a:lnTo>
                  <a:lnTo>
                    <a:pt x="716280" y="1362075"/>
                  </a:lnTo>
                  <a:lnTo>
                    <a:pt x="705802" y="1365885"/>
                  </a:lnTo>
                  <a:lnTo>
                    <a:pt x="699135" y="1366838"/>
                  </a:lnTo>
                  <a:lnTo>
                    <a:pt x="664845" y="1365885"/>
                  </a:lnTo>
                  <a:lnTo>
                    <a:pt x="658177" y="1364932"/>
                  </a:lnTo>
                  <a:lnTo>
                    <a:pt x="677227" y="1359217"/>
                  </a:lnTo>
                  <a:lnTo>
                    <a:pt x="678180" y="1349692"/>
                  </a:lnTo>
                  <a:lnTo>
                    <a:pt x="687705" y="1344930"/>
                  </a:lnTo>
                  <a:lnTo>
                    <a:pt x="722947" y="1340167"/>
                  </a:lnTo>
                  <a:lnTo>
                    <a:pt x="718185" y="1322070"/>
                  </a:lnTo>
                  <a:lnTo>
                    <a:pt x="698182" y="1269682"/>
                  </a:lnTo>
                  <a:lnTo>
                    <a:pt x="683895" y="1265872"/>
                  </a:lnTo>
                  <a:lnTo>
                    <a:pt x="679132" y="1247775"/>
                  </a:lnTo>
                  <a:lnTo>
                    <a:pt x="658177" y="1249680"/>
                  </a:lnTo>
                  <a:lnTo>
                    <a:pt x="649605" y="1228725"/>
                  </a:lnTo>
                  <a:lnTo>
                    <a:pt x="669607" y="1197292"/>
                  </a:lnTo>
                  <a:lnTo>
                    <a:pt x="647700" y="1165860"/>
                  </a:lnTo>
                  <a:lnTo>
                    <a:pt x="602932" y="1169670"/>
                  </a:lnTo>
                  <a:lnTo>
                    <a:pt x="596265" y="1125855"/>
                  </a:lnTo>
                  <a:lnTo>
                    <a:pt x="637222" y="1101090"/>
                  </a:lnTo>
                  <a:lnTo>
                    <a:pt x="629602" y="1073467"/>
                  </a:lnTo>
                  <a:lnTo>
                    <a:pt x="599122" y="1054417"/>
                  </a:lnTo>
                  <a:lnTo>
                    <a:pt x="580072" y="1052513"/>
                  </a:lnTo>
                  <a:lnTo>
                    <a:pt x="574357" y="1027747"/>
                  </a:lnTo>
                  <a:lnTo>
                    <a:pt x="589597" y="1022985"/>
                  </a:lnTo>
                  <a:lnTo>
                    <a:pt x="595313" y="1013460"/>
                  </a:lnTo>
                  <a:lnTo>
                    <a:pt x="598170" y="1001077"/>
                  </a:lnTo>
                  <a:lnTo>
                    <a:pt x="600075" y="985838"/>
                  </a:lnTo>
                  <a:lnTo>
                    <a:pt x="600075" y="968692"/>
                  </a:lnTo>
                  <a:lnTo>
                    <a:pt x="594360" y="940117"/>
                  </a:lnTo>
                  <a:lnTo>
                    <a:pt x="593407" y="927735"/>
                  </a:lnTo>
                  <a:lnTo>
                    <a:pt x="591502" y="922972"/>
                  </a:lnTo>
                  <a:lnTo>
                    <a:pt x="581977" y="903922"/>
                  </a:lnTo>
                  <a:lnTo>
                    <a:pt x="580072" y="897255"/>
                  </a:lnTo>
                  <a:lnTo>
                    <a:pt x="579120" y="878205"/>
                  </a:lnTo>
                  <a:lnTo>
                    <a:pt x="570547" y="847725"/>
                  </a:lnTo>
                  <a:lnTo>
                    <a:pt x="557213" y="830580"/>
                  </a:lnTo>
                  <a:lnTo>
                    <a:pt x="521017" y="806767"/>
                  </a:lnTo>
                  <a:lnTo>
                    <a:pt x="491490" y="780097"/>
                  </a:lnTo>
                  <a:lnTo>
                    <a:pt x="482917" y="776288"/>
                  </a:lnTo>
                  <a:lnTo>
                    <a:pt x="461010" y="779145"/>
                  </a:lnTo>
                  <a:lnTo>
                    <a:pt x="441007" y="786765"/>
                  </a:lnTo>
                  <a:lnTo>
                    <a:pt x="422910" y="798195"/>
                  </a:lnTo>
                  <a:lnTo>
                    <a:pt x="410527" y="801052"/>
                  </a:lnTo>
                  <a:lnTo>
                    <a:pt x="404813" y="794385"/>
                  </a:lnTo>
                  <a:lnTo>
                    <a:pt x="400050" y="783907"/>
                  </a:lnTo>
                  <a:lnTo>
                    <a:pt x="388620" y="778192"/>
                  </a:lnTo>
                  <a:lnTo>
                    <a:pt x="364807" y="770572"/>
                  </a:lnTo>
                  <a:lnTo>
                    <a:pt x="357188" y="762952"/>
                  </a:lnTo>
                  <a:lnTo>
                    <a:pt x="339090" y="740092"/>
                  </a:lnTo>
                  <a:lnTo>
                    <a:pt x="325755" y="732472"/>
                  </a:lnTo>
                  <a:lnTo>
                    <a:pt x="320992" y="725805"/>
                  </a:lnTo>
                  <a:lnTo>
                    <a:pt x="315277" y="714375"/>
                  </a:lnTo>
                  <a:lnTo>
                    <a:pt x="310515" y="711517"/>
                  </a:lnTo>
                  <a:lnTo>
                    <a:pt x="300990" y="707707"/>
                  </a:lnTo>
                  <a:lnTo>
                    <a:pt x="296227" y="704850"/>
                  </a:lnTo>
                  <a:lnTo>
                    <a:pt x="260985" y="674370"/>
                  </a:lnTo>
                  <a:lnTo>
                    <a:pt x="241935" y="661988"/>
                  </a:lnTo>
                  <a:lnTo>
                    <a:pt x="220980" y="652463"/>
                  </a:lnTo>
                  <a:lnTo>
                    <a:pt x="141922" y="645795"/>
                  </a:lnTo>
                  <a:lnTo>
                    <a:pt x="130492" y="647700"/>
                  </a:lnTo>
                  <a:lnTo>
                    <a:pt x="121920" y="653415"/>
                  </a:lnTo>
                  <a:lnTo>
                    <a:pt x="103822" y="674370"/>
                  </a:lnTo>
                  <a:lnTo>
                    <a:pt x="96202" y="678180"/>
                  </a:lnTo>
                  <a:lnTo>
                    <a:pt x="58102" y="678180"/>
                  </a:lnTo>
                  <a:lnTo>
                    <a:pt x="46672" y="674370"/>
                  </a:lnTo>
                  <a:lnTo>
                    <a:pt x="28575" y="664845"/>
                  </a:lnTo>
                  <a:lnTo>
                    <a:pt x="17145" y="662940"/>
                  </a:lnTo>
                  <a:lnTo>
                    <a:pt x="2857" y="621982"/>
                  </a:lnTo>
                  <a:lnTo>
                    <a:pt x="0" y="611505"/>
                  </a:lnTo>
                  <a:lnTo>
                    <a:pt x="7620" y="591502"/>
                  </a:lnTo>
                  <a:lnTo>
                    <a:pt x="22860" y="574357"/>
                  </a:lnTo>
                  <a:lnTo>
                    <a:pt x="85725" y="526732"/>
                  </a:lnTo>
                  <a:lnTo>
                    <a:pt x="96202" y="523875"/>
                  </a:lnTo>
                  <a:lnTo>
                    <a:pt x="108585" y="522922"/>
                  </a:lnTo>
                  <a:lnTo>
                    <a:pt x="118110" y="520065"/>
                  </a:lnTo>
                  <a:lnTo>
                    <a:pt x="126682" y="515302"/>
                  </a:lnTo>
                  <a:lnTo>
                    <a:pt x="133350" y="508635"/>
                  </a:lnTo>
                  <a:lnTo>
                    <a:pt x="138113" y="503872"/>
                  </a:lnTo>
                  <a:lnTo>
                    <a:pt x="141922" y="498157"/>
                  </a:lnTo>
                  <a:lnTo>
                    <a:pt x="145732" y="494347"/>
                  </a:lnTo>
                  <a:lnTo>
                    <a:pt x="154305" y="493395"/>
                  </a:lnTo>
                  <a:lnTo>
                    <a:pt x="159067" y="494347"/>
                  </a:lnTo>
                  <a:lnTo>
                    <a:pt x="169545" y="498157"/>
                  </a:lnTo>
                  <a:lnTo>
                    <a:pt x="175260" y="499110"/>
                  </a:lnTo>
                  <a:lnTo>
                    <a:pt x="182880" y="496252"/>
                  </a:lnTo>
                  <a:lnTo>
                    <a:pt x="183832" y="490538"/>
                  </a:lnTo>
                  <a:lnTo>
                    <a:pt x="181927" y="483870"/>
                  </a:lnTo>
                  <a:lnTo>
                    <a:pt x="180975" y="478155"/>
                  </a:lnTo>
                  <a:lnTo>
                    <a:pt x="182880" y="471488"/>
                  </a:lnTo>
                  <a:lnTo>
                    <a:pt x="184785" y="466725"/>
                  </a:lnTo>
                  <a:lnTo>
                    <a:pt x="187642" y="461963"/>
                  </a:lnTo>
                  <a:lnTo>
                    <a:pt x="203835" y="444817"/>
                  </a:lnTo>
                  <a:lnTo>
                    <a:pt x="240030" y="421005"/>
                  </a:lnTo>
                  <a:lnTo>
                    <a:pt x="360045" y="364807"/>
                  </a:lnTo>
                  <a:lnTo>
                    <a:pt x="366713" y="360045"/>
                  </a:lnTo>
                  <a:lnTo>
                    <a:pt x="369570" y="350520"/>
                  </a:lnTo>
                  <a:lnTo>
                    <a:pt x="366713" y="347663"/>
                  </a:lnTo>
                  <a:lnTo>
                    <a:pt x="361950" y="344805"/>
                  </a:lnTo>
                  <a:lnTo>
                    <a:pt x="357188" y="340995"/>
                  </a:lnTo>
                  <a:lnTo>
                    <a:pt x="358140" y="332422"/>
                  </a:lnTo>
                  <a:lnTo>
                    <a:pt x="362902" y="328613"/>
                  </a:lnTo>
                  <a:lnTo>
                    <a:pt x="367665" y="331470"/>
                  </a:lnTo>
                  <a:lnTo>
                    <a:pt x="376238" y="342900"/>
                  </a:lnTo>
                  <a:lnTo>
                    <a:pt x="395288" y="354330"/>
                  </a:lnTo>
                  <a:lnTo>
                    <a:pt x="413385" y="351472"/>
                  </a:lnTo>
                  <a:lnTo>
                    <a:pt x="452438" y="327660"/>
                  </a:lnTo>
                  <a:lnTo>
                    <a:pt x="471488" y="319088"/>
                  </a:lnTo>
                  <a:lnTo>
                    <a:pt x="473392" y="314325"/>
                  </a:lnTo>
                  <a:lnTo>
                    <a:pt x="489585" y="297180"/>
                  </a:lnTo>
                  <a:lnTo>
                    <a:pt x="498157" y="293370"/>
                  </a:lnTo>
                  <a:lnTo>
                    <a:pt x="520065" y="279082"/>
                  </a:lnTo>
                  <a:lnTo>
                    <a:pt x="527685" y="275272"/>
                  </a:lnTo>
                  <a:lnTo>
                    <a:pt x="531495" y="277177"/>
                  </a:lnTo>
                  <a:lnTo>
                    <a:pt x="541020" y="283845"/>
                  </a:lnTo>
                  <a:lnTo>
                    <a:pt x="547688" y="285750"/>
                  </a:lnTo>
                  <a:lnTo>
                    <a:pt x="553402" y="284797"/>
                  </a:lnTo>
                  <a:lnTo>
                    <a:pt x="565785" y="280988"/>
                  </a:lnTo>
                  <a:lnTo>
                    <a:pt x="579120" y="264795"/>
                  </a:lnTo>
                  <a:lnTo>
                    <a:pt x="589597" y="258127"/>
                  </a:lnTo>
                  <a:lnTo>
                    <a:pt x="595313" y="255270"/>
                  </a:lnTo>
                  <a:lnTo>
                    <a:pt x="600075" y="255270"/>
                  </a:lnTo>
                  <a:lnTo>
                    <a:pt x="605790" y="256222"/>
                  </a:lnTo>
                  <a:lnTo>
                    <a:pt x="612457" y="259080"/>
                  </a:lnTo>
                  <a:lnTo>
                    <a:pt x="616267" y="262890"/>
                  </a:lnTo>
                  <a:lnTo>
                    <a:pt x="618172" y="267652"/>
                  </a:lnTo>
                  <a:lnTo>
                    <a:pt x="621030" y="271463"/>
                  </a:lnTo>
                  <a:lnTo>
                    <a:pt x="626745" y="272415"/>
                  </a:lnTo>
                  <a:lnTo>
                    <a:pt x="638175" y="270510"/>
                  </a:lnTo>
                  <a:lnTo>
                    <a:pt x="639127" y="261938"/>
                  </a:lnTo>
                  <a:lnTo>
                    <a:pt x="638175" y="243840"/>
                  </a:lnTo>
                  <a:lnTo>
                    <a:pt x="639127" y="230505"/>
                  </a:lnTo>
                  <a:lnTo>
                    <a:pt x="647700" y="233363"/>
                  </a:lnTo>
                  <a:lnTo>
                    <a:pt x="656272" y="228600"/>
                  </a:lnTo>
                  <a:lnTo>
                    <a:pt x="674370" y="223838"/>
                  </a:lnTo>
                  <a:lnTo>
                    <a:pt x="682942" y="219075"/>
                  </a:lnTo>
                  <a:lnTo>
                    <a:pt x="673417" y="210502"/>
                  </a:lnTo>
                  <a:lnTo>
                    <a:pt x="663892" y="204788"/>
                  </a:lnTo>
                  <a:lnTo>
                    <a:pt x="633413" y="197167"/>
                  </a:lnTo>
                  <a:lnTo>
                    <a:pt x="620077" y="198120"/>
                  </a:lnTo>
                  <a:lnTo>
                    <a:pt x="614363" y="200025"/>
                  </a:lnTo>
                  <a:lnTo>
                    <a:pt x="610552" y="204788"/>
                  </a:lnTo>
                  <a:lnTo>
                    <a:pt x="606742" y="207645"/>
                  </a:lnTo>
                  <a:lnTo>
                    <a:pt x="600075" y="202882"/>
                  </a:lnTo>
                  <a:lnTo>
                    <a:pt x="610552" y="189547"/>
                  </a:lnTo>
                  <a:lnTo>
                    <a:pt x="614363" y="180975"/>
                  </a:lnTo>
                  <a:lnTo>
                    <a:pt x="613410" y="176213"/>
                  </a:lnTo>
                  <a:lnTo>
                    <a:pt x="606742" y="174307"/>
                  </a:lnTo>
                  <a:lnTo>
                    <a:pt x="606742" y="167640"/>
                  </a:lnTo>
                  <a:lnTo>
                    <a:pt x="609600" y="160020"/>
                  </a:lnTo>
                  <a:lnTo>
                    <a:pt x="613410" y="154305"/>
                  </a:lnTo>
                  <a:lnTo>
                    <a:pt x="612457" y="148590"/>
                  </a:lnTo>
                  <a:lnTo>
                    <a:pt x="605790" y="121920"/>
                  </a:lnTo>
                  <a:lnTo>
                    <a:pt x="604838" y="113347"/>
                  </a:lnTo>
                  <a:lnTo>
                    <a:pt x="610552" y="105727"/>
                  </a:lnTo>
                  <a:lnTo>
                    <a:pt x="615315" y="97155"/>
                  </a:lnTo>
                  <a:lnTo>
                    <a:pt x="613410" y="85725"/>
                  </a:lnTo>
                  <a:lnTo>
                    <a:pt x="604838" y="70485"/>
                  </a:lnTo>
                  <a:lnTo>
                    <a:pt x="621982" y="52388"/>
                  </a:lnTo>
                  <a:lnTo>
                    <a:pt x="627697" y="33338"/>
                  </a:lnTo>
                  <a:lnTo>
                    <a:pt x="622935" y="5715"/>
                  </a:lnTo>
                  <a:lnTo>
                    <a:pt x="626745" y="0"/>
                  </a:lnTo>
                  <a:lnTo>
                    <a:pt x="632460" y="4763"/>
                  </a:lnTo>
                  <a:lnTo>
                    <a:pt x="636270" y="10477"/>
                  </a:lnTo>
                  <a:lnTo>
                    <a:pt x="660082" y="54292"/>
                  </a:lnTo>
                  <a:lnTo>
                    <a:pt x="664845" y="59055"/>
                  </a:lnTo>
                  <a:lnTo>
                    <a:pt x="688657" y="73342"/>
                  </a:lnTo>
                  <a:lnTo>
                    <a:pt x="695325" y="67627"/>
                  </a:lnTo>
                  <a:lnTo>
                    <a:pt x="698182" y="56197"/>
                  </a:lnTo>
                  <a:lnTo>
                    <a:pt x="698182" y="30480"/>
                  </a:lnTo>
                  <a:lnTo>
                    <a:pt x="720090" y="40005"/>
                  </a:lnTo>
                  <a:lnTo>
                    <a:pt x="722947" y="43815"/>
                  </a:lnTo>
                  <a:lnTo>
                    <a:pt x="722947" y="64770"/>
                  </a:lnTo>
                  <a:lnTo>
                    <a:pt x="721042" y="72390"/>
                  </a:lnTo>
                  <a:lnTo>
                    <a:pt x="716280" y="78105"/>
                  </a:lnTo>
                  <a:lnTo>
                    <a:pt x="736282" y="102870"/>
                  </a:lnTo>
                  <a:lnTo>
                    <a:pt x="741045" y="115252"/>
                  </a:lnTo>
                  <a:lnTo>
                    <a:pt x="730567" y="120015"/>
                  </a:lnTo>
                  <a:lnTo>
                    <a:pt x="730567" y="122872"/>
                  </a:lnTo>
                  <a:lnTo>
                    <a:pt x="731520" y="125730"/>
                  </a:lnTo>
                  <a:lnTo>
                    <a:pt x="734377" y="130492"/>
                  </a:lnTo>
                  <a:lnTo>
                    <a:pt x="730567" y="136207"/>
                  </a:lnTo>
                  <a:lnTo>
                    <a:pt x="739140" y="135255"/>
                  </a:lnTo>
                  <a:lnTo>
                    <a:pt x="745807" y="129540"/>
                  </a:lnTo>
                  <a:lnTo>
                    <a:pt x="750570" y="122872"/>
                  </a:lnTo>
                  <a:lnTo>
                    <a:pt x="755332" y="120015"/>
                  </a:lnTo>
                  <a:lnTo>
                    <a:pt x="762000" y="122872"/>
                  </a:lnTo>
                  <a:lnTo>
                    <a:pt x="765810" y="130492"/>
                  </a:lnTo>
                  <a:lnTo>
                    <a:pt x="767715" y="137160"/>
                  </a:lnTo>
                  <a:lnTo>
                    <a:pt x="771525" y="140017"/>
                  </a:lnTo>
                  <a:lnTo>
                    <a:pt x="774382" y="143827"/>
                  </a:lnTo>
                  <a:lnTo>
                    <a:pt x="782955" y="149542"/>
                  </a:lnTo>
                  <a:lnTo>
                    <a:pt x="791527" y="152400"/>
                  </a:lnTo>
                  <a:lnTo>
                    <a:pt x="795338" y="142875"/>
                  </a:lnTo>
                  <a:lnTo>
                    <a:pt x="792480" y="134302"/>
                  </a:lnTo>
                  <a:lnTo>
                    <a:pt x="788670" y="125730"/>
                  </a:lnTo>
                  <a:lnTo>
                    <a:pt x="788670" y="119063"/>
                  </a:lnTo>
                  <a:lnTo>
                    <a:pt x="799147" y="114300"/>
                  </a:lnTo>
                  <a:lnTo>
                    <a:pt x="796290" y="106680"/>
                  </a:lnTo>
                  <a:lnTo>
                    <a:pt x="792480" y="105727"/>
                  </a:lnTo>
                  <a:lnTo>
                    <a:pt x="786765" y="106680"/>
                  </a:lnTo>
                  <a:lnTo>
                    <a:pt x="781050" y="103822"/>
                  </a:lnTo>
                  <a:lnTo>
                    <a:pt x="771525" y="95250"/>
                  </a:lnTo>
                  <a:lnTo>
                    <a:pt x="769620" y="90488"/>
                  </a:lnTo>
                  <a:lnTo>
                    <a:pt x="775335" y="87630"/>
                  </a:lnTo>
                  <a:lnTo>
                    <a:pt x="800100" y="88582"/>
                  </a:lnTo>
                  <a:lnTo>
                    <a:pt x="810577" y="92392"/>
                  </a:lnTo>
                  <a:lnTo>
                    <a:pt x="821055" y="99060"/>
                  </a:lnTo>
                  <a:lnTo>
                    <a:pt x="842963" y="130492"/>
                  </a:lnTo>
                  <a:lnTo>
                    <a:pt x="860107" y="140017"/>
                  </a:lnTo>
                  <a:lnTo>
                    <a:pt x="889635" y="166688"/>
                  </a:lnTo>
                  <a:lnTo>
                    <a:pt x="889635" y="171450"/>
                  </a:lnTo>
                  <a:lnTo>
                    <a:pt x="883920" y="178117"/>
                  </a:lnTo>
                  <a:lnTo>
                    <a:pt x="877252" y="180975"/>
                  </a:lnTo>
                  <a:lnTo>
                    <a:pt x="869632" y="180975"/>
                  </a:lnTo>
                  <a:lnTo>
                    <a:pt x="860107" y="177165"/>
                  </a:lnTo>
                  <a:lnTo>
                    <a:pt x="862965" y="189547"/>
                  </a:lnTo>
                  <a:lnTo>
                    <a:pt x="868680" y="200025"/>
                  </a:lnTo>
                  <a:lnTo>
                    <a:pt x="882015" y="213360"/>
                  </a:lnTo>
                  <a:lnTo>
                    <a:pt x="888682" y="207645"/>
                  </a:lnTo>
                  <a:lnTo>
                    <a:pt x="897255" y="206692"/>
                  </a:lnTo>
                  <a:lnTo>
                    <a:pt x="904875" y="202882"/>
                  </a:lnTo>
                  <a:lnTo>
                    <a:pt x="907732" y="189547"/>
                  </a:lnTo>
                  <a:lnTo>
                    <a:pt x="906780" y="174307"/>
                  </a:lnTo>
                  <a:lnTo>
                    <a:pt x="903922" y="164782"/>
                  </a:lnTo>
                  <a:lnTo>
                    <a:pt x="898207" y="159067"/>
                  </a:lnTo>
                  <a:lnTo>
                    <a:pt x="867727" y="132397"/>
                  </a:lnTo>
                  <a:lnTo>
                    <a:pt x="862013" y="130492"/>
                  </a:lnTo>
                  <a:lnTo>
                    <a:pt x="861060" y="128588"/>
                  </a:lnTo>
                  <a:lnTo>
                    <a:pt x="860107" y="124777"/>
                  </a:lnTo>
                  <a:lnTo>
                    <a:pt x="861060" y="120967"/>
                  </a:lnTo>
                  <a:lnTo>
                    <a:pt x="862013" y="120015"/>
                  </a:lnTo>
                  <a:lnTo>
                    <a:pt x="864870" y="120015"/>
                  </a:lnTo>
                  <a:lnTo>
                    <a:pt x="869632" y="123825"/>
                  </a:lnTo>
                  <a:lnTo>
                    <a:pt x="876300" y="126682"/>
                  </a:lnTo>
                  <a:lnTo>
                    <a:pt x="880110" y="128588"/>
                  </a:lnTo>
                  <a:lnTo>
                    <a:pt x="883920" y="132397"/>
                  </a:lnTo>
                  <a:lnTo>
                    <a:pt x="885825" y="136207"/>
                  </a:lnTo>
                  <a:lnTo>
                    <a:pt x="889635" y="130492"/>
                  </a:lnTo>
                  <a:lnTo>
                    <a:pt x="912495" y="137160"/>
                  </a:lnTo>
                  <a:lnTo>
                    <a:pt x="921067" y="142875"/>
                  </a:lnTo>
                  <a:lnTo>
                    <a:pt x="914400" y="151447"/>
                  </a:lnTo>
                  <a:lnTo>
                    <a:pt x="920115" y="161925"/>
                  </a:lnTo>
                  <a:lnTo>
                    <a:pt x="927735" y="160020"/>
                  </a:lnTo>
                  <a:lnTo>
                    <a:pt x="946785" y="130492"/>
                  </a:lnTo>
                  <a:lnTo>
                    <a:pt x="947738" y="135255"/>
                  </a:lnTo>
                  <a:lnTo>
                    <a:pt x="946785" y="147638"/>
                  </a:lnTo>
                  <a:lnTo>
                    <a:pt x="948690" y="159067"/>
                  </a:lnTo>
                  <a:lnTo>
                    <a:pt x="952500" y="162877"/>
                  </a:lnTo>
                  <a:lnTo>
                    <a:pt x="958215" y="165735"/>
                  </a:lnTo>
                  <a:lnTo>
                    <a:pt x="963930" y="167640"/>
                  </a:lnTo>
                  <a:lnTo>
                    <a:pt x="968692" y="166688"/>
                  </a:lnTo>
                  <a:lnTo>
                    <a:pt x="971550" y="162877"/>
                  </a:lnTo>
                  <a:lnTo>
                    <a:pt x="973455" y="149542"/>
                  </a:lnTo>
                  <a:lnTo>
                    <a:pt x="975360" y="145732"/>
                  </a:lnTo>
                  <a:lnTo>
                    <a:pt x="985838" y="145732"/>
                  </a:lnTo>
                  <a:lnTo>
                    <a:pt x="992505" y="152400"/>
                  </a:lnTo>
                  <a:lnTo>
                    <a:pt x="1004888" y="171450"/>
                  </a:lnTo>
                  <a:lnTo>
                    <a:pt x="994410" y="176213"/>
                  </a:lnTo>
                  <a:lnTo>
                    <a:pt x="990600" y="177165"/>
                  </a:lnTo>
                  <a:lnTo>
                    <a:pt x="999172" y="184785"/>
                  </a:lnTo>
                  <a:lnTo>
                    <a:pt x="1010602" y="190500"/>
                  </a:lnTo>
                  <a:lnTo>
                    <a:pt x="1017270" y="198120"/>
                  </a:lnTo>
                  <a:lnTo>
                    <a:pt x="1015365" y="213360"/>
                  </a:lnTo>
                  <a:lnTo>
                    <a:pt x="1011555" y="216217"/>
                  </a:lnTo>
                  <a:lnTo>
                    <a:pt x="1000125" y="221932"/>
                  </a:lnTo>
                  <a:lnTo>
                    <a:pt x="997267" y="225742"/>
                  </a:lnTo>
                  <a:lnTo>
                    <a:pt x="996315" y="235267"/>
                  </a:lnTo>
                  <a:lnTo>
                    <a:pt x="991552" y="247650"/>
                  </a:lnTo>
                  <a:lnTo>
                    <a:pt x="990600" y="255270"/>
                  </a:lnTo>
                  <a:lnTo>
                    <a:pt x="1004888" y="239077"/>
                  </a:lnTo>
                  <a:lnTo>
                    <a:pt x="1004888" y="245745"/>
                  </a:lnTo>
                  <a:lnTo>
                    <a:pt x="1004888" y="249555"/>
                  </a:lnTo>
                  <a:lnTo>
                    <a:pt x="1001077" y="255270"/>
                  </a:lnTo>
                  <a:lnTo>
                    <a:pt x="1005840" y="253365"/>
                  </a:lnTo>
                  <a:lnTo>
                    <a:pt x="1008697" y="252413"/>
                  </a:lnTo>
                  <a:lnTo>
                    <a:pt x="1010602" y="249555"/>
                  </a:lnTo>
                  <a:lnTo>
                    <a:pt x="1012507" y="244792"/>
                  </a:lnTo>
                  <a:lnTo>
                    <a:pt x="1015365" y="244792"/>
                  </a:lnTo>
                  <a:lnTo>
                    <a:pt x="1015365" y="262890"/>
                  </a:lnTo>
                  <a:lnTo>
                    <a:pt x="1018222" y="267652"/>
                  </a:lnTo>
                  <a:lnTo>
                    <a:pt x="1021080" y="260985"/>
                  </a:lnTo>
                  <a:lnTo>
                    <a:pt x="1022985" y="241935"/>
                  </a:lnTo>
                  <a:lnTo>
                    <a:pt x="1026795" y="226695"/>
                  </a:lnTo>
                  <a:lnTo>
                    <a:pt x="1035367" y="216217"/>
                  </a:lnTo>
                  <a:lnTo>
                    <a:pt x="1046797" y="213360"/>
                  </a:lnTo>
                  <a:lnTo>
                    <a:pt x="1055370" y="218122"/>
                  </a:lnTo>
                  <a:lnTo>
                    <a:pt x="1051560" y="221932"/>
                  </a:lnTo>
                  <a:lnTo>
                    <a:pt x="1044892" y="233363"/>
                  </a:lnTo>
                  <a:lnTo>
                    <a:pt x="1052513" y="252413"/>
                  </a:lnTo>
                  <a:lnTo>
                    <a:pt x="1058227" y="260032"/>
                  </a:lnTo>
                  <a:lnTo>
                    <a:pt x="1064895" y="257175"/>
                  </a:lnTo>
                  <a:lnTo>
                    <a:pt x="1074420" y="241935"/>
                  </a:lnTo>
                  <a:lnTo>
                    <a:pt x="1079182" y="232410"/>
                  </a:lnTo>
                  <a:lnTo>
                    <a:pt x="1081088" y="225742"/>
                  </a:lnTo>
                  <a:lnTo>
                    <a:pt x="1083945" y="223838"/>
                  </a:lnTo>
                  <a:lnTo>
                    <a:pt x="1092517" y="226695"/>
                  </a:lnTo>
                  <a:lnTo>
                    <a:pt x="1101090" y="227647"/>
                  </a:lnTo>
                  <a:lnTo>
                    <a:pt x="1105852" y="218122"/>
                  </a:lnTo>
                  <a:lnTo>
                    <a:pt x="1103947" y="211455"/>
                  </a:lnTo>
                  <a:lnTo>
                    <a:pt x="1098232" y="203835"/>
                  </a:lnTo>
                  <a:lnTo>
                    <a:pt x="1087755" y="192405"/>
                  </a:lnTo>
                  <a:lnTo>
                    <a:pt x="1087755" y="187642"/>
                  </a:lnTo>
                  <a:lnTo>
                    <a:pt x="1125855" y="200977"/>
                  </a:lnTo>
                  <a:lnTo>
                    <a:pt x="1131570" y="204788"/>
                  </a:lnTo>
                  <a:lnTo>
                    <a:pt x="1132522" y="212407"/>
                  </a:lnTo>
                  <a:lnTo>
                    <a:pt x="1134427" y="216217"/>
                  </a:lnTo>
                  <a:lnTo>
                    <a:pt x="1134427" y="221932"/>
                  </a:lnTo>
                  <a:lnTo>
                    <a:pt x="1131570" y="233363"/>
                  </a:lnTo>
                  <a:lnTo>
                    <a:pt x="1129665" y="238125"/>
                  </a:lnTo>
                  <a:lnTo>
                    <a:pt x="1121092" y="249555"/>
                  </a:lnTo>
                  <a:lnTo>
                    <a:pt x="1117282" y="255270"/>
                  </a:lnTo>
                  <a:lnTo>
                    <a:pt x="1112520" y="258127"/>
                  </a:lnTo>
                  <a:lnTo>
                    <a:pt x="1107757" y="261938"/>
                  </a:lnTo>
                  <a:lnTo>
                    <a:pt x="1100138" y="263842"/>
                  </a:lnTo>
                  <a:lnTo>
                    <a:pt x="1093470" y="264795"/>
                  </a:lnTo>
                  <a:lnTo>
                    <a:pt x="1088707" y="269557"/>
                  </a:lnTo>
                  <a:lnTo>
                    <a:pt x="1086802" y="286702"/>
                  </a:lnTo>
                  <a:lnTo>
                    <a:pt x="1082040" y="291465"/>
                  </a:lnTo>
                  <a:lnTo>
                    <a:pt x="1075372" y="294322"/>
                  </a:lnTo>
                  <a:lnTo>
                    <a:pt x="1071563" y="301942"/>
                  </a:lnTo>
                  <a:lnTo>
                    <a:pt x="1068705" y="310515"/>
                  </a:lnTo>
                  <a:lnTo>
                    <a:pt x="1065847" y="317182"/>
                  </a:lnTo>
                  <a:lnTo>
                    <a:pt x="1060132" y="322897"/>
                  </a:lnTo>
                  <a:lnTo>
                    <a:pt x="1044892" y="333375"/>
                  </a:lnTo>
                  <a:lnTo>
                    <a:pt x="1044892" y="338138"/>
                  </a:lnTo>
                  <a:lnTo>
                    <a:pt x="1067752" y="333375"/>
                  </a:lnTo>
                  <a:lnTo>
                    <a:pt x="1088707" y="322897"/>
                  </a:lnTo>
                  <a:lnTo>
                    <a:pt x="1143000" y="272415"/>
                  </a:lnTo>
                  <a:lnTo>
                    <a:pt x="1151572" y="267652"/>
                  </a:lnTo>
                  <a:lnTo>
                    <a:pt x="1173480" y="262890"/>
                  </a:lnTo>
                  <a:lnTo>
                    <a:pt x="1182052" y="256222"/>
                  </a:lnTo>
                  <a:lnTo>
                    <a:pt x="1196340" y="239077"/>
                  </a:lnTo>
                  <a:lnTo>
                    <a:pt x="1199197" y="249555"/>
                  </a:lnTo>
                  <a:lnTo>
                    <a:pt x="1200150" y="258127"/>
                  </a:lnTo>
                  <a:lnTo>
                    <a:pt x="1199197" y="265747"/>
                  </a:lnTo>
                  <a:lnTo>
                    <a:pt x="1195388" y="272415"/>
                  </a:lnTo>
                  <a:lnTo>
                    <a:pt x="1191577" y="271463"/>
                  </a:lnTo>
                  <a:lnTo>
                    <a:pt x="1174432" y="274320"/>
                  </a:lnTo>
                  <a:lnTo>
                    <a:pt x="1173480" y="275272"/>
                  </a:lnTo>
                  <a:lnTo>
                    <a:pt x="1165860" y="277177"/>
                  </a:lnTo>
                  <a:lnTo>
                    <a:pt x="1160145" y="280035"/>
                  </a:lnTo>
                  <a:lnTo>
                    <a:pt x="1155382" y="285750"/>
                  </a:lnTo>
                  <a:lnTo>
                    <a:pt x="1153477" y="294322"/>
                  </a:lnTo>
                  <a:lnTo>
                    <a:pt x="1151572" y="304800"/>
                  </a:lnTo>
                  <a:lnTo>
                    <a:pt x="1144905" y="318135"/>
                  </a:lnTo>
                  <a:lnTo>
                    <a:pt x="1142047" y="327660"/>
                  </a:lnTo>
                  <a:lnTo>
                    <a:pt x="1156335" y="321945"/>
                  </a:lnTo>
                  <a:lnTo>
                    <a:pt x="1169670" y="312420"/>
                  </a:lnTo>
                  <a:lnTo>
                    <a:pt x="1183005" y="306705"/>
                  </a:lnTo>
                  <a:lnTo>
                    <a:pt x="1196340" y="312420"/>
                  </a:lnTo>
                  <a:lnTo>
                    <a:pt x="1203960" y="329565"/>
                  </a:lnTo>
                  <a:lnTo>
                    <a:pt x="1198245" y="345757"/>
                  </a:lnTo>
                  <a:lnTo>
                    <a:pt x="1186815" y="360997"/>
                  </a:lnTo>
                  <a:lnTo>
                    <a:pt x="1178242" y="374332"/>
                  </a:lnTo>
                  <a:lnTo>
                    <a:pt x="1189672" y="370522"/>
                  </a:lnTo>
                  <a:lnTo>
                    <a:pt x="1199197" y="372427"/>
                  </a:lnTo>
                  <a:lnTo>
                    <a:pt x="1218247" y="379095"/>
                  </a:lnTo>
                  <a:lnTo>
                    <a:pt x="1230630" y="377190"/>
                  </a:lnTo>
                  <a:lnTo>
                    <a:pt x="1249680" y="365760"/>
                  </a:lnTo>
                  <a:lnTo>
                    <a:pt x="1261110" y="363855"/>
                  </a:lnTo>
                  <a:lnTo>
                    <a:pt x="1261110" y="368617"/>
                  </a:lnTo>
                  <a:lnTo>
                    <a:pt x="1257300" y="373380"/>
                  </a:lnTo>
                  <a:lnTo>
                    <a:pt x="1247775" y="382905"/>
                  </a:lnTo>
                  <a:lnTo>
                    <a:pt x="1243013" y="389572"/>
                  </a:lnTo>
                  <a:lnTo>
                    <a:pt x="1257300" y="392430"/>
                  </a:lnTo>
                  <a:lnTo>
                    <a:pt x="1261110" y="394335"/>
                  </a:lnTo>
                  <a:lnTo>
                    <a:pt x="1264920" y="400050"/>
                  </a:lnTo>
                  <a:lnTo>
                    <a:pt x="1271588" y="411480"/>
                  </a:lnTo>
                  <a:lnTo>
                    <a:pt x="1275397" y="416242"/>
                  </a:lnTo>
                  <a:lnTo>
                    <a:pt x="1283017" y="418147"/>
                  </a:lnTo>
                  <a:lnTo>
                    <a:pt x="1310640" y="416242"/>
                  </a:lnTo>
                  <a:lnTo>
                    <a:pt x="1316355" y="420052"/>
                  </a:lnTo>
                  <a:lnTo>
                    <a:pt x="1329690" y="451485"/>
                  </a:lnTo>
                  <a:lnTo>
                    <a:pt x="1335405" y="456247"/>
                  </a:lnTo>
                  <a:lnTo>
                    <a:pt x="1342072" y="459105"/>
                  </a:lnTo>
                  <a:lnTo>
                    <a:pt x="1345882" y="463867"/>
                  </a:lnTo>
                  <a:lnTo>
                    <a:pt x="1347788" y="475297"/>
                  </a:lnTo>
                  <a:lnTo>
                    <a:pt x="1350645" y="484822"/>
                  </a:lnTo>
                  <a:lnTo>
                    <a:pt x="1363980" y="497205"/>
                  </a:lnTo>
                  <a:lnTo>
                    <a:pt x="1366838" y="506730"/>
                  </a:lnTo>
                  <a:lnTo>
                    <a:pt x="1375410" y="558165"/>
                  </a:lnTo>
                  <a:lnTo>
                    <a:pt x="1377315" y="560070"/>
                  </a:lnTo>
                  <a:lnTo>
                    <a:pt x="1379220" y="562927"/>
                  </a:lnTo>
                  <a:lnTo>
                    <a:pt x="1377315" y="570547"/>
                  </a:lnTo>
                  <a:lnTo>
                    <a:pt x="1374457" y="575310"/>
                  </a:lnTo>
                  <a:lnTo>
                    <a:pt x="1367790" y="580072"/>
                  </a:lnTo>
                  <a:lnTo>
                    <a:pt x="1364932" y="582930"/>
                  </a:lnTo>
                  <a:lnTo>
                    <a:pt x="1358265" y="588645"/>
                  </a:lnTo>
                  <a:lnTo>
                    <a:pt x="1340167" y="592455"/>
                  </a:lnTo>
                  <a:lnTo>
                    <a:pt x="1333500" y="596265"/>
                  </a:lnTo>
                  <a:lnTo>
                    <a:pt x="1333500" y="601980"/>
                  </a:lnTo>
                  <a:lnTo>
                    <a:pt x="1341120" y="608647"/>
                  </a:lnTo>
                  <a:lnTo>
                    <a:pt x="1355407" y="637222"/>
                  </a:lnTo>
                  <a:lnTo>
                    <a:pt x="1362075" y="644842"/>
                  </a:lnTo>
                  <a:lnTo>
                    <a:pt x="1393507" y="669607"/>
                  </a:lnTo>
                  <a:lnTo>
                    <a:pt x="1398270" y="669607"/>
                  </a:lnTo>
                  <a:lnTo>
                    <a:pt x="1403985" y="666750"/>
                  </a:lnTo>
                  <a:lnTo>
                    <a:pt x="1413510" y="662940"/>
                  </a:lnTo>
                  <a:lnTo>
                    <a:pt x="1421130" y="663892"/>
                  </a:lnTo>
                  <a:lnTo>
                    <a:pt x="1430655" y="665797"/>
                  </a:lnTo>
                  <a:lnTo>
                    <a:pt x="1438275" y="670560"/>
                  </a:lnTo>
                  <a:lnTo>
                    <a:pt x="1442085" y="676275"/>
                  </a:lnTo>
                  <a:lnTo>
                    <a:pt x="1452563" y="682942"/>
                  </a:lnTo>
                  <a:lnTo>
                    <a:pt x="1512570" y="704850"/>
                  </a:lnTo>
                  <a:lnTo>
                    <a:pt x="1517332" y="708660"/>
                  </a:lnTo>
                  <a:lnTo>
                    <a:pt x="1524000" y="717232"/>
                  </a:lnTo>
                  <a:lnTo>
                    <a:pt x="1532572" y="725805"/>
                  </a:lnTo>
                  <a:lnTo>
                    <a:pt x="1541145" y="730567"/>
                  </a:lnTo>
                  <a:lnTo>
                    <a:pt x="1549717" y="727710"/>
                  </a:lnTo>
                  <a:lnTo>
                    <a:pt x="1557338" y="722947"/>
                  </a:lnTo>
                  <a:lnTo>
                    <a:pt x="1568767" y="709613"/>
                  </a:lnTo>
                  <a:lnTo>
                    <a:pt x="1561147" y="699135"/>
                  </a:lnTo>
                  <a:lnTo>
                    <a:pt x="1552575" y="695325"/>
                  </a:lnTo>
                  <a:lnTo>
                    <a:pt x="1543050" y="693420"/>
                  </a:lnTo>
                  <a:lnTo>
                    <a:pt x="1532572" y="688657"/>
                  </a:lnTo>
                  <a:lnTo>
                    <a:pt x="1527810" y="682942"/>
                  </a:lnTo>
                  <a:lnTo>
                    <a:pt x="1524952" y="676275"/>
                  </a:lnTo>
                  <a:lnTo>
                    <a:pt x="1522095" y="670560"/>
                  </a:lnTo>
                  <a:lnTo>
                    <a:pt x="1516380" y="667702"/>
                  </a:lnTo>
                  <a:lnTo>
                    <a:pt x="1510665" y="666750"/>
                  </a:lnTo>
                  <a:lnTo>
                    <a:pt x="1506855" y="663892"/>
                  </a:lnTo>
                  <a:lnTo>
                    <a:pt x="1395413" y="502920"/>
                  </a:lnTo>
                  <a:lnTo>
                    <a:pt x="1372552" y="477202"/>
                  </a:lnTo>
                  <a:lnTo>
                    <a:pt x="1369695" y="470535"/>
                  </a:lnTo>
                  <a:lnTo>
                    <a:pt x="1355407" y="451485"/>
                  </a:lnTo>
                  <a:lnTo>
                    <a:pt x="1345882" y="428625"/>
                  </a:lnTo>
                  <a:lnTo>
                    <a:pt x="1341120" y="421005"/>
                  </a:lnTo>
                  <a:lnTo>
                    <a:pt x="1337310" y="417195"/>
                  </a:lnTo>
                  <a:lnTo>
                    <a:pt x="1332547" y="415290"/>
                  </a:lnTo>
                  <a:lnTo>
                    <a:pt x="1327785" y="411480"/>
                  </a:lnTo>
                  <a:lnTo>
                    <a:pt x="1326832" y="401955"/>
                  </a:lnTo>
                  <a:lnTo>
                    <a:pt x="1318260" y="387667"/>
                  </a:lnTo>
                  <a:lnTo>
                    <a:pt x="1317307" y="384810"/>
                  </a:lnTo>
                  <a:lnTo>
                    <a:pt x="1316355" y="37909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1" name="Полилиния: фигура 4">
              <a:extLst>
                <a:ext uri="{FF2B5EF4-FFF2-40B4-BE49-F238E27FC236}">
                  <a16:creationId xmlns:a16="http://schemas.microsoft.com/office/drawing/2014/main" id="{92A68E86-325F-56E0-73C5-65B54BAB66F0}"/>
                </a:ext>
              </a:extLst>
            </p:cNvPr>
            <p:cNvSpPr/>
            <p:nvPr/>
          </p:nvSpPr>
          <p:spPr>
            <a:xfrm>
              <a:off x="5601653" y="3676650"/>
              <a:ext cx="1543050" cy="1390650"/>
            </a:xfrm>
            <a:custGeom>
              <a:avLst/>
              <a:gdLst>
                <a:gd name="connsiteX0" fmla="*/ 866775 w 1543050"/>
                <a:gd name="connsiteY0" fmla="*/ 1323023 h 1390650"/>
                <a:gd name="connsiteX1" fmla="*/ 847725 w 1543050"/>
                <a:gd name="connsiteY1" fmla="*/ 1353503 h 1390650"/>
                <a:gd name="connsiteX2" fmla="*/ 823912 w 1543050"/>
                <a:gd name="connsiteY2" fmla="*/ 1343025 h 1390650"/>
                <a:gd name="connsiteX3" fmla="*/ 811530 w 1543050"/>
                <a:gd name="connsiteY3" fmla="*/ 1340168 h 1390650"/>
                <a:gd name="connsiteX4" fmla="*/ 800100 w 1543050"/>
                <a:gd name="connsiteY4" fmla="*/ 1339215 h 1390650"/>
                <a:gd name="connsiteX5" fmla="*/ 792480 w 1543050"/>
                <a:gd name="connsiteY5" fmla="*/ 1343978 h 1390650"/>
                <a:gd name="connsiteX6" fmla="*/ 783908 w 1543050"/>
                <a:gd name="connsiteY6" fmla="*/ 1352550 h 1390650"/>
                <a:gd name="connsiteX7" fmla="*/ 781050 w 1543050"/>
                <a:gd name="connsiteY7" fmla="*/ 1356360 h 1390650"/>
                <a:gd name="connsiteX8" fmla="*/ 779145 w 1543050"/>
                <a:gd name="connsiteY8" fmla="*/ 1362075 h 1390650"/>
                <a:gd name="connsiteX9" fmla="*/ 778192 w 1543050"/>
                <a:gd name="connsiteY9" fmla="*/ 1369695 h 1390650"/>
                <a:gd name="connsiteX10" fmla="*/ 779145 w 1543050"/>
                <a:gd name="connsiteY10" fmla="*/ 1393507 h 1390650"/>
                <a:gd name="connsiteX11" fmla="*/ 766762 w 1543050"/>
                <a:gd name="connsiteY11" fmla="*/ 1361123 h 1390650"/>
                <a:gd name="connsiteX12" fmla="*/ 762953 w 1543050"/>
                <a:gd name="connsiteY12" fmla="*/ 1356360 h 1390650"/>
                <a:gd name="connsiteX13" fmla="*/ 755333 w 1543050"/>
                <a:gd name="connsiteY13" fmla="*/ 1353503 h 1390650"/>
                <a:gd name="connsiteX14" fmla="*/ 693420 w 1543050"/>
                <a:gd name="connsiteY14" fmla="*/ 1290638 h 1390650"/>
                <a:gd name="connsiteX15" fmla="*/ 684847 w 1543050"/>
                <a:gd name="connsiteY15" fmla="*/ 1272540 h 1390650"/>
                <a:gd name="connsiteX16" fmla="*/ 701992 w 1543050"/>
                <a:gd name="connsiteY16" fmla="*/ 1286828 h 1390650"/>
                <a:gd name="connsiteX17" fmla="*/ 716280 w 1543050"/>
                <a:gd name="connsiteY17" fmla="*/ 1301115 h 1390650"/>
                <a:gd name="connsiteX18" fmla="*/ 723900 w 1543050"/>
                <a:gd name="connsiteY18" fmla="*/ 1305878 h 1390650"/>
                <a:gd name="connsiteX19" fmla="*/ 816292 w 1543050"/>
                <a:gd name="connsiteY19" fmla="*/ 1298257 h 1390650"/>
                <a:gd name="connsiteX20" fmla="*/ 834390 w 1543050"/>
                <a:gd name="connsiteY20" fmla="*/ 1303973 h 1390650"/>
                <a:gd name="connsiteX21" fmla="*/ 863917 w 1543050"/>
                <a:gd name="connsiteY21" fmla="*/ 1322070 h 1390650"/>
                <a:gd name="connsiteX22" fmla="*/ 866775 w 1543050"/>
                <a:gd name="connsiteY22" fmla="*/ 1323023 h 1390650"/>
                <a:gd name="connsiteX23" fmla="*/ 1490662 w 1543050"/>
                <a:gd name="connsiteY23" fmla="*/ 200978 h 1390650"/>
                <a:gd name="connsiteX24" fmla="*/ 1496378 w 1543050"/>
                <a:gd name="connsiteY24" fmla="*/ 205740 h 1390650"/>
                <a:gd name="connsiteX25" fmla="*/ 1495425 w 1543050"/>
                <a:gd name="connsiteY25" fmla="*/ 210503 h 1390650"/>
                <a:gd name="connsiteX26" fmla="*/ 1492567 w 1543050"/>
                <a:gd name="connsiteY26" fmla="*/ 218122 h 1390650"/>
                <a:gd name="connsiteX27" fmla="*/ 1488758 w 1543050"/>
                <a:gd name="connsiteY27" fmla="*/ 232410 h 1390650"/>
                <a:gd name="connsiteX28" fmla="*/ 1488758 w 1543050"/>
                <a:gd name="connsiteY28" fmla="*/ 237172 h 1390650"/>
                <a:gd name="connsiteX29" fmla="*/ 1489710 w 1543050"/>
                <a:gd name="connsiteY29" fmla="*/ 240030 h 1390650"/>
                <a:gd name="connsiteX30" fmla="*/ 1492567 w 1543050"/>
                <a:gd name="connsiteY30" fmla="*/ 241935 h 1390650"/>
                <a:gd name="connsiteX31" fmla="*/ 1498283 w 1543050"/>
                <a:gd name="connsiteY31" fmla="*/ 241935 h 1390650"/>
                <a:gd name="connsiteX32" fmla="*/ 1501140 w 1543050"/>
                <a:gd name="connsiteY32" fmla="*/ 240982 h 1390650"/>
                <a:gd name="connsiteX33" fmla="*/ 1504950 w 1543050"/>
                <a:gd name="connsiteY33" fmla="*/ 241935 h 1390650"/>
                <a:gd name="connsiteX34" fmla="*/ 1508760 w 1543050"/>
                <a:gd name="connsiteY34" fmla="*/ 243840 h 1390650"/>
                <a:gd name="connsiteX35" fmla="*/ 1513523 w 1543050"/>
                <a:gd name="connsiteY35" fmla="*/ 251460 h 1390650"/>
                <a:gd name="connsiteX36" fmla="*/ 1515428 w 1543050"/>
                <a:gd name="connsiteY36" fmla="*/ 256222 h 1390650"/>
                <a:gd name="connsiteX37" fmla="*/ 1515428 w 1543050"/>
                <a:gd name="connsiteY37" fmla="*/ 259080 h 1390650"/>
                <a:gd name="connsiteX38" fmla="*/ 1511617 w 1543050"/>
                <a:gd name="connsiteY38" fmla="*/ 263843 h 1390650"/>
                <a:gd name="connsiteX39" fmla="*/ 1510665 w 1543050"/>
                <a:gd name="connsiteY39" fmla="*/ 266700 h 1390650"/>
                <a:gd name="connsiteX40" fmla="*/ 1509712 w 1543050"/>
                <a:gd name="connsiteY40" fmla="*/ 270510 h 1390650"/>
                <a:gd name="connsiteX41" fmla="*/ 1508760 w 1543050"/>
                <a:gd name="connsiteY41" fmla="*/ 288607 h 1390650"/>
                <a:gd name="connsiteX42" fmla="*/ 1507808 w 1543050"/>
                <a:gd name="connsiteY42" fmla="*/ 292418 h 1390650"/>
                <a:gd name="connsiteX43" fmla="*/ 1505903 w 1543050"/>
                <a:gd name="connsiteY43" fmla="*/ 297180 h 1390650"/>
                <a:gd name="connsiteX44" fmla="*/ 1503998 w 1543050"/>
                <a:gd name="connsiteY44" fmla="*/ 307657 h 1390650"/>
                <a:gd name="connsiteX45" fmla="*/ 1503998 w 1543050"/>
                <a:gd name="connsiteY45" fmla="*/ 350520 h 1390650"/>
                <a:gd name="connsiteX46" fmla="*/ 1503998 w 1543050"/>
                <a:gd name="connsiteY46" fmla="*/ 356235 h 1390650"/>
                <a:gd name="connsiteX47" fmla="*/ 1505903 w 1543050"/>
                <a:gd name="connsiteY47" fmla="*/ 360045 h 1390650"/>
                <a:gd name="connsiteX48" fmla="*/ 1509712 w 1543050"/>
                <a:gd name="connsiteY48" fmla="*/ 362903 h 1390650"/>
                <a:gd name="connsiteX49" fmla="*/ 1512570 w 1543050"/>
                <a:gd name="connsiteY49" fmla="*/ 365760 h 1390650"/>
                <a:gd name="connsiteX50" fmla="*/ 1515428 w 1543050"/>
                <a:gd name="connsiteY50" fmla="*/ 370522 h 1390650"/>
                <a:gd name="connsiteX51" fmla="*/ 1518285 w 1543050"/>
                <a:gd name="connsiteY51" fmla="*/ 381000 h 1390650"/>
                <a:gd name="connsiteX52" fmla="*/ 1517333 w 1543050"/>
                <a:gd name="connsiteY52" fmla="*/ 384810 h 1390650"/>
                <a:gd name="connsiteX53" fmla="*/ 1515428 w 1543050"/>
                <a:gd name="connsiteY53" fmla="*/ 387668 h 1390650"/>
                <a:gd name="connsiteX54" fmla="*/ 1492567 w 1543050"/>
                <a:gd name="connsiteY54" fmla="*/ 389572 h 1390650"/>
                <a:gd name="connsiteX55" fmla="*/ 1472565 w 1543050"/>
                <a:gd name="connsiteY55" fmla="*/ 395288 h 1390650"/>
                <a:gd name="connsiteX56" fmla="*/ 1469708 w 1543050"/>
                <a:gd name="connsiteY56" fmla="*/ 396240 h 1390650"/>
                <a:gd name="connsiteX57" fmla="*/ 1465898 w 1543050"/>
                <a:gd name="connsiteY57" fmla="*/ 400050 h 1390650"/>
                <a:gd name="connsiteX58" fmla="*/ 1463040 w 1543050"/>
                <a:gd name="connsiteY58" fmla="*/ 401955 h 1390650"/>
                <a:gd name="connsiteX59" fmla="*/ 1463992 w 1543050"/>
                <a:gd name="connsiteY59" fmla="*/ 406718 h 1390650"/>
                <a:gd name="connsiteX60" fmla="*/ 1466850 w 1543050"/>
                <a:gd name="connsiteY60" fmla="*/ 414338 h 1390650"/>
                <a:gd name="connsiteX61" fmla="*/ 1475423 w 1543050"/>
                <a:gd name="connsiteY61" fmla="*/ 429578 h 1390650"/>
                <a:gd name="connsiteX62" fmla="*/ 1479233 w 1543050"/>
                <a:gd name="connsiteY62" fmla="*/ 439103 h 1390650"/>
                <a:gd name="connsiteX63" fmla="*/ 1482090 w 1543050"/>
                <a:gd name="connsiteY63" fmla="*/ 447675 h 1390650"/>
                <a:gd name="connsiteX64" fmla="*/ 1483042 w 1543050"/>
                <a:gd name="connsiteY64" fmla="*/ 455295 h 1390650"/>
                <a:gd name="connsiteX65" fmla="*/ 1483042 w 1543050"/>
                <a:gd name="connsiteY65" fmla="*/ 460057 h 1390650"/>
                <a:gd name="connsiteX66" fmla="*/ 1481137 w 1543050"/>
                <a:gd name="connsiteY66" fmla="*/ 463868 h 1390650"/>
                <a:gd name="connsiteX67" fmla="*/ 1478280 w 1543050"/>
                <a:gd name="connsiteY67" fmla="*/ 467678 h 1390650"/>
                <a:gd name="connsiteX68" fmla="*/ 1472565 w 1543050"/>
                <a:gd name="connsiteY68" fmla="*/ 474345 h 1390650"/>
                <a:gd name="connsiteX69" fmla="*/ 1468755 w 1543050"/>
                <a:gd name="connsiteY69" fmla="*/ 480060 h 1390650"/>
                <a:gd name="connsiteX70" fmla="*/ 1467803 w 1543050"/>
                <a:gd name="connsiteY70" fmla="*/ 485775 h 1390650"/>
                <a:gd name="connsiteX71" fmla="*/ 1467803 w 1543050"/>
                <a:gd name="connsiteY71" fmla="*/ 489585 h 1390650"/>
                <a:gd name="connsiteX72" fmla="*/ 1468755 w 1543050"/>
                <a:gd name="connsiteY72" fmla="*/ 491490 h 1390650"/>
                <a:gd name="connsiteX73" fmla="*/ 1470660 w 1543050"/>
                <a:gd name="connsiteY73" fmla="*/ 493395 h 1390650"/>
                <a:gd name="connsiteX74" fmla="*/ 1474470 w 1543050"/>
                <a:gd name="connsiteY74" fmla="*/ 495300 h 1390650"/>
                <a:gd name="connsiteX75" fmla="*/ 1519237 w 1543050"/>
                <a:gd name="connsiteY75" fmla="*/ 501968 h 1390650"/>
                <a:gd name="connsiteX76" fmla="*/ 1518285 w 1543050"/>
                <a:gd name="connsiteY76" fmla="*/ 508635 h 1390650"/>
                <a:gd name="connsiteX77" fmla="*/ 1517333 w 1543050"/>
                <a:gd name="connsiteY77" fmla="*/ 518160 h 1390650"/>
                <a:gd name="connsiteX78" fmla="*/ 1518285 w 1543050"/>
                <a:gd name="connsiteY78" fmla="*/ 523875 h 1390650"/>
                <a:gd name="connsiteX79" fmla="*/ 1519237 w 1543050"/>
                <a:gd name="connsiteY79" fmla="*/ 528638 h 1390650"/>
                <a:gd name="connsiteX80" fmla="*/ 1522095 w 1543050"/>
                <a:gd name="connsiteY80" fmla="*/ 533400 h 1390650"/>
                <a:gd name="connsiteX81" fmla="*/ 1529715 w 1543050"/>
                <a:gd name="connsiteY81" fmla="*/ 540068 h 1390650"/>
                <a:gd name="connsiteX82" fmla="*/ 1532573 w 1543050"/>
                <a:gd name="connsiteY82" fmla="*/ 542925 h 1390650"/>
                <a:gd name="connsiteX83" fmla="*/ 1534478 w 1543050"/>
                <a:gd name="connsiteY83" fmla="*/ 547688 h 1390650"/>
                <a:gd name="connsiteX84" fmla="*/ 1534478 w 1543050"/>
                <a:gd name="connsiteY84" fmla="*/ 550545 h 1390650"/>
                <a:gd name="connsiteX85" fmla="*/ 1530667 w 1543050"/>
                <a:gd name="connsiteY85" fmla="*/ 559118 h 1390650"/>
                <a:gd name="connsiteX86" fmla="*/ 1530667 w 1543050"/>
                <a:gd name="connsiteY86" fmla="*/ 561975 h 1390650"/>
                <a:gd name="connsiteX87" fmla="*/ 1530667 w 1543050"/>
                <a:gd name="connsiteY87" fmla="*/ 566738 h 1390650"/>
                <a:gd name="connsiteX88" fmla="*/ 1534478 w 1543050"/>
                <a:gd name="connsiteY88" fmla="*/ 574357 h 1390650"/>
                <a:gd name="connsiteX89" fmla="*/ 1536383 w 1543050"/>
                <a:gd name="connsiteY89" fmla="*/ 580072 h 1390650"/>
                <a:gd name="connsiteX90" fmla="*/ 1538287 w 1543050"/>
                <a:gd name="connsiteY90" fmla="*/ 583882 h 1390650"/>
                <a:gd name="connsiteX91" fmla="*/ 1538287 w 1543050"/>
                <a:gd name="connsiteY91" fmla="*/ 590550 h 1390650"/>
                <a:gd name="connsiteX92" fmla="*/ 1536383 w 1543050"/>
                <a:gd name="connsiteY92" fmla="*/ 596265 h 1390650"/>
                <a:gd name="connsiteX93" fmla="*/ 1535430 w 1543050"/>
                <a:gd name="connsiteY93" fmla="*/ 602932 h 1390650"/>
                <a:gd name="connsiteX94" fmla="*/ 1535430 w 1543050"/>
                <a:gd name="connsiteY94" fmla="*/ 606743 h 1390650"/>
                <a:gd name="connsiteX95" fmla="*/ 1536383 w 1543050"/>
                <a:gd name="connsiteY95" fmla="*/ 612457 h 1390650"/>
                <a:gd name="connsiteX96" fmla="*/ 1540192 w 1543050"/>
                <a:gd name="connsiteY96" fmla="*/ 621030 h 1390650"/>
                <a:gd name="connsiteX97" fmla="*/ 1540192 w 1543050"/>
                <a:gd name="connsiteY97" fmla="*/ 626745 h 1390650"/>
                <a:gd name="connsiteX98" fmla="*/ 1539240 w 1543050"/>
                <a:gd name="connsiteY98" fmla="*/ 629603 h 1390650"/>
                <a:gd name="connsiteX99" fmla="*/ 1537335 w 1543050"/>
                <a:gd name="connsiteY99" fmla="*/ 631507 h 1390650"/>
                <a:gd name="connsiteX100" fmla="*/ 1532573 w 1543050"/>
                <a:gd name="connsiteY100" fmla="*/ 633413 h 1390650"/>
                <a:gd name="connsiteX101" fmla="*/ 1522095 w 1543050"/>
                <a:gd name="connsiteY101" fmla="*/ 634365 h 1390650"/>
                <a:gd name="connsiteX102" fmla="*/ 1516380 w 1543050"/>
                <a:gd name="connsiteY102" fmla="*/ 632460 h 1390650"/>
                <a:gd name="connsiteX103" fmla="*/ 1515428 w 1543050"/>
                <a:gd name="connsiteY103" fmla="*/ 630555 h 1390650"/>
                <a:gd name="connsiteX104" fmla="*/ 1514475 w 1543050"/>
                <a:gd name="connsiteY104" fmla="*/ 628650 h 1390650"/>
                <a:gd name="connsiteX105" fmla="*/ 1511617 w 1543050"/>
                <a:gd name="connsiteY105" fmla="*/ 618172 h 1390650"/>
                <a:gd name="connsiteX106" fmla="*/ 1505903 w 1543050"/>
                <a:gd name="connsiteY106" fmla="*/ 606743 h 1390650"/>
                <a:gd name="connsiteX107" fmla="*/ 1504950 w 1543050"/>
                <a:gd name="connsiteY107" fmla="*/ 604838 h 1390650"/>
                <a:gd name="connsiteX108" fmla="*/ 1503045 w 1543050"/>
                <a:gd name="connsiteY108" fmla="*/ 603885 h 1390650"/>
                <a:gd name="connsiteX109" fmla="*/ 1501140 w 1543050"/>
                <a:gd name="connsiteY109" fmla="*/ 604838 h 1390650"/>
                <a:gd name="connsiteX110" fmla="*/ 1500187 w 1543050"/>
                <a:gd name="connsiteY110" fmla="*/ 609600 h 1390650"/>
                <a:gd name="connsiteX111" fmla="*/ 1498283 w 1543050"/>
                <a:gd name="connsiteY111" fmla="*/ 616268 h 1390650"/>
                <a:gd name="connsiteX112" fmla="*/ 1496378 w 1543050"/>
                <a:gd name="connsiteY112" fmla="*/ 620078 h 1390650"/>
                <a:gd name="connsiteX113" fmla="*/ 1488758 w 1543050"/>
                <a:gd name="connsiteY113" fmla="*/ 631507 h 1390650"/>
                <a:gd name="connsiteX114" fmla="*/ 1485900 w 1543050"/>
                <a:gd name="connsiteY114" fmla="*/ 638175 h 1390650"/>
                <a:gd name="connsiteX115" fmla="*/ 1485900 w 1543050"/>
                <a:gd name="connsiteY115" fmla="*/ 640080 h 1390650"/>
                <a:gd name="connsiteX116" fmla="*/ 1487805 w 1543050"/>
                <a:gd name="connsiteY116" fmla="*/ 644843 h 1390650"/>
                <a:gd name="connsiteX117" fmla="*/ 1490662 w 1543050"/>
                <a:gd name="connsiteY117" fmla="*/ 648653 h 1390650"/>
                <a:gd name="connsiteX118" fmla="*/ 1494473 w 1543050"/>
                <a:gd name="connsiteY118" fmla="*/ 652463 h 1390650"/>
                <a:gd name="connsiteX119" fmla="*/ 1500187 w 1543050"/>
                <a:gd name="connsiteY119" fmla="*/ 654368 h 1390650"/>
                <a:gd name="connsiteX120" fmla="*/ 1518285 w 1543050"/>
                <a:gd name="connsiteY120" fmla="*/ 654368 h 1390650"/>
                <a:gd name="connsiteX121" fmla="*/ 1520190 w 1543050"/>
                <a:gd name="connsiteY121" fmla="*/ 655320 h 1390650"/>
                <a:gd name="connsiteX122" fmla="*/ 1523048 w 1543050"/>
                <a:gd name="connsiteY122" fmla="*/ 656272 h 1390650"/>
                <a:gd name="connsiteX123" fmla="*/ 1524000 w 1543050"/>
                <a:gd name="connsiteY123" fmla="*/ 658178 h 1390650"/>
                <a:gd name="connsiteX124" fmla="*/ 1535430 w 1543050"/>
                <a:gd name="connsiteY124" fmla="*/ 683895 h 1390650"/>
                <a:gd name="connsiteX125" fmla="*/ 1537335 w 1543050"/>
                <a:gd name="connsiteY125" fmla="*/ 691515 h 1390650"/>
                <a:gd name="connsiteX126" fmla="*/ 1537335 w 1543050"/>
                <a:gd name="connsiteY126" fmla="*/ 696278 h 1390650"/>
                <a:gd name="connsiteX127" fmla="*/ 1537335 w 1543050"/>
                <a:gd name="connsiteY127" fmla="*/ 701040 h 1390650"/>
                <a:gd name="connsiteX128" fmla="*/ 1535430 w 1543050"/>
                <a:gd name="connsiteY128" fmla="*/ 707707 h 1390650"/>
                <a:gd name="connsiteX129" fmla="*/ 1530667 w 1543050"/>
                <a:gd name="connsiteY129" fmla="*/ 721995 h 1390650"/>
                <a:gd name="connsiteX130" fmla="*/ 1527810 w 1543050"/>
                <a:gd name="connsiteY130" fmla="*/ 731520 h 1390650"/>
                <a:gd name="connsiteX131" fmla="*/ 1526858 w 1543050"/>
                <a:gd name="connsiteY131" fmla="*/ 738188 h 1390650"/>
                <a:gd name="connsiteX132" fmla="*/ 1526858 w 1543050"/>
                <a:gd name="connsiteY132" fmla="*/ 743903 h 1390650"/>
                <a:gd name="connsiteX133" fmla="*/ 1528762 w 1543050"/>
                <a:gd name="connsiteY133" fmla="*/ 748665 h 1390650"/>
                <a:gd name="connsiteX134" fmla="*/ 1531620 w 1543050"/>
                <a:gd name="connsiteY134" fmla="*/ 756285 h 1390650"/>
                <a:gd name="connsiteX135" fmla="*/ 1543050 w 1543050"/>
                <a:gd name="connsiteY135" fmla="*/ 776288 h 1390650"/>
                <a:gd name="connsiteX136" fmla="*/ 1544003 w 1543050"/>
                <a:gd name="connsiteY136" fmla="*/ 779145 h 1390650"/>
                <a:gd name="connsiteX137" fmla="*/ 1544003 w 1543050"/>
                <a:gd name="connsiteY137" fmla="*/ 781050 h 1390650"/>
                <a:gd name="connsiteX138" fmla="*/ 1541145 w 1543050"/>
                <a:gd name="connsiteY138" fmla="*/ 787718 h 1390650"/>
                <a:gd name="connsiteX139" fmla="*/ 1539240 w 1543050"/>
                <a:gd name="connsiteY139" fmla="*/ 793432 h 1390650"/>
                <a:gd name="connsiteX140" fmla="*/ 1538287 w 1543050"/>
                <a:gd name="connsiteY140" fmla="*/ 796290 h 1390650"/>
                <a:gd name="connsiteX141" fmla="*/ 1535430 w 1543050"/>
                <a:gd name="connsiteY141" fmla="*/ 798195 h 1390650"/>
                <a:gd name="connsiteX142" fmla="*/ 1531620 w 1543050"/>
                <a:gd name="connsiteY142" fmla="*/ 798195 h 1390650"/>
                <a:gd name="connsiteX143" fmla="*/ 1528762 w 1543050"/>
                <a:gd name="connsiteY143" fmla="*/ 797243 h 1390650"/>
                <a:gd name="connsiteX144" fmla="*/ 1522095 w 1543050"/>
                <a:gd name="connsiteY144" fmla="*/ 793432 h 1390650"/>
                <a:gd name="connsiteX145" fmla="*/ 1519237 w 1543050"/>
                <a:gd name="connsiteY145" fmla="*/ 792480 h 1390650"/>
                <a:gd name="connsiteX146" fmla="*/ 1516380 w 1543050"/>
                <a:gd name="connsiteY146" fmla="*/ 793432 h 1390650"/>
                <a:gd name="connsiteX147" fmla="*/ 1512570 w 1543050"/>
                <a:gd name="connsiteY147" fmla="*/ 795338 h 1390650"/>
                <a:gd name="connsiteX148" fmla="*/ 1497330 w 1543050"/>
                <a:gd name="connsiteY148" fmla="*/ 813435 h 1390650"/>
                <a:gd name="connsiteX149" fmla="*/ 1494473 w 1543050"/>
                <a:gd name="connsiteY149" fmla="*/ 815340 h 1390650"/>
                <a:gd name="connsiteX150" fmla="*/ 1490662 w 1543050"/>
                <a:gd name="connsiteY150" fmla="*/ 817245 h 1390650"/>
                <a:gd name="connsiteX151" fmla="*/ 1483042 w 1543050"/>
                <a:gd name="connsiteY151" fmla="*/ 818197 h 1390650"/>
                <a:gd name="connsiteX152" fmla="*/ 1470660 w 1543050"/>
                <a:gd name="connsiteY152" fmla="*/ 818197 h 1390650"/>
                <a:gd name="connsiteX153" fmla="*/ 1469708 w 1543050"/>
                <a:gd name="connsiteY153" fmla="*/ 817245 h 1390650"/>
                <a:gd name="connsiteX154" fmla="*/ 1463992 w 1543050"/>
                <a:gd name="connsiteY154" fmla="*/ 810578 h 1390650"/>
                <a:gd name="connsiteX155" fmla="*/ 1462087 w 1543050"/>
                <a:gd name="connsiteY155" fmla="*/ 809625 h 1390650"/>
                <a:gd name="connsiteX156" fmla="*/ 1459230 w 1543050"/>
                <a:gd name="connsiteY156" fmla="*/ 810578 h 1390650"/>
                <a:gd name="connsiteX157" fmla="*/ 1456373 w 1543050"/>
                <a:gd name="connsiteY157" fmla="*/ 814388 h 1390650"/>
                <a:gd name="connsiteX158" fmla="*/ 1451610 w 1543050"/>
                <a:gd name="connsiteY158" fmla="*/ 827722 h 1390650"/>
                <a:gd name="connsiteX159" fmla="*/ 1438275 w 1543050"/>
                <a:gd name="connsiteY159" fmla="*/ 857250 h 1390650"/>
                <a:gd name="connsiteX160" fmla="*/ 1428750 w 1543050"/>
                <a:gd name="connsiteY160" fmla="*/ 869632 h 1390650"/>
                <a:gd name="connsiteX161" fmla="*/ 1426845 w 1543050"/>
                <a:gd name="connsiteY161" fmla="*/ 875347 h 1390650"/>
                <a:gd name="connsiteX162" fmla="*/ 1427798 w 1543050"/>
                <a:gd name="connsiteY162" fmla="*/ 880110 h 1390650"/>
                <a:gd name="connsiteX163" fmla="*/ 1428750 w 1543050"/>
                <a:gd name="connsiteY163" fmla="*/ 885825 h 1390650"/>
                <a:gd name="connsiteX164" fmla="*/ 1429703 w 1543050"/>
                <a:gd name="connsiteY164" fmla="*/ 893445 h 1390650"/>
                <a:gd name="connsiteX165" fmla="*/ 1430655 w 1543050"/>
                <a:gd name="connsiteY165" fmla="*/ 895350 h 1390650"/>
                <a:gd name="connsiteX166" fmla="*/ 1432560 w 1543050"/>
                <a:gd name="connsiteY166" fmla="*/ 897255 h 1390650"/>
                <a:gd name="connsiteX167" fmla="*/ 1435417 w 1543050"/>
                <a:gd name="connsiteY167" fmla="*/ 897255 h 1390650"/>
                <a:gd name="connsiteX168" fmla="*/ 1443037 w 1543050"/>
                <a:gd name="connsiteY168" fmla="*/ 896303 h 1390650"/>
                <a:gd name="connsiteX169" fmla="*/ 1448753 w 1543050"/>
                <a:gd name="connsiteY169" fmla="*/ 897255 h 1390650"/>
                <a:gd name="connsiteX170" fmla="*/ 1479233 w 1543050"/>
                <a:gd name="connsiteY170" fmla="*/ 915353 h 1390650"/>
                <a:gd name="connsiteX171" fmla="*/ 1503045 w 1543050"/>
                <a:gd name="connsiteY171" fmla="*/ 938213 h 1390650"/>
                <a:gd name="connsiteX172" fmla="*/ 1503998 w 1543050"/>
                <a:gd name="connsiteY172" fmla="*/ 941070 h 1390650"/>
                <a:gd name="connsiteX173" fmla="*/ 1503998 w 1543050"/>
                <a:gd name="connsiteY173" fmla="*/ 942975 h 1390650"/>
                <a:gd name="connsiteX174" fmla="*/ 1502092 w 1543050"/>
                <a:gd name="connsiteY174" fmla="*/ 948690 h 1390650"/>
                <a:gd name="connsiteX175" fmla="*/ 1498283 w 1543050"/>
                <a:gd name="connsiteY175" fmla="*/ 955357 h 1390650"/>
                <a:gd name="connsiteX176" fmla="*/ 1488758 w 1543050"/>
                <a:gd name="connsiteY176" fmla="*/ 965835 h 1390650"/>
                <a:gd name="connsiteX177" fmla="*/ 1486853 w 1543050"/>
                <a:gd name="connsiteY177" fmla="*/ 968693 h 1390650"/>
                <a:gd name="connsiteX178" fmla="*/ 1485900 w 1543050"/>
                <a:gd name="connsiteY178" fmla="*/ 972503 h 1390650"/>
                <a:gd name="connsiteX179" fmla="*/ 1485900 w 1543050"/>
                <a:gd name="connsiteY179" fmla="*/ 977265 h 1390650"/>
                <a:gd name="connsiteX180" fmla="*/ 1484948 w 1543050"/>
                <a:gd name="connsiteY180" fmla="*/ 978218 h 1390650"/>
                <a:gd name="connsiteX181" fmla="*/ 1470660 w 1543050"/>
                <a:gd name="connsiteY181" fmla="*/ 968693 h 1390650"/>
                <a:gd name="connsiteX182" fmla="*/ 1467803 w 1543050"/>
                <a:gd name="connsiteY182" fmla="*/ 965835 h 1390650"/>
                <a:gd name="connsiteX183" fmla="*/ 1464945 w 1543050"/>
                <a:gd name="connsiteY183" fmla="*/ 962025 h 1390650"/>
                <a:gd name="connsiteX184" fmla="*/ 1462087 w 1543050"/>
                <a:gd name="connsiteY184" fmla="*/ 958215 h 1390650"/>
                <a:gd name="connsiteX185" fmla="*/ 1458278 w 1543050"/>
                <a:gd name="connsiteY185" fmla="*/ 955357 h 1390650"/>
                <a:gd name="connsiteX186" fmla="*/ 1453515 w 1543050"/>
                <a:gd name="connsiteY186" fmla="*/ 957263 h 1390650"/>
                <a:gd name="connsiteX187" fmla="*/ 1447800 w 1543050"/>
                <a:gd name="connsiteY187" fmla="*/ 962025 h 1390650"/>
                <a:gd name="connsiteX188" fmla="*/ 1445895 w 1543050"/>
                <a:gd name="connsiteY188" fmla="*/ 965835 h 1390650"/>
                <a:gd name="connsiteX189" fmla="*/ 1444942 w 1543050"/>
                <a:gd name="connsiteY189" fmla="*/ 969645 h 1390650"/>
                <a:gd name="connsiteX190" fmla="*/ 1445895 w 1543050"/>
                <a:gd name="connsiteY190" fmla="*/ 978218 h 1390650"/>
                <a:gd name="connsiteX191" fmla="*/ 1445895 w 1543050"/>
                <a:gd name="connsiteY191" fmla="*/ 983932 h 1390650"/>
                <a:gd name="connsiteX192" fmla="*/ 1447800 w 1543050"/>
                <a:gd name="connsiteY192" fmla="*/ 988695 h 1390650"/>
                <a:gd name="connsiteX193" fmla="*/ 1451610 w 1543050"/>
                <a:gd name="connsiteY193" fmla="*/ 992505 h 1390650"/>
                <a:gd name="connsiteX194" fmla="*/ 1453515 w 1543050"/>
                <a:gd name="connsiteY194" fmla="*/ 993457 h 1390650"/>
                <a:gd name="connsiteX195" fmla="*/ 1472565 w 1543050"/>
                <a:gd name="connsiteY195" fmla="*/ 993457 h 1390650"/>
                <a:gd name="connsiteX196" fmla="*/ 1476375 w 1543050"/>
                <a:gd name="connsiteY196" fmla="*/ 995363 h 1390650"/>
                <a:gd name="connsiteX197" fmla="*/ 1479233 w 1543050"/>
                <a:gd name="connsiteY197" fmla="*/ 999172 h 1390650"/>
                <a:gd name="connsiteX198" fmla="*/ 1480185 w 1543050"/>
                <a:gd name="connsiteY198" fmla="*/ 1001078 h 1390650"/>
                <a:gd name="connsiteX199" fmla="*/ 1477328 w 1543050"/>
                <a:gd name="connsiteY199" fmla="*/ 1004888 h 1390650"/>
                <a:gd name="connsiteX200" fmla="*/ 1471612 w 1543050"/>
                <a:gd name="connsiteY200" fmla="*/ 1007745 h 1390650"/>
                <a:gd name="connsiteX201" fmla="*/ 1450658 w 1543050"/>
                <a:gd name="connsiteY201" fmla="*/ 1013460 h 1390650"/>
                <a:gd name="connsiteX202" fmla="*/ 1443037 w 1543050"/>
                <a:gd name="connsiteY202" fmla="*/ 1017270 h 1390650"/>
                <a:gd name="connsiteX203" fmla="*/ 1431608 w 1543050"/>
                <a:gd name="connsiteY203" fmla="*/ 1030605 h 1390650"/>
                <a:gd name="connsiteX204" fmla="*/ 1426845 w 1543050"/>
                <a:gd name="connsiteY204" fmla="*/ 1032510 h 1390650"/>
                <a:gd name="connsiteX205" fmla="*/ 1375410 w 1543050"/>
                <a:gd name="connsiteY205" fmla="*/ 1041082 h 1390650"/>
                <a:gd name="connsiteX206" fmla="*/ 1372553 w 1543050"/>
                <a:gd name="connsiteY206" fmla="*/ 1042035 h 1390650"/>
                <a:gd name="connsiteX207" fmla="*/ 1369695 w 1543050"/>
                <a:gd name="connsiteY207" fmla="*/ 1045845 h 1390650"/>
                <a:gd name="connsiteX208" fmla="*/ 1369695 w 1543050"/>
                <a:gd name="connsiteY208" fmla="*/ 1048703 h 1390650"/>
                <a:gd name="connsiteX209" fmla="*/ 1370648 w 1543050"/>
                <a:gd name="connsiteY209" fmla="*/ 1051560 h 1390650"/>
                <a:gd name="connsiteX210" fmla="*/ 1372553 w 1543050"/>
                <a:gd name="connsiteY210" fmla="*/ 1053465 h 1390650"/>
                <a:gd name="connsiteX211" fmla="*/ 1376362 w 1543050"/>
                <a:gd name="connsiteY211" fmla="*/ 1055370 h 1390650"/>
                <a:gd name="connsiteX212" fmla="*/ 1380173 w 1543050"/>
                <a:gd name="connsiteY212" fmla="*/ 1057275 h 1390650"/>
                <a:gd name="connsiteX213" fmla="*/ 1392555 w 1543050"/>
                <a:gd name="connsiteY213" fmla="*/ 1058228 h 1390650"/>
                <a:gd name="connsiteX214" fmla="*/ 1421130 w 1543050"/>
                <a:gd name="connsiteY214" fmla="*/ 1055370 h 1390650"/>
                <a:gd name="connsiteX215" fmla="*/ 1424940 w 1543050"/>
                <a:gd name="connsiteY215" fmla="*/ 1056323 h 1390650"/>
                <a:gd name="connsiteX216" fmla="*/ 1429703 w 1543050"/>
                <a:gd name="connsiteY216" fmla="*/ 1059180 h 1390650"/>
                <a:gd name="connsiteX217" fmla="*/ 1432560 w 1543050"/>
                <a:gd name="connsiteY217" fmla="*/ 1060132 h 1390650"/>
                <a:gd name="connsiteX218" fmla="*/ 1437323 w 1543050"/>
                <a:gd name="connsiteY218" fmla="*/ 1059180 h 1390650"/>
                <a:gd name="connsiteX219" fmla="*/ 1439228 w 1543050"/>
                <a:gd name="connsiteY219" fmla="*/ 1060132 h 1390650"/>
                <a:gd name="connsiteX220" fmla="*/ 1441133 w 1543050"/>
                <a:gd name="connsiteY220" fmla="*/ 1062038 h 1390650"/>
                <a:gd name="connsiteX221" fmla="*/ 1435417 w 1543050"/>
                <a:gd name="connsiteY221" fmla="*/ 1065848 h 1390650"/>
                <a:gd name="connsiteX222" fmla="*/ 1426845 w 1543050"/>
                <a:gd name="connsiteY222" fmla="*/ 1070610 h 1390650"/>
                <a:gd name="connsiteX223" fmla="*/ 1385887 w 1543050"/>
                <a:gd name="connsiteY223" fmla="*/ 1084898 h 1390650"/>
                <a:gd name="connsiteX224" fmla="*/ 1381125 w 1543050"/>
                <a:gd name="connsiteY224" fmla="*/ 1087755 h 1390650"/>
                <a:gd name="connsiteX225" fmla="*/ 1378267 w 1543050"/>
                <a:gd name="connsiteY225" fmla="*/ 1088707 h 1390650"/>
                <a:gd name="connsiteX226" fmla="*/ 1352550 w 1543050"/>
                <a:gd name="connsiteY226" fmla="*/ 1087755 h 1390650"/>
                <a:gd name="connsiteX227" fmla="*/ 1323975 w 1543050"/>
                <a:gd name="connsiteY227" fmla="*/ 1091565 h 1390650"/>
                <a:gd name="connsiteX228" fmla="*/ 1318260 w 1543050"/>
                <a:gd name="connsiteY228" fmla="*/ 1091565 h 1390650"/>
                <a:gd name="connsiteX229" fmla="*/ 1314450 w 1543050"/>
                <a:gd name="connsiteY229" fmla="*/ 1089660 h 1390650"/>
                <a:gd name="connsiteX230" fmla="*/ 1312545 w 1543050"/>
                <a:gd name="connsiteY230" fmla="*/ 1087755 h 1390650"/>
                <a:gd name="connsiteX231" fmla="*/ 1309687 w 1543050"/>
                <a:gd name="connsiteY231" fmla="*/ 1083945 h 1390650"/>
                <a:gd name="connsiteX232" fmla="*/ 1305878 w 1543050"/>
                <a:gd name="connsiteY232" fmla="*/ 1077278 h 1390650"/>
                <a:gd name="connsiteX233" fmla="*/ 1303020 w 1543050"/>
                <a:gd name="connsiteY233" fmla="*/ 1073468 h 1390650"/>
                <a:gd name="connsiteX234" fmla="*/ 1300162 w 1543050"/>
                <a:gd name="connsiteY234" fmla="*/ 1072515 h 1390650"/>
                <a:gd name="connsiteX235" fmla="*/ 1288733 w 1543050"/>
                <a:gd name="connsiteY235" fmla="*/ 1068705 h 1390650"/>
                <a:gd name="connsiteX236" fmla="*/ 1285875 w 1543050"/>
                <a:gd name="connsiteY236" fmla="*/ 1066800 h 1390650"/>
                <a:gd name="connsiteX237" fmla="*/ 1282065 w 1543050"/>
                <a:gd name="connsiteY237" fmla="*/ 1063943 h 1390650"/>
                <a:gd name="connsiteX238" fmla="*/ 1278255 w 1543050"/>
                <a:gd name="connsiteY238" fmla="*/ 1062990 h 1390650"/>
                <a:gd name="connsiteX239" fmla="*/ 1257300 w 1543050"/>
                <a:gd name="connsiteY239" fmla="*/ 1062990 h 1390650"/>
                <a:gd name="connsiteX240" fmla="*/ 1251585 w 1543050"/>
                <a:gd name="connsiteY240" fmla="*/ 1062038 h 1390650"/>
                <a:gd name="connsiteX241" fmla="*/ 1247775 w 1543050"/>
                <a:gd name="connsiteY241" fmla="*/ 1060132 h 1390650"/>
                <a:gd name="connsiteX242" fmla="*/ 1245870 w 1543050"/>
                <a:gd name="connsiteY242" fmla="*/ 1059180 h 1390650"/>
                <a:gd name="connsiteX243" fmla="*/ 1241108 w 1543050"/>
                <a:gd name="connsiteY243" fmla="*/ 1058228 h 1390650"/>
                <a:gd name="connsiteX244" fmla="*/ 1239203 w 1543050"/>
                <a:gd name="connsiteY244" fmla="*/ 1057275 h 1390650"/>
                <a:gd name="connsiteX245" fmla="*/ 1235392 w 1543050"/>
                <a:gd name="connsiteY245" fmla="*/ 1053465 h 1390650"/>
                <a:gd name="connsiteX246" fmla="*/ 1233487 w 1543050"/>
                <a:gd name="connsiteY246" fmla="*/ 1052513 h 1390650"/>
                <a:gd name="connsiteX247" fmla="*/ 1230630 w 1543050"/>
                <a:gd name="connsiteY247" fmla="*/ 1052513 h 1390650"/>
                <a:gd name="connsiteX248" fmla="*/ 1228725 w 1543050"/>
                <a:gd name="connsiteY248" fmla="*/ 1053465 h 1390650"/>
                <a:gd name="connsiteX249" fmla="*/ 1227773 w 1543050"/>
                <a:gd name="connsiteY249" fmla="*/ 1057275 h 1390650"/>
                <a:gd name="connsiteX250" fmla="*/ 1227773 w 1543050"/>
                <a:gd name="connsiteY250" fmla="*/ 1068705 h 1390650"/>
                <a:gd name="connsiteX251" fmla="*/ 1227773 w 1543050"/>
                <a:gd name="connsiteY251" fmla="*/ 1071563 h 1390650"/>
                <a:gd name="connsiteX252" fmla="*/ 1225867 w 1543050"/>
                <a:gd name="connsiteY252" fmla="*/ 1078230 h 1390650"/>
                <a:gd name="connsiteX253" fmla="*/ 1223010 w 1543050"/>
                <a:gd name="connsiteY253" fmla="*/ 1082040 h 1390650"/>
                <a:gd name="connsiteX254" fmla="*/ 1220153 w 1543050"/>
                <a:gd name="connsiteY254" fmla="*/ 1083945 h 1390650"/>
                <a:gd name="connsiteX255" fmla="*/ 1216342 w 1543050"/>
                <a:gd name="connsiteY255" fmla="*/ 1084898 h 1390650"/>
                <a:gd name="connsiteX256" fmla="*/ 1197292 w 1543050"/>
                <a:gd name="connsiteY256" fmla="*/ 1086803 h 1390650"/>
                <a:gd name="connsiteX257" fmla="*/ 1192530 w 1543050"/>
                <a:gd name="connsiteY257" fmla="*/ 1085850 h 1390650"/>
                <a:gd name="connsiteX258" fmla="*/ 1188720 w 1543050"/>
                <a:gd name="connsiteY258" fmla="*/ 1083945 h 1390650"/>
                <a:gd name="connsiteX259" fmla="*/ 1185862 w 1543050"/>
                <a:gd name="connsiteY259" fmla="*/ 1076325 h 1390650"/>
                <a:gd name="connsiteX260" fmla="*/ 1183958 w 1543050"/>
                <a:gd name="connsiteY260" fmla="*/ 1074420 h 1390650"/>
                <a:gd name="connsiteX261" fmla="*/ 1182053 w 1543050"/>
                <a:gd name="connsiteY261" fmla="*/ 1073468 h 1390650"/>
                <a:gd name="connsiteX262" fmla="*/ 1179195 w 1543050"/>
                <a:gd name="connsiteY262" fmla="*/ 1073468 h 1390650"/>
                <a:gd name="connsiteX263" fmla="*/ 1167765 w 1543050"/>
                <a:gd name="connsiteY263" fmla="*/ 1074420 h 1390650"/>
                <a:gd name="connsiteX264" fmla="*/ 1149667 w 1543050"/>
                <a:gd name="connsiteY264" fmla="*/ 1079182 h 1390650"/>
                <a:gd name="connsiteX265" fmla="*/ 1145858 w 1543050"/>
                <a:gd name="connsiteY265" fmla="*/ 1081088 h 1390650"/>
                <a:gd name="connsiteX266" fmla="*/ 1142048 w 1543050"/>
                <a:gd name="connsiteY266" fmla="*/ 1085850 h 1390650"/>
                <a:gd name="connsiteX267" fmla="*/ 1140142 w 1543050"/>
                <a:gd name="connsiteY267" fmla="*/ 1089660 h 1390650"/>
                <a:gd name="connsiteX268" fmla="*/ 1133475 w 1543050"/>
                <a:gd name="connsiteY268" fmla="*/ 1108710 h 1390650"/>
                <a:gd name="connsiteX269" fmla="*/ 1132523 w 1543050"/>
                <a:gd name="connsiteY269" fmla="*/ 1110615 h 1390650"/>
                <a:gd name="connsiteX270" fmla="*/ 1129665 w 1543050"/>
                <a:gd name="connsiteY270" fmla="*/ 1112520 h 1390650"/>
                <a:gd name="connsiteX271" fmla="*/ 1125855 w 1543050"/>
                <a:gd name="connsiteY271" fmla="*/ 1113473 h 1390650"/>
                <a:gd name="connsiteX272" fmla="*/ 1111567 w 1543050"/>
                <a:gd name="connsiteY272" fmla="*/ 1112520 h 1390650"/>
                <a:gd name="connsiteX273" fmla="*/ 1081087 w 1543050"/>
                <a:gd name="connsiteY273" fmla="*/ 1101090 h 1390650"/>
                <a:gd name="connsiteX274" fmla="*/ 1075373 w 1543050"/>
                <a:gd name="connsiteY274" fmla="*/ 1101090 h 1390650"/>
                <a:gd name="connsiteX275" fmla="*/ 1068705 w 1543050"/>
                <a:gd name="connsiteY275" fmla="*/ 1102043 h 1390650"/>
                <a:gd name="connsiteX276" fmla="*/ 1064895 w 1543050"/>
                <a:gd name="connsiteY276" fmla="*/ 1103948 h 1390650"/>
                <a:gd name="connsiteX277" fmla="*/ 1062037 w 1543050"/>
                <a:gd name="connsiteY277" fmla="*/ 1105853 h 1390650"/>
                <a:gd name="connsiteX278" fmla="*/ 1057275 w 1543050"/>
                <a:gd name="connsiteY278" fmla="*/ 1109663 h 1390650"/>
                <a:gd name="connsiteX279" fmla="*/ 1055370 w 1543050"/>
                <a:gd name="connsiteY279" fmla="*/ 1113473 h 1390650"/>
                <a:gd name="connsiteX280" fmla="*/ 1054417 w 1543050"/>
                <a:gd name="connsiteY280" fmla="*/ 1117282 h 1390650"/>
                <a:gd name="connsiteX281" fmla="*/ 1048703 w 1543050"/>
                <a:gd name="connsiteY281" fmla="*/ 1131570 h 1390650"/>
                <a:gd name="connsiteX282" fmla="*/ 1043940 w 1543050"/>
                <a:gd name="connsiteY282" fmla="*/ 1141095 h 1390650"/>
                <a:gd name="connsiteX283" fmla="*/ 1042035 w 1543050"/>
                <a:gd name="connsiteY283" fmla="*/ 1143953 h 1390650"/>
                <a:gd name="connsiteX284" fmla="*/ 1039178 w 1543050"/>
                <a:gd name="connsiteY284" fmla="*/ 1147763 h 1390650"/>
                <a:gd name="connsiteX285" fmla="*/ 1035367 w 1543050"/>
                <a:gd name="connsiteY285" fmla="*/ 1150620 h 1390650"/>
                <a:gd name="connsiteX286" fmla="*/ 1025842 w 1543050"/>
                <a:gd name="connsiteY286" fmla="*/ 1154430 h 1390650"/>
                <a:gd name="connsiteX287" fmla="*/ 1009650 w 1543050"/>
                <a:gd name="connsiteY287" fmla="*/ 1159193 h 1390650"/>
                <a:gd name="connsiteX288" fmla="*/ 1003935 w 1543050"/>
                <a:gd name="connsiteY288" fmla="*/ 1159193 h 1390650"/>
                <a:gd name="connsiteX289" fmla="*/ 997267 w 1543050"/>
                <a:gd name="connsiteY289" fmla="*/ 1157288 h 1390650"/>
                <a:gd name="connsiteX290" fmla="*/ 988695 w 1543050"/>
                <a:gd name="connsiteY290" fmla="*/ 1151573 h 1390650"/>
                <a:gd name="connsiteX291" fmla="*/ 982980 w 1543050"/>
                <a:gd name="connsiteY291" fmla="*/ 1150620 h 1390650"/>
                <a:gd name="connsiteX292" fmla="*/ 979170 w 1543050"/>
                <a:gd name="connsiteY292" fmla="*/ 1151573 h 1390650"/>
                <a:gd name="connsiteX293" fmla="*/ 974408 w 1543050"/>
                <a:gd name="connsiteY293" fmla="*/ 1152525 h 1390650"/>
                <a:gd name="connsiteX294" fmla="*/ 965835 w 1543050"/>
                <a:gd name="connsiteY294" fmla="*/ 1159193 h 1390650"/>
                <a:gd name="connsiteX295" fmla="*/ 961072 w 1543050"/>
                <a:gd name="connsiteY295" fmla="*/ 1163955 h 1390650"/>
                <a:gd name="connsiteX296" fmla="*/ 953453 w 1543050"/>
                <a:gd name="connsiteY296" fmla="*/ 1166813 h 1390650"/>
                <a:gd name="connsiteX297" fmla="*/ 926783 w 1543050"/>
                <a:gd name="connsiteY297" fmla="*/ 1165860 h 1390650"/>
                <a:gd name="connsiteX298" fmla="*/ 925830 w 1543050"/>
                <a:gd name="connsiteY298" fmla="*/ 1169670 h 1390650"/>
                <a:gd name="connsiteX299" fmla="*/ 923925 w 1543050"/>
                <a:gd name="connsiteY299" fmla="*/ 1164907 h 1390650"/>
                <a:gd name="connsiteX300" fmla="*/ 918210 w 1543050"/>
                <a:gd name="connsiteY300" fmla="*/ 1154430 h 1390650"/>
                <a:gd name="connsiteX301" fmla="*/ 913447 w 1543050"/>
                <a:gd name="connsiteY301" fmla="*/ 1141095 h 1390650"/>
                <a:gd name="connsiteX302" fmla="*/ 910590 w 1543050"/>
                <a:gd name="connsiteY302" fmla="*/ 1109663 h 1390650"/>
                <a:gd name="connsiteX303" fmla="*/ 921067 w 1543050"/>
                <a:gd name="connsiteY303" fmla="*/ 1084898 h 1390650"/>
                <a:gd name="connsiteX304" fmla="*/ 935355 w 1543050"/>
                <a:gd name="connsiteY304" fmla="*/ 1062990 h 1390650"/>
                <a:gd name="connsiteX305" fmla="*/ 945833 w 1543050"/>
                <a:gd name="connsiteY305" fmla="*/ 1036320 h 1390650"/>
                <a:gd name="connsiteX306" fmla="*/ 948690 w 1543050"/>
                <a:gd name="connsiteY306" fmla="*/ 1021080 h 1390650"/>
                <a:gd name="connsiteX307" fmla="*/ 947737 w 1543050"/>
                <a:gd name="connsiteY307" fmla="*/ 1008697 h 1390650"/>
                <a:gd name="connsiteX308" fmla="*/ 942022 w 1543050"/>
                <a:gd name="connsiteY308" fmla="*/ 1001078 h 1390650"/>
                <a:gd name="connsiteX309" fmla="*/ 916305 w 1543050"/>
                <a:gd name="connsiteY309" fmla="*/ 996315 h 1390650"/>
                <a:gd name="connsiteX310" fmla="*/ 910590 w 1543050"/>
                <a:gd name="connsiteY310" fmla="*/ 989647 h 1390650"/>
                <a:gd name="connsiteX311" fmla="*/ 912495 w 1543050"/>
                <a:gd name="connsiteY311" fmla="*/ 980122 h 1390650"/>
                <a:gd name="connsiteX312" fmla="*/ 927735 w 1543050"/>
                <a:gd name="connsiteY312" fmla="*/ 956310 h 1390650"/>
                <a:gd name="connsiteX313" fmla="*/ 932497 w 1543050"/>
                <a:gd name="connsiteY313" fmla="*/ 947738 h 1390650"/>
                <a:gd name="connsiteX314" fmla="*/ 929640 w 1543050"/>
                <a:gd name="connsiteY314" fmla="*/ 942022 h 1390650"/>
                <a:gd name="connsiteX315" fmla="*/ 915353 w 1543050"/>
                <a:gd name="connsiteY315" fmla="*/ 940118 h 1390650"/>
                <a:gd name="connsiteX316" fmla="*/ 891540 w 1543050"/>
                <a:gd name="connsiteY316" fmla="*/ 944880 h 1390650"/>
                <a:gd name="connsiteX317" fmla="*/ 882015 w 1543050"/>
                <a:gd name="connsiteY317" fmla="*/ 943928 h 1390650"/>
                <a:gd name="connsiteX318" fmla="*/ 873442 w 1543050"/>
                <a:gd name="connsiteY318" fmla="*/ 934403 h 1390650"/>
                <a:gd name="connsiteX319" fmla="*/ 888683 w 1543050"/>
                <a:gd name="connsiteY319" fmla="*/ 902018 h 1390650"/>
                <a:gd name="connsiteX320" fmla="*/ 890587 w 1543050"/>
                <a:gd name="connsiteY320" fmla="*/ 882968 h 1390650"/>
                <a:gd name="connsiteX321" fmla="*/ 882967 w 1543050"/>
                <a:gd name="connsiteY321" fmla="*/ 862965 h 1390650"/>
                <a:gd name="connsiteX322" fmla="*/ 875347 w 1543050"/>
                <a:gd name="connsiteY322" fmla="*/ 856297 h 1390650"/>
                <a:gd name="connsiteX323" fmla="*/ 868680 w 1543050"/>
                <a:gd name="connsiteY323" fmla="*/ 854393 h 1390650"/>
                <a:gd name="connsiteX324" fmla="*/ 862965 w 1543050"/>
                <a:gd name="connsiteY324" fmla="*/ 851535 h 1390650"/>
                <a:gd name="connsiteX325" fmla="*/ 859155 w 1543050"/>
                <a:gd name="connsiteY325" fmla="*/ 839153 h 1390650"/>
                <a:gd name="connsiteX326" fmla="*/ 857250 w 1543050"/>
                <a:gd name="connsiteY326" fmla="*/ 824865 h 1390650"/>
                <a:gd name="connsiteX327" fmla="*/ 857250 w 1543050"/>
                <a:gd name="connsiteY327" fmla="*/ 816293 h 1390650"/>
                <a:gd name="connsiteX328" fmla="*/ 855345 w 1543050"/>
                <a:gd name="connsiteY328" fmla="*/ 810578 h 1390650"/>
                <a:gd name="connsiteX329" fmla="*/ 847725 w 1543050"/>
                <a:gd name="connsiteY329" fmla="*/ 802005 h 1390650"/>
                <a:gd name="connsiteX330" fmla="*/ 817245 w 1543050"/>
                <a:gd name="connsiteY330" fmla="*/ 787718 h 1390650"/>
                <a:gd name="connsiteX331" fmla="*/ 811530 w 1543050"/>
                <a:gd name="connsiteY331" fmla="*/ 778193 h 1390650"/>
                <a:gd name="connsiteX332" fmla="*/ 814387 w 1543050"/>
                <a:gd name="connsiteY332" fmla="*/ 762000 h 1390650"/>
                <a:gd name="connsiteX333" fmla="*/ 813435 w 1543050"/>
                <a:gd name="connsiteY333" fmla="*/ 756285 h 1390650"/>
                <a:gd name="connsiteX334" fmla="*/ 808672 w 1543050"/>
                <a:gd name="connsiteY334" fmla="*/ 754380 h 1390650"/>
                <a:gd name="connsiteX335" fmla="*/ 806767 w 1543050"/>
                <a:gd name="connsiteY335" fmla="*/ 757238 h 1390650"/>
                <a:gd name="connsiteX336" fmla="*/ 799147 w 1543050"/>
                <a:gd name="connsiteY336" fmla="*/ 770572 h 1390650"/>
                <a:gd name="connsiteX337" fmla="*/ 797242 w 1543050"/>
                <a:gd name="connsiteY337" fmla="*/ 775335 h 1390650"/>
                <a:gd name="connsiteX338" fmla="*/ 800100 w 1543050"/>
                <a:gd name="connsiteY338" fmla="*/ 783907 h 1390650"/>
                <a:gd name="connsiteX339" fmla="*/ 808672 w 1543050"/>
                <a:gd name="connsiteY339" fmla="*/ 793432 h 1390650"/>
                <a:gd name="connsiteX340" fmla="*/ 819150 w 1543050"/>
                <a:gd name="connsiteY340" fmla="*/ 800100 h 1390650"/>
                <a:gd name="connsiteX341" fmla="*/ 842010 w 1543050"/>
                <a:gd name="connsiteY341" fmla="*/ 805815 h 1390650"/>
                <a:gd name="connsiteX342" fmla="*/ 847725 w 1543050"/>
                <a:gd name="connsiteY342" fmla="*/ 815340 h 1390650"/>
                <a:gd name="connsiteX343" fmla="*/ 847725 w 1543050"/>
                <a:gd name="connsiteY343" fmla="*/ 860107 h 1390650"/>
                <a:gd name="connsiteX344" fmla="*/ 849630 w 1543050"/>
                <a:gd name="connsiteY344" fmla="*/ 864870 h 1390650"/>
                <a:gd name="connsiteX345" fmla="*/ 862965 w 1543050"/>
                <a:gd name="connsiteY345" fmla="*/ 867728 h 1390650"/>
                <a:gd name="connsiteX346" fmla="*/ 866775 w 1543050"/>
                <a:gd name="connsiteY346" fmla="*/ 871538 h 1390650"/>
                <a:gd name="connsiteX347" fmla="*/ 868680 w 1543050"/>
                <a:gd name="connsiteY347" fmla="*/ 874395 h 1390650"/>
                <a:gd name="connsiteX348" fmla="*/ 871537 w 1543050"/>
                <a:gd name="connsiteY348" fmla="*/ 876300 h 1390650"/>
                <a:gd name="connsiteX349" fmla="*/ 878205 w 1543050"/>
                <a:gd name="connsiteY349" fmla="*/ 882015 h 1390650"/>
                <a:gd name="connsiteX350" fmla="*/ 874395 w 1543050"/>
                <a:gd name="connsiteY350" fmla="*/ 895350 h 1390650"/>
                <a:gd name="connsiteX351" fmla="*/ 866775 w 1543050"/>
                <a:gd name="connsiteY351" fmla="*/ 908685 h 1390650"/>
                <a:gd name="connsiteX352" fmla="*/ 862965 w 1543050"/>
                <a:gd name="connsiteY352" fmla="*/ 913447 h 1390650"/>
                <a:gd name="connsiteX353" fmla="*/ 859155 w 1543050"/>
                <a:gd name="connsiteY353" fmla="*/ 948690 h 1390650"/>
                <a:gd name="connsiteX354" fmla="*/ 875347 w 1543050"/>
                <a:gd name="connsiteY354" fmla="*/ 956310 h 1390650"/>
                <a:gd name="connsiteX355" fmla="*/ 899160 w 1543050"/>
                <a:gd name="connsiteY355" fmla="*/ 952500 h 1390650"/>
                <a:gd name="connsiteX356" fmla="*/ 916305 w 1543050"/>
                <a:gd name="connsiteY356" fmla="*/ 955357 h 1390650"/>
                <a:gd name="connsiteX357" fmla="*/ 901065 w 1543050"/>
                <a:gd name="connsiteY357" fmla="*/ 973455 h 1390650"/>
                <a:gd name="connsiteX358" fmla="*/ 894397 w 1543050"/>
                <a:gd name="connsiteY358" fmla="*/ 985838 h 1390650"/>
                <a:gd name="connsiteX359" fmla="*/ 891540 w 1543050"/>
                <a:gd name="connsiteY359" fmla="*/ 998220 h 1390650"/>
                <a:gd name="connsiteX360" fmla="*/ 896303 w 1543050"/>
                <a:gd name="connsiteY360" fmla="*/ 1011555 h 1390650"/>
                <a:gd name="connsiteX361" fmla="*/ 905828 w 1543050"/>
                <a:gd name="connsiteY361" fmla="*/ 1014413 h 1390650"/>
                <a:gd name="connsiteX362" fmla="*/ 917258 w 1543050"/>
                <a:gd name="connsiteY362" fmla="*/ 1010603 h 1390650"/>
                <a:gd name="connsiteX363" fmla="*/ 927735 w 1543050"/>
                <a:gd name="connsiteY363" fmla="*/ 1003935 h 1390650"/>
                <a:gd name="connsiteX364" fmla="*/ 930592 w 1543050"/>
                <a:gd name="connsiteY364" fmla="*/ 1020128 h 1390650"/>
                <a:gd name="connsiteX365" fmla="*/ 924878 w 1543050"/>
                <a:gd name="connsiteY365" fmla="*/ 1042988 h 1390650"/>
                <a:gd name="connsiteX366" fmla="*/ 915353 w 1543050"/>
                <a:gd name="connsiteY366" fmla="*/ 1063943 h 1390650"/>
                <a:gd name="connsiteX367" fmla="*/ 903922 w 1543050"/>
                <a:gd name="connsiteY367" fmla="*/ 1072515 h 1390650"/>
                <a:gd name="connsiteX368" fmla="*/ 891540 w 1543050"/>
                <a:gd name="connsiteY368" fmla="*/ 1076325 h 1390650"/>
                <a:gd name="connsiteX369" fmla="*/ 880110 w 1543050"/>
                <a:gd name="connsiteY369" fmla="*/ 1087755 h 1390650"/>
                <a:gd name="connsiteX370" fmla="*/ 873442 w 1543050"/>
                <a:gd name="connsiteY370" fmla="*/ 1104900 h 1390650"/>
                <a:gd name="connsiteX371" fmla="*/ 873442 w 1543050"/>
                <a:gd name="connsiteY371" fmla="*/ 1124903 h 1390650"/>
                <a:gd name="connsiteX372" fmla="*/ 893445 w 1543050"/>
                <a:gd name="connsiteY372" fmla="*/ 1151573 h 1390650"/>
                <a:gd name="connsiteX373" fmla="*/ 895350 w 1543050"/>
                <a:gd name="connsiteY373" fmla="*/ 1157288 h 1390650"/>
                <a:gd name="connsiteX374" fmla="*/ 891540 w 1543050"/>
                <a:gd name="connsiteY374" fmla="*/ 1191578 h 1390650"/>
                <a:gd name="connsiteX375" fmla="*/ 893445 w 1543050"/>
                <a:gd name="connsiteY375" fmla="*/ 1203960 h 1390650"/>
                <a:gd name="connsiteX376" fmla="*/ 895350 w 1543050"/>
                <a:gd name="connsiteY376" fmla="*/ 1210628 h 1390650"/>
                <a:gd name="connsiteX377" fmla="*/ 896303 w 1543050"/>
                <a:gd name="connsiteY377" fmla="*/ 1215390 h 1390650"/>
                <a:gd name="connsiteX378" fmla="*/ 891540 w 1543050"/>
                <a:gd name="connsiteY378" fmla="*/ 1224915 h 1390650"/>
                <a:gd name="connsiteX379" fmla="*/ 887730 w 1543050"/>
                <a:gd name="connsiteY379" fmla="*/ 1229678 h 1390650"/>
                <a:gd name="connsiteX380" fmla="*/ 876300 w 1543050"/>
                <a:gd name="connsiteY380" fmla="*/ 1238250 h 1390650"/>
                <a:gd name="connsiteX381" fmla="*/ 869633 w 1543050"/>
                <a:gd name="connsiteY381" fmla="*/ 1241107 h 1390650"/>
                <a:gd name="connsiteX382" fmla="*/ 846772 w 1543050"/>
                <a:gd name="connsiteY382" fmla="*/ 1245870 h 1390650"/>
                <a:gd name="connsiteX383" fmla="*/ 823912 w 1543050"/>
                <a:gd name="connsiteY383" fmla="*/ 1242060 h 1390650"/>
                <a:gd name="connsiteX384" fmla="*/ 772478 w 1543050"/>
                <a:gd name="connsiteY384" fmla="*/ 1222057 h 1390650"/>
                <a:gd name="connsiteX385" fmla="*/ 741045 w 1543050"/>
                <a:gd name="connsiteY385" fmla="*/ 1224915 h 1390650"/>
                <a:gd name="connsiteX386" fmla="*/ 732472 w 1543050"/>
                <a:gd name="connsiteY386" fmla="*/ 1230630 h 1390650"/>
                <a:gd name="connsiteX387" fmla="*/ 727710 w 1543050"/>
                <a:gd name="connsiteY387" fmla="*/ 1241107 h 1390650"/>
                <a:gd name="connsiteX388" fmla="*/ 722947 w 1543050"/>
                <a:gd name="connsiteY388" fmla="*/ 1249680 h 1390650"/>
                <a:gd name="connsiteX389" fmla="*/ 710565 w 1543050"/>
                <a:gd name="connsiteY389" fmla="*/ 1251585 h 1390650"/>
                <a:gd name="connsiteX390" fmla="*/ 706755 w 1543050"/>
                <a:gd name="connsiteY390" fmla="*/ 1249680 h 1390650"/>
                <a:gd name="connsiteX391" fmla="*/ 699135 w 1543050"/>
                <a:gd name="connsiteY391" fmla="*/ 1242060 h 1390650"/>
                <a:gd name="connsiteX392" fmla="*/ 694372 w 1543050"/>
                <a:gd name="connsiteY392" fmla="*/ 1241107 h 1390650"/>
                <a:gd name="connsiteX393" fmla="*/ 682942 w 1543050"/>
                <a:gd name="connsiteY393" fmla="*/ 1242060 h 1390650"/>
                <a:gd name="connsiteX394" fmla="*/ 677228 w 1543050"/>
                <a:gd name="connsiteY394" fmla="*/ 1241107 h 1390650"/>
                <a:gd name="connsiteX395" fmla="*/ 673417 w 1543050"/>
                <a:gd name="connsiteY395" fmla="*/ 1238250 h 1390650"/>
                <a:gd name="connsiteX396" fmla="*/ 670560 w 1543050"/>
                <a:gd name="connsiteY396" fmla="*/ 1227773 h 1390650"/>
                <a:gd name="connsiteX397" fmla="*/ 676275 w 1543050"/>
                <a:gd name="connsiteY397" fmla="*/ 1214438 h 1390650"/>
                <a:gd name="connsiteX398" fmla="*/ 704850 w 1543050"/>
                <a:gd name="connsiteY398" fmla="*/ 1164907 h 1390650"/>
                <a:gd name="connsiteX399" fmla="*/ 712470 w 1543050"/>
                <a:gd name="connsiteY399" fmla="*/ 1148715 h 1390650"/>
                <a:gd name="connsiteX400" fmla="*/ 712470 w 1543050"/>
                <a:gd name="connsiteY400" fmla="*/ 1141095 h 1390650"/>
                <a:gd name="connsiteX401" fmla="*/ 719137 w 1543050"/>
                <a:gd name="connsiteY401" fmla="*/ 1135380 h 1390650"/>
                <a:gd name="connsiteX402" fmla="*/ 742950 w 1543050"/>
                <a:gd name="connsiteY402" fmla="*/ 1099185 h 1390650"/>
                <a:gd name="connsiteX403" fmla="*/ 737235 w 1543050"/>
                <a:gd name="connsiteY403" fmla="*/ 1089660 h 1390650"/>
                <a:gd name="connsiteX404" fmla="*/ 732472 w 1543050"/>
                <a:gd name="connsiteY404" fmla="*/ 1093470 h 1390650"/>
                <a:gd name="connsiteX405" fmla="*/ 728662 w 1543050"/>
                <a:gd name="connsiteY405" fmla="*/ 1104900 h 1390650"/>
                <a:gd name="connsiteX406" fmla="*/ 724853 w 1543050"/>
                <a:gd name="connsiteY406" fmla="*/ 1114425 h 1390650"/>
                <a:gd name="connsiteX407" fmla="*/ 721042 w 1543050"/>
                <a:gd name="connsiteY407" fmla="*/ 1117282 h 1390650"/>
                <a:gd name="connsiteX408" fmla="*/ 711517 w 1543050"/>
                <a:gd name="connsiteY408" fmla="*/ 1122045 h 1390650"/>
                <a:gd name="connsiteX409" fmla="*/ 706755 w 1543050"/>
                <a:gd name="connsiteY409" fmla="*/ 1124903 h 1390650"/>
                <a:gd name="connsiteX410" fmla="*/ 703897 w 1543050"/>
                <a:gd name="connsiteY410" fmla="*/ 1128713 h 1390650"/>
                <a:gd name="connsiteX411" fmla="*/ 693420 w 1543050"/>
                <a:gd name="connsiteY411" fmla="*/ 1144905 h 1390650"/>
                <a:gd name="connsiteX412" fmla="*/ 693420 w 1543050"/>
                <a:gd name="connsiteY412" fmla="*/ 1147763 h 1390650"/>
                <a:gd name="connsiteX413" fmla="*/ 691515 w 1543050"/>
                <a:gd name="connsiteY413" fmla="*/ 1149668 h 1390650"/>
                <a:gd name="connsiteX414" fmla="*/ 684847 w 1543050"/>
                <a:gd name="connsiteY414" fmla="*/ 1151573 h 1390650"/>
                <a:gd name="connsiteX415" fmla="*/ 678180 w 1543050"/>
                <a:gd name="connsiteY415" fmla="*/ 1147763 h 1390650"/>
                <a:gd name="connsiteX416" fmla="*/ 671512 w 1543050"/>
                <a:gd name="connsiteY416" fmla="*/ 1141095 h 1390650"/>
                <a:gd name="connsiteX417" fmla="*/ 663892 w 1543050"/>
                <a:gd name="connsiteY417" fmla="*/ 1122045 h 1390650"/>
                <a:gd name="connsiteX418" fmla="*/ 658178 w 1543050"/>
                <a:gd name="connsiteY418" fmla="*/ 1112520 h 1390650"/>
                <a:gd name="connsiteX419" fmla="*/ 649605 w 1543050"/>
                <a:gd name="connsiteY419" fmla="*/ 1108710 h 1390650"/>
                <a:gd name="connsiteX420" fmla="*/ 655320 w 1543050"/>
                <a:gd name="connsiteY420" fmla="*/ 1128713 h 1390650"/>
                <a:gd name="connsiteX421" fmla="*/ 656272 w 1543050"/>
                <a:gd name="connsiteY421" fmla="*/ 1133475 h 1390650"/>
                <a:gd name="connsiteX422" fmla="*/ 657225 w 1543050"/>
                <a:gd name="connsiteY422" fmla="*/ 1144905 h 1390650"/>
                <a:gd name="connsiteX423" fmla="*/ 661035 w 1543050"/>
                <a:gd name="connsiteY423" fmla="*/ 1148715 h 1390650"/>
                <a:gd name="connsiteX424" fmla="*/ 665797 w 1543050"/>
                <a:gd name="connsiteY424" fmla="*/ 1151573 h 1390650"/>
                <a:gd name="connsiteX425" fmla="*/ 681990 w 1543050"/>
                <a:gd name="connsiteY425" fmla="*/ 1164907 h 1390650"/>
                <a:gd name="connsiteX426" fmla="*/ 683895 w 1543050"/>
                <a:gd name="connsiteY426" fmla="*/ 1170623 h 1390650"/>
                <a:gd name="connsiteX427" fmla="*/ 680085 w 1543050"/>
                <a:gd name="connsiteY427" fmla="*/ 1181100 h 1390650"/>
                <a:gd name="connsiteX428" fmla="*/ 670560 w 1543050"/>
                <a:gd name="connsiteY428" fmla="*/ 1196340 h 1390650"/>
                <a:gd name="connsiteX429" fmla="*/ 669608 w 1543050"/>
                <a:gd name="connsiteY429" fmla="*/ 1199198 h 1390650"/>
                <a:gd name="connsiteX430" fmla="*/ 661035 w 1543050"/>
                <a:gd name="connsiteY430" fmla="*/ 1205865 h 1390650"/>
                <a:gd name="connsiteX431" fmla="*/ 642937 w 1543050"/>
                <a:gd name="connsiteY431" fmla="*/ 1234440 h 1390650"/>
                <a:gd name="connsiteX432" fmla="*/ 636270 w 1543050"/>
                <a:gd name="connsiteY432" fmla="*/ 1241107 h 1390650"/>
                <a:gd name="connsiteX433" fmla="*/ 626745 w 1543050"/>
                <a:gd name="connsiteY433" fmla="*/ 1243013 h 1390650"/>
                <a:gd name="connsiteX434" fmla="*/ 602932 w 1543050"/>
                <a:gd name="connsiteY434" fmla="*/ 1256348 h 1390650"/>
                <a:gd name="connsiteX435" fmla="*/ 595313 w 1543050"/>
                <a:gd name="connsiteY435" fmla="*/ 1262063 h 1390650"/>
                <a:gd name="connsiteX436" fmla="*/ 587692 w 1543050"/>
                <a:gd name="connsiteY436" fmla="*/ 1258253 h 1390650"/>
                <a:gd name="connsiteX437" fmla="*/ 573405 w 1543050"/>
                <a:gd name="connsiteY437" fmla="*/ 1256348 h 1390650"/>
                <a:gd name="connsiteX438" fmla="*/ 566738 w 1543050"/>
                <a:gd name="connsiteY438" fmla="*/ 1251585 h 1390650"/>
                <a:gd name="connsiteX439" fmla="*/ 562928 w 1543050"/>
                <a:gd name="connsiteY439" fmla="*/ 1257300 h 1390650"/>
                <a:gd name="connsiteX440" fmla="*/ 552450 w 1543050"/>
                <a:gd name="connsiteY440" fmla="*/ 1250632 h 1390650"/>
                <a:gd name="connsiteX441" fmla="*/ 516255 w 1543050"/>
                <a:gd name="connsiteY441" fmla="*/ 1241107 h 1390650"/>
                <a:gd name="connsiteX442" fmla="*/ 508635 w 1543050"/>
                <a:gd name="connsiteY442" fmla="*/ 1198245 h 1390650"/>
                <a:gd name="connsiteX443" fmla="*/ 508635 w 1543050"/>
                <a:gd name="connsiteY443" fmla="*/ 1183957 h 1390650"/>
                <a:gd name="connsiteX444" fmla="*/ 509588 w 1543050"/>
                <a:gd name="connsiteY444" fmla="*/ 1180148 h 1390650"/>
                <a:gd name="connsiteX445" fmla="*/ 511492 w 1543050"/>
                <a:gd name="connsiteY445" fmla="*/ 1175385 h 1390650"/>
                <a:gd name="connsiteX446" fmla="*/ 510540 w 1543050"/>
                <a:gd name="connsiteY446" fmla="*/ 1170623 h 1390650"/>
                <a:gd name="connsiteX447" fmla="*/ 510540 w 1543050"/>
                <a:gd name="connsiteY447" fmla="*/ 1165860 h 1390650"/>
                <a:gd name="connsiteX448" fmla="*/ 507682 w 1543050"/>
                <a:gd name="connsiteY448" fmla="*/ 1158240 h 1390650"/>
                <a:gd name="connsiteX449" fmla="*/ 503872 w 1543050"/>
                <a:gd name="connsiteY449" fmla="*/ 1097280 h 1390650"/>
                <a:gd name="connsiteX450" fmla="*/ 502920 w 1543050"/>
                <a:gd name="connsiteY450" fmla="*/ 1089660 h 1390650"/>
                <a:gd name="connsiteX451" fmla="*/ 493395 w 1543050"/>
                <a:gd name="connsiteY451" fmla="*/ 1082040 h 1390650"/>
                <a:gd name="connsiteX452" fmla="*/ 485775 w 1543050"/>
                <a:gd name="connsiteY452" fmla="*/ 1078230 h 1390650"/>
                <a:gd name="connsiteX453" fmla="*/ 481965 w 1543050"/>
                <a:gd name="connsiteY453" fmla="*/ 1073468 h 1390650"/>
                <a:gd name="connsiteX454" fmla="*/ 476250 w 1543050"/>
                <a:gd name="connsiteY454" fmla="*/ 1060132 h 1390650"/>
                <a:gd name="connsiteX455" fmla="*/ 472440 w 1543050"/>
                <a:gd name="connsiteY455" fmla="*/ 1053465 h 1390650"/>
                <a:gd name="connsiteX456" fmla="*/ 469582 w 1543050"/>
                <a:gd name="connsiteY456" fmla="*/ 1049655 h 1390650"/>
                <a:gd name="connsiteX457" fmla="*/ 446722 w 1543050"/>
                <a:gd name="connsiteY457" fmla="*/ 1034415 h 1390650"/>
                <a:gd name="connsiteX458" fmla="*/ 443865 w 1543050"/>
                <a:gd name="connsiteY458" fmla="*/ 1028700 h 1390650"/>
                <a:gd name="connsiteX459" fmla="*/ 439103 w 1543050"/>
                <a:gd name="connsiteY459" fmla="*/ 1019175 h 1390650"/>
                <a:gd name="connsiteX460" fmla="*/ 434340 w 1543050"/>
                <a:gd name="connsiteY460" fmla="*/ 1002982 h 1390650"/>
                <a:gd name="connsiteX461" fmla="*/ 434340 w 1543050"/>
                <a:gd name="connsiteY461" fmla="*/ 995363 h 1390650"/>
                <a:gd name="connsiteX462" fmla="*/ 435292 w 1543050"/>
                <a:gd name="connsiteY462" fmla="*/ 991553 h 1390650"/>
                <a:gd name="connsiteX463" fmla="*/ 437197 w 1543050"/>
                <a:gd name="connsiteY463" fmla="*/ 991553 h 1390650"/>
                <a:gd name="connsiteX464" fmla="*/ 463867 w 1543050"/>
                <a:gd name="connsiteY464" fmla="*/ 989647 h 1390650"/>
                <a:gd name="connsiteX465" fmla="*/ 467678 w 1543050"/>
                <a:gd name="connsiteY465" fmla="*/ 986790 h 1390650"/>
                <a:gd name="connsiteX466" fmla="*/ 473392 w 1543050"/>
                <a:gd name="connsiteY466" fmla="*/ 977265 h 1390650"/>
                <a:gd name="connsiteX467" fmla="*/ 475297 w 1543050"/>
                <a:gd name="connsiteY467" fmla="*/ 975360 h 1390650"/>
                <a:gd name="connsiteX468" fmla="*/ 477203 w 1543050"/>
                <a:gd name="connsiteY468" fmla="*/ 974407 h 1390650"/>
                <a:gd name="connsiteX469" fmla="*/ 482917 w 1543050"/>
                <a:gd name="connsiteY469" fmla="*/ 974407 h 1390650"/>
                <a:gd name="connsiteX470" fmla="*/ 484822 w 1543050"/>
                <a:gd name="connsiteY470" fmla="*/ 975360 h 1390650"/>
                <a:gd name="connsiteX471" fmla="*/ 488632 w 1543050"/>
                <a:gd name="connsiteY471" fmla="*/ 978218 h 1390650"/>
                <a:gd name="connsiteX472" fmla="*/ 490538 w 1543050"/>
                <a:gd name="connsiteY472" fmla="*/ 979170 h 1390650"/>
                <a:gd name="connsiteX473" fmla="*/ 498157 w 1543050"/>
                <a:gd name="connsiteY473" fmla="*/ 977265 h 1390650"/>
                <a:gd name="connsiteX474" fmla="*/ 530542 w 1543050"/>
                <a:gd name="connsiteY474" fmla="*/ 974407 h 1390650"/>
                <a:gd name="connsiteX475" fmla="*/ 533400 w 1543050"/>
                <a:gd name="connsiteY475" fmla="*/ 974407 h 1390650"/>
                <a:gd name="connsiteX476" fmla="*/ 535305 w 1543050"/>
                <a:gd name="connsiteY476" fmla="*/ 972503 h 1390650"/>
                <a:gd name="connsiteX477" fmla="*/ 538163 w 1543050"/>
                <a:gd name="connsiteY477" fmla="*/ 965835 h 1390650"/>
                <a:gd name="connsiteX478" fmla="*/ 540067 w 1543050"/>
                <a:gd name="connsiteY478" fmla="*/ 962978 h 1390650"/>
                <a:gd name="connsiteX479" fmla="*/ 541972 w 1543050"/>
                <a:gd name="connsiteY479" fmla="*/ 962025 h 1390650"/>
                <a:gd name="connsiteX480" fmla="*/ 552450 w 1543050"/>
                <a:gd name="connsiteY480" fmla="*/ 956310 h 1390650"/>
                <a:gd name="connsiteX481" fmla="*/ 555307 w 1543050"/>
                <a:gd name="connsiteY481" fmla="*/ 953453 h 1390650"/>
                <a:gd name="connsiteX482" fmla="*/ 558165 w 1543050"/>
                <a:gd name="connsiteY482" fmla="*/ 943928 h 1390650"/>
                <a:gd name="connsiteX483" fmla="*/ 561022 w 1543050"/>
                <a:gd name="connsiteY483" fmla="*/ 932497 h 1390650"/>
                <a:gd name="connsiteX484" fmla="*/ 563880 w 1543050"/>
                <a:gd name="connsiteY484" fmla="*/ 927735 h 1390650"/>
                <a:gd name="connsiteX485" fmla="*/ 566738 w 1543050"/>
                <a:gd name="connsiteY485" fmla="*/ 923925 h 1390650"/>
                <a:gd name="connsiteX486" fmla="*/ 569595 w 1543050"/>
                <a:gd name="connsiteY486" fmla="*/ 921068 h 1390650"/>
                <a:gd name="connsiteX487" fmla="*/ 572453 w 1543050"/>
                <a:gd name="connsiteY487" fmla="*/ 916305 h 1390650"/>
                <a:gd name="connsiteX488" fmla="*/ 573405 w 1543050"/>
                <a:gd name="connsiteY488" fmla="*/ 911543 h 1390650"/>
                <a:gd name="connsiteX489" fmla="*/ 573405 w 1543050"/>
                <a:gd name="connsiteY489" fmla="*/ 905828 h 1390650"/>
                <a:gd name="connsiteX490" fmla="*/ 573405 w 1543050"/>
                <a:gd name="connsiteY490" fmla="*/ 898207 h 1390650"/>
                <a:gd name="connsiteX491" fmla="*/ 579120 w 1543050"/>
                <a:gd name="connsiteY491" fmla="*/ 884872 h 1390650"/>
                <a:gd name="connsiteX492" fmla="*/ 578167 w 1543050"/>
                <a:gd name="connsiteY492" fmla="*/ 879157 h 1390650"/>
                <a:gd name="connsiteX493" fmla="*/ 577215 w 1543050"/>
                <a:gd name="connsiteY493" fmla="*/ 876300 h 1390650"/>
                <a:gd name="connsiteX494" fmla="*/ 575310 w 1543050"/>
                <a:gd name="connsiteY494" fmla="*/ 874395 h 1390650"/>
                <a:gd name="connsiteX495" fmla="*/ 573405 w 1543050"/>
                <a:gd name="connsiteY495" fmla="*/ 873443 h 1390650"/>
                <a:gd name="connsiteX496" fmla="*/ 563880 w 1543050"/>
                <a:gd name="connsiteY496" fmla="*/ 872490 h 1390650"/>
                <a:gd name="connsiteX497" fmla="*/ 561022 w 1543050"/>
                <a:gd name="connsiteY497" fmla="*/ 871538 h 1390650"/>
                <a:gd name="connsiteX498" fmla="*/ 559117 w 1543050"/>
                <a:gd name="connsiteY498" fmla="*/ 869632 h 1390650"/>
                <a:gd name="connsiteX499" fmla="*/ 557213 w 1543050"/>
                <a:gd name="connsiteY499" fmla="*/ 865822 h 1390650"/>
                <a:gd name="connsiteX500" fmla="*/ 556260 w 1543050"/>
                <a:gd name="connsiteY500" fmla="*/ 860107 h 1390650"/>
                <a:gd name="connsiteX501" fmla="*/ 552450 w 1543050"/>
                <a:gd name="connsiteY501" fmla="*/ 853440 h 1390650"/>
                <a:gd name="connsiteX502" fmla="*/ 551497 w 1543050"/>
                <a:gd name="connsiteY502" fmla="*/ 851535 h 1390650"/>
                <a:gd name="connsiteX503" fmla="*/ 545782 w 1543050"/>
                <a:gd name="connsiteY503" fmla="*/ 845820 h 1390650"/>
                <a:gd name="connsiteX504" fmla="*/ 541972 w 1543050"/>
                <a:gd name="connsiteY504" fmla="*/ 840105 h 1390650"/>
                <a:gd name="connsiteX505" fmla="*/ 539115 w 1543050"/>
                <a:gd name="connsiteY505" fmla="*/ 832485 h 1390650"/>
                <a:gd name="connsiteX506" fmla="*/ 537210 w 1543050"/>
                <a:gd name="connsiteY506" fmla="*/ 828675 h 1390650"/>
                <a:gd name="connsiteX507" fmla="*/ 535305 w 1543050"/>
                <a:gd name="connsiteY507" fmla="*/ 826770 h 1390650"/>
                <a:gd name="connsiteX508" fmla="*/ 529590 w 1543050"/>
                <a:gd name="connsiteY508" fmla="*/ 826770 h 1390650"/>
                <a:gd name="connsiteX509" fmla="*/ 524828 w 1543050"/>
                <a:gd name="connsiteY509" fmla="*/ 828675 h 1390650"/>
                <a:gd name="connsiteX510" fmla="*/ 518160 w 1543050"/>
                <a:gd name="connsiteY510" fmla="*/ 831532 h 1390650"/>
                <a:gd name="connsiteX511" fmla="*/ 513397 w 1543050"/>
                <a:gd name="connsiteY511" fmla="*/ 832485 h 1390650"/>
                <a:gd name="connsiteX512" fmla="*/ 508635 w 1543050"/>
                <a:gd name="connsiteY512" fmla="*/ 830580 h 1390650"/>
                <a:gd name="connsiteX513" fmla="*/ 502920 w 1543050"/>
                <a:gd name="connsiteY513" fmla="*/ 825818 h 1390650"/>
                <a:gd name="connsiteX514" fmla="*/ 498157 w 1543050"/>
                <a:gd name="connsiteY514" fmla="*/ 822960 h 1390650"/>
                <a:gd name="connsiteX515" fmla="*/ 485775 w 1543050"/>
                <a:gd name="connsiteY515" fmla="*/ 820103 h 1390650"/>
                <a:gd name="connsiteX516" fmla="*/ 482917 w 1543050"/>
                <a:gd name="connsiteY516" fmla="*/ 819150 h 1390650"/>
                <a:gd name="connsiteX517" fmla="*/ 481013 w 1543050"/>
                <a:gd name="connsiteY517" fmla="*/ 816293 h 1390650"/>
                <a:gd name="connsiteX518" fmla="*/ 479107 w 1543050"/>
                <a:gd name="connsiteY518" fmla="*/ 813435 h 1390650"/>
                <a:gd name="connsiteX519" fmla="*/ 478155 w 1543050"/>
                <a:gd name="connsiteY519" fmla="*/ 807720 h 1390650"/>
                <a:gd name="connsiteX520" fmla="*/ 478155 w 1543050"/>
                <a:gd name="connsiteY520" fmla="*/ 801053 h 1390650"/>
                <a:gd name="connsiteX521" fmla="*/ 479107 w 1543050"/>
                <a:gd name="connsiteY521" fmla="*/ 794385 h 1390650"/>
                <a:gd name="connsiteX522" fmla="*/ 481013 w 1543050"/>
                <a:gd name="connsiteY522" fmla="*/ 792480 h 1390650"/>
                <a:gd name="connsiteX523" fmla="*/ 485775 w 1543050"/>
                <a:gd name="connsiteY523" fmla="*/ 790575 h 1390650"/>
                <a:gd name="connsiteX524" fmla="*/ 490538 w 1543050"/>
                <a:gd name="connsiteY524" fmla="*/ 788670 h 1390650"/>
                <a:gd name="connsiteX525" fmla="*/ 495300 w 1543050"/>
                <a:gd name="connsiteY525" fmla="*/ 786765 h 1390650"/>
                <a:gd name="connsiteX526" fmla="*/ 497205 w 1543050"/>
                <a:gd name="connsiteY526" fmla="*/ 784860 h 1390650"/>
                <a:gd name="connsiteX527" fmla="*/ 504825 w 1543050"/>
                <a:gd name="connsiteY527" fmla="*/ 777240 h 1390650"/>
                <a:gd name="connsiteX528" fmla="*/ 505778 w 1543050"/>
                <a:gd name="connsiteY528" fmla="*/ 774382 h 1390650"/>
                <a:gd name="connsiteX529" fmla="*/ 507682 w 1543050"/>
                <a:gd name="connsiteY529" fmla="*/ 768668 h 1390650"/>
                <a:gd name="connsiteX530" fmla="*/ 506730 w 1543050"/>
                <a:gd name="connsiteY530" fmla="*/ 762000 h 1390650"/>
                <a:gd name="connsiteX531" fmla="*/ 505778 w 1543050"/>
                <a:gd name="connsiteY531" fmla="*/ 757238 h 1390650"/>
                <a:gd name="connsiteX532" fmla="*/ 501967 w 1543050"/>
                <a:gd name="connsiteY532" fmla="*/ 748665 h 1390650"/>
                <a:gd name="connsiteX533" fmla="*/ 498157 w 1543050"/>
                <a:gd name="connsiteY533" fmla="*/ 744855 h 1390650"/>
                <a:gd name="connsiteX534" fmla="*/ 496253 w 1543050"/>
                <a:gd name="connsiteY534" fmla="*/ 743903 h 1390650"/>
                <a:gd name="connsiteX535" fmla="*/ 454342 w 1543050"/>
                <a:gd name="connsiteY535" fmla="*/ 753428 h 1390650"/>
                <a:gd name="connsiteX536" fmla="*/ 438150 w 1543050"/>
                <a:gd name="connsiteY536" fmla="*/ 760095 h 1390650"/>
                <a:gd name="connsiteX537" fmla="*/ 435292 w 1543050"/>
                <a:gd name="connsiteY537" fmla="*/ 760095 h 1390650"/>
                <a:gd name="connsiteX538" fmla="*/ 432435 w 1543050"/>
                <a:gd name="connsiteY538" fmla="*/ 759143 h 1390650"/>
                <a:gd name="connsiteX539" fmla="*/ 426720 w 1543050"/>
                <a:gd name="connsiteY539" fmla="*/ 748665 h 1390650"/>
                <a:gd name="connsiteX540" fmla="*/ 424815 w 1543050"/>
                <a:gd name="connsiteY540" fmla="*/ 746760 h 1390650"/>
                <a:gd name="connsiteX541" fmla="*/ 422910 w 1543050"/>
                <a:gd name="connsiteY541" fmla="*/ 746760 h 1390650"/>
                <a:gd name="connsiteX542" fmla="*/ 401955 w 1543050"/>
                <a:gd name="connsiteY542" fmla="*/ 745807 h 1390650"/>
                <a:gd name="connsiteX543" fmla="*/ 372428 w 1543050"/>
                <a:gd name="connsiteY543" fmla="*/ 740093 h 1390650"/>
                <a:gd name="connsiteX544" fmla="*/ 365760 w 1543050"/>
                <a:gd name="connsiteY544" fmla="*/ 729615 h 1390650"/>
                <a:gd name="connsiteX545" fmla="*/ 357188 w 1543050"/>
                <a:gd name="connsiteY545" fmla="*/ 709613 h 1390650"/>
                <a:gd name="connsiteX546" fmla="*/ 332422 w 1543050"/>
                <a:gd name="connsiteY546" fmla="*/ 634365 h 1390650"/>
                <a:gd name="connsiteX547" fmla="*/ 329565 w 1543050"/>
                <a:gd name="connsiteY547" fmla="*/ 621982 h 1390650"/>
                <a:gd name="connsiteX548" fmla="*/ 336232 w 1543050"/>
                <a:gd name="connsiteY548" fmla="*/ 604838 h 1390650"/>
                <a:gd name="connsiteX549" fmla="*/ 339090 w 1543050"/>
                <a:gd name="connsiteY549" fmla="*/ 592455 h 1390650"/>
                <a:gd name="connsiteX550" fmla="*/ 340995 w 1543050"/>
                <a:gd name="connsiteY550" fmla="*/ 584835 h 1390650"/>
                <a:gd name="connsiteX551" fmla="*/ 341947 w 1543050"/>
                <a:gd name="connsiteY551" fmla="*/ 577215 h 1390650"/>
                <a:gd name="connsiteX552" fmla="*/ 340995 w 1543050"/>
                <a:gd name="connsiteY552" fmla="*/ 571500 h 1390650"/>
                <a:gd name="connsiteX553" fmla="*/ 341947 w 1543050"/>
                <a:gd name="connsiteY553" fmla="*/ 566738 h 1390650"/>
                <a:gd name="connsiteX554" fmla="*/ 345757 w 1543050"/>
                <a:gd name="connsiteY554" fmla="*/ 563880 h 1390650"/>
                <a:gd name="connsiteX555" fmla="*/ 347663 w 1543050"/>
                <a:gd name="connsiteY555" fmla="*/ 561975 h 1390650"/>
                <a:gd name="connsiteX556" fmla="*/ 349567 w 1543050"/>
                <a:gd name="connsiteY556" fmla="*/ 556260 h 1390650"/>
                <a:gd name="connsiteX557" fmla="*/ 349567 w 1543050"/>
                <a:gd name="connsiteY557" fmla="*/ 548640 h 1390650"/>
                <a:gd name="connsiteX558" fmla="*/ 347663 w 1543050"/>
                <a:gd name="connsiteY558" fmla="*/ 532447 h 1390650"/>
                <a:gd name="connsiteX559" fmla="*/ 344805 w 1543050"/>
                <a:gd name="connsiteY559" fmla="*/ 527685 h 1390650"/>
                <a:gd name="connsiteX560" fmla="*/ 337185 w 1543050"/>
                <a:gd name="connsiteY560" fmla="*/ 519113 h 1390650"/>
                <a:gd name="connsiteX561" fmla="*/ 331470 w 1543050"/>
                <a:gd name="connsiteY561" fmla="*/ 508635 h 1390650"/>
                <a:gd name="connsiteX562" fmla="*/ 328613 w 1543050"/>
                <a:gd name="connsiteY562" fmla="*/ 503872 h 1390650"/>
                <a:gd name="connsiteX563" fmla="*/ 324803 w 1543050"/>
                <a:gd name="connsiteY563" fmla="*/ 501015 h 1390650"/>
                <a:gd name="connsiteX564" fmla="*/ 306705 w 1543050"/>
                <a:gd name="connsiteY564" fmla="*/ 500063 h 1390650"/>
                <a:gd name="connsiteX565" fmla="*/ 303847 w 1543050"/>
                <a:gd name="connsiteY565" fmla="*/ 499110 h 1390650"/>
                <a:gd name="connsiteX566" fmla="*/ 303847 w 1543050"/>
                <a:gd name="connsiteY566" fmla="*/ 496253 h 1390650"/>
                <a:gd name="connsiteX567" fmla="*/ 304800 w 1543050"/>
                <a:gd name="connsiteY567" fmla="*/ 494347 h 1390650"/>
                <a:gd name="connsiteX568" fmla="*/ 306705 w 1543050"/>
                <a:gd name="connsiteY568" fmla="*/ 489585 h 1390650"/>
                <a:gd name="connsiteX569" fmla="*/ 306705 w 1543050"/>
                <a:gd name="connsiteY569" fmla="*/ 483870 h 1390650"/>
                <a:gd name="connsiteX570" fmla="*/ 305753 w 1543050"/>
                <a:gd name="connsiteY570" fmla="*/ 469582 h 1390650"/>
                <a:gd name="connsiteX571" fmla="*/ 303847 w 1543050"/>
                <a:gd name="connsiteY571" fmla="*/ 464820 h 1390650"/>
                <a:gd name="connsiteX572" fmla="*/ 300990 w 1543050"/>
                <a:gd name="connsiteY572" fmla="*/ 461963 h 1390650"/>
                <a:gd name="connsiteX573" fmla="*/ 271463 w 1543050"/>
                <a:gd name="connsiteY573" fmla="*/ 468630 h 1390650"/>
                <a:gd name="connsiteX574" fmla="*/ 269557 w 1543050"/>
                <a:gd name="connsiteY574" fmla="*/ 470535 h 1390650"/>
                <a:gd name="connsiteX575" fmla="*/ 267653 w 1543050"/>
                <a:gd name="connsiteY575" fmla="*/ 472440 h 1390650"/>
                <a:gd name="connsiteX576" fmla="*/ 267653 w 1543050"/>
                <a:gd name="connsiteY576" fmla="*/ 476250 h 1390650"/>
                <a:gd name="connsiteX577" fmla="*/ 264795 w 1543050"/>
                <a:gd name="connsiteY577" fmla="*/ 488632 h 1390650"/>
                <a:gd name="connsiteX578" fmla="*/ 261938 w 1543050"/>
                <a:gd name="connsiteY578" fmla="*/ 494347 h 1390650"/>
                <a:gd name="connsiteX579" fmla="*/ 259080 w 1543050"/>
                <a:gd name="connsiteY579" fmla="*/ 498157 h 1390650"/>
                <a:gd name="connsiteX580" fmla="*/ 256222 w 1543050"/>
                <a:gd name="connsiteY580" fmla="*/ 498157 h 1390650"/>
                <a:gd name="connsiteX581" fmla="*/ 253365 w 1543050"/>
                <a:gd name="connsiteY581" fmla="*/ 496253 h 1390650"/>
                <a:gd name="connsiteX582" fmla="*/ 251460 w 1543050"/>
                <a:gd name="connsiteY582" fmla="*/ 493395 h 1390650"/>
                <a:gd name="connsiteX583" fmla="*/ 248603 w 1543050"/>
                <a:gd name="connsiteY583" fmla="*/ 487680 h 1390650"/>
                <a:gd name="connsiteX584" fmla="*/ 245745 w 1543050"/>
                <a:gd name="connsiteY584" fmla="*/ 473393 h 1390650"/>
                <a:gd name="connsiteX585" fmla="*/ 243840 w 1543050"/>
                <a:gd name="connsiteY585" fmla="*/ 470535 h 1390650"/>
                <a:gd name="connsiteX586" fmla="*/ 240982 w 1543050"/>
                <a:gd name="connsiteY586" fmla="*/ 468630 h 1390650"/>
                <a:gd name="connsiteX587" fmla="*/ 221932 w 1543050"/>
                <a:gd name="connsiteY587" fmla="*/ 467678 h 1390650"/>
                <a:gd name="connsiteX588" fmla="*/ 219075 w 1543050"/>
                <a:gd name="connsiteY588" fmla="*/ 467678 h 1390650"/>
                <a:gd name="connsiteX589" fmla="*/ 215265 w 1543050"/>
                <a:gd name="connsiteY589" fmla="*/ 465772 h 1390650"/>
                <a:gd name="connsiteX590" fmla="*/ 208597 w 1543050"/>
                <a:gd name="connsiteY590" fmla="*/ 460057 h 1390650"/>
                <a:gd name="connsiteX591" fmla="*/ 205740 w 1543050"/>
                <a:gd name="connsiteY591" fmla="*/ 459105 h 1390650"/>
                <a:gd name="connsiteX592" fmla="*/ 202882 w 1543050"/>
                <a:gd name="connsiteY592" fmla="*/ 459105 h 1390650"/>
                <a:gd name="connsiteX593" fmla="*/ 200025 w 1543050"/>
                <a:gd name="connsiteY593" fmla="*/ 460057 h 1390650"/>
                <a:gd name="connsiteX594" fmla="*/ 195263 w 1543050"/>
                <a:gd name="connsiteY594" fmla="*/ 465772 h 1390650"/>
                <a:gd name="connsiteX595" fmla="*/ 186690 w 1543050"/>
                <a:gd name="connsiteY595" fmla="*/ 471488 h 1390650"/>
                <a:gd name="connsiteX596" fmla="*/ 181928 w 1543050"/>
                <a:gd name="connsiteY596" fmla="*/ 474345 h 1390650"/>
                <a:gd name="connsiteX597" fmla="*/ 180022 w 1543050"/>
                <a:gd name="connsiteY597" fmla="*/ 474345 h 1390650"/>
                <a:gd name="connsiteX598" fmla="*/ 177165 w 1543050"/>
                <a:gd name="connsiteY598" fmla="*/ 474345 h 1390650"/>
                <a:gd name="connsiteX599" fmla="*/ 174307 w 1543050"/>
                <a:gd name="connsiteY599" fmla="*/ 472440 h 1390650"/>
                <a:gd name="connsiteX600" fmla="*/ 170497 w 1543050"/>
                <a:gd name="connsiteY600" fmla="*/ 467678 h 1390650"/>
                <a:gd name="connsiteX601" fmla="*/ 167640 w 1543050"/>
                <a:gd name="connsiteY601" fmla="*/ 466725 h 1390650"/>
                <a:gd name="connsiteX602" fmla="*/ 164782 w 1543050"/>
                <a:gd name="connsiteY602" fmla="*/ 466725 h 1390650"/>
                <a:gd name="connsiteX603" fmla="*/ 140970 w 1543050"/>
                <a:gd name="connsiteY603" fmla="*/ 471488 h 1390650"/>
                <a:gd name="connsiteX604" fmla="*/ 138113 w 1543050"/>
                <a:gd name="connsiteY604" fmla="*/ 470535 h 1390650"/>
                <a:gd name="connsiteX605" fmla="*/ 131445 w 1543050"/>
                <a:gd name="connsiteY605" fmla="*/ 462915 h 1390650"/>
                <a:gd name="connsiteX606" fmla="*/ 129540 w 1543050"/>
                <a:gd name="connsiteY606" fmla="*/ 461010 h 1390650"/>
                <a:gd name="connsiteX607" fmla="*/ 117157 w 1543050"/>
                <a:gd name="connsiteY607" fmla="*/ 454343 h 1390650"/>
                <a:gd name="connsiteX608" fmla="*/ 111442 w 1543050"/>
                <a:gd name="connsiteY608" fmla="*/ 450532 h 1390650"/>
                <a:gd name="connsiteX609" fmla="*/ 108585 w 1543050"/>
                <a:gd name="connsiteY609" fmla="*/ 443865 h 1390650"/>
                <a:gd name="connsiteX610" fmla="*/ 106680 w 1543050"/>
                <a:gd name="connsiteY610" fmla="*/ 436245 h 1390650"/>
                <a:gd name="connsiteX611" fmla="*/ 102870 w 1543050"/>
                <a:gd name="connsiteY611" fmla="*/ 426720 h 1390650"/>
                <a:gd name="connsiteX612" fmla="*/ 101917 w 1543050"/>
                <a:gd name="connsiteY612" fmla="*/ 420053 h 1390650"/>
                <a:gd name="connsiteX613" fmla="*/ 102870 w 1543050"/>
                <a:gd name="connsiteY613" fmla="*/ 414338 h 1390650"/>
                <a:gd name="connsiteX614" fmla="*/ 106680 w 1543050"/>
                <a:gd name="connsiteY614" fmla="*/ 406718 h 1390650"/>
                <a:gd name="connsiteX615" fmla="*/ 107632 w 1543050"/>
                <a:gd name="connsiteY615" fmla="*/ 403860 h 1390650"/>
                <a:gd name="connsiteX616" fmla="*/ 108585 w 1543050"/>
                <a:gd name="connsiteY616" fmla="*/ 400050 h 1390650"/>
                <a:gd name="connsiteX617" fmla="*/ 108585 w 1543050"/>
                <a:gd name="connsiteY617" fmla="*/ 394335 h 1390650"/>
                <a:gd name="connsiteX618" fmla="*/ 104775 w 1543050"/>
                <a:gd name="connsiteY618" fmla="*/ 388620 h 1390650"/>
                <a:gd name="connsiteX619" fmla="*/ 98107 w 1543050"/>
                <a:gd name="connsiteY619" fmla="*/ 383857 h 1390650"/>
                <a:gd name="connsiteX620" fmla="*/ 91440 w 1543050"/>
                <a:gd name="connsiteY620" fmla="*/ 376238 h 1390650"/>
                <a:gd name="connsiteX621" fmla="*/ 89535 w 1543050"/>
                <a:gd name="connsiteY621" fmla="*/ 373380 h 1390650"/>
                <a:gd name="connsiteX622" fmla="*/ 89535 w 1543050"/>
                <a:gd name="connsiteY622" fmla="*/ 369570 h 1390650"/>
                <a:gd name="connsiteX623" fmla="*/ 90488 w 1543050"/>
                <a:gd name="connsiteY623" fmla="*/ 366713 h 1390650"/>
                <a:gd name="connsiteX624" fmla="*/ 92392 w 1543050"/>
                <a:gd name="connsiteY624" fmla="*/ 364807 h 1390650"/>
                <a:gd name="connsiteX625" fmla="*/ 97155 w 1543050"/>
                <a:gd name="connsiteY625" fmla="*/ 359093 h 1390650"/>
                <a:gd name="connsiteX626" fmla="*/ 99060 w 1543050"/>
                <a:gd name="connsiteY626" fmla="*/ 357188 h 1390650"/>
                <a:gd name="connsiteX627" fmla="*/ 100965 w 1543050"/>
                <a:gd name="connsiteY627" fmla="*/ 353378 h 1390650"/>
                <a:gd name="connsiteX628" fmla="*/ 100965 w 1543050"/>
                <a:gd name="connsiteY628" fmla="*/ 349568 h 1390650"/>
                <a:gd name="connsiteX629" fmla="*/ 98107 w 1543050"/>
                <a:gd name="connsiteY629" fmla="*/ 338138 h 1390650"/>
                <a:gd name="connsiteX630" fmla="*/ 95250 w 1543050"/>
                <a:gd name="connsiteY630" fmla="*/ 334328 h 1390650"/>
                <a:gd name="connsiteX631" fmla="*/ 92392 w 1543050"/>
                <a:gd name="connsiteY631" fmla="*/ 332422 h 1390650"/>
                <a:gd name="connsiteX632" fmla="*/ 79057 w 1543050"/>
                <a:gd name="connsiteY632" fmla="*/ 326707 h 1390650"/>
                <a:gd name="connsiteX633" fmla="*/ 73342 w 1543050"/>
                <a:gd name="connsiteY633" fmla="*/ 322897 h 1390650"/>
                <a:gd name="connsiteX634" fmla="*/ 64770 w 1543050"/>
                <a:gd name="connsiteY634" fmla="*/ 315278 h 1390650"/>
                <a:gd name="connsiteX635" fmla="*/ 60960 w 1543050"/>
                <a:gd name="connsiteY635" fmla="*/ 308610 h 1390650"/>
                <a:gd name="connsiteX636" fmla="*/ 60007 w 1543050"/>
                <a:gd name="connsiteY636" fmla="*/ 301943 h 1390650"/>
                <a:gd name="connsiteX637" fmla="*/ 46672 w 1543050"/>
                <a:gd name="connsiteY637" fmla="*/ 217170 h 1390650"/>
                <a:gd name="connsiteX638" fmla="*/ 45720 w 1543050"/>
                <a:gd name="connsiteY638" fmla="*/ 214313 h 1390650"/>
                <a:gd name="connsiteX639" fmla="*/ 43815 w 1543050"/>
                <a:gd name="connsiteY639" fmla="*/ 211455 h 1390650"/>
                <a:gd name="connsiteX640" fmla="*/ 34290 w 1543050"/>
                <a:gd name="connsiteY640" fmla="*/ 199072 h 1390650"/>
                <a:gd name="connsiteX641" fmla="*/ 28575 w 1543050"/>
                <a:gd name="connsiteY641" fmla="*/ 191453 h 1390650"/>
                <a:gd name="connsiteX642" fmla="*/ 24765 w 1543050"/>
                <a:gd name="connsiteY642" fmla="*/ 186690 h 1390650"/>
                <a:gd name="connsiteX643" fmla="*/ 22860 w 1543050"/>
                <a:gd name="connsiteY643" fmla="*/ 185738 h 1390650"/>
                <a:gd name="connsiteX644" fmla="*/ 9525 w 1543050"/>
                <a:gd name="connsiteY644" fmla="*/ 181928 h 1390650"/>
                <a:gd name="connsiteX645" fmla="*/ 5715 w 1543050"/>
                <a:gd name="connsiteY645" fmla="*/ 180022 h 1390650"/>
                <a:gd name="connsiteX646" fmla="*/ 3810 w 1543050"/>
                <a:gd name="connsiteY646" fmla="*/ 175260 h 1390650"/>
                <a:gd name="connsiteX647" fmla="*/ 3810 w 1543050"/>
                <a:gd name="connsiteY647" fmla="*/ 167640 h 1390650"/>
                <a:gd name="connsiteX648" fmla="*/ 4763 w 1543050"/>
                <a:gd name="connsiteY648" fmla="*/ 161925 h 1390650"/>
                <a:gd name="connsiteX649" fmla="*/ 8572 w 1543050"/>
                <a:gd name="connsiteY649" fmla="*/ 155257 h 1390650"/>
                <a:gd name="connsiteX650" fmla="*/ 9525 w 1543050"/>
                <a:gd name="connsiteY650" fmla="*/ 149543 h 1390650"/>
                <a:gd name="connsiteX651" fmla="*/ 8572 w 1543050"/>
                <a:gd name="connsiteY651" fmla="*/ 146685 h 1390650"/>
                <a:gd name="connsiteX652" fmla="*/ 9525 w 1543050"/>
                <a:gd name="connsiteY652" fmla="*/ 136207 h 1390650"/>
                <a:gd name="connsiteX653" fmla="*/ 8572 w 1543050"/>
                <a:gd name="connsiteY653" fmla="*/ 132397 h 1390650"/>
                <a:gd name="connsiteX654" fmla="*/ 7620 w 1543050"/>
                <a:gd name="connsiteY654" fmla="*/ 129540 h 1390650"/>
                <a:gd name="connsiteX655" fmla="*/ 953 w 1543050"/>
                <a:gd name="connsiteY655" fmla="*/ 124778 h 1390650"/>
                <a:gd name="connsiteX656" fmla="*/ 0 w 1543050"/>
                <a:gd name="connsiteY656" fmla="*/ 122872 h 1390650"/>
                <a:gd name="connsiteX657" fmla="*/ 953 w 1543050"/>
                <a:gd name="connsiteY657" fmla="*/ 120968 h 1390650"/>
                <a:gd name="connsiteX658" fmla="*/ 6667 w 1543050"/>
                <a:gd name="connsiteY658" fmla="*/ 115253 h 1390650"/>
                <a:gd name="connsiteX659" fmla="*/ 24765 w 1543050"/>
                <a:gd name="connsiteY659" fmla="*/ 107632 h 1390650"/>
                <a:gd name="connsiteX660" fmla="*/ 33338 w 1543050"/>
                <a:gd name="connsiteY660" fmla="*/ 108585 h 1390650"/>
                <a:gd name="connsiteX661" fmla="*/ 35242 w 1543050"/>
                <a:gd name="connsiteY661" fmla="*/ 107632 h 1390650"/>
                <a:gd name="connsiteX662" fmla="*/ 38100 w 1543050"/>
                <a:gd name="connsiteY662" fmla="*/ 103822 h 1390650"/>
                <a:gd name="connsiteX663" fmla="*/ 40005 w 1543050"/>
                <a:gd name="connsiteY663" fmla="*/ 101918 h 1390650"/>
                <a:gd name="connsiteX664" fmla="*/ 42863 w 1543050"/>
                <a:gd name="connsiteY664" fmla="*/ 101918 h 1390650"/>
                <a:gd name="connsiteX665" fmla="*/ 45720 w 1543050"/>
                <a:gd name="connsiteY665" fmla="*/ 101918 h 1390650"/>
                <a:gd name="connsiteX666" fmla="*/ 51435 w 1543050"/>
                <a:gd name="connsiteY666" fmla="*/ 103822 h 1390650"/>
                <a:gd name="connsiteX667" fmla="*/ 54292 w 1543050"/>
                <a:gd name="connsiteY667" fmla="*/ 102870 h 1390650"/>
                <a:gd name="connsiteX668" fmla="*/ 56197 w 1543050"/>
                <a:gd name="connsiteY668" fmla="*/ 100965 h 1390650"/>
                <a:gd name="connsiteX669" fmla="*/ 57150 w 1543050"/>
                <a:gd name="connsiteY669" fmla="*/ 97155 h 1390650"/>
                <a:gd name="connsiteX670" fmla="*/ 57150 w 1543050"/>
                <a:gd name="connsiteY670" fmla="*/ 93345 h 1390650"/>
                <a:gd name="connsiteX671" fmla="*/ 54292 w 1543050"/>
                <a:gd name="connsiteY671" fmla="*/ 90488 h 1390650"/>
                <a:gd name="connsiteX672" fmla="*/ 47625 w 1543050"/>
                <a:gd name="connsiteY672" fmla="*/ 86678 h 1390650"/>
                <a:gd name="connsiteX673" fmla="*/ 45720 w 1543050"/>
                <a:gd name="connsiteY673" fmla="*/ 84772 h 1390650"/>
                <a:gd name="connsiteX674" fmla="*/ 44767 w 1543050"/>
                <a:gd name="connsiteY674" fmla="*/ 80963 h 1390650"/>
                <a:gd name="connsiteX675" fmla="*/ 44767 w 1543050"/>
                <a:gd name="connsiteY675" fmla="*/ 66675 h 1390650"/>
                <a:gd name="connsiteX676" fmla="*/ 60007 w 1543050"/>
                <a:gd name="connsiteY676" fmla="*/ 67628 h 1390650"/>
                <a:gd name="connsiteX677" fmla="*/ 63817 w 1543050"/>
                <a:gd name="connsiteY677" fmla="*/ 66675 h 1390650"/>
                <a:gd name="connsiteX678" fmla="*/ 66675 w 1543050"/>
                <a:gd name="connsiteY678" fmla="*/ 61913 h 1390650"/>
                <a:gd name="connsiteX679" fmla="*/ 70485 w 1543050"/>
                <a:gd name="connsiteY679" fmla="*/ 47625 h 1390650"/>
                <a:gd name="connsiteX680" fmla="*/ 73342 w 1543050"/>
                <a:gd name="connsiteY680" fmla="*/ 44768 h 1390650"/>
                <a:gd name="connsiteX681" fmla="*/ 154305 w 1543050"/>
                <a:gd name="connsiteY681" fmla="*/ 44768 h 1390650"/>
                <a:gd name="connsiteX682" fmla="*/ 159067 w 1543050"/>
                <a:gd name="connsiteY682" fmla="*/ 45720 h 1390650"/>
                <a:gd name="connsiteX683" fmla="*/ 163830 w 1543050"/>
                <a:gd name="connsiteY683" fmla="*/ 45720 h 1390650"/>
                <a:gd name="connsiteX684" fmla="*/ 167640 w 1543050"/>
                <a:gd name="connsiteY684" fmla="*/ 46672 h 1390650"/>
                <a:gd name="connsiteX685" fmla="*/ 191453 w 1543050"/>
                <a:gd name="connsiteY685" fmla="*/ 55245 h 1390650"/>
                <a:gd name="connsiteX686" fmla="*/ 211455 w 1543050"/>
                <a:gd name="connsiteY686" fmla="*/ 60007 h 1390650"/>
                <a:gd name="connsiteX687" fmla="*/ 217170 w 1543050"/>
                <a:gd name="connsiteY687" fmla="*/ 60007 h 1390650"/>
                <a:gd name="connsiteX688" fmla="*/ 220028 w 1543050"/>
                <a:gd name="connsiteY688" fmla="*/ 58103 h 1390650"/>
                <a:gd name="connsiteX689" fmla="*/ 222885 w 1543050"/>
                <a:gd name="connsiteY689" fmla="*/ 54293 h 1390650"/>
                <a:gd name="connsiteX690" fmla="*/ 224790 w 1543050"/>
                <a:gd name="connsiteY690" fmla="*/ 47625 h 1390650"/>
                <a:gd name="connsiteX691" fmla="*/ 225742 w 1543050"/>
                <a:gd name="connsiteY691" fmla="*/ 45720 h 1390650"/>
                <a:gd name="connsiteX692" fmla="*/ 230505 w 1543050"/>
                <a:gd name="connsiteY692" fmla="*/ 42863 h 1390650"/>
                <a:gd name="connsiteX693" fmla="*/ 237172 w 1543050"/>
                <a:gd name="connsiteY693" fmla="*/ 39053 h 1390650"/>
                <a:gd name="connsiteX694" fmla="*/ 261938 w 1543050"/>
                <a:gd name="connsiteY694" fmla="*/ 30480 h 1390650"/>
                <a:gd name="connsiteX695" fmla="*/ 267653 w 1543050"/>
                <a:gd name="connsiteY695" fmla="*/ 29528 h 1390650"/>
                <a:gd name="connsiteX696" fmla="*/ 282892 w 1543050"/>
                <a:gd name="connsiteY696" fmla="*/ 32385 h 1390650"/>
                <a:gd name="connsiteX697" fmla="*/ 299085 w 1543050"/>
                <a:gd name="connsiteY697" fmla="*/ 32385 h 1390650"/>
                <a:gd name="connsiteX698" fmla="*/ 305753 w 1543050"/>
                <a:gd name="connsiteY698" fmla="*/ 33338 h 1390650"/>
                <a:gd name="connsiteX699" fmla="*/ 310515 w 1543050"/>
                <a:gd name="connsiteY699" fmla="*/ 35243 h 1390650"/>
                <a:gd name="connsiteX700" fmla="*/ 311467 w 1543050"/>
                <a:gd name="connsiteY700" fmla="*/ 40957 h 1390650"/>
                <a:gd name="connsiteX701" fmla="*/ 313372 w 1543050"/>
                <a:gd name="connsiteY701" fmla="*/ 43815 h 1390650"/>
                <a:gd name="connsiteX702" fmla="*/ 315278 w 1543050"/>
                <a:gd name="connsiteY702" fmla="*/ 46672 h 1390650"/>
                <a:gd name="connsiteX703" fmla="*/ 320992 w 1543050"/>
                <a:gd name="connsiteY703" fmla="*/ 48578 h 1390650"/>
                <a:gd name="connsiteX704" fmla="*/ 323850 w 1543050"/>
                <a:gd name="connsiteY704" fmla="*/ 48578 h 1390650"/>
                <a:gd name="connsiteX705" fmla="*/ 325755 w 1543050"/>
                <a:gd name="connsiteY705" fmla="*/ 46672 h 1390650"/>
                <a:gd name="connsiteX706" fmla="*/ 329565 w 1543050"/>
                <a:gd name="connsiteY706" fmla="*/ 36195 h 1390650"/>
                <a:gd name="connsiteX707" fmla="*/ 331470 w 1543050"/>
                <a:gd name="connsiteY707" fmla="*/ 33338 h 1390650"/>
                <a:gd name="connsiteX708" fmla="*/ 333375 w 1543050"/>
                <a:gd name="connsiteY708" fmla="*/ 31432 h 1390650"/>
                <a:gd name="connsiteX709" fmla="*/ 338138 w 1543050"/>
                <a:gd name="connsiteY709" fmla="*/ 27622 h 1390650"/>
                <a:gd name="connsiteX710" fmla="*/ 341947 w 1543050"/>
                <a:gd name="connsiteY710" fmla="*/ 26670 h 1390650"/>
                <a:gd name="connsiteX711" fmla="*/ 344805 w 1543050"/>
                <a:gd name="connsiteY711" fmla="*/ 27622 h 1390650"/>
                <a:gd name="connsiteX712" fmla="*/ 347663 w 1543050"/>
                <a:gd name="connsiteY712" fmla="*/ 28575 h 1390650"/>
                <a:gd name="connsiteX713" fmla="*/ 351472 w 1543050"/>
                <a:gd name="connsiteY713" fmla="*/ 32385 h 1390650"/>
                <a:gd name="connsiteX714" fmla="*/ 352425 w 1543050"/>
                <a:gd name="connsiteY714" fmla="*/ 35243 h 1390650"/>
                <a:gd name="connsiteX715" fmla="*/ 352425 w 1543050"/>
                <a:gd name="connsiteY715" fmla="*/ 40957 h 1390650"/>
                <a:gd name="connsiteX716" fmla="*/ 354330 w 1543050"/>
                <a:gd name="connsiteY716" fmla="*/ 43815 h 1390650"/>
                <a:gd name="connsiteX717" fmla="*/ 356235 w 1543050"/>
                <a:gd name="connsiteY717" fmla="*/ 46672 h 1390650"/>
                <a:gd name="connsiteX718" fmla="*/ 363855 w 1543050"/>
                <a:gd name="connsiteY718" fmla="*/ 49530 h 1390650"/>
                <a:gd name="connsiteX719" fmla="*/ 367665 w 1543050"/>
                <a:gd name="connsiteY719" fmla="*/ 50482 h 1390650"/>
                <a:gd name="connsiteX720" fmla="*/ 371475 w 1543050"/>
                <a:gd name="connsiteY720" fmla="*/ 49530 h 1390650"/>
                <a:gd name="connsiteX721" fmla="*/ 375285 w 1543050"/>
                <a:gd name="connsiteY721" fmla="*/ 46672 h 1390650"/>
                <a:gd name="connsiteX722" fmla="*/ 377190 w 1543050"/>
                <a:gd name="connsiteY722" fmla="*/ 44768 h 1390650"/>
                <a:gd name="connsiteX723" fmla="*/ 380047 w 1543050"/>
                <a:gd name="connsiteY723" fmla="*/ 40957 h 1390650"/>
                <a:gd name="connsiteX724" fmla="*/ 383857 w 1543050"/>
                <a:gd name="connsiteY724" fmla="*/ 38100 h 1390650"/>
                <a:gd name="connsiteX725" fmla="*/ 401003 w 1543050"/>
                <a:gd name="connsiteY725" fmla="*/ 32385 h 1390650"/>
                <a:gd name="connsiteX726" fmla="*/ 404813 w 1543050"/>
                <a:gd name="connsiteY726" fmla="*/ 30480 h 1390650"/>
                <a:gd name="connsiteX727" fmla="*/ 406717 w 1543050"/>
                <a:gd name="connsiteY727" fmla="*/ 28575 h 1390650"/>
                <a:gd name="connsiteX728" fmla="*/ 408622 w 1543050"/>
                <a:gd name="connsiteY728" fmla="*/ 22860 h 1390650"/>
                <a:gd name="connsiteX729" fmla="*/ 409575 w 1543050"/>
                <a:gd name="connsiteY729" fmla="*/ 16193 h 1390650"/>
                <a:gd name="connsiteX730" fmla="*/ 414338 w 1543050"/>
                <a:gd name="connsiteY730" fmla="*/ 11430 h 1390650"/>
                <a:gd name="connsiteX731" fmla="*/ 421005 w 1543050"/>
                <a:gd name="connsiteY731" fmla="*/ 7620 h 1390650"/>
                <a:gd name="connsiteX732" fmla="*/ 439103 w 1543050"/>
                <a:gd name="connsiteY732" fmla="*/ 953 h 1390650"/>
                <a:gd name="connsiteX733" fmla="*/ 450532 w 1543050"/>
                <a:gd name="connsiteY733" fmla="*/ 0 h 1390650"/>
                <a:gd name="connsiteX734" fmla="*/ 488632 w 1543050"/>
                <a:gd name="connsiteY734" fmla="*/ 2857 h 1390650"/>
                <a:gd name="connsiteX735" fmla="*/ 497205 w 1543050"/>
                <a:gd name="connsiteY735" fmla="*/ 5715 h 1390650"/>
                <a:gd name="connsiteX736" fmla="*/ 505778 w 1543050"/>
                <a:gd name="connsiteY736" fmla="*/ 6668 h 1390650"/>
                <a:gd name="connsiteX737" fmla="*/ 510540 w 1543050"/>
                <a:gd name="connsiteY737" fmla="*/ 8572 h 1390650"/>
                <a:gd name="connsiteX738" fmla="*/ 514350 w 1543050"/>
                <a:gd name="connsiteY738" fmla="*/ 9525 h 1390650"/>
                <a:gd name="connsiteX739" fmla="*/ 515303 w 1543050"/>
                <a:gd name="connsiteY739" fmla="*/ 15240 h 1390650"/>
                <a:gd name="connsiteX740" fmla="*/ 517207 w 1543050"/>
                <a:gd name="connsiteY740" fmla="*/ 36195 h 1390650"/>
                <a:gd name="connsiteX741" fmla="*/ 517207 w 1543050"/>
                <a:gd name="connsiteY741" fmla="*/ 39053 h 1390650"/>
                <a:gd name="connsiteX742" fmla="*/ 519113 w 1543050"/>
                <a:gd name="connsiteY742" fmla="*/ 40957 h 1390650"/>
                <a:gd name="connsiteX743" fmla="*/ 522922 w 1543050"/>
                <a:gd name="connsiteY743" fmla="*/ 43815 h 1390650"/>
                <a:gd name="connsiteX744" fmla="*/ 535305 w 1543050"/>
                <a:gd name="connsiteY744" fmla="*/ 46672 h 1390650"/>
                <a:gd name="connsiteX745" fmla="*/ 537210 w 1543050"/>
                <a:gd name="connsiteY745" fmla="*/ 48578 h 1390650"/>
                <a:gd name="connsiteX746" fmla="*/ 538163 w 1543050"/>
                <a:gd name="connsiteY746" fmla="*/ 52388 h 1390650"/>
                <a:gd name="connsiteX747" fmla="*/ 538163 w 1543050"/>
                <a:gd name="connsiteY747" fmla="*/ 64770 h 1390650"/>
                <a:gd name="connsiteX748" fmla="*/ 538163 w 1543050"/>
                <a:gd name="connsiteY748" fmla="*/ 67628 h 1390650"/>
                <a:gd name="connsiteX749" fmla="*/ 539115 w 1543050"/>
                <a:gd name="connsiteY749" fmla="*/ 70485 h 1390650"/>
                <a:gd name="connsiteX750" fmla="*/ 541020 w 1543050"/>
                <a:gd name="connsiteY750" fmla="*/ 74295 h 1390650"/>
                <a:gd name="connsiteX751" fmla="*/ 543878 w 1543050"/>
                <a:gd name="connsiteY751" fmla="*/ 76200 h 1390650"/>
                <a:gd name="connsiteX752" fmla="*/ 549592 w 1543050"/>
                <a:gd name="connsiteY752" fmla="*/ 79057 h 1390650"/>
                <a:gd name="connsiteX753" fmla="*/ 598170 w 1543050"/>
                <a:gd name="connsiteY753" fmla="*/ 85725 h 1390650"/>
                <a:gd name="connsiteX754" fmla="*/ 602932 w 1543050"/>
                <a:gd name="connsiteY754" fmla="*/ 85725 h 1390650"/>
                <a:gd name="connsiteX755" fmla="*/ 611505 w 1543050"/>
                <a:gd name="connsiteY755" fmla="*/ 79057 h 1390650"/>
                <a:gd name="connsiteX756" fmla="*/ 620078 w 1543050"/>
                <a:gd name="connsiteY756" fmla="*/ 75247 h 1390650"/>
                <a:gd name="connsiteX757" fmla="*/ 621983 w 1543050"/>
                <a:gd name="connsiteY757" fmla="*/ 76200 h 1390650"/>
                <a:gd name="connsiteX758" fmla="*/ 623887 w 1543050"/>
                <a:gd name="connsiteY758" fmla="*/ 78105 h 1390650"/>
                <a:gd name="connsiteX759" fmla="*/ 625792 w 1543050"/>
                <a:gd name="connsiteY759" fmla="*/ 83820 h 1390650"/>
                <a:gd name="connsiteX760" fmla="*/ 628650 w 1543050"/>
                <a:gd name="connsiteY760" fmla="*/ 85725 h 1390650"/>
                <a:gd name="connsiteX761" fmla="*/ 632460 w 1543050"/>
                <a:gd name="connsiteY761" fmla="*/ 88582 h 1390650"/>
                <a:gd name="connsiteX762" fmla="*/ 636270 w 1543050"/>
                <a:gd name="connsiteY762" fmla="*/ 89535 h 1390650"/>
                <a:gd name="connsiteX763" fmla="*/ 638175 w 1543050"/>
                <a:gd name="connsiteY763" fmla="*/ 88582 h 1390650"/>
                <a:gd name="connsiteX764" fmla="*/ 640080 w 1543050"/>
                <a:gd name="connsiteY764" fmla="*/ 86678 h 1390650"/>
                <a:gd name="connsiteX765" fmla="*/ 644842 w 1543050"/>
                <a:gd name="connsiteY765" fmla="*/ 84772 h 1390650"/>
                <a:gd name="connsiteX766" fmla="*/ 651510 w 1543050"/>
                <a:gd name="connsiteY766" fmla="*/ 82868 h 1390650"/>
                <a:gd name="connsiteX767" fmla="*/ 681037 w 1543050"/>
                <a:gd name="connsiteY767" fmla="*/ 80010 h 1390650"/>
                <a:gd name="connsiteX768" fmla="*/ 684847 w 1543050"/>
                <a:gd name="connsiteY768" fmla="*/ 82868 h 1390650"/>
                <a:gd name="connsiteX769" fmla="*/ 686753 w 1543050"/>
                <a:gd name="connsiteY769" fmla="*/ 86678 h 1390650"/>
                <a:gd name="connsiteX770" fmla="*/ 687705 w 1543050"/>
                <a:gd name="connsiteY770" fmla="*/ 92393 h 1390650"/>
                <a:gd name="connsiteX771" fmla="*/ 685800 w 1543050"/>
                <a:gd name="connsiteY771" fmla="*/ 109538 h 1390650"/>
                <a:gd name="connsiteX772" fmla="*/ 683895 w 1543050"/>
                <a:gd name="connsiteY772" fmla="*/ 115253 h 1390650"/>
                <a:gd name="connsiteX773" fmla="*/ 681037 w 1543050"/>
                <a:gd name="connsiteY773" fmla="*/ 121920 h 1390650"/>
                <a:gd name="connsiteX774" fmla="*/ 681037 w 1543050"/>
                <a:gd name="connsiteY774" fmla="*/ 126682 h 1390650"/>
                <a:gd name="connsiteX775" fmla="*/ 683895 w 1543050"/>
                <a:gd name="connsiteY775" fmla="*/ 129540 h 1390650"/>
                <a:gd name="connsiteX776" fmla="*/ 686753 w 1543050"/>
                <a:gd name="connsiteY776" fmla="*/ 130493 h 1390650"/>
                <a:gd name="connsiteX777" fmla="*/ 690562 w 1543050"/>
                <a:gd name="connsiteY777" fmla="*/ 130493 h 1390650"/>
                <a:gd name="connsiteX778" fmla="*/ 692467 w 1543050"/>
                <a:gd name="connsiteY778" fmla="*/ 129540 h 1390650"/>
                <a:gd name="connsiteX779" fmla="*/ 694372 w 1543050"/>
                <a:gd name="connsiteY779" fmla="*/ 127635 h 1390650"/>
                <a:gd name="connsiteX780" fmla="*/ 695325 w 1543050"/>
                <a:gd name="connsiteY780" fmla="*/ 121920 h 1390650"/>
                <a:gd name="connsiteX781" fmla="*/ 696278 w 1543050"/>
                <a:gd name="connsiteY781" fmla="*/ 112395 h 1390650"/>
                <a:gd name="connsiteX782" fmla="*/ 697230 w 1543050"/>
                <a:gd name="connsiteY782" fmla="*/ 108585 h 1390650"/>
                <a:gd name="connsiteX783" fmla="*/ 699135 w 1543050"/>
                <a:gd name="connsiteY783" fmla="*/ 105728 h 1390650"/>
                <a:gd name="connsiteX784" fmla="*/ 702945 w 1543050"/>
                <a:gd name="connsiteY784" fmla="*/ 102870 h 1390650"/>
                <a:gd name="connsiteX785" fmla="*/ 705803 w 1543050"/>
                <a:gd name="connsiteY785" fmla="*/ 102870 h 1390650"/>
                <a:gd name="connsiteX786" fmla="*/ 707708 w 1543050"/>
                <a:gd name="connsiteY786" fmla="*/ 104775 h 1390650"/>
                <a:gd name="connsiteX787" fmla="*/ 709612 w 1543050"/>
                <a:gd name="connsiteY787" fmla="*/ 107632 h 1390650"/>
                <a:gd name="connsiteX788" fmla="*/ 712470 w 1543050"/>
                <a:gd name="connsiteY788" fmla="*/ 108585 h 1390650"/>
                <a:gd name="connsiteX789" fmla="*/ 715328 w 1543050"/>
                <a:gd name="connsiteY789" fmla="*/ 108585 h 1390650"/>
                <a:gd name="connsiteX790" fmla="*/ 722947 w 1543050"/>
                <a:gd name="connsiteY790" fmla="*/ 107632 h 1390650"/>
                <a:gd name="connsiteX791" fmla="*/ 727710 w 1543050"/>
                <a:gd name="connsiteY791" fmla="*/ 104775 h 1390650"/>
                <a:gd name="connsiteX792" fmla="*/ 727710 w 1543050"/>
                <a:gd name="connsiteY792" fmla="*/ 101918 h 1390650"/>
                <a:gd name="connsiteX793" fmla="*/ 727710 w 1543050"/>
                <a:gd name="connsiteY793" fmla="*/ 93345 h 1390650"/>
                <a:gd name="connsiteX794" fmla="*/ 727710 w 1543050"/>
                <a:gd name="connsiteY794" fmla="*/ 90488 h 1390650"/>
                <a:gd name="connsiteX795" fmla="*/ 728662 w 1543050"/>
                <a:gd name="connsiteY795" fmla="*/ 87630 h 1390650"/>
                <a:gd name="connsiteX796" fmla="*/ 730567 w 1543050"/>
                <a:gd name="connsiteY796" fmla="*/ 85725 h 1390650"/>
                <a:gd name="connsiteX797" fmla="*/ 733425 w 1543050"/>
                <a:gd name="connsiteY797" fmla="*/ 83820 h 1390650"/>
                <a:gd name="connsiteX798" fmla="*/ 741997 w 1543050"/>
                <a:gd name="connsiteY798" fmla="*/ 80010 h 1390650"/>
                <a:gd name="connsiteX799" fmla="*/ 745808 w 1543050"/>
                <a:gd name="connsiteY799" fmla="*/ 80963 h 1390650"/>
                <a:gd name="connsiteX800" fmla="*/ 747712 w 1543050"/>
                <a:gd name="connsiteY800" fmla="*/ 81915 h 1390650"/>
                <a:gd name="connsiteX801" fmla="*/ 755333 w 1543050"/>
                <a:gd name="connsiteY801" fmla="*/ 90488 h 1390650"/>
                <a:gd name="connsiteX802" fmla="*/ 758190 w 1543050"/>
                <a:gd name="connsiteY802" fmla="*/ 92393 h 1390650"/>
                <a:gd name="connsiteX803" fmla="*/ 762953 w 1543050"/>
                <a:gd name="connsiteY803" fmla="*/ 94297 h 1390650"/>
                <a:gd name="connsiteX804" fmla="*/ 769620 w 1543050"/>
                <a:gd name="connsiteY804" fmla="*/ 93345 h 1390650"/>
                <a:gd name="connsiteX805" fmla="*/ 773430 w 1543050"/>
                <a:gd name="connsiteY805" fmla="*/ 94297 h 1390650"/>
                <a:gd name="connsiteX806" fmla="*/ 777240 w 1543050"/>
                <a:gd name="connsiteY806" fmla="*/ 95250 h 1390650"/>
                <a:gd name="connsiteX807" fmla="*/ 782003 w 1543050"/>
                <a:gd name="connsiteY807" fmla="*/ 99060 h 1390650"/>
                <a:gd name="connsiteX808" fmla="*/ 785812 w 1543050"/>
                <a:gd name="connsiteY808" fmla="*/ 100013 h 1390650"/>
                <a:gd name="connsiteX809" fmla="*/ 788670 w 1543050"/>
                <a:gd name="connsiteY809" fmla="*/ 100965 h 1390650"/>
                <a:gd name="connsiteX810" fmla="*/ 809625 w 1543050"/>
                <a:gd name="connsiteY810" fmla="*/ 96203 h 1390650"/>
                <a:gd name="connsiteX811" fmla="*/ 814387 w 1543050"/>
                <a:gd name="connsiteY811" fmla="*/ 97155 h 1390650"/>
                <a:gd name="connsiteX812" fmla="*/ 817245 w 1543050"/>
                <a:gd name="connsiteY812" fmla="*/ 99060 h 1390650"/>
                <a:gd name="connsiteX813" fmla="*/ 818197 w 1543050"/>
                <a:gd name="connsiteY813" fmla="*/ 100965 h 1390650"/>
                <a:gd name="connsiteX814" fmla="*/ 822008 w 1543050"/>
                <a:gd name="connsiteY814" fmla="*/ 114300 h 1390650"/>
                <a:gd name="connsiteX815" fmla="*/ 824865 w 1543050"/>
                <a:gd name="connsiteY815" fmla="*/ 121920 h 1390650"/>
                <a:gd name="connsiteX816" fmla="*/ 824865 w 1543050"/>
                <a:gd name="connsiteY816" fmla="*/ 127635 h 1390650"/>
                <a:gd name="connsiteX817" fmla="*/ 823912 w 1543050"/>
                <a:gd name="connsiteY817" fmla="*/ 134303 h 1390650"/>
                <a:gd name="connsiteX818" fmla="*/ 822960 w 1543050"/>
                <a:gd name="connsiteY818" fmla="*/ 137160 h 1390650"/>
                <a:gd name="connsiteX819" fmla="*/ 819150 w 1543050"/>
                <a:gd name="connsiteY819" fmla="*/ 140970 h 1390650"/>
                <a:gd name="connsiteX820" fmla="*/ 813435 w 1543050"/>
                <a:gd name="connsiteY820" fmla="*/ 145732 h 1390650"/>
                <a:gd name="connsiteX821" fmla="*/ 792480 w 1543050"/>
                <a:gd name="connsiteY821" fmla="*/ 155257 h 1390650"/>
                <a:gd name="connsiteX822" fmla="*/ 790575 w 1543050"/>
                <a:gd name="connsiteY822" fmla="*/ 156210 h 1390650"/>
                <a:gd name="connsiteX823" fmla="*/ 791528 w 1543050"/>
                <a:gd name="connsiteY823" fmla="*/ 160972 h 1390650"/>
                <a:gd name="connsiteX824" fmla="*/ 799147 w 1543050"/>
                <a:gd name="connsiteY824" fmla="*/ 174307 h 1390650"/>
                <a:gd name="connsiteX825" fmla="*/ 815340 w 1543050"/>
                <a:gd name="connsiteY825" fmla="*/ 202882 h 1390650"/>
                <a:gd name="connsiteX826" fmla="*/ 822008 w 1543050"/>
                <a:gd name="connsiteY826" fmla="*/ 211455 h 1390650"/>
                <a:gd name="connsiteX827" fmla="*/ 828675 w 1543050"/>
                <a:gd name="connsiteY827" fmla="*/ 217170 h 1390650"/>
                <a:gd name="connsiteX828" fmla="*/ 831533 w 1543050"/>
                <a:gd name="connsiteY828" fmla="*/ 218122 h 1390650"/>
                <a:gd name="connsiteX829" fmla="*/ 844867 w 1543050"/>
                <a:gd name="connsiteY829" fmla="*/ 215265 h 1390650"/>
                <a:gd name="connsiteX830" fmla="*/ 847725 w 1543050"/>
                <a:gd name="connsiteY830" fmla="*/ 216218 h 1390650"/>
                <a:gd name="connsiteX831" fmla="*/ 850583 w 1543050"/>
                <a:gd name="connsiteY831" fmla="*/ 217170 h 1390650"/>
                <a:gd name="connsiteX832" fmla="*/ 853440 w 1543050"/>
                <a:gd name="connsiteY832" fmla="*/ 220980 h 1390650"/>
                <a:gd name="connsiteX833" fmla="*/ 855345 w 1543050"/>
                <a:gd name="connsiteY833" fmla="*/ 225743 h 1390650"/>
                <a:gd name="connsiteX834" fmla="*/ 856297 w 1543050"/>
                <a:gd name="connsiteY834" fmla="*/ 234315 h 1390650"/>
                <a:gd name="connsiteX835" fmla="*/ 858203 w 1543050"/>
                <a:gd name="connsiteY835" fmla="*/ 239078 h 1390650"/>
                <a:gd name="connsiteX836" fmla="*/ 860108 w 1543050"/>
                <a:gd name="connsiteY836" fmla="*/ 240982 h 1390650"/>
                <a:gd name="connsiteX837" fmla="*/ 871537 w 1543050"/>
                <a:gd name="connsiteY837" fmla="*/ 255270 h 1390650"/>
                <a:gd name="connsiteX838" fmla="*/ 873442 w 1543050"/>
                <a:gd name="connsiteY838" fmla="*/ 260032 h 1390650"/>
                <a:gd name="connsiteX839" fmla="*/ 874395 w 1543050"/>
                <a:gd name="connsiteY839" fmla="*/ 265747 h 1390650"/>
                <a:gd name="connsiteX840" fmla="*/ 874395 w 1543050"/>
                <a:gd name="connsiteY840" fmla="*/ 268605 h 1390650"/>
                <a:gd name="connsiteX841" fmla="*/ 871537 w 1543050"/>
                <a:gd name="connsiteY841" fmla="*/ 273368 h 1390650"/>
                <a:gd name="connsiteX842" fmla="*/ 862965 w 1543050"/>
                <a:gd name="connsiteY842" fmla="*/ 287655 h 1390650"/>
                <a:gd name="connsiteX843" fmla="*/ 860108 w 1543050"/>
                <a:gd name="connsiteY843" fmla="*/ 292418 h 1390650"/>
                <a:gd name="connsiteX844" fmla="*/ 860108 w 1543050"/>
                <a:gd name="connsiteY844" fmla="*/ 295275 h 1390650"/>
                <a:gd name="connsiteX845" fmla="*/ 861060 w 1543050"/>
                <a:gd name="connsiteY845" fmla="*/ 300990 h 1390650"/>
                <a:gd name="connsiteX846" fmla="*/ 866775 w 1543050"/>
                <a:gd name="connsiteY846" fmla="*/ 309563 h 1390650"/>
                <a:gd name="connsiteX847" fmla="*/ 866775 w 1543050"/>
                <a:gd name="connsiteY847" fmla="*/ 315278 h 1390650"/>
                <a:gd name="connsiteX848" fmla="*/ 865822 w 1543050"/>
                <a:gd name="connsiteY848" fmla="*/ 321945 h 1390650"/>
                <a:gd name="connsiteX849" fmla="*/ 865822 w 1543050"/>
                <a:gd name="connsiteY849" fmla="*/ 325755 h 1390650"/>
                <a:gd name="connsiteX850" fmla="*/ 866775 w 1543050"/>
                <a:gd name="connsiteY850" fmla="*/ 329565 h 1390650"/>
                <a:gd name="connsiteX851" fmla="*/ 868680 w 1543050"/>
                <a:gd name="connsiteY851" fmla="*/ 333375 h 1390650"/>
                <a:gd name="connsiteX852" fmla="*/ 871537 w 1543050"/>
                <a:gd name="connsiteY852" fmla="*/ 335280 h 1390650"/>
                <a:gd name="connsiteX853" fmla="*/ 875347 w 1543050"/>
                <a:gd name="connsiteY853" fmla="*/ 335280 h 1390650"/>
                <a:gd name="connsiteX854" fmla="*/ 921067 w 1543050"/>
                <a:gd name="connsiteY854" fmla="*/ 335280 h 1390650"/>
                <a:gd name="connsiteX855" fmla="*/ 923925 w 1543050"/>
                <a:gd name="connsiteY855" fmla="*/ 334328 h 1390650"/>
                <a:gd name="connsiteX856" fmla="*/ 925830 w 1543050"/>
                <a:gd name="connsiteY856" fmla="*/ 332422 h 1390650"/>
                <a:gd name="connsiteX857" fmla="*/ 927735 w 1543050"/>
                <a:gd name="connsiteY857" fmla="*/ 323850 h 1390650"/>
                <a:gd name="connsiteX858" fmla="*/ 931545 w 1543050"/>
                <a:gd name="connsiteY858" fmla="*/ 321945 h 1390650"/>
                <a:gd name="connsiteX859" fmla="*/ 937260 w 1543050"/>
                <a:gd name="connsiteY859" fmla="*/ 320993 h 1390650"/>
                <a:gd name="connsiteX860" fmla="*/ 956310 w 1543050"/>
                <a:gd name="connsiteY860" fmla="*/ 323850 h 1390650"/>
                <a:gd name="connsiteX861" fmla="*/ 960120 w 1543050"/>
                <a:gd name="connsiteY861" fmla="*/ 325755 h 1390650"/>
                <a:gd name="connsiteX862" fmla="*/ 965835 w 1543050"/>
                <a:gd name="connsiteY862" fmla="*/ 331470 h 1390650"/>
                <a:gd name="connsiteX863" fmla="*/ 978217 w 1543050"/>
                <a:gd name="connsiteY863" fmla="*/ 338138 h 1390650"/>
                <a:gd name="connsiteX864" fmla="*/ 980122 w 1543050"/>
                <a:gd name="connsiteY864" fmla="*/ 339090 h 1390650"/>
                <a:gd name="connsiteX865" fmla="*/ 983933 w 1543050"/>
                <a:gd name="connsiteY865" fmla="*/ 343853 h 1390650"/>
                <a:gd name="connsiteX866" fmla="*/ 988695 w 1543050"/>
                <a:gd name="connsiteY866" fmla="*/ 352425 h 1390650"/>
                <a:gd name="connsiteX867" fmla="*/ 990600 w 1543050"/>
                <a:gd name="connsiteY867" fmla="*/ 357188 h 1390650"/>
                <a:gd name="connsiteX868" fmla="*/ 992505 w 1543050"/>
                <a:gd name="connsiteY868" fmla="*/ 360997 h 1390650"/>
                <a:gd name="connsiteX869" fmla="*/ 997267 w 1543050"/>
                <a:gd name="connsiteY869" fmla="*/ 363855 h 1390650"/>
                <a:gd name="connsiteX870" fmla="*/ 1007745 w 1543050"/>
                <a:gd name="connsiteY870" fmla="*/ 369570 h 1390650"/>
                <a:gd name="connsiteX871" fmla="*/ 1013460 w 1543050"/>
                <a:gd name="connsiteY871" fmla="*/ 371475 h 1390650"/>
                <a:gd name="connsiteX872" fmla="*/ 1017270 w 1543050"/>
                <a:gd name="connsiteY872" fmla="*/ 372428 h 1390650"/>
                <a:gd name="connsiteX873" fmla="*/ 1022985 w 1543050"/>
                <a:gd name="connsiteY873" fmla="*/ 371475 h 1390650"/>
                <a:gd name="connsiteX874" fmla="*/ 1027747 w 1543050"/>
                <a:gd name="connsiteY874" fmla="*/ 369570 h 1390650"/>
                <a:gd name="connsiteX875" fmla="*/ 1030605 w 1543050"/>
                <a:gd name="connsiteY875" fmla="*/ 368618 h 1390650"/>
                <a:gd name="connsiteX876" fmla="*/ 1033462 w 1543050"/>
                <a:gd name="connsiteY876" fmla="*/ 364807 h 1390650"/>
                <a:gd name="connsiteX877" fmla="*/ 1040130 w 1543050"/>
                <a:gd name="connsiteY877" fmla="*/ 356235 h 1390650"/>
                <a:gd name="connsiteX878" fmla="*/ 1046797 w 1543050"/>
                <a:gd name="connsiteY878" fmla="*/ 341947 h 1390650"/>
                <a:gd name="connsiteX879" fmla="*/ 1058228 w 1543050"/>
                <a:gd name="connsiteY879" fmla="*/ 322897 h 1390650"/>
                <a:gd name="connsiteX880" fmla="*/ 1061085 w 1543050"/>
                <a:gd name="connsiteY880" fmla="*/ 319088 h 1390650"/>
                <a:gd name="connsiteX881" fmla="*/ 1063942 w 1543050"/>
                <a:gd name="connsiteY881" fmla="*/ 317182 h 1390650"/>
                <a:gd name="connsiteX882" fmla="*/ 1067753 w 1543050"/>
                <a:gd name="connsiteY882" fmla="*/ 315278 h 1390650"/>
                <a:gd name="connsiteX883" fmla="*/ 1087755 w 1543050"/>
                <a:gd name="connsiteY883" fmla="*/ 312420 h 1390650"/>
                <a:gd name="connsiteX884" fmla="*/ 1096328 w 1543050"/>
                <a:gd name="connsiteY884" fmla="*/ 314325 h 1390650"/>
                <a:gd name="connsiteX885" fmla="*/ 1102042 w 1543050"/>
                <a:gd name="connsiteY885" fmla="*/ 316230 h 1390650"/>
                <a:gd name="connsiteX886" fmla="*/ 1116330 w 1543050"/>
                <a:gd name="connsiteY886" fmla="*/ 324803 h 1390650"/>
                <a:gd name="connsiteX887" fmla="*/ 1125855 w 1543050"/>
                <a:gd name="connsiteY887" fmla="*/ 334328 h 1390650"/>
                <a:gd name="connsiteX888" fmla="*/ 1127760 w 1543050"/>
                <a:gd name="connsiteY888" fmla="*/ 335280 h 1390650"/>
                <a:gd name="connsiteX889" fmla="*/ 1130617 w 1543050"/>
                <a:gd name="connsiteY889" fmla="*/ 334328 h 1390650"/>
                <a:gd name="connsiteX890" fmla="*/ 1136333 w 1543050"/>
                <a:gd name="connsiteY890" fmla="*/ 331470 h 1390650"/>
                <a:gd name="connsiteX891" fmla="*/ 1142048 w 1543050"/>
                <a:gd name="connsiteY891" fmla="*/ 330518 h 1390650"/>
                <a:gd name="connsiteX892" fmla="*/ 1148715 w 1543050"/>
                <a:gd name="connsiteY892" fmla="*/ 331470 h 1390650"/>
                <a:gd name="connsiteX893" fmla="*/ 1150620 w 1543050"/>
                <a:gd name="connsiteY893" fmla="*/ 333375 h 1390650"/>
                <a:gd name="connsiteX894" fmla="*/ 1185862 w 1543050"/>
                <a:gd name="connsiteY894" fmla="*/ 345757 h 1390650"/>
                <a:gd name="connsiteX895" fmla="*/ 1190625 w 1543050"/>
                <a:gd name="connsiteY895" fmla="*/ 346710 h 1390650"/>
                <a:gd name="connsiteX896" fmla="*/ 1282065 w 1543050"/>
                <a:gd name="connsiteY896" fmla="*/ 331470 h 1390650"/>
                <a:gd name="connsiteX897" fmla="*/ 1284923 w 1543050"/>
                <a:gd name="connsiteY897" fmla="*/ 331470 h 1390650"/>
                <a:gd name="connsiteX898" fmla="*/ 1285875 w 1543050"/>
                <a:gd name="connsiteY898" fmla="*/ 328613 h 1390650"/>
                <a:gd name="connsiteX899" fmla="*/ 1286828 w 1543050"/>
                <a:gd name="connsiteY899" fmla="*/ 326707 h 1390650"/>
                <a:gd name="connsiteX900" fmla="*/ 1286828 w 1543050"/>
                <a:gd name="connsiteY900" fmla="*/ 314325 h 1390650"/>
                <a:gd name="connsiteX901" fmla="*/ 1286828 w 1543050"/>
                <a:gd name="connsiteY901" fmla="*/ 311468 h 1390650"/>
                <a:gd name="connsiteX902" fmla="*/ 1287780 w 1543050"/>
                <a:gd name="connsiteY902" fmla="*/ 304800 h 1390650"/>
                <a:gd name="connsiteX903" fmla="*/ 1288733 w 1543050"/>
                <a:gd name="connsiteY903" fmla="*/ 301943 h 1390650"/>
                <a:gd name="connsiteX904" fmla="*/ 1290637 w 1543050"/>
                <a:gd name="connsiteY904" fmla="*/ 300990 h 1390650"/>
                <a:gd name="connsiteX905" fmla="*/ 1301115 w 1543050"/>
                <a:gd name="connsiteY905" fmla="*/ 299085 h 1390650"/>
                <a:gd name="connsiteX906" fmla="*/ 1303020 w 1543050"/>
                <a:gd name="connsiteY906" fmla="*/ 297180 h 1390650"/>
                <a:gd name="connsiteX907" fmla="*/ 1303973 w 1543050"/>
                <a:gd name="connsiteY907" fmla="*/ 295275 h 1390650"/>
                <a:gd name="connsiteX908" fmla="*/ 1303973 w 1543050"/>
                <a:gd name="connsiteY908" fmla="*/ 293370 h 1390650"/>
                <a:gd name="connsiteX909" fmla="*/ 1299210 w 1543050"/>
                <a:gd name="connsiteY909" fmla="*/ 287655 h 1390650"/>
                <a:gd name="connsiteX910" fmla="*/ 1298258 w 1543050"/>
                <a:gd name="connsiteY910" fmla="*/ 284797 h 1390650"/>
                <a:gd name="connsiteX911" fmla="*/ 1298258 w 1543050"/>
                <a:gd name="connsiteY911" fmla="*/ 281940 h 1390650"/>
                <a:gd name="connsiteX912" fmla="*/ 1299210 w 1543050"/>
                <a:gd name="connsiteY912" fmla="*/ 275272 h 1390650"/>
                <a:gd name="connsiteX913" fmla="*/ 1298258 w 1543050"/>
                <a:gd name="connsiteY913" fmla="*/ 269557 h 1390650"/>
                <a:gd name="connsiteX914" fmla="*/ 1294448 w 1543050"/>
                <a:gd name="connsiteY914" fmla="*/ 262890 h 1390650"/>
                <a:gd name="connsiteX915" fmla="*/ 1292542 w 1543050"/>
                <a:gd name="connsiteY915" fmla="*/ 258128 h 1390650"/>
                <a:gd name="connsiteX916" fmla="*/ 1293495 w 1543050"/>
                <a:gd name="connsiteY916" fmla="*/ 255270 h 1390650"/>
                <a:gd name="connsiteX917" fmla="*/ 1295400 w 1543050"/>
                <a:gd name="connsiteY917" fmla="*/ 250507 h 1390650"/>
                <a:gd name="connsiteX918" fmla="*/ 1297305 w 1543050"/>
                <a:gd name="connsiteY918" fmla="*/ 249555 h 1390650"/>
                <a:gd name="connsiteX919" fmla="*/ 1303020 w 1543050"/>
                <a:gd name="connsiteY919" fmla="*/ 247650 h 1390650"/>
                <a:gd name="connsiteX920" fmla="*/ 1317308 w 1543050"/>
                <a:gd name="connsiteY920" fmla="*/ 245745 h 1390650"/>
                <a:gd name="connsiteX921" fmla="*/ 1319212 w 1543050"/>
                <a:gd name="connsiteY921" fmla="*/ 245745 h 1390650"/>
                <a:gd name="connsiteX922" fmla="*/ 1321117 w 1543050"/>
                <a:gd name="connsiteY922" fmla="*/ 243840 h 1390650"/>
                <a:gd name="connsiteX923" fmla="*/ 1322070 w 1543050"/>
                <a:gd name="connsiteY923" fmla="*/ 238125 h 1390650"/>
                <a:gd name="connsiteX924" fmla="*/ 1322070 w 1543050"/>
                <a:gd name="connsiteY924" fmla="*/ 231457 h 1390650"/>
                <a:gd name="connsiteX925" fmla="*/ 1321117 w 1543050"/>
                <a:gd name="connsiteY925" fmla="*/ 229553 h 1390650"/>
                <a:gd name="connsiteX926" fmla="*/ 1319212 w 1543050"/>
                <a:gd name="connsiteY926" fmla="*/ 228600 h 1390650"/>
                <a:gd name="connsiteX927" fmla="*/ 1310640 w 1543050"/>
                <a:gd name="connsiteY927" fmla="*/ 226695 h 1390650"/>
                <a:gd name="connsiteX928" fmla="*/ 1307783 w 1543050"/>
                <a:gd name="connsiteY928" fmla="*/ 225743 h 1390650"/>
                <a:gd name="connsiteX929" fmla="*/ 1304925 w 1543050"/>
                <a:gd name="connsiteY929" fmla="*/ 221932 h 1390650"/>
                <a:gd name="connsiteX930" fmla="*/ 1303973 w 1543050"/>
                <a:gd name="connsiteY930" fmla="*/ 216218 h 1390650"/>
                <a:gd name="connsiteX931" fmla="*/ 1304925 w 1543050"/>
                <a:gd name="connsiteY931" fmla="*/ 209550 h 1390650"/>
                <a:gd name="connsiteX932" fmla="*/ 1306830 w 1543050"/>
                <a:gd name="connsiteY932" fmla="*/ 203835 h 1390650"/>
                <a:gd name="connsiteX933" fmla="*/ 1309687 w 1543050"/>
                <a:gd name="connsiteY933" fmla="*/ 199072 h 1390650"/>
                <a:gd name="connsiteX934" fmla="*/ 1311592 w 1543050"/>
                <a:gd name="connsiteY934" fmla="*/ 197168 h 1390650"/>
                <a:gd name="connsiteX935" fmla="*/ 1315403 w 1543050"/>
                <a:gd name="connsiteY935" fmla="*/ 194310 h 1390650"/>
                <a:gd name="connsiteX936" fmla="*/ 1322070 w 1543050"/>
                <a:gd name="connsiteY936" fmla="*/ 190500 h 1390650"/>
                <a:gd name="connsiteX937" fmla="*/ 1343978 w 1543050"/>
                <a:gd name="connsiteY937" fmla="*/ 186690 h 1390650"/>
                <a:gd name="connsiteX938" fmla="*/ 1354455 w 1543050"/>
                <a:gd name="connsiteY938" fmla="*/ 182880 h 1390650"/>
                <a:gd name="connsiteX939" fmla="*/ 1357312 w 1543050"/>
                <a:gd name="connsiteY939" fmla="*/ 182880 h 1390650"/>
                <a:gd name="connsiteX940" fmla="*/ 1359217 w 1543050"/>
                <a:gd name="connsiteY940" fmla="*/ 184785 h 1390650"/>
                <a:gd name="connsiteX941" fmla="*/ 1364933 w 1543050"/>
                <a:gd name="connsiteY941" fmla="*/ 193357 h 1390650"/>
                <a:gd name="connsiteX942" fmla="*/ 1366837 w 1543050"/>
                <a:gd name="connsiteY942" fmla="*/ 195263 h 1390650"/>
                <a:gd name="connsiteX943" fmla="*/ 1369695 w 1543050"/>
                <a:gd name="connsiteY943" fmla="*/ 198120 h 1390650"/>
                <a:gd name="connsiteX944" fmla="*/ 1375410 w 1543050"/>
                <a:gd name="connsiteY944" fmla="*/ 200978 h 1390650"/>
                <a:gd name="connsiteX945" fmla="*/ 1379220 w 1543050"/>
                <a:gd name="connsiteY945" fmla="*/ 200978 h 1390650"/>
                <a:gd name="connsiteX946" fmla="*/ 1382078 w 1543050"/>
                <a:gd name="connsiteY946" fmla="*/ 200025 h 1390650"/>
                <a:gd name="connsiteX947" fmla="*/ 1383030 w 1543050"/>
                <a:gd name="connsiteY947" fmla="*/ 198120 h 1390650"/>
                <a:gd name="connsiteX948" fmla="*/ 1386840 w 1543050"/>
                <a:gd name="connsiteY948" fmla="*/ 189547 h 1390650"/>
                <a:gd name="connsiteX949" fmla="*/ 1387792 w 1543050"/>
                <a:gd name="connsiteY949" fmla="*/ 186690 h 1390650"/>
                <a:gd name="connsiteX950" fmla="*/ 1389698 w 1543050"/>
                <a:gd name="connsiteY950" fmla="*/ 184785 h 1390650"/>
                <a:gd name="connsiteX951" fmla="*/ 1405890 w 1543050"/>
                <a:gd name="connsiteY951" fmla="*/ 181928 h 1390650"/>
                <a:gd name="connsiteX952" fmla="*/ 1409700 w 1543050"/>
                <a:gd name="connsiteY952" fmla="*/ 179070 h 1390650"/>
                <a:gd name="connsiteX953" fmla="*/ 1411605 w 1543050"/>
                <a:gd name="connsiteY953" fmla="*/ 177165 h 1390650"/>
                <a:gd name="connsiteX954" fmla="*/ 1411605 w 1543050"/>
                <a:gd name="connsiteY954" fmla="*/ 173355 h 1390650"/>
                <a:gd name="connsiteX955" fmla="*/ 1409700 w 1543050"/>
                <a:gd name="connsiteY955" fmla="*/ 165735 h 1390650"/>
                <a:gd name="connsiteX956" fmla="*/ 1408748 w 1543050"/>
                <a:gd name="connsiteY956" fmla="*/ 160020 h 1390650"/>
                <a:gd name="connsiteX957" fmla="*/ 1409700 w 1543050"/>
                <a:gd name="connsiteY957" fmla="*/ 154305 h 1390650"/>
                <a:gd name="connsiteX958" fmla="*/ 1410653 w 1543050"/>
                <a:gd name="connsiteY958" fmla="*/ 151447 h 1390650"/>
                <a:gd name="connsiteX959" fmla="*/ 1412558 w 1543050"/>
                <a:gd name="connsiteY959" fmla="*/ 148590 h 1390650"/>
                <a:gd name="connsiteX960" fmla="*/ 1416367 w 1543050"/>
                <a:gd name="connsiteY960" fmla="*/ 146685 h 1390650"/>
                <a:gd name="connsiteX961" fmla="*/ 1423035 w 1543050"/>
                <a:gd name="connsiteY961" fmla="*/ 144780 h 1390650"/>
                <a:gd name="connsiteX962" fmla="*/ 1428750 w 1543050"/>
                <a:gd name="connsiteY962" fmla="*/ 144780 h 1390650"/>
                <a:gd name="connsiteX963" fmla="*/ 1442085 w 1543050"/>
                <a:gd name="connsiteY963" fmla="*/ 147638 h 1390650"/>
                <a:gd name="connsiteX964" fmla="*/ 1444942 w 1543050"/>
                <a:gd name="connsiteY964" fmla="*/ 146685 h 1390650"/>
                <a:gd name="connsiteX965" fmla="*/ 1456373 w 1543050"/>
                <a:gd name="connsiteY965" fmla="*/ 139065 h 1390650"/>
                <a:gd name="connsiteX966" fmla="*/ 1459230 w 1543050"/>
                <a:gd name="connsiteY966" fmla="*/ 139065 h 1390650"/>
                <a:gd name="connsiteX967" fmla="*/ 1461135 w 1543050"/>
                <a:gd name="connsiteY967" fmla="*/ 140018 h 1390650"/>
                <a:gd name="connsiteX968" fmla="*/ 1463040 w 1543050"/>
                <a:gd name="connsiteY968" fmla="*/ 145732 h 1390650"/>
                <a:gd name="connsiteX969" fmla="*/ 1463992 w 1543050"/>
                <a:gd name="connsiteY969" fmla="*/ 150495 h 1390650"/>
                <a:gd name="connsiteX970" fmla="*/ 1465898 w 1543050"/>
                <a:gd name="connsiteY970" fmla="*/ 156210 h 1390650"/>
                <a:gd name="connsiteX971" fmla="*/ 1467803 w 1543050"/>
                <a:gd name="connsiteY971" fmla="*/ 160020 h 1390650"/>
                <a:gd name="connsiteX972" fmla="*/ 1477328 w 1543050"/>
                <a:gd name="connsiteY972" fmla="*/ 171450 h 1390650"/>
                <a:gd name="connsiteX973" fmla="*/ 1479233 w 1543050"/>
                <a:gd name="connsiteY973" fmla="*/ 175260 h 1390650"/>
                <a:gd name="connsiteX974" fmla="*/ 1480185 w 1543050"/>
                <a:gd name="connsiteY974" fmla="*/ 180022 h 1390650"/>
                <a:gd name="connsiteX975" fmla="*/ 1480185 w 1543050"/>
                <a:gd name="connsiteY975" fmla="*/ 189547 h 1390650"/>
                <a:gd name="connsiteX976" fmla="*/ 1480185 w 1543050"/>
                <a:gd name="connsiteY976" fmla="*/ 192405 h 1390650"/>
                <a:gd name="connsiteX977" fmla="*/ 1482090 w 1543050"/>
                <a:gd name="connsiteY977" fmla="*/ 194310 h 1390650"/>
                <a:gd name="connsiteX978" fmla="*/ 1490662 w 1543050"/>
                <a:gd name="connsiteY978" fmla="*/ 200978 h 139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</a:cxnLst>
              <a:rect l="l" t="t" r="r" b="b"/>
              <a:pathLst>
                <a:path w="1543050" h="1390650">
                  <a:moveTo>
                    <a:pt x="866775" y="1323023"/>
                  </a:moveTo>
                  <a:lnTo>
                    <a:pt x="847725" y="1353503"/>
                  </a:lnTo>
                  <a:lnTo>
                    <a:pt x="823912" y="1343025"/>
                  </a:lnTo>
                  <a:lnTo>
                    <a:pt x="811530" y="1340168"/>
                  </a:lnTo>
                  <a:lnTo>
                    <a:pt x="800100" y="1339215"/>
                  </a:lnTo>
                  <a:lnTo>
                    <a:pt x="792480" y="1343978"/>
                  </a:lnTo>
                  <a:lnTo>
                    <a:pt x="783908" y="1352550"/>
                  </a:lnTo>
                  <a:lnTo>
                    <a:pt x="781050" y="1356360"/>
                  </a:lnTo>
                  <a:lnTo>
                    <a:pt x="779145" y="1362075"/>
                  </a:lnTo>
                  <a:lnTo>
                    <a:pt x="778192" y="1369695"/>
                  </a:lnTo>
                  <a:lnTo>
                    <a:pt x="779145" y="1393507"/>
                  </a:lnTo>
                  <a:lnTo>
                    <a:pt x="766762" y="1361123"/>
                  </a:lnTo>
                  <a:lnTo>
                    <a:pt x="762953" y="1356360"/>
                  </a:lnTo>
                  <a:lnTo>
                    <a:pt x="755333" y="1353503"/>
                  </a:lnTo>
                  <a:lnTo>
                    <a:pt x="693420" y="1290638"/>
                  </a:lnTo>
                  <a:lnTo>
                    <a:pt x="684847" y="1272540"/>
                  </a:lnTo>
                  <a:lnTo>
                    <a:pt x="701992" y="1286828"/>
                  </a:lnTo>
                  <a:lnTo>
                    <a:pt x="716280" y="1301115"/>
                  </a:lnTo>
                  <a:lnTo>
                    <a:pt x="723900" y="1305878"/>
                  </a:lnTo>
                  <a:lnTo>
                    <a:pt x="816292" y="1298257"/>
                  </a:lnTo>
                  <a:lnTo>
                    <a:pt x="834390" y="1303973"/>
                  </a:lnTo>
                  <a:lnTo>
                    <a:pt x="863917" y="1322070"/>
                  </a:lnTo>
                  <a:lnTo>
                    <a:pt x="866775" y="1323023"/>
                  </a:lnTo>
                  <a:close/>
                  <a:moveTo>
                    <a:pt x="1490662" y="200978"/>
                  </a:moveTo>
                  <a:lnTo>
                    <a:pt x="1496378" y="205740"/>
                  </a:lnTo>
                  <a:lnTo>
                    <a:pt x="1495425" y="210503"/>
                  </a:lnTo>
                  <a:lnTo>
                    <a:pt x="1492567" y="218122"/>
                  </a:lnTo>
                  <a:lnTo>
                    <a:pt x="1488758" y="232410"/>
                  </a:lnTo>
                  <a:lnTo>
                    <a:pt x="1488758" y="237172"/>
                  </a:lnTo>
                  <a:lnTo>
                    <a:pt x="1489710" y="240030"/>
                  </a:lnTo>
                  <a:lnTo>
                    <a:pt x="1492567" y="241935"/>
                  </a:lnTo>
                  <a:lnTo>
                    <a:pt x="1498283" y="241935"/>
                  </a:lnTo>
                  <a:lnTo>
                    <a:pt x="1501140" y="240982"/>
                  </a:lnTo>
                  <a:lnTo>
                    <a:pt x="1504950" y="241935"/>
                  </a:lnTo>
                  <a:lnTo>
                    <a:pt x="1508760" y="243840"/>
                  </a:lnTo>
                  <a:lnTo>
                    <a:pt x="1513523" y="251460"/>
                  </a:lnTo>
                  <a:lnTo>
                    <a:pt x="1515428" y="256222"/>
                  </a:lnTo>
                  <a:lnTo>
                    <a:pt x="1515428" y="259080"/>
                  </a:lnTo>
                  <a:lnTo>
                    <a:pt x="1511617" y="263843"/>
                  </a:lnTo>
                  <a:lnTo>
                    <a:pt x="1510665" y="266700"/>
                  </a:lnTo>
                  <a:lnTo>
                    <a:pt x="1509712" y="270510"/>
                  </a:lnTo>
                  <a:lnTo>
                    <a:pt x="1508760" y="288607"/>
                  </a:lnTo>
                  <a:lnTo>
                    <a:pt x="1507808" y="292418"/>
                  </a:lnTo>
                  <a:lnTo>
                    <a:pt x="1505903" y="297180"/>
                  </a:lnTo>
                  <a:lnTo>
                    <a:pt x="1503998" y="307657"/>
                  </a:lnTo>
                  <a:lnTo>
                    <a:pt x="1503998" y="350520"/>
                  </a:lnTo>
                  <a:lnTo>
                    <a:pt x="1503998" y="356235"/>
                  </a:lnTo>
                  <a:lnTo>
                    <a:pt x="1505903" y="360045"/>
                  </a:lnTo>
                  <a:lnTo>
                    <a:pt x="1509712" y="362903"/>
                  </a:lnTo>
                  <a:lnTo>
                    <a:pt x="1512570" y="365760"/>
                  </a:lnTo>
                  <a:lnTo>
                    <a:pt x="1515428" y="370522"/>
                  </a:lnTo>
                  <a:lnTo>
                    <a:pt x="1518285" y="381000"/>
                  </a:lnTo>
                  <a:lnTo>
                    <a:pt x="1517333" y="384810"/>
                  </a:lnTo>
                  <a:lnTo>
                    <a:pt x="1515428" y="387668"/>
                  </a:lnTo>
                  <a:lnTo>
                    <a:pt x="1492567" y="389572"/>
                  </a:lnTo>
                  <a:lnTo>
                    <a:pt x="1472565" y="395288"/>
                  </a:lnTo>
                  <a:lnTo>
                    <a:pt x="1469708" y="396240"/>
                  </a:lnTo>
                  <a:lnTo>
                    <a:pt x="1465898" y="400050"/>
                  </a:lnTo>
                  <a:lnTo>
                    <a:pt x="1463040" y="401955"/>
                  </a:lnTo>
                  <a:lnTo>
                    <a:pt x="1463992" y="406718"/>
                  </a:lnTo>
                  <a:lnTo>
                    <a:pt x="1466850" y="414338"/>
                  </a:lnTo>
                  <a:lnTo>
                    <a:pt x="1475423" y="429578"/>
                  </a:lnTo>
                  <a:lnTo>
                    <a:pt x="1479233" y="439103"/>
                  </a:lnTo>
                  <a:lnTo>
                    <a:pt x="1482090" y="447675"/>
                  </a:lnTo>
                  <a:lnTo>
                    <a:pt x="1483042" y="455295"/>
                  </a:lnTo>
                  <a:lnTo>
                    <a:pt x="1483042" y="460057"/>
                  </a:lnTo>
                  <a:lnTo>
                    <a:pt x="1481137" y="463868"/>
                  </a:lnTo>
                  <a:lnTo>
                    <a:pt x="1478280" y="467678"/>
                  </a:lnTo>
                  <a:lnTo>
                    <a:pt x="1472565" y="474345"/>
                  </a:lnTo>
                  <a:lnTo>
                    <a:pt x="1468755" y="480060"/>
                  </a:lnTo>
                  <a:lnTo>
                    <a:pt x="1467803" y="485775"/>
                  </a:lnTo>
                  <a:lnTo>
                    <a:pt x="1467803" y="489585"/>
                  </a:lnTo>
                  <a:lnTo>
                    <a:pt x="1468755" y="491490"/>
                  </a:lnTo>
                  <a:lnTo>
                    <a:pt x="1470660" y="493395"/>
                  </a:lnTo>
                  <a:lnTo>
                    <a:pt x="1474470" y="495300"/>
                  </a:lnTo>
                  <a:lnTo>
                    <a:pt x="1519237" y="501968"/>
                  </a:lnTo>
                  <a:lnTo>
                    <a:pt x="1518285" y="508635"/>
                  </a:lnTo>
                  <a:lnTo>
                    <a:pt x="1517333" y="518160"/>
                  </a:lnTo>
                  <a:lnTo>
                    <a:pt x="1518285" y="523875"/>
                  </a:lnTo>
                  <a:lnTo>
                    <a:pt x="1519237" y="528638"/>
                  </a:lnTo>
                  <a:lnTo>
                    <a:pt x="1522095" y="533400"/>
                  </a:lnTo>
                  <a:lnTo>
                    <a:pt x="1529715" y="540068"/>
                  </a:lnTo>
                  <a:lnTo>
                    <a:pt x="1532573" y="542925"/>
                  </a:lnTo>
                  <a:lnTo>
                    <a:pt x="1534478" y="547688"/>
                  </a:lnTo>
                  <a:lnTo>
                    <a:pt x="1534478" y="550545"/>
                  </a:lnTo>
                  <a:lnTo>
                    <a:pt x="1530667" y="559118"/>
                  </a:lnTo>
                  <a:lnTo>
                    <a:pt x="1530667" y="561975"/>
                  </a:lnTo>
                  <a:lnTo>
                    <a:pt x="1530667" y="566738"/>
                  </a:lnTo>
                  <a:lnTo>
                    <a:pt x="1534478" y="574357"/>
                  </a:lnTo>
                  <a:lnTo>
                    <a:pt x="1536383" y="580072"/>
                  </a:lnTo>
                  <a:lnTo>
                    <a:pt x="1538287" y="583882"/>
                  </a:lnTo>
                  <a:lnTo>
                    <a:pt x="1538287" y="590550"/>
                  </a:lnTo>
                  <a:lnTo>
                    <a:pt x="1536383" y="596265"/>
                  </a:lnTo>
                  <a:lnTo>
                    <a:pt x="1535430" y="602932"/>
                  </a:lnTo>
                  <a:lnTo>
                    <a:pt x="1535430" y="606743"/>
                  </a:lnTo>
                  <a:lnTo>
                    <a:pt x="1536383" y="612457"/>
                  </a:lnTo>
                  <a:lnTo>
                    <a:pt x="1540192" y="621030"/>
                  </a:lnTo>
                  <a:lnTo>
                    <a:pt x="1540192" y="626745"/>
                  </a:lnTo>
                  <a:lnTo>
                    <a:pt x="1539240" y="629603"/>
                  </a:lnTo>
                  <a:lnTo>
                    <a:pt x="1537335" y="631507"/>
                  </a:lnTo>
                  <a:lnTo>
                    <a:pt x="1532573" y="633413"/>
                  </a:lnTo>
                  <a:lnTo>
                    <a:pt x="1522095" y="634365"/>
                  </a:lnTo>
                  <a:lnTo>
                    <a:pt x="1516380" y="632460"/>
                  </a:lnTo>
                  <a:lnTo>
                    <a:pt x="1515428" y="630555"/>
                  </a:lnTo>
                  <a:lnTo>
                    <a:pt x="1514475" y="628650"/>
                  </a:lnTo>
                  <a:lnTo>
                    <a:pt x="1511617" y="618172"/>
                  </a:lnTo>
                  <a:lnTo>
                    <a:pt x="1505903" y="606743"/>
                  </a:lnTo>
                  <a:lnTo>
                    <a:pt x="1504950" y="604838"/>
                  </a:lnTo>
                  <a:lnTo>
                    <a:pt x="1503045" y="603885"/>
                  </a:lnTo>
                  <a:lnTo>
                    <a:pt x="1501140" y="604838"/>
                  </a:lnTo>
                  <a:lnTo>
                    <a:pt x="1500187" y="609600"/>
                  </a:lnTo>
                  <a:lnTo>
                    <a:pt x="1498283" y="616268"/>
                  </a:lnTo>
                  <a:lnTo>
                    <a:pt x="1496378" y="620078"/>
                  </a:lnTo>
                  <a:lnTo>
                    <a:pt x="1488758" y="631507"/>
                  </a:lnTo>
                  <a:lnTo>
                    <a:pt x="1485900" y="638175"/>
                  </a:lnTo>
                  <a:lnTo>
                    <a:pt x="1485900" y="640080"/>
                  </a:lnTo>
                  <a:lnTo>
                    <a:pt x="1487805" y="644843"/>
                  </a:lnTo>
                  <a:lnTo>
                    <a:pt x="1490662" y="648653"/>
                  </a:lnTo>
                  <a:lnTo>
                    <a:pt x="1494473" y="652463"/>
                  </a:lnTo>
                  <a:lnTo>
                    <a:pt x="1500187" y="654368"/>
                  </a:lnTo>
                  <a:lnTo>
                    <a:pt x="1518285" y="654368"/>
                  </a:lnTo>
                  <a:lnTo>
                    <a:pt x="1520190" y="655320"/>
                  </a:lnTo>
                  <a:lnTo>
                    <a:pt x="1523048" y="656272"/>
                  </a:lnTo>
                  <a:lnTo>
                    <a:pt x="1524000" y="658178"/>
                  </a:lnTo>
                  <a:lnTo>
                    <a:pt x="1535430" y="683895"/>
                  </a:lnTo>
                  <a:lnTo>
                    <a:pt x="1537335" y="691515"/>
                  </a:lnTo>
                  <a:lnTo>
                    <a:pt x="1537335" y="696278"/>
                  </a:lnTo>
                  <a:lnTo>
                    <a:pt x="1537335" y="701040"/>
                  </a:lnTo>
                  <a:lnTo>
                    <a:pt x="1535430" y="707707"/>
                  </a:lnTo>
                  <a:lnTo>
                    <a:pt x="1530667" y="721995"/>
                  </a:lnTo>
                  <a:lnTo>
                    <a:pt x="1527810" y="731520"/>
                  </a:lnTo>
                  <a:lnTo>
                    <a:pt x="1526858" y="738188"/>
                  </a:lnTo>
                  <a:lnTo>
                    <a:pt x="1526858" y="743903"/>
                  </a:lnTo>
                  <a:lnTo>
                    <a:pt x="1528762" y="748665"/>
                  </a:lnTo>
                  <a:lnTo>
                    <a:pt x="1531620" y="756285"/>
                  </a:lnTo>
                  <a:lnTo>
                    <a:pt x="1543050" y="776288"/>
                  </a:lnTo>
                  <a:lnTo>
                    <a:pt x="1544003" y="779145"/>
                  </a:lnTo>
                  <a:lnTo>
                    <a:pt x="1544003" y="781050"/>
                  </a:lnTo>
                  <a:lnTo>
                    <a:pt x="1541145" y="787718"/>
                  </a:lnTo>
                  <a:lnTo>
                    <a:pt x="1539240" y="793432"/>
                  </a:lnTo>
                  <a:lnTo>
                    <a:pt x="1538287" y="796290"/>
                  </a:lnTo>
                  <a:lnTo>
                    <a:pt x="1535430" y="798195"/>
                  </a:lnTo>
                  <a:lnTo>
                    <a:pt x="1531620" y="798195"/>
                  </a:lnTo>
                  <a:lnTo>
                    <a:pt x="1528762" y="797243"/>
                  </a:lnTo>
                  <a:lnTo>
                    <a:pt x="1522095" y="793432"/>
                  </a:lnTo>
                  <a:lnTo>
                    <a:pt x="1519237" y="792480"/>
                  </a:lnTo>
                  <a:lnTo>
                    <a:pt x="1516380" y="793432"/>
                  </a:lnTo>
                  <a:lnTo>
                    <a:pt x="1512570" y="795338"/>
                  </a:lnTo>
                  <a:lnTo>
                    <a:pt x="1497330" y="813435"/>
                  </a:lnTo>
                  <a:lnTo>
                    <a:pt x="1494473" y="815340"/>
                  </a:lnTo>
                  <a:lnTo>
                    <a:pt x="1490662" y="817245"/>
                  </a:lnTo>
                  <a:lnTo>
                    <a:pt x="1483042" y="818197"/>
                  </a:lnTo>
                  <a:lnTo>
                    <a:pt x="1470660" y="818197"/>
                  </a:lnTo>
                  <a:lnTo>
                    <a:pt x="1469708" y="817245"/>
                  </a:lnTo>
                  <a:lnTo>
                    <a:pt x="1463992" y="810578"/>
                  </a:lnTo>
                  <a:lnTo>
                    <a:pt x="1462087" y="809625"/>
                  </a:lnTo>
                  <a:lnTo>
                    <a:pt x="1459230" y="810578"/>
                  </a:lnTo>
                  <a:lnTo>
                    <a:pt x="1456373" y="814388"/>
                  </a:lnTo>
                  <a:lnTo>
                    <a:pt x="1451610" y="827722"/>
                  </a:lnTo>
                  <a:lnTo>
                    <a:pt x="1438275" y="857250"/>
                  </a:lnTo>
                  <a:lnTo>
                    <a:pt x="1428750" y="869632"/>
                  </a:lnTo>
                  <a:lnTo>
                    <a:pt x="1426845" y="875347"/>
                  </a:lnTo>
                  <a:lnTo>
                    <a:pt x="1427798" y="880110"/>
                  </a:lnTo>
                  <a:lnTo>
                    <a:pt x="1428750" y="885825"/>
                  </a:lnTo>
                  <a:lnTo>
                    <a:pt x="1429703" y="893445"/>
                  </a:lnTo>
                  <a:lnTo>
                    <a:pt x="1430655" y="895350"/>
                  </a:lnTo>
                  <a:lnTo>
                    <a:pt x="1432560" y="897255"/>
                  </a:lnTo>
                  <a:lnTo>
                    <a:pt x="1435417" y="897255"/>
                  </a:lnTo>
                  <a:lnTo>
                    <a:pt x="1443037" y="896303"/>
                  </a:lnTo>
                  <a:lnTo>
                    <a:pt x="1448753" y="897255"/>
                  </a:lnTo>
                  <a:lnTo>
                    <a:pt x="1479233" y="915353"/>
                  </a:lnTo>
                  <a:lnTo>
                    <a:pt x="1503045" y="938213"/>
                  </a:lnTo>
                  <a:lnTo>
                    <a:pt x="1503998" y="941070"/>
                  </a:lnTo>
                  <a:lnTo>
                    <a:pt x="1503998" y="942975"/>
                  </a:lnTo>
                  <a:lnTo>
                    <a:pt x="1502092" y="948690"/>
                  </a:lnTo>
                  <a:lnTo>
                    <a:pt x="1498283" y="955357"/>
                  </a:lnTo>
                  <a:lnTo>
                    <a:pt x="1488758" y="965835"/>
                  </a:lnTo>
                  <a:lnTo>
                    <a:pt x="1486853" y="968693"/>
                  </a:lnTo>
                  <a:lnTo>
                    <a:pt x="1485900" y="972503"/>
                  </a:lnTo>
                  <a:lnTo>
                    <a:pt x="1485900" y="977265"/>
                  </a:lnTo>
                  <a:lnTo>
                    <a:pt x="1484948" y="978218"/>
                  </a:lnTo>
                  <a:lnTo>
                    <a:pt x="1470660" y="968693"/>
                  </a:lnTo>
                  <a:lnTo>
                    <a:pt x="1467803" y="965835"/>
                  </a:lnTo>
                  <a:lnTo>
                    <a:pt x="1464945" y="962025"/>
                  </a:lnTo>
                  <a:lnTo>
                    <a:pt x="1462087" y="958215"/>
                  </a:lnTo>
                  <a:lnTo>
                    <a:pt x="1458278" y="955357"/>
                  </a:lnTo>
                  <a:lnTo>
                    <a:pt x="1453515" y="957263"/>
                  </a:lnTo>
                  <a:lnTo>
                    <a:pt x="1447800" y="962025"/>
                  </a:lnTo>
                  <a:lnTo>
                    <a:pt x="1445895" y="965835"/>
                  </a:lnTo>
                  <a:lnTo>
                    <a:pt x="1444942" y="969645"/>
                  </a:lnTo>
                  <a:lnTo>
                    <a:pt x="1445895" y="978218"/>
                  </a:lnTo>
                  <a:lnTo>
                    <a:pt x="1445895" y="983932"/>
                  </a:lnTo>
                  <a:lnTo>
                    <a:pt x="1447800" y="988695"/>
                  </a:lnTo>
                  <a:lnTo>
                    <a:pt x="1451610" y="992505"/>
                  </a:lnTo>
                  <a:lnTo>
                    <a:pt x="1453515" y="993457"/>
                  </a:lnTo>
                  <a:lnTo>
                    <a:pt x="1472565" y="993457"/>
                  </a:lnTo>
                  <a:lnTo>
                    <a:pt x="1476375" y="995363"/>
                  </a:lnTo>
                  <a:lnTo>
                    <a:pt x="1479233" y="999172"/>
                  </a:lnTo>
                  <a:lnTo>
                    <a:pt x="1480185" y="1001078"/>
                  </a:lnTo>
                  <a:lnTo>
                    <a:pt x="1477328" y="1004888"/>
                  </a:lnTo>
                  <a:lnTo>
                    <a:pt x="1471612" y="1007745"/>
                  </a:lnTo>
                  <a:lnTo>
                    <a:pt x="1450658" y="1013460"/>
                  </a:lnTo>
                  <a:lnTo>
                    <a:pt x="1443037" y="1017270"/>
                  </a:lnTo>
                  <a:lnTo>
                    <a:pt x="1431608" y="1030605"/>
                  </a:lnTo>
                  <a:lnTo>
                    <a:pt x="1426845" y="1032510"/>
                  </a:lnTo>
                  <a:lnTo>
                    <a:pt x="1375410" y="1041082"/>
                  </a:lnTo>
                  <a:lnTo>
                    <a:pt x="1372553" y="1042035"/>
                  </a:lnTo>
                  <a:lnTo>
                    <a:pt x="1369695" y="1045845"/>
                  </a:lnTo>
                  <a:lnTo>
                    <a:pt x="1369695" y="1048703"/>
                  </a:lnTo>
                  <a:lnTo>
                    <a:pt x="1370648" y="1051560"/>
                  </a:lnTo>
                  <a:lnTo>
                    <a:pt x="1372553" y="1053465"/>
                  </a:lnTo>
                  <a:lnTo>
                    <a:pt x="1376362" y="1055370"/>
                  </a:lnTo>
                  <a:lnTo>
                    <a:pt x="1380173" y="1057275"/>
                  </a:lnTo>
                  <a:lnTo>
                    <a:pt x="1392555" y="1058228"/>
                  </a:lnTo>
                  <a:lnTo>
                    <a:pt x="1421130" y="1055370"/>
                  </a:lnTo>
                  <a:lnTo>
                    <a:pt x="1424940" y="1056323"/>
                  </a:lnTo>
                  <a:lnTo>
                    <a:pt x="1429703" y="1059180"/>
                  </a:lnTo>
                  <a:lnTo>
                    <a:pt x="1432560" y="1060132"/>
                  </a:lnTo>
                  <a:lnTo>
                    <a:pt x="1437323" y="1059180"/>
                  </a:lnTo>
                  <a:lnTo>
                    <a:pt x="1439228" y="1060132"/>
                  </a:lnTo>
                  <a:lnTo>
                    <a:pt x="1441133" y="1062038"/>
                  </a:lnTo>
                  <a:lnTo>
                    <a:pt x="1435417" y="1065848"/>
                  </a:lnTo>
                  <a:lnTo>
                    <a:pt x="1426845" y="1070610"/>
                  </a:lnTo>
                  <a:lnTo>
                    <a:pt x="1385887" y="1084898"/>
                  </a:lnTo>
                  <a:lnTo>
                    <a:pt x="1381125" y="1087755"/>
                  </a:lnTo>
                  <a:lnTo>
                    <a:pt x="1378267" y="1088707"/>
                  </a:lnTo>
                  <a:lnTo>
                    <a:pt x="1352550" y="1087755"/>
                  </a:lnTo>
                  <a:lnTo>
                    <a:pt x="1323975" y="1091565"/>
                  </a:lnTo>
                  <a:lnTo>
                    <a:pt x="1318260" y="1091565"/>
                  </a:lnTo>
                  <a:lnTo>
                    <a:pt x="1314450" y="1089660"/>
                  </a:lnTo>
                  <a:lnTo>
                    <a:pt x="1312545" y="1087755"/>
                  </a:lnTo>
                  <a:lnTo>
                    <a:pt x="1309687" y="1083945"/>
                  </a:lnTo>
                  <a:lnTo>
                    <a:pt x="1305878" y="1077278"/>
                  </a:lnTo>
                  <a:lnTo>
                    <a:pt x="1303020" y="1073468"/>
                  </a:lnTo>
                  <a:lnTo>
                    <a:pt x="1300162" y="1072515"/>
                  </a:lnTo>
                  <a:lnTo>
                    <a:pt x="1288733" y="1068705"/>
                  </a:lnTo>
                  <a:lnTo>
                    <a:pt x="1285875" y="1066800"/>
                  </a:lnTo>
                  <a:lnTo>
                    <a:pt x="1282065" y="1063943"/>
                  </a:lnTo>
                  <a:lnTo>
                    <a:pt x="1278255" y="1062990"/>
                  </a:lnTo>
                  <a:lnTo>
                    <a:pt x="1257300" y="1062990"/>
                  </a:lnTo>
                  <a:lnTo>
                    <a:pt x="1251585" y="1062038"/>
                  </a:lnTo>
                  <a:lnTo>
                    <a:pt x="1247775" y="1060132"/>
                  </a:lnTo>
                  <a:lnTo>
                    <a:pt x="1245870" y="1059180"/>
                  </a:lnTo>
                  <a:lnTo>
                    <a:pt x="1241108" y="1058228"/>
                  </a:lnTo>
                  <a:lnTo>
                    <a:pt x="1239203" y="1057275"/>
                  </a:lnTo>
                  <a:lnTo>
                    <a:pt x="1235392" y="1053465"/>
                  </a:lnTo>
                  <a:lnTo>
                    <a:pt x="1233487" y="1052513"/>
                  </a:lnTo>
                  <a:lnTo>
                    <a:pt x="1230630" y="1052513"/>
                  </a:lnTo>
                  <a:lnTo>
                    <a:pt x="1228725" y="1053465"/>
                  </a:lnTo>
                  <a:lnTo>
                    <a:pt x="1227773" y="1057275"/>
                  </a:lnTo>
                  <a:lnTo>
                    <a:pt x="1227773" y="1068705"/>
                  </a:lnTo>
                  <a:lnTo>
                    <a:pt x="1227773" y="1071563"/>
                  </a:lnTo>
                  <a:lnTo>
                    <a:pt x="1225867" y="1078230"/>
                  </a:lnTo>
                  <a:lnTo>
                    <a:pt x="1223010" y="1082040"/>
                  </a:lnTo>
                  <a:lnTo>
                    <a:pt x="1220153" y="1083945"/>
                  </a:lnTo>
                  <a:lnTo>
                    <a:pt x="1216342" y="1084898"/>
                  </a:lnTo>
                  <a:lnTo>
                    <a:pt x="1197292" y="1086803"/>
                  </a:lnTo>
                  <a:lnTo>
                    <a:pt x="1192530" y="1085850"/>
                  </a:lnTo>
                  <a:lnTo>
                    <a:pt x="1188720" y="1083945"/>
                  </a:lnTo>
                  <a:lnTo>
                    <a:pt x="1185862" y="1076325"/>
                  </a:lnTo>
                  <a:lnTo>
                    <a:pt x="1183958" y="1074420"/>
                  </a:lnTo>
                  <a:lnTo>
                    <a:pt x="1182053" y="1073468"/>
                  </a:lnTo>
                  <a:lnTo>
                    <a:pt x="1179195" y="1073468"/>
                  </a:lnTo>
                  <a:lnTo>
                    <a:pt x="1167765" y="1074420"/>
                  </a:lnTo>
                  <a:lnTo>
                    <a:pt x="1149667" y="1079182"/>
                  </a:lnTo>
                  <a:lnTo>
                    <a:pt x="1145858" y="1081088"/>
                  </a:lnTo>
                  <a:lnTo>
                    <a:pt x="1142048" y="1085850"/>
                  </a:lnTo>
                  <a:lnTo>
                    <a:pt x="1140142" y="1089660"/>
                  </a:lnTo>
                  <a:lnTo>
                    <a:pt x="1133475" y="1108710"/>
                  </a:lnTo>
                  <a:lnTo>
                    <a:pt x="1132523" y="1110615"/>
                  </a:lnTo>
                  <a:lnTo>
                    <a:pt x="1129665" y="1112520"/>
                  </a:lnTo>
                  <a:lnTo>
                    <a:pt x="1125855" y="1113473"/>
                  </a:lnTo>
                  <a:lnTo>
                    <a:pt x="1111567" y="1112520"/>
                  </a:lnTo>
                  <a:lnTo>
                    <a:pt x="1081087" y="1101090"/>
                  </a:lnTo>
                  <a:lnTo>
                    <a:pt x="1075373" y="1101090"/>
                  </a:lnTo>
                  <a:lnTo>
                    <a:pt x="1068705" y="1102043"/>
                  </a:lnTo>
                  <a:lnTo>
                    <a:pt x="1064895" y="1103948"/>
                  </a:lnTo>
                  <a:lnTo>
                    <a:pt x="1062037" y="1105853"/>
                  </a:lnTo>
                  <a:lnTo>
                    <a:pt x="1057275" y="1109663"/>
                  </a:lnTo>
                  <a:lnTo>
                    <a:pt x="1055370" y="1113473"/>
                  </a:lnTo>
                  <a:lnTo>
                    <a:pt x="1054417" y="1117282"/>
                  </a:lnTo>
                  <a:lnTo>
                    <a:pt x="1048703" y="1131570"/>
                  </a:lnTo>
                  <a:lnTo>
                    <a:pt x="1043940" y="1141095"/>
                  </a:lnTo>
                  <a:lnTo>
                    <a:pt x="1042035" y="1143953"/>
                  </a:lnTo>
                  <a:lnTo>
                    <a:pt x="1039178" y="1147763"/>
                  </a:lnTo>
                  <a:lnTo>
                    <a:pt x="1035367" y="1150620"/>
                  </a:lnTo>
                  <a:lnTo>
                    <a:pt x="1025842" y="1154430"/>
                  </a:lnTo>
                  <a:lnTo>
                    <a:pt x="1009650" y="1159193"/>
                  </a:lnTo>
                  <a:lnTo>
                    <a:pt x="1003935" y="1159193"/>
                  </a:lnTo>
                  <a:lnTo>
                    <a:pt x="997267" y="1157288"/>
                  </a:lnTo>
                  <a:lnTo>
                    <a:pt x="988695" y="1151573"/>
                  </a:lnTo>
                  <a:lnTo>
                    <a:pt x="982980" y="1150620"/>
                  </a:lnTo>
                  <a:lnTo>
                    <a:pt x="979170" y="1151573"/>
                  </a:lnTo>
                  <a:lnTo>
                    <a:pt x="974408" y="1152525"/>
                  </a:lnTo>
                  <a:lnTo>
                    <a:pt x="965835" y="1159193"/>
                  </a:lnTo>
                  <a:lnTo>
                    <a:pt x="961072" y="1163955"/>
                  </a:lnTo>
                  <a:lnTo>
                    <a:pt x="953453" y="1166813"/>
                  </a:lnTo>
                  <a:lnTo>
                    <a:pt x="926783" y="1165860"/>
                  </a:lnTo>
                  <a:lnTo>
                    <a:pt x="925830" y="1169670"/>
                  </a:lnTo>
                  <a:lnTo>
                    <a:pt x="923925" y="1164907"/>
                  </a:lnTo>
                  <a:lnTo>
                    <a:pt x="918210" y="1154430"/>
                  </a:lnTo>
                  <a:lnTo>
                    <a:pt x="913447" y="1141095"/>
                  </a:lnTo>
                  <a:lnTo>
                    <a:pt x="910590" y="1109663"/>
                  </a:lnTo>
                  <a:lnTo>
                    <a:pt x="921067" y="1084898"/>
                  </a:lnTo>
                  <a:lnTo>
                    <a:pt x="935355" y="1062990"/>
                  </a:lnTo>
                  <a:lnTo>
                    <a:pt x="945833" y="1036320"/>
                  </a:lnTo>
                  <a:lnTo>
                    <a:pt x="948690" y="1021080"/>
                  </a:lnTo>
                  <a:lnTo>
                    <a:pt x="947737" y="1008697"/>
                  </a:lnTo>
                  <a:lnTo>
                    <a:pt x="942022" y="1001078"/>
                  </a:lnTo>
                  <a:lnTo>
                    <a:pt x="916305" y="996315"/>
                  </a:lnTo>
                  <a:lnTo>
                    <a:pt x="910590" y="989647"/>
                  </a:lnTo>
                  <a:lnTo>
                    <a:pt x="912495" y="980122"/>
                  </a:lnTo>
                  <a:lnTo>
                    <a:pt x="927735" y="956310"/>
                  </a:lnTo>
                  <a:lnTo>
                    <a:pt x="932497" y="947738"/>
                  </a:lnTo>
                  <a:lnTo>
                    <a:pt x="929640" y="942022"/>
                  </a:lnTo>
                  <a:lnTo>
                    <a:pt x="915353" y="940118"/>
                  </a:lnTo>
                  <a:lnTo>
                    <a:pt x="891540" y="944880"/>
                  </a:lnTo>
                  <a:lnTo>
                    <a:pt x="882015" y="943928"/>
                  </a:lnTo>
                  <a:lnTo>
                    <a:pt x="873442" y="934403"/>
                  </a:lnTo>
                  <a:lnTo>
                    <a:pt x="888683" y="902018"/>
                  </a:lnTo>
                  <a:lnTo>
                    <a:pt x="890587" y="882968"/>
                  </a:lnTo>
                  <a:lnTo>
                    <a:pt x="882967" y="862965"/>
                  </a:lnTo>
                  <a:lnTo>
                    <a:pt x="875347" y="856297"/>
                  </a:lnTo>
                  <a:lnTo>
                    <a:pt x="868680" y="854393"/>
                  </a:lnTo>
                  <a:lnTo>
                    <a:pt x="862965" y="851535"/>
                  </a:lnTo>
                  <a:lnTo>
                    <a:pt x="859155" y="839153"/>
                  </a:lnTo>
                  <a:lnTo>
                    <a:pt x="857250" y="824865"/>
                  </a:lnTo>
                  <a:lnTo>
                    <a:pt x="857250" y="816293"/>
                  </a:lnTo>
                  <a:lnTo>
                    <a:pt x="855345" y="810578"/>
                  </a:lnTo>
                  <a:lnTo>
                    <a:pt x="847725" y="802005"/>
                  </a:lnTo>
                  <a:lnTo>
                    <a:pt x="817245" y="787718"/>
                  </a:lnTo>
                  <a:lnTo>
                    <a:pt x="811530" y="778193"/>
                  </a:lnTo>
                  <a:lnTo>
                    <a:pt x="814387" y="762000"/>
                  </a:lnTo>
                  <a:lnTo>
                    <a:pt x="813435" y="756285"/>
                  </a:lnTo>
                  <a:lnTo>
                    <a:pt x="808672" y="754380"/>
                  </a:lnTo>
                  <a:lnTo>
                    <a:pt x="806767" y="757238"/>
                  </a:lnTo>
                  <a:lnTo>
                    <a:pt x="799147" y="770572"/>
                  </a:lnTo>
                  <a:lnTo>
                    <a:pt x="797242" y="775335"/>
                  </a:lnTo>
                  <a:lnTo>
                    <a:pt x="800100" y="783907"/>
                  </a:lnTo>
                  <a:lnTo>
                    <a:pt x="808672" y="793432"/>
                  </a:lnTo>
                  <a:lnTo>
                    <a:pt x="819150" y="800100"/>
                  </a:lnTo>
                  <a:lnTo>
                    <a:pt x="842010" y="805815"/>
                  </a:lnTo>
                  <a:lnTo>
                    <a:pt x="847725" y="815340"/>
                  </a:lnTo>
                  <a:lnTo>
                    <a:pt x="847725" y="860107"/>
                  </a:lnTo>
                  <a:lnTo>
                    <a:pt x="849630" y="864870"/>
                  </a:lnTo>
                  <a:lnTo>
                    <a:pt x="862965" y="867728"/>
                  </a:lnTo>
                  <a:lnTo>
                    <a:pt x="866775" y="871538"/>
                  </a:lnTo>
                  <a:lnTo>
                    <a:pt x="868680" y="874395"/>
                  </a:lnTo>
                  <a:lnTo>
                    <a:pt x="871537" y="876300"/>
                  </a:lnTo>
                  <a:lnTo>
                    <a:pt x="878205" y="882015"/>
                  </a:lnTo>
                  <a:lnTo>
                    <a:pt x="874395" y="895350"/>
                  </a:lnTo>
                  <a:lnTo>
                    <a:pt x="866775" y="908685"/>
                  </a:lnTo>
                  <a:lnTo>
                    <a:pt x="862965" y="913447"/>
                  </a:lnTo>
                  <a:lnTo>
                    <a:pt x="859155" y="948690"/>
                  </a:lnTo>
                  <a:lnTo>
                    <a:pt x="875347" y="956310"/>
                  </a:lnTo>
                  <a:lnTo>
                    <a:pt x="899160" y="952500"/>
                  </a:lnTo>
                  <a:lnTo>
                    <a:pt x="916305" y="955357"/>
                  </a:lnTo>
                  <a:lnTo>
                    <a:pt x="901065" y="973455"/>
                  </a:lnTo>
                  <a:lnTo>
                    <a:pt x="894397" y="985838"/>
                  </a:lnTo>
                  <a:lnTo>
                    <a:pt x="891540" y="998220"/>
                  </a:lnTo>
                  <a:lnTo>
                    <a:pt x="896303" y="1011555"/>
                  </a:lnTo>
                  <a:lnTo>
                    <a:pt x="905828" y="1014413"/>
                  </a:lnTo>
                  <a:lnTo>
                    <a:pt x="917258" y="1010603"/>
                  </a:lnTo>
                  <a:lnTo>
                    <a:pt x="927735" y="1003935"/>
                  </a:lnTo>
                  <a:lnTo>
                    <a:pt x="930592" y="1020128"/>
                  </a:lnTo>
                  <a:lnTo>
                    <a:pt x="924878" y="1042988"/>
                  </a:lnTo>
                  <a:lnTo>
                    <a:pt x="915353" y="1063943"/>
                  </a:lnTo>
                  <a:lnTo>
                    <a:pt x="903922" y="1072515"/>
                  </a:lnTo>
                  <a:lnTo>
                    <a:pt x="891540" y="1076325"/>
                  </a:lnTo>
                  <a:lnTo>
                    <a:pt x="880110" y="1087755"/>
                  </a:lnTo>
                  <a:lnTo>
                    <a:pt x="873442" y="1104900"/>
                  </a:lnTo>
                  <a:lnTo>
                    <a:pt x="873442" y="1124903"/>
                  </a:lnTo>
                  <a:lnTo>
                    <a:pt x="893445" y="1151573"/>
                  </a:lnTo>
                  <a:lnTo>
                    <a:pt x="895350" y="1157288"/>
                  </a:lnTo>
                  <a:lnTo>
                    <a:pt x="891540" y="1191578"/>
                  </a:lnTo>
                  <a:lnTo>
                    <a:pt x="893445" y="1203960"/>
                  </a:lnTo>
                  <a:lnTo>
                    <a:pt x="895350" y="1210628"/>
                  </a:lnTo>
                  <a:lnTo>
                    <a:pt x="896303" y="1215390"/>
                  </a:lnTo>
                  <a:lnTo>
                    <a:pt x="891540" y="1224915"/>
                  </a:lnTo>
                  <a:lnTo>
                    <a:pt x="887730" y="1229678"/>
                  </a:lnTo>
                  <a:lnTo>
                    <a:pt x="876300" y="1238250"/>
                  </a:lnTo>
                  <a:lnTo>
                    <a:pt x="869633" y="1241107"/>
                  </a:lnTo>
                  <a:lnTo>
                    <a:pt x="846772" y="1245870"/>
                  </a:lnTo>
                  <a:lnTo>
                    <a:pt x="823912" y="1242060"/>
                  </a:lnTo>
                  <a:lnTo>
                    <a:pt x="772478" y="1222057"/>
                  </a:lnTo>
                  <a:lnTo>
                    <a:pt x="741045" y="1224915"/>
                  </a:lnTo>
                  <a:lnTo>
                    <a:pt x="732472" y="1230630"/>
                  </a:lnTo>
                  <a:lnTo>
                    <a:pt x="727710" y="1241107"/>
                  </a:lnTo>
                  <a:lnTo>
                    <a:pt x="722947" y="1249680"/>
                  </a:lnTo>
                  <a:lnTo>
                    <a:pt x="710565" y="1251585"/>
                  </a:lnTo>
                  <a:lnTo>
                    <a:pt x="706755" y="1249680"/>
                  </a:lnTo>
                  <a:lnTo>
                    <a:pt x="699135" y="1242060"/>
                  </a:lnTo>
                  <a:lnTo>
                    <a:pt x="694372" y="1241107"/>
                  </a:lnTo>
                  <a:lnTo>
                    <a:pt x="682942" y="1242060"/>
                  </a:lnTo>
                  <a:lnTo>
                    <a:pt x="677228" y="1241107"/>
                  </a:lnTo>
                  <a:lnTo>
                    <a:pt x="673417" y="1238250"/>
                  </a:lnTo>
                  <a:lnTo>
                    <a:pt x="670560" y="1227773"/>
                  </a:lnTo>
                  <a:lnTo>
                    <a:pt x="676275" y="1214438"/>
                  </a:lnTo>
                  <a:lnTo>
                    <a:pt x="704850" y="1164907"/>
                  </a:lnTo>
                  <a:lnTo>
                    <a:pt x="712470" y="1148715"/>
                  </a:lnTo>
                  <a:lnTo>
                    <a:pt x="712470" y="1141095"/>
                  </a:lnTo>
                  <a:lnTo>
                    <a:pt x="719137" y="1135380"/>
                  </a:lnTo>
                  <a:lnTo>
                    <a:pt x="742950" y="1099185"/>
                  </a:lnTo>
                  <a:lnTo>
                    <a:pt x="737235" y="1089660"/>
                  </a:lnTo>
                  <a:lnTo>
                    <a:pt x="732472" y="1093470"/>
                  </a:lnTo>
                  <a:lnTo>
                    <a:pt x="728662" y="1104900"/>
                  </a:lnTo>
                  <a:lnTo>
                    <a:pt x="724853" y="1114425"/>
                  </a:lnTo>
                  <a:lnTo>
                    <a:pt x="721042" y="1117282"/>
                  </a:lnTo>
                  <a:lnTo>
                    <a:pt x="711517" y="1122045"/>
                  </a:lnTo>
                  <a:lnTo>
                    <a:pt x="706755" y="1124903"/>
                  </a:lnTo>
                  <a:lnTo>
                    <a:pt x="703897" y="1128713"/>
                  </a:lnTo>
                  <a:lnTo>
                    <a:pt x="693420" y="1144905"/>
                  </a:lnTo>
                  <a:lnTo>
                    <a:pt x="693420" y="1147763"/>
                  </a:lnTo>
                  <a:lnTo>
                    <a:pt x="691515" y="1149668"/>
                  </a:lnTo>
                  <a:lnTo>
                    <a:pt x="684847" y="1151573"/>
                  </a:lnTo>
                  <a:lnTo>
                    <a:pt x="678180" y="1147763"/>
                  </a:lnTo>
                  <a:lnTo>
                    <a:pt x="671512" y="1141095"/>
                  </a:lnTo>
                  <a:lnTo>
                    <a:pt x="663892" y="1122045"/>
                  </a:lnTo>
                  <a:lnTo>
                    <a:pt x="658178" y="1112520"/>
                  </a:lnTo>
                  <a:lnTo>
                    <a:pt x="649605" y="1108710"/>
                  </a:lnTo>
                  <a:lnTo>
                    <a:pt x="655320" y="1128713"/>
                  </a:lnTo>
                  <a:lnTo>
                    <a:pt x="656272" y="1133475"/>
                  </a:lnTo>
                  <a:lnTo>
                    <a:pt x="657225" y="1144905"/>
                  </a:lnTo>
                  <a:lnTo>
                    <a:pt x="661035" y="1148715"/>
                  </a:lnTo>
                  <a:lnTo>
                    <a:pt x="665797" y="1151573"/>
                  </a:lnTo>
                  <a:lnTo>
                    <a:pt x="681990" y="1164907"/>
                  </a:lnTo>
                  <a:lnTo>
                    <a:pt x="683895" y="1170623"/>
                  </a:lnTo>
                  <a:lnTo>
                    <a:pt x="680085" y="1181100"/>
                  </a:lnTo>
                  <a:lnTo>
                    <a:pt x="670560" y="1196340"/>
                  </a:lnTo>
                  <a:lnTo>
                    <a:pt x="669608" y="1199198"/>
                  </a:lnTo>
                  <a:lnTo>
                    <a:pt x="661035" y="1205865"/>
                  </a:lnTo>
                  <a:lnTo>
                    <a:pt x="642937" y="1234440"/>
                  </a:lnTo>
                  <a:lnTo>
                    <a:pt x="636270" y="1241107"/>
                  </a:lnTo>
                  <a:lnTo>
                    <a:pt x="626745" y="1243013"/>
                  </a:lnTo>
                  <a:lnTo>
                    <a:pt x="602932" y="1256348"/>
                  </a:lnTo>
                  <a:lnTo>
                    <a:pt x="595313" y="1262063"/>
                  </a:lnTo>
                  <a:lnTo>
                    <a:pt x="587692" y="1258253"/>
                  </a:lnTo>
                  <a:lnTo>
                    <a:pt x="573405" y="1256348"/>
                  </a:lnTo>
                  <a:lnTo>
                    <a:pt x="566738" y="1251585"/>
                  </a:lnTo>
                  <a:lnTo>
                    <a:pt x="562928" y="1257300"/>
                  </a:lnTo>
                  <a:lnTo>
                    <a:pt x="552450" y="1250632"/>
                  </a:lnTo>
                  <a:lnTo>
                    <a:pt x="516255" y="1241107"/>
                  </a:lnTo>
                  <a:lnTo>
                    <a:pt x="508635" y="1198245"/>
                  </a:lnTo>
                  <a:lnTo>
                    <a:pt x="508635" y="1183957"/>
                  </a:lnTo>
                  <a:lnTo>
                    <a:pt x="509588" y="1180148"/>
                  </a:lnTo>
                  <a:lnTo>
                    <a:pt x="511492" y="1175385"/>
                  </a:lnTo>
                  <a:lnTo>
                    <a:pt x="510540" y="1170623"/>
                  </a:lnTo>
                  <a:lnTo>
                    <a:pt x="510540" y="1165860"/>
                  </a:lnTo>
                  <a:lnTo>
                    <a:pt x="507682" y="1158240"/>
                  </a:lnTo>
                  <a:lnTo>
                    <a:pt x="503872" y="1097280"/>
                  </a:lnTo>
                  <a:lnTo>
                    <a:pt x="502920" y="1089660"/>
                  </a:lnTo>
                  <a:lnTo>
                    <a:pt x="493395" y="1082040"/>
                  </a:lnTo>
                  <a:lnTo>
                    <a:pt x="485775" y="1078230"/>
                  </a:lnTo>
                  <a:lnTo>
                    <a:pt x="481965" y="1073468"/>
                  </a:lnTo>
                  <a:lnTo>
                    <a:pt x="476250" y="1060132"/>
                  </a:lnTo>
                  <a:lnTo>
                    <a:pt x="472440" y="1053465"/>
                  </a:lnTo>
                  <a:lnTo>
                    <a:pt x="469582" y="1049655"/>
                  </a:lnTo>
                  <a:lnTo>
                    <a:pt x="446722" y="1034415"/>
                  </a:lnTo>
                  <a:lnTo>
                    <a:pt x="443865" y="1028700"/>
                  </a:lnTo>
                  <a:lnTo>
                    <a:pt x="439103" y="1019175"/>
                  </a:lnTo>
                  <a:lnTo>
                    <a:pt x="434340" y="1002982"/>
                  </a:lnTo>
                  <a:lnTo>
                    <a:pt x="434340" y="995363"/>
                  </a:lnTo>
                  <a:lnTo>
                    <a:pt x="435292" y="991553"/>
                  </a:lnTo>
                  <a:lnTo>
                    <a:pt x="437197" y="991553"/>
                  </a:lnTo>
                  <a:lnTo>
                    <a:pt x="463867" y="989647"/>
                  </a:lnTo>
                  <a:lnTo>
                    <a:pt x="467678" y="986790"/>
                  </a:lnTo>
                  <a:lnTo>
                    <a:pt x="473392" y="977265"/>
                  </a:lnTo>
                  <a:lnTo>
                    <a:pt x="475297" y="975360"/>
                  </a:lnTo>
                  <a:lnTo>
                    <a:pt x="477203" y="974407"/>
                  </a:lnTo>
                  <a:lnTo>
                    <a:pt x="482917" y="974407"/>
                  </a:lnTo>
                  <a:lnTo>
                    <a:pt x="484822" y="975360"/>
                  </a:lnTo>
                  <a:lnTo>
                    <a:pt x="488632" y="978218"/>
                  </a:lnTo>
                  <a:lnTo>
                    <a:pt x="490538" y="979170"/>
                  </a:lnTo>
                  <a:lnTo>
                    <a:pt x="498157" y="977265"/>
                  </a:lnTo>
                  <a:lnTo>
                    <a:pt x="530542" y="974407"/>
                  </a:lnTo>
                  <a:lnTo>
                    <a:pt x="533400" y="974407"/>
                  </a:lnTo>
                  <a:lnTo>
                    <a:pt x="535305" y="972503"/>
                  </a:lnTo>
                  <a:lnTo>
                    <a:pt x="538163" y="965835"/>
                  </a:lnTo>
                  <a:lnTo>
                    <a:pt x="540067" y="962978"/>
                  </a:lnTo>
                  <a:lnTo>
                    <a:pt x="541972" y="962025"/>
                  </a:lnTo>
                  <a:lnTo>
                    <a:pt x="552450" y="956310"/>
                  </a:lnTo>
                  <a:lnTo>
                    <a:pt x="555307" y="953453"/>
                  </a:lnTo>
                  <a:lnTo>
                    <a:pt x="558165" y="943928"/>
                  </a:lnTo>
                  <a:lnTo>
                    <a:pt x="561022" y="932497"/>
                  </a:lnTo>
                  <a:lnTo>
                    <a:pt x="563880" y="927735"/>
                  </a:lnTo>
                  <a:lnTo>
                    <a:pt x="566738" y="923925"/>
                  </a:lnTo>
                  <a:lnTo>
                    <a:pt x="569595" y="921068"/>
                  </a:lnTo>
                  <a:lnTo>
                    <a:pt x="572453" y="916305"/>
                  </a:lnTo>
                  <a:lnTo>
                    <a:pt x="573405" y="911543"/>
                  </a:lnTo>
                  <a:lnTo>
                    <a:pt x="573405" y="905828"/>
                  </a:lnTo>
                  <a:lnTo>
                    <a:pt x="573405" y="898207"/>
                  </a:lnTo>
                  <a:lnTo>
                    <a:pt x="579120" y="884872"/>
                  </a:lnTo>
                  <a:lnTo>
                    <a:pt x="578167" y="879157"/>
                  </a:lnTo>
                  <a:lnTo>
                    <a:pt x="577215" y="876300"/>
                  </a:lnTo>
                  <a:lnTo>
                    <a:pt x="575310" y="874395"/>
                  </a:lnTo>
                  <a:lnTo>
                    <a:pt x="573405" y="873443"/>
                  </a:lnTo>
                  <a:lnTo>
                    <a:pt x="563880" y="872490"/>
                  </a:lnTo>
                  <a:lnTo>
                    <a:pt x="561022" y="871538"/>
                  </a:lnTo>
                  <a:lnTo>
                    <a:pt x="559117" y="869632"/>
                  </a:lnTo>
                  <a:lnTo>
                    <a:pt x="557213" y="865822"/>
                  </a:lnTo>
                  <a:lnTo>
                    <a:pt x="556260" y="860107"/>
                  </a:lnTo>
                  <a:lnTo>
                    <a:pt x="552450" y="853440"/>
                  </a:lnTo>
                  <a:lnTo>
                    <a:pt x="551497" y="851535"/>
                  </a:lnTo>
                  <a:lnTo>
                    <a:pt x="545782" y="845820"/>
                  </a:lnTo>
                  <a:lnTo>
                    <a:pt x="541972" y="840105"/>
                  </a:lnTo>
                  <a:lnTo>
                    <a:pt x="539115" y="832485"/>
                  </a:lnTo>
                  <a:lnTo>
                    <a:pt x="537210" y="828675"/>
                  </a:lnTo>
                  <a:lnTo>
                    <a:pt x="535305" y="826770"/>
                  </a:lnTo>
                  <a:lnTo>
                    <a:pt x="529590" y="826770"/>
                  </a:lnTo>
                  <a:lnTo>
                    <a:pt x="524828" y="828675"/>
                  </a:lnTo>
                  <a:lnTo>
                    <a:pt x="518160" y="831532"/>
                  </a:lnTo>
                  <a:lnTo>
                    <a:pt x="513397" y="832485"/>
                  </a:lnTo>
                  <a:lnTo>
                    <a:pt x="508635" y="830580"/>
                  </a:lnTo>
                  <a:lnTo>
                    <a:pt x="502920" y="825818"/>
                  </a:lnTo>
                  <a:lnTo>
                    <a:pt x="498157" y="822960"/>
                  </a:lnTo>
                  <a:lnTo>
                    <a:pt x="485775" y="820103"/>
                  </a:lnTo>
                  <a:lnTo>
                    <a:pt x="482917" y="819150"/>
                  </a:lnTo>
                  <a:lnTo>
                    <a:pt x="481013" y="816293"/>
                  </a:lnTo>
                  <a:lnTo>
                    <a:pt x="479107" y="813435"/>
                  </a:lnTo>
                  <a:lnTo>
                    <a:pt x="478155" y="807720"/>
                  </a:lnTo>
                  <a:lnTo>
                    <a:pt x="478155" y="801053"/>
                  </a:lnTo>
                  <a:lnTo>
                    <a:pt x="479107" y="794385"/>
                  </a:lnTo>
                  <a:lnTo>
                    <a:pt x="481013" y="792480"/>
                  </a:lnTo>
                  <a:lnTo>
                    <a:pt x="485775" y="790575"/>
                  </a:lnTo>
                  <a:lnTo>
                    <a:pt x="490538" y="788670"/>
                  </a:lnTo>
                  <a:lnTo>
                    <a:pt x="495300" y="786765"/>
                  </a:lnTo>
                  <a:lnTo>
                    <a:pt x="497205" y="784860"/>
                  </a:lnTo>
                  <a:lnTo>
                    <a:pt x="504825" y="777240"/>
                  </a:lnTo>
                  <a:lnTo>
                    <a:pt x="505778" y="774382"/>
                  </a:lnTo>
                  <a:lnTo>
                    <a:pt x="507682" y="768668"/>
                  </a:lnTo>
                  <a:lnTo>
                    <a:pt x="506730" y="762000"/>
                  </a:lnTo>
                  <a:lnTo>
                    <a:pt x="505778" y="757238"/>
                  </a:lnTo>
                  <a:lnTo>
                    <a:pt x="501967" y="748665"/>
                  </a:lnTo>
                  <a:lnTo>
                    <a:pt x="498157" y="744855"/>
                  </a:lnTo>
                  <a:lnTo>
                    <a:pt x="496253" y="743903"/>
                  </a:lnTo>
                  <a:lnTo>
                    <a:pt x="454342" y="753428"/>
                  </a:lnTo>
                  <a:lnTo>
                    <a:pt x="438150" y="760095"/>
                  </a:lnTo>
                  <a:lnTo>
                    <a:pt x="435292" y="760095"/>
                  </a:lnTo>
                  <a:lnTo>
                    <a:pt x="432435" y="759143"/>
                  </a:lnTo>
                  <a:lnTo>
                    <a:pt x="426720" y="748665"/>
                  </a:lnTo>
                  <a:lnTo>
                    <a:pt x="424815" y="746760"/>
                  </a:lnTo>
                  <a:lnTo>
                    <a:pt x="422910" y="746760"/>
                  </a:lnTo>
                  <a:lnTo>
                    <a:pt x="401955" y="745807"/>
                  </a:lnTo>
                  <a:lnTo>
                    <a:pt x="372428" y="740093"/>
                  </a:lnTo>
                  <a:lnTo>
                    <a:pt x="365760" y="729615"/>
                  </a:lnTo>
                  <a:lnTo>
                    <a:pt x="357188" y="709613"/>
                  </a:lnTo>
                  <a:lnTo>
                    <a:pt x="332422" y="634365"/>
                  </a:lnTo>
                  <a:lnTo>
                    <a:pt x="329565" y="621982"/>
                  </a:lnTo>
                  <a:lnTo>
                    <a:pt x="336232" y="604838"/>
                  </a:lnTo>
                  <a:lnTo>
                    <a:pt x="339090" y="592455"/>
                  </a:lnTo>
                  <a:lnTo>
                    <a:pt x="340995" y="584835"/>
                  </a:lnTo>
                  <a:lnTo>
                    <a:pt x="341947" y="577215"/>
                  </a:lnTo>
                  <a:lnTo>
                    <a:pt x="340995" y="571500"/>
                  </a:lnTo>
                  <a:lnTo>
                    <a:pt x="341947" y="566738"/>
                  </a:lnTo>
                  <a:lnTo>
                    <a:pt x="345757" y="563880"/>
                  </a:lnTo>
                  <a:lnTo>
                    <a:pt x="347663" y="561975"/>
                  </a:lnTo>
                  <a:lnTo>
                    <a:pt x="349567" y="556260"/>
                  </a:lnTo>
                  <a:lnTo>
                    <a:pt x="349567" y="548640"/>
                  </a:lnTo>
                  <a:lnTo>
                    <a:pt x="347663" y="532447"/>
                  </a:lnTo>
                  <a:lnTo>
                    <a:pt x="344805" y="527685"/>
                  </a:lnTo>
                  <a:lnTo>
                    <a:pt x="337185" y="519113"/>
                  </a:lnTo>
                  <a:lnTo>
                    <a:pt x="331470" y="508635"/>
                  </a:lnTo>
                  <a:lnTo>
                    <a:pt x="328613" y="503872"/>
                  </a:lnTo>
                  <a:lnTo>
                    <a:pt x="324803" y="501015"/>
                  </a:lnTo>
                  <a:lnTo>
                    <a:pt x="306705" y="500063"/>
                  </a:lnTo>
                  <a:lnTo>
                    <a:pt x="303847" y="499110"/>
                  </a:lnTo>
                  <a:lnTo>
                    <a:pt x="303847" y="496253"/>
                  </a:lnTo>
                  <a:lnTo>
                    <a:pt x="304800" y="494347"/>
                  </a:lnTo>
                  <a:lnTo>
                    <a:pt x="306705" y="489585"/>
                  </a:lnTo>
                  <a:lnTo>
                    <a:pt x="306705" y="483870"/>
                  </a:lnTo>
                  <a:lnTo>
                    <a:pt x="305753" y="469582"/>
                  </a:lnTo>
                  <a:lnTo>
                    <a:pt x="303847" y="464820"/>
                  </a:lnTo>
                  <a:lnTo>
                    <a:pt x="300990" y="461963"/>
                  </a:lnTo>
                  <a:lnTo>
                    <a:pt x="271463" y="468630"/>
                  </a:lnTo>
                  <a:lnTo>
                    <a:pt x="269557" y="470535"/>
                  </a:lnTo>
                  <a:lnTo>
                    <a:pt x="267653" y="472440"/>
                  </a:lnTo>
                  <a:lnTo>
                    <a:pt x="267653" y="476250"/>
                  </a:lnTo>
                  <a:lnTo>
                    <a:pt x="264795" y="488632"/>
                  </a:lnTo>
                  <a:lnTo>
                    <a:pt x="261938" y="494347"/>
                  </a:lnTo>
                  <a:lnTo>
                    <a:pt x="259080" y="498157"/>
                  </a:lnTo>
                  <a:lnTo>
                    <a:pt x="256222" y="498157"/>
                  </a:lnTo>
                  <a:lnTo>
                    <a:pt x="253365" y="496253"/>
                  </a:lnTo>
                  <a:lnTo>
                    <a:pt x="251460" y="493395"/>
                  </a:lnTo>
                  <a:lnTo>
                    <a:pt x="248603" y="487680"/>
                  </a:lnTo>
                  <a:lnTo>
                    <a:pt x="245745" y="473393"/>
                  </a:lnTo>
                  <a:lnTo>
                    <a:pt x="243840" y="470535"/>
                  </a:lnTo>
                  <a:lnTo>
                    <a:pt x="240982" y="468630"/>
                  </a:lnTo>
                  <a:lnTo>
                    <a:pt x="221932" y="467678"/>
                  </a:lnTo>
                  <a:lnTo>
                    <a:pt x="219075" y="467678"/>
                  </a:lnTo>
                  <a:lnTo>
                    <a:pt x="215265" y="465772"/>
                  </a:lnTo>
                  <a:lnTo>
                    <a:pt x="208597" y="460057"/>
                  </a:lnTo>
                  <a:lnTo>
                    <a:pt x="205740" y="459105"/>
                  </a:lnTo>
                  <a:lnTo>
                    <a:pt x="202882" y="459105"/>
                  </a:lnTo>
                  <a:lnTo>
                    <a:pt x="200025" y="460057"/>
                  </a:lnTo>
                  <a:lnTo>
                    <a:pt x="195263" y="465772"/>
                  </a:lnTo>
                  <a:lnTo>
                    <a:pt x="186690" y="471488"/>
                  </a:lnTo>
                  <a:lnTo>
                    <a:pt x="181928" y="474345"/>
                  </a:lnTo>
                  <a:lnTo>
                    <a:pt x="180022" y="474345"/>
                  </a:lnTo>
                  <a:lnTo>
                    <a:pt x="177165" y="474345"/>
                  </a:lnTo>
                  <a:lnTo>
                    <a:pt x="174307" y="472440"/>
                  </a:lnTo>
                  <a:lnTo>
                    <a:pt x="170497" y="467678"/>
                  </a:lnTo>
                  <a:lnTo>
                    <a:pt x="167640" y="466725"/>
                  </a:lnTo>
                  <a:lnTo>
                    <a:pt x="164782" y="466725"/>
                  </a:lnTo>
                  <a:lnTo>
                    <a:pt x="140970" y="471488"/>
                  </a:lnTo>
                  <a:lnTo>
                    <a:pt x="138113" y="470535"/>
                  </a:lnTo>
                  <a:lnTo>
                    <a:pt x="131445" y="462915"/>
                  </a:lnTo>
                  <a:lnTo>
                    <a:pt x="129540" y="461010"/>
                  </a:lnTo>
                  <a:lnTo>
                    <a:pt x="117157" y="454343"/>
                  </a:lnTo>
                  <a:lnTo>
                    <a:pt x="111442" y="450532"/>
                  </a:lnTo>
                  <a:lnTo>
                    <a:pt x="108585" y="443865"/>
                  </a:lnTo>
                  <a:lnTo>
                    <a:pt x="106680" y="436245"/>
                  </a:lnTo>
                  <a:lnTo>
                    <a:pt x="102870" y="426720"/>
                  </a:lnTo>
                  <a:lnTo>
                    <a:pt x="101917" y="420053"/>
                  </a:lnTo>
                  <a:lnTo>
                    <a:pt x="102870" y="414338"/>
                  </a:lnTo>
                  <a:lnTo>
                    <a:pt x="106680" y="406718"/>
                  </a:lnTo>
                  <a:lnTo>
                    <a:pt x="107632" y="403860"/>
                  </a:lnTo>
                  <a:lnTo>
                    <a:pt x="108585" y="400050"/>
                  </a:lnTo>
                  <a:lnTo>
                    <a:pt x="108585" y="394335"/>
                  </a:lnTo>
                  <a:lnTo>
                    <a:pt x="104775" y="388620"/>
                  </a:lnTo>
                  <a:lnTo>
                    <a:pt x="98107" y="383857"/>
                  </a:lnTo>
                  <a:lnTo>
                    <a:pt x="91440" y="376238"/>
                  </a:lnTo>
                  <a:lnTo>
                    <a:pt x="89535" y="373380"/>
                  </a:lnTo>
                  <a:lnTo>
                    <a:pt x="89535" y="369570"/>
                  </a:lnTo>
                  <a:lnTo>
                    <a:pt x="90488" y="366713"/>
                  </a:lnTo>
                  <a:lnTo>
                    <a:pt x="92392" y="364807"/>
                  </a:lnTo>
                  <a:lnTo>
                    <a:pt x="97155" y="359093"/>
                  </a:lnTo>
                  <a:lnTo>
                    <a:pt x="99060" y="357188"/>
                  </a:lnTo>
                  <a:lnTo>
                    <a:pt x="100965" y="353378"/>
                  </a:lnTo>
                  <a:lnTo>
                    <a:pt x="100965" y="349568"/>
                  </a:lnTo>
                  <a:lnTo>
                    <a:pt x="98107" y="338138"/>
                  </a:lnTo>
                  <a:lnTo>
                    <a:pt x="95250" y="334328"/>
                  </a:lnTo>
                  <a:lnTo>
                    <a:pt x="92392" y="332422"/>
                  </a:lnTo>
                  <a:lnTo>
                    <a:pt x="79057" y="326707"/>
                  </a:lnTo>
                  <a:lnTo>
                    <a:pt x="73342" y="322897"/>
                  </a:lnTo>
                  <a:lnTo>
                    <a:pt x="64770" y="315278"/>
                  </a:lnTo>
                  <a:lnTo>
                    <a:pt x="60960" y="308610"/>
                  </a:lnTo>
                  <a:lnTo>
                    <a:pt x="60007" y="301943"/>
                  </a:lnTo>
                  <a:lnTo>
                    <a:pt x="46672" y="217170"/>
                  </a:lnTo>
                  <a:lnTo>
                    <a:pt x="45720" y="214313"/>
                  </a:lnTo>
                  <a:lnTo>
                    <a:pt x="43815" y="211455"/>
                  </a:lnTo>
                  <a:lnTo>
                    <a:pt x="34290" y="199072"/>
                  </a:lnTo>
                  <a:lnTo>
                    <a:pt x="28575" y="191453"/>
                  </a:lnTo>
                  <a:lnTo>
                    <a:pt x="24765" y="186690"/>
                  </a:lnTo>
                  <a:lnTo>
                    <a:pt x="22860" y="185738"/>
                  </a:lnTo>
                  <a:lnTo>
                    <a:pt x="9525" y="181928"/>
                  </a:lnTo>
                  <a:lnTo>
                    <a:pt x="5715" y="180022"/>
                  </a:lnTo>
                  <a:lnTo>
                    <a:pt x="3810" y="175260"/>
                  </a:lnTo>
                  <a:lnTo>
                    <a:pt x="3810" y="167640"/>
                  </a:lnTo>
                  <a:lnTo>
                    <a:pt x="4763" y="161925"/>
                  </a:lnTo>
                  <a:lnTo>
                    <a:pt x="8572" y="155257"/>
                  </a:lnTo>
                  <a:lnTo>
                    <a:pt x="9525" y="149543"/>
                  </a:lnTo>
                  <a:lnTo>
                    <a:pt x="8572" y="146685"/>
                  </a:lnTo>
                  <a:lnTo>
                    <a:pt x="9525" y="136207"/>
                  </a:lnTo>
                  <a:lnTo>
                    <a:pt x="8572" y="132397"/>
                  </a:lnTo>
                  <a:lnTo>
                    <a:pt x="7620" y="129540"/>
                  </a:lnTo>
                  <a:lnTo>
                    <a:pt x="953" y="124778"/>
                  </a:lnTo>
                  <a:lnTo>
                    <a:pt x="0" y="122872"/>
                  </a:lnTo>
                  <a:lnTo>
                    <a:pt x="953" y="120968"/>
                  </a:lnTo>
                  <a:lnTo>
                    <a:pt x="6667" y="115253"/>
                  </a:lnTo>
                  <a:lnTo>
                    <a:pt x="24765" y="107632"/>
                  </a:lnTo>
                  <a:lnTo>
                    <a:pt x="33338" y="108585"/>
                  </a:lnTo>
                  <a:lnTo>
                    <a:pt x="35242" y="107632"/>
                  </a:lnTo>
                  <a:lnTo>
                    <a:pt x="38100" y="103822"/>
                  </a:lnTo>
                  <a:lnTo>
                    <a:pt x="40005" y="101918"/>
                  </a:lnTo>
                  <a:lnTo>
                    <a:pt x="42863" y="101918"/>
                  </a:lnTo>
                  <a:lnTo>
                    <a:pt x="45720" y="101918"/>
                  </a:lnTo>
                  <a:lnTo>
                    <a:pt x="51435" y="103822"/>
                  </a:lnTo>
                  <a:lnTo>
                    <a:pt x="54292" y="102870"/>
                  </a:lnTo>
                  <a:lnTo>
                    <a:pt x="56197" y="100965"/>
                  </a:lnTo>
                  <a:lnTo>
                    <a:pt x="57150" y="97155"/>
                  </a:lnTo>
                  <a:lnTo>
                    <a:pt x="57150" y="93345"/>
                  </a:lnTo>
                  <a:lnTo>
                    <a:pt x="54292" y="90488"/>
                  </a:lnTo>
                  <a:lnTo>
                    <a:pt x="47625" y="86678"/>
                  </a:lnTo>
                  <a:lnTo>
                    <a:pt x="45720" y="84772"/>
                  </a:lnTo>
                  <a:lnTo>
                    <a:pt x="44767" y="80963"/>
                  </a:lnTo>
                  <a:lnTo>
                    <a:pt x="44767" y="66675"/>
                  </a:lnTo>
                  <a:lnTo>
                    <a:pt x="60007" y="67628"/>
                  </a:lnTo>
                  <a:lnTo>
                    <a:pt x="63817" y="66675"/>
                  </a:lnTo>
                  <a:lnTo>
                    <a:pt x="66675" y="61913"/>
                  </a:lnTo>
                  <a:lnTo>
                    <a:pt x="70485" y="47625"/>
                  </a:lnTo>
                  <a:lnTo>
                    <a:pt x="73342" y="44768"/>
                  </a:lnTo>
                  <a:lnTo>
                    <a:pt x="154305" y="44768"/>
                  </a:lnTo>
                  <a:lnTo>
                    <a:pt x="159067" y="45720"/>
                  </a:lnTo>
                  <a:lnTo>
                    <a:pt x="163830" y="45720"/>
                  </a:lnTo>
                  <a:lnTo>
                    <a:pt x="167640" y="46672"/>
                  </a:lnTo>
                  <a:lnTo>
                    <a:pt x="191453" y="55245"/>
                  </a:lnTo>
                  <a:lnTo>
                    <a:pt x="211455" y="60007"/>
                  </a:lnTo>
                  <a:lnTo>
                    <a:pt x="217170" y="60007"/>
                  </a:lnTo>
                  <a:lnTo>
                    <a:pt x="220028" y="58103"/>
                  </a:lnTo>
                  <a:lnTo>
                    <a:pt x="222885" y="54293"/>
                  </a:lnTo>
                  <a:lnTo>
                    <a:pt x="224790" y="47625"/>
                  </a:lnTo>
                  <a:lnTo>
                    <a:pt x="225742" y="45720"/>
                  </a:lnTo>
                  <a:lnTo>
                    <a:pt x="230505" y="42863"/>
                  </a:lnTo>
                  <a:lnTo>
                    <a:pt x="237172" y="39053"/>
                  </a:lnTo>
                  <a:lnTo>
                    <a:pt x="261938" y="30480"/>
                  </a:lnTo>
                  <a:lnTo>
                    <a:pt x="267653" y="29528"/>
                  </a:lnTo>
                  <a:lnTo>
                    <a:pt x="282892" y="32385"/>
                  </a:lnTo>
                  <a:lnTo>
                    <a:pt x="299085" y="32385"/>
                  </a:lnTo>
                  <a:lnTo>
                    <a:pt x="305753" y="33338"/>
                  </a:lnTo>
                  <a:lnTo>
                    <a:pt x="310515" y="35243"/>
                  </a:lnTo>
                  <a:lnTo>
                    <a:pt x="311467" y="40957"/>
                  </a:lnTo>
                  <a:lnTo>
                    <a:pt x="313372" y="43815"/>
                  </a:lnTo>
                  <a:lnTo>
                    <a:pt x="315278" y="46672"/>
                  </a:lnTo>
                  <a:lnTo>
                    <a:pt x="320992" y="48578"/>
                  </a:lnTo>
                  <a:lnTo>
                    <a:pt x="323850" y="48578"/>
                  </a:lnTo>
                  <a:lnTo>
                    <a:pt x="325755" y="46672"/>
                  </a:lnTo>
                  <a:lnTo>
                    <a:pt x="329565" y="36195"/>
                  </a:lnTo>
                  <a:lnTo>
                    <a:pt x="331470" y="33338"/>
                  </a:lnTo>
                  <a:lnTo>
                    <a:pt x="333375" y="31432"/>
                  </a:lnTo>
                  <a:lnTo>
                    <a:pt x="338138" y="27622"/>
                  </a:lnTo>
                  <a:lnTo>
                    <a:pt x="341947" y="26670"/>
                  </a:lnTo>
                  <a:lnTo>
                    <a:pt x="344805" y="27622"/>
                  </a:lnTo>
                  <a:lnTo>
                    <a:pt x="347663" y="28575"/>
                  </a:lnTo>
                  <a:lnTo>
                    <a:pt x="351472" y="32385"/>
                  </a:lnTo>
                  <a:lnTo>
                    <a:pt x="352425" y="35243"/>
                  </a:lnTo>
                  <a:lnTo>
                    <a:pt x="352425" y="40957"/>
                  </a:lnTo>
                  <a:lnTo>
                    <a:pt x="354330" y="43815"/>
                  </a:lnTo>
                  <a:lnTo>
                    <a:pt x="356235" y="46672"/>
                  </a:lnTo>
                  <a:lnTo>
                    <a:pt x="363855" y="49530"/>
                  </a:lnTo>
                  <a:lnTo>
                    <a:pt x="367665" y="50482"/>
                  </a:lnTo>
                  <a:lnTo>
                    <a:pt x="371475" y="49530"/>
                  </a:lnTo>
                  <a:lnTo>
                    <a:pt x="375285" y="46672"/>
                  </a:lnTo>
                  <a:lnTo>
                    <a:pt x="377190" y="44768"/>
                  </a:lnTo>
                  <a:lnTo>
                    <a:pt x="380047" y="40957"/>
                  </a:lnTo>
                  <a:lnTo>
                    <a:pt x="383857" y="38100"/>
                  </a:lnTo>
                  <a:lnTo>
                    <a:pt x="401003" y="32385"/>
                  </a:lnTo>
                  <a:lnTo>
                    <a:pt x="404813" y="30480"/>
                  </a:lnTo>
                  <a:lnTo>
                    <a:pt x="406717" y="28575"/>
                  </a:lnTo>
                  <a:lnTo>
                    <a:pt x="408622" y="22860"/>
                  </a:lnTo>
                  <a:lnTo>
                    <a:pt x="409575" y="16193"/>
                  </a:lnTo>
                  <a:lnTo>
                    <a:pt x="414338" y="11430"/>
                  </a:lnTo>
                  <a:lnTo>
                    <a:pt x="421005" y="7620"/>
                  </a:lnTo>
                  <a:lnTo>
                    <a:pt x="439103" y="953"/>
                  </a:lnTo>
                  <a:lnTo>
                    <a:pt x="450532" y="0"/>
                  </a:lnTo>
                  <a:lnTo>
                    <a:pt x="488632" y="2857"/>
                  </a:lnTo>
                  <a:lnTo>
                    <a:pt x="497205" y="5715"/>
                  </a:lnTo>
                  <a:lnTo>
                    <a:pt x="505778" y="6668"/>
                  </a:lnTo>
                  <a:lnTo>
                    <a:pt x="510540" y="8572"/>
                  </a:lnTo>
                  <a:lnTo>
                    <a:pt x="514350" y="9525"/>
                  </a:lnTo>
                  <a:lnTo>
                    <a:pt x="515303" y="15240"/>
                  </a:lnTo>
                  <a:lnTo>
                    <a:pt x="517207" y="36195"/>
                  </a:lnTo>
                  <a:lnTo>
                    <a:pt x="517207" y="39053"/>
                  </a:lnTo>
                  <a:lnTo>
                    <a:pt x="519113" y="40957"/>
                  </a:lnTo>
                  <a:lnTo>
                    <a:pt x="522922" y="43815"/>
                  </a:lnTo>
                  <a:lnTo>
                    <a:pt x="535305" y="46672"/>
                  </a:lnTo>
                  <a:lnTo>
                    <a:pt x="537210" y="48578"/>
                  </a:lnTo>
                  <a:lnTo>
                    <a:pt x="538163" y="52388"/>
                  </a:lnTo>
                  <a:lnTo>
                    <a:pt x="538163" y="64770"/>
                  </a:lnTo>
                  <a:lnTo>
                    <a:pt x="538163" y="67628"/>
                  </a:lnTo>
                  <a:lnTo>
                    <a:pt x="539115" y="70485"/>
                  </a:lnTo>
                  <a:lnTo>
                    <a:pt x="541020" y="74295"/>
                  </a:lnTo>
                  <a:lnTo>
                    <a:pt x="543878" y="76200"/>
                  </a:lnTo>
                  <a:lnTo>
                    <a:pt x="549592" y="79057"/>
                  </a:lnTo>
                  <a:lnTo>
                    <a:pt x="598170" y="85725"/>
                  </a:lnTo>
                  <a:lnTo>
                    <a:pt x="602932" y="85725"/>
                  </a:lnTo>
                  <a:lnTo>
                    <a:pt x="611505" y="79057"/>
                  </a:lnTo>
                  <a:lnTo>
                    <a:pt x="620078" y="75247"/>
                  </a:lnTo>
                  <a:lnTo>
                    <a:pt x="621983" y="76200"/>
                  </a:lnTo>
                  <a:lnTo>
                    <a:pt x="623887" y="78105"/>
                  </a:lnTo>
                  <a:lnTo>
                    <a:pt x="625792" y="83820"/>
                  </a:lnTo>
                  <a:lnTo>
                    <a:pt x="628650" y="85725"/>
                  </a:lnTo>
                  <a:lnTo>
                    <a:pt x="632460" y="88582"/>
                  </a:lnTo>
                  <a:lnTo>
                    <a:pt x="636270" y="89535"/>
                  </a:lnTo>
                  <a:lnTo>
                    <a:pt x="638175" y="88582"/>
                  </a:lnTo>
                  <a:lnTo>
                    <a:pt x="640080" y="86678"/>
                  </a:lnTo>
                  <a:lnTo>
                    <a:pt x="644842" y="84772"/>
                  </a:lnTo>
                  <a:lnTo>
                    <a:pt x="651510" y="82868"/>
                  </a:lnTo>
                  <a:lnTo>
                    <a:pt x="681037" y="80010"/>
                  </a:lnTo>
                  <a:lnTo>
                    <a:pt x="684847" y="82868"/>
                  </a:lnTo>
                  <a:lnTo>
                    <a:pt x="686753" y="86678"/>
                  </a:lnTo>
                  <a:lnTo>
                    <a:pt x="687705" y="92393"/>
                  </a:lnTo>
                  <a:lnTo>
                    <a:pt x="685800" y="109538"/>
                  </a:lnTo>
                  <a:lnTo>
                    <a:pt x="683895" y="115253"/>
                  </a:lnTo>
                  <a:lnTo>
                    <a:pt x="681037" y="121920"/>
                  </a:lnTo>
                  <a:lnTo>
                    <a:pt x="681037" y="126682"/>
                  </a:lnTo>
                  <a:lnTo>
                    <a:pt x="683895" y="129540"/>
                  </a:lnTo>
                  <a:lnTo>
                    <a:pt x="686753" y="130493"/>
                  </a:lnTo>
                  <a:lnTo>
                    <a:pt x="690562" y="130493"/>
                  </a:lnTo>
                  <a:lnTo>
                    <a:pt x="692467" y="129540"/>
                  </a:lnTo>
                  <a:lnTo>
                    <a:pt x="694372" y="127635"/>
                  </a:lnTo>
                  <a:lnTo>
                    <a:pt x="695325" y="121920"/>
                  </a:lnTo>
                  <a:lnTo>
                    <a:pt x="696278" y="112395"/>
                  </a:lnTo>
                  <a:lnTo>
                    <a:pt x="697230" y="108585"/>
                  </a:lnTo>
                  <a:lnTo>
                    <a:pt x="699135" y="105728"/>
                  </a:lnTo>
                  <a:lnTo>
                    <a:pt x="702945" y="102870"/>
                  </a:lnTo>
                  <a:lnTo>
                    <a:pt x="705803" y="102870"/>
                  </a:lnTo>
                  <a:lnTo>
                    <a:pt x="707708" y="104775"/>
                  </a:lnTo>
                  <a:lnTo>
                    <a:pt x="709612" y="107632"/>
                  </a:lnTo>
                  <a:lnTo>
                    <a:pt x="712470" y="108585"/>
                  </a:lnTo>
                  <a:lnTo>
                    <a:pt x="715328" y="108585"/>
                  </a:lnTo>
                  <a:lnTo>
                    <a:pt x="722947" y="107632"/>
                  </a:lnTo>
                  <a:lnTo>
                    <a:pt x="727710" y="104775"/>
                  </a:lnTo>
                  <a:lnTo>
                    <a:pt x="727710" y="101918"/>
                  </a:lnTo>
                  <a:lnTo>
                    <a:pt x="727710" y="93345"/>
                  </a:lnTo>
                  <a:lnTo>
                    <a:pt x="727710" y="90488"/>
                  </a:lnTo>
                  <a:lnTo>
                    <a:pt x="728662" y="87630"/>
                  </a:lnTo>
                  <a:lnTo>
                    <a:pt x="730567" y="85725"/>
                  </a:lnTo>
                  <a:lnTo>
                    <a:pt x="733425" y="83820"/>
                  </a:lnTo>
                  <a:lnTo>
                    <a:pt x="741997" y="80010"/>
                  </a:lnTo>
                  <a:lnTo>
                    <a:pt x="745808" y="80963"/>
                  </a:lnTo>
                  <a:lnTo>
                    <a:pt x="747712" y="81915"/>
                  </a:lnTo>
                  <a:lnTo>
                    <a:pt x="755333" y="90488"/>
                  </a:lnTo>
                  <a:lnTo>
                    <a:pt x="758190" y="92393"/>
                  </a:lnTo>
                  <a:lnTo>
                    <a:pt x="762953" y="94297"/>
                  </a:lnTo>
                  <a:lnTo>
                    <a:pt x="769620" y="93345"/>
                  </a:lnTo>
                  <a:lnTo>
                    <a:pt x="773430" y="94297"/>
                  </a:lnTo>
                  <a:lnTo>
                    <a:pt x="777240" y="95250"/>
                  </a:lnTo>
                  <a:lnTo>
                    <a:pt x="782003" y="99060"/>
                  </a:lnTo>
                  <a:lnTo>
                    <a:pt x="785812" y="100013"/>
                  </a:lnTo>
                  <a:lnTo>
                    <a:pt x="788670" y="100965"/>
                  </a:lnTo>
                  <a:lnTo>
                    <a:pt x="809625" y="96203"/>
                  </a:lnTo>
                  <a:lnTo>
                    <a:pt x="814387" y="97155"/>
                  </a:lnTo>
                  <a:lnTo>
                    <a:pt x="817245" y="99060"/>
                  </a:lnTo>
                  <a:lnTo>
                    <a:pt x="818197" y="100965"/>
                  </a:lnTo>
                  <a:lnTo>
                    <a:pt x="822008" y="114300"/>
                  </a:lnTo>
                  <a:lnTo>
                    <a:pt x="824865" y="121920"/>
                  </a:lnTo>
                  <a:lnTo>
                    <a:pt x="824865" y="127635"/>
                  </a:lnTo>
                  <a:lnTo>
                    <a:pt x="823912" y="134303"/>
                  </a:lnTo>
                  <a:lnTo>
                    <a:pt x="822960" y="137160"/>
                  </a:lnTo>
                  <a:lnTo>
                    <a:pt x="819150" y="140970"/>
                  </a:lnTo>
                  <a:lnTo>
                    <a:pt x="813435" y="145732"/>
                  </a:lnTo>
                  <a:lnTo>
                    <a:pt x="792480" y="155257"/>
                  </a:lnTo>
                  <a:lnTo>
                    <a:pt x="790575" y="156210"/>
                  </a:lnTo>
                  <a:lnTo>
                    <a:pt x="791528" y="160972"/>
                  </a:lnTo>
                  <a:lnTo>
                    <a:pt x="799147" y="174307"/>
                  </a:lnTo>
                  <a:lnTo>
                    <a:pt x="815340" y="202882"/>
                  </a:lnTo>
                  <a:lnTo>
                    <a:pt x="822008" y="211455"/>
                  </a:lnTo>
                  <a:lnTo>
                    <a:pt x="828675" y="217170"/>
                  </a:lnTo>
                  <a:lnTo>
                    <a:pt x="831533" y="218122"/>
                  </a:lnTo>
                  <a:lnTo>
                    <a:pt x="844867" y="215265"/>
                  </a:lnTo>
                  <a:lnTo>
                    <a:pt x="847725" y="216218"/>
                  </a:lnTo>
                  <a:lnTo>
                    <a:pt x="850583" y="217170"/>
                  </a:lnTo>
                  <a:lnTo>
                    <a:pt x="853440" y="220980"/>
                  </a:lnTo>
                  <a:lnTo>
                    <a:pt x="855345" y="225743"/>
                  </a:lnTo>
                  <a:lnTo>
                    <a:pt x="856297" y="234315"/>
                  </a:lnTo>
                  <a:lnTo>
                    <a:pt x="858203" y="239078"/>
                  </a:lnTo>
                  <a:lnTo>
                    <a:pt x="860108" y="240982"/>
                  </a:lnTo>
                  <a:lnTo>
                    <a:pt x="871537" y="255270"/>
                  </a:lnTo>
                  <a:lnTo>
                    <a:pt x="873442" y="260032"/>
                  </a:lnTo>
                  <a:lnTo>
                    <a:pt x="874395" y="265747"/>
                  </a:lnTo>
                  <a:lnTo>
                    <a:pt x="874395" y="268605"/>
                  </a:lnTo>
                  <a:lnTo>
                    <a:pt x="871537" y="273368"/>
                  </a:lnTo>
                  <a:lnTo>
                    <a:pt x="862965" y="287655"/>
                  </a:lnTo>
                  <a:lnTo>
                    <a:pt x="860108" y="292418"/>
                  </a:lnTo>
                  <a:lnTo>
                    <a:pt x="860108" y="295275"/>
                  </a:lnTo>
                  <a:lnTo>
                    <a:pt x="861060" y="300990"/>
                  </a:lnTo>
                  <a:lnTo>
                    <a:pt x="866775" y="309563"/>
                  </a:lnTo>
                  <a:lnTo>
                    <a:pt x="866775" y="315278"/>
                  </a:lnTo>
                  <a:lnTo>
                    <a:pt x="865822" y="321945"/>
                  </a:lnTo>
                  <a:lnTo>
                    <a:pt x="865822" y="325755"/>
                  </a:lnTo>
                  <a:lnTo>
                    <a:pt x="866775" y="329565"/>
                  </a:lnTo>
                  <a:lnTo>
                    <a:pt x="868680" y="333375"/>
                  </a:lnTo>
                  <a:lnTo>
                    <a:pt x="871537" y="335280"/>
                  </a:lnTo>
                  <a:lnTo>
                    <a:pt x="875347" y="335280"/>
                  </a:lnTo>
                  <a:lnTo>
                    <a:pt x="921067" y="335280"/>
                  </a:lnTo>
                  <a:lnTo>
                    <a:pt x="923925" y="334328"/>
                  </a:lnTo>
                  <a:lnTo>
                    <a:pt x="925830" y="332422"/>
                  </a:lnTo>
                  <a:lnTo>
                    <a:pt x="927735" y="323850"/>
                  </a:lnTo>
                  <a:lnTo>
                    <a:pt x="931545" y="321945"/>
                  </a:lnTo>
                  <a:lnTo>
                    <a:pt x="937260" y="320993"/>
                  </a:lnTo>
                  <a:lnTo>
                    <a:pt x="956310" y="323850"/>
                  </a:lnTo>
                  <a:lnTo>
                    <a:pt x="960120" y="325755"/>
                  </a:lnTo>
                  <a:lnTo>
                    <a:pt x="965835" y="331470"/>
                  </a:lnTo>
                  <a:lnTo>
                    <a:pt x="978217" y="338138"/>
                  </a:lnTo>
                  <a:lnTo>
                    <a:pt x="980122" y="339090"/>
                  </a:lnTo>
                  <a:lnTo>
                    <a:pt x="983933" y="343853"/>
                  </a:lnTo>
                  <a:lnTo>
                    <a:pt x="988695" y="352425"/>
                  </a:lnTo>
                  <a:lnTo>
                    <a:pt x="990600" y="357188"/>
                  </a:lnTo>
                  <a:lnTo>
                    <a:pt x="992505" y="360997"/>
                  </a:lnTo>
                  <a:lnTo>
                    <a:pt x="997267" y="363855"/>
                  </a:lnTo>
                  <a:lnTo>
                    <a:pt x="1007745" y="369570"/>
                  </a:lnTo>
                  <a:lnTo>
                    <a:pt x="1013460" y="371475"/>
                  </a:lnTo>
                  <a:lnTo>
                    <a:pt x="1017270" y="372428"/>
                  </a:lnTo>
                  <a:lnTo>
                    <a:pt x="1022985" y="371475"/>
                  </a:lnTo>
                  <a:lnTo>
                    <a:pt x="1027747" y="369570"/>
                  </a:lnTo>
                  <a:lnTo>
                    <a:pt x="1030605" y="368618"/>
                  </a:lnTo>
                  <a:lnTo>
                    <a:pt x="1033462" y="364807"/>
                  </a:lnTo>
                  <a:lnTo>
                    <a:pt x="1040130" y="356235"/>
                  </a:lnTo>
                  <a:lnTo>
                    <a:pt x="1046797" y="341947"/>
                  </a:lnTo>
                  <a:lnTo>
                    <a:pt x="1058228" y="322897"/>
                  </a:lnTo>
                  <a:lnTo>
                    <a:pt x="1061085" y="319088"/>
                  </a:lnTo>
                  <a:lnTo>
                    <a:pt x="1063942" y="317182"/>
                  </a:lnTo>
                  <a:lnTo>
                    <a:pt x="1067753" y="315278"/>
                  </a:lnTo>
                  <a:lnTo>
                    <a:pt x="1087755" y="312420"/>
                  </a:lnTo>
                  <a:lnTo>
                    <a:pt x="1096328" y="314325"/>
                  </a:lnTo>
                  <a:lnTo>
                    <a:pt x="1102042" y="316230"/>
                  </a:lnTo>
                  <a:lnTo>
                    <a:pt x="1116330" y="324803"/>
                  </a:lnTo>
                  <a:lnTo>
                    <a:pt x="1125855" y="334328"/>
                  </a:lnTo>
                  <a:lnTo>
                    <a:pt x="1127760" y="335280"/>
                  </a:lnTo>
                  <a:lnTo>
                    <a:pt x="1130617" y="334328"/>
                  </a:lnTo>
                  <a:lnTo>
                    <a:pt x="1136333" y="331470"/>
                  </a:lnTo>
                  <a:lnTo>
                    <a:pt x="1142048" y="330518"/>
                  </a:lnTo>
                  <a:lnTo>
                    <a:pt x="1148715" y="331470"/>
                  </a:lnTo>
                  <a:lnTo>
                    <a:pt x="1150620" y="333375"/>
                  </a:lnTo>
                  <a:lnTo>
                    <a:pt x="1185862" y="345757"/>
                  </a:lnTo>
                  <a:lnTo>
                    <a:pt x="1190625" y="346710"/>
                  </a:lnTo>
                  <a:lnTo>
                    <a:pt x="1282065" y="331470"/>
                  </a:lnTo>
                  <a:lnTo>
                    <a:pt x="1284923" y="331470"/>
                  </a:lnTo>
                  <a:lnTo>
                    <a:pt x="1285875" y="328613"/>
                  </a:lnTo>
                  <a:lnTo>
                    <a:pt x="1286828" y="326707"/>
                  </a:lnTo>
                  <a:lnTo>
                    <a:pt x="1286828" y="314325"/>
                  </a:lnTo>
                  <a:lnTo>
                    <a:pt x="1286828" y="311468"/>
                  </a:lnTo>
                  <a:lnTo>
                    <a:pt x="1287780" y="304800"/>
                  </a:lnTo>
                  <a:lnTo>
                    <a:pt x="1288733" y="301943"/>
                  </a:lnTo>
                  <a:lnTo>
                    <a:pt x="1290637" y="300990"/>
                  </a:lnTo>
                  <a:lnTo>
                    <a:pt x="1301115" y="299085"/>
                  </a:lnTo>
                  <a:lnTo>
                    <a:pt x="1303020" y="297180"/>
                  </a:lnTo>
                  <a:lnTo>
                    <a:pt x="1303973" y="295275"/>
                  </a:lnTo>
                  <a:lnTo>
                    <a:pt x="1303973" y="293370"/>
                  </a:lnTo>
                  <a:lnTo>
                    <a:pt x="1299210" y="287655"/>
                  </a:lnTo>
                  <a:lnTo>
                    <a:pt x="1298258" y="284797"/>
                  </a:lnTo>
                  <a:lnTo>
                    <a:pt x="1298258" y="281940"/>
                  </a:lnTo>
                  <a:lnTo>
                    <a:pt x="1299210" y="275272"/>
                  </a:lnTo>
                  <a:lnTo>
                    <a:pt x="1298258" y="269557"/>
                  </a:lnTo>
                  <a:lnTo>
                    <a:pt x="1294448" y="262890"/>
                  </a:lnTo>
                  <a:lnTo>
                    <a:pt x="1292542" y="258128"/>
                  </a:lnTo>
                  <a:lnTo>
                    <a:pt x="1293495" y="255270"/>
                  </a:lnTo>
                  <a:lnTo>
                    <a:pt x="1295400" y="250507"/>
                  </a:lnTo>
                  <a:lnTo>
                    <a:pt x="1297305" y="249555"/>
                  </a:lnTo>
                  <a:lnTo>
                    <a:pt x="1303020" y="247650"/>
                  </a:lnTo>
                  <a:lnTo>
                    <a:pt x="1317308" y="245745"/>
                  </a:lnTo>
                  <a:lnTo>
                    <a:pt x="1319212" y="245745"/>
                  </a:lnTo>
                  <a:lnTo>
                    <a:pt x="1321117" y="243840"/>
                  </a:lnTo>
                  <a:lnTo>
                    <a:pt x="1322070" y="238125"/>
                  </a:lnTo>
                  <a:lnTo>
                    <a:pt x="1322070" y="231457"/>
                  </a:lnTo>
                  <a:lnTo>
                    <a:pt x="1321117" y="229553"/>
                  </a:lnTo>
                  <a:lnTo>
                    <a:pt x="1319212" y="228600"/>
                  </a:lnTo>
                  <a:lnTo>
                    <a:pt x="1310640" y="226695"/>
                  </a:lnTo>
                  <a:lnTo>
                    <a:pt x="1307783" y="225743"/>
                  </a:lnTo>
                  <a:lnTo>
                    <a:pt x="1304925" y="221932"/>
                  </a:lnTo>
                  <a:lnTo>
                    <a:pt x="1303973" y="216218"/>
                  </a:lnTo>
                  <a:lnTo>
                    <a:pt x="1304925" y="209550"/>
                  </a:lnTo>
                  <a:lnTo>
                    <a:pt x="1306830" y="203835"/>
                  </a:lnTo>
                  <a:lnTo>
                    <a:pt x="1309687" y="199072"/>
                  </a:lnTo>
                  <a:lnTo>
                    <a:pt x="1311592" y="197168"/>
                  </a:lnTo>
                  <a:lnTo>
                    <a:pt x="1315403" y="194310"/>
                  </a:lnTo>
                  <a:lnTo>
                    <a:pt x="1322070" y="190500"/>
                  </a:lnTo>
                  <a:lnTo>
                    <a:pt x="1343978" y="186690"/>
                  </a:lnTo>
                  <a:lnTo>
                    <a:pt x="1354455" y="182880"/>
                  </a:lnTo>
                  <a:lnTo>
                    <a:pt x="1357312" y="182880"/>
                  </a:lnTo>
                  <a:lnTo>
                    <a:pt x="1359217" y="184785"/>
                  </a:lnTo>
                  <a:lnTo>
                    <a:pt x="1364933" y="193357"/>
                  </a:lnTo>
                  <a:lnTo>
                    <a:pt x="1366837" y="195263"/>
                  </a:lnTo>
                  <a:lnTo>
                    <a:pt x="1369695" y="198120"/>
                  </a:lnTo>
                  <a:lnTo>
                    <a:pt x="1375410" y="200978"/>
                  </a:lnTo>
                  <a:lnTo>
                    <a:pt x="1379220" y="200978"/>
                  </a:lnTo>
                  <a:lnTo>
                    <a:pt x="1382078" y="200025"/>
                  </a:lnTo>
                  <a:lnTo>
                    <a:pt x="1383030" y="198120"/>
                  </a:lnTo>
                  <a:lnTo>
                    <a:pt x="1386840" y="189547"/>
                  </a:lnTo>
                  <a:lnTo>
                    <a:pt x="1387792" y="186690"/>
                  </a:lnTo>
                  <a:lnTo>
                    <a:pt x="1389698" y="184785"/>
                  </a:lnTo>
                  <a:lnTo>
                    <a:pt x="1405890" y="181928"/>
                  </a:lnTo>
                  <a:lnTo>
                    <a:pt x="1409700" y="179070"/>
                  </a:lnTo>
                  <a:lnTo>
                    <a:pt x="1411605" y="177165"/>
                  </a:lnTo>
                  <a:lnTo>
                    <a:pt x="1411605" y="173355"/>
                  </a:lnTo>
                  <a:lnTo>
                    <a:pt x="1409700" y="165735"/>
                  </a:lnTo>
                  <a:lnTo>
                    <a:pt x="1408748" y="160020"/>
                  </a:lnTo>
                  <a:lnTo>
                    <a:pt x="1409700" y="154305"/>
                  </a:lnTo>
                  <a:lnTo>
                    <a:pt x="1410653" y="151447"/>
                  </a:lnTo>
                  <a:lnTo>
                    <a:pt x="1412558" y="148590"/>
                  </a:lnTo>
                  <a:lnTo>
                    <a:pt x="1416367" y="146685"/>
                  </a:lnTo>
                  <a:lnTo>
                    <a:pt x="1423035" y="144780"/>
                  </a:lnTo>
                  <a:lnTo>
                    <a:pt x="1428750" y="144780"/>
                  </a:lnTo>
                  <a:lnTo>
                    <a:pt x="1442085" y="147638"/>
                  </a:lnTo>
                  <a:lnTo>
                    <a:pt x="1444942" y="146685"/>
                  </a:lnTo>
                  <a:lnTo>
                    <a:pt x="1456373" y="139065"/>
                  </a:lnTo>
                  <a:lnTo>
                    <a:pt x="1459230" y="139065"/>
                  </a:lnTo>
                  <a:lnTo>
                    <a:pt x="1461135" y="140018"/>
                  </a:lnTo>
                  <a:lnTo>
                    <a:pt x="1463040" y="145732"/>
                  </a:lnTo>
                  <a:lnTo>
                    <a:pt x="1463992" y="150495"/>
                  </a:lnTo>
                  <a:lnTo>
                    <a:pt x="1465898" y="156210"/>
                  </a:lnTo>
                  <a:lnTo>
                    <a:pt x="1467803" y="160020"/>
                  </a:lnTo>
                  <a:lnTo>
                    <a:pt x="1477328" y="171450"/>
                  </a:lnTo>
                  <a:lnTo>
                    <a:pt x="1479233" y="175260"/>
                  </a:lnTo>
                  <a:lnTo>
                    <a:pt x="1480185" y="180022"/>
                  </a:lnTo>
                  <a:lnTo>
                    <a:pt x="1480185" y="189547"/>
                  </a:lnTo>
                  <a:lnTo>
                    <a:pt x="1480185" y="192405"/>
                  </a:lnTo>
                  <a:lnTo>
                    <a:pt x="1482090" y="194310"/>
                  </a:lnTo>
                  <a:lnTo>
                    <a:pt x="1490662" y="20097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3" name="Полилиния: фигура 5">
              <a:extLst>
                <a:ext uri="{FF2B5EF4-FFF2-40B4-BE49-F238E27FC236}">
                  <a16:creationId xmlns:a16="http://schemas.microsoft.com/office/drawing/2014/main" id="{311FD037-A9F5-E647-2370-9141384C6FB3}"/>
                </a:ext>
              </a:extLst>
            </p:cNvPr>
            <p:cNvSpPr/>
            <p:nvPr/>
          </p:nvSpPr>
          <p:spPr>
            <a:xfrm>
              <a:off x="5759768" y="247650"/>
              <a:ext cx="1562100" cy="1704975"/>
            </a:xfrm>
            <a:custGeom>
              <a:avLst/>
              <a:gdLst>
                <a:gd name="connsiteX0" fmla="*/ 1524952 w 1562100"/>
                <a:gd name="connsiteY0" fmla="*/ 20955 h 1704975"/>
                <a:gd name="connsiteX1" fmla="*/ 1523047 w 1562100"/>
                <a:gd name="connsiteY1" fmla="*/ 25718 h 1704975"/>
                <a:gd name="connsiteX2" fmla="*/ 1519238 w 1562100"/>
                <a:gd name="connsiteY2" fmla="*/ 40005 h 1704975"/>
                <a:gd name="connsiteX3" fmla="*/ 1517332 w 1562100"/>
                <a:gd name="connsiteY3" fmla="*/ 53340 h 1704975"/>
                <a:gd name="connsiteX4" fmla="*/ 1516380 w 1562100"/>
                <a:gd name="connsiteY4" fmla="*/ 59055 h 1704975"/>
                <a:gd name="connsiteX5" fmla="*/ 1509713 w 1562100"/>
                <a:gd name="connsiteY5" fmla="*/ 69533 h 1704975"/>
                <a:gd name="connsiteX6" fmla="*/ 1506855 w 1562100"/>
                <a:gd name="connsiteY6" fmla="*/ 75248 h 1704975"/>
                <a:gd name="connsiteX7" fmla="*/ 1505902 w 1562100"/>
                <a:gd name="connsiteY7" fmla="*/ 81915 h 1704975"/>
                <a:gd name="connsiteX8" fmla="*/ 1504950 w 1562100"/>
                <a:gd name="connsiteY8" fmla="*/ 98108 h 1704975"/>
                <a:gd name="connsiteX9" fmla="*/ 1503045 w 1562100"/>
                <a:gd name="connsiteY9" fmla="*/ 103823 h 1704975"/>
                <a:gd name="connsiteX10" fmla="*/ 1498282 w 1562100"/>
                <a:gd name="connsiteY10" fmla="*/ 112395 h 1704975"/>
                <a:gd name="connsiteX11" fmla="*/ 1483995 w 1562100"/>
                <a:gd name="connsiteY11" fmla="*/ 126683 h 1704975"/>
                <a:gd name="connsiteX12" fmla="*/ 1481138 w 1562100"/>
                <a:gd name="connsiteY12" fmla="*/ 137160 h 1704975"/>
                <a:gd name="connsiteX13" fmla="*/ 1483995 w 1562100"/>
                <a:gd name="connsiteY13" fmla="*/ 178118 h 1704975"/>
                <a:gd name="connsiteX14" fmla="*/ 1485900 w 1562100"/>
                <a:gd name="connsiteY14" fmla="*/ 185738 h 1704975"/>
                <a:gd name="connsiteX15" fmla="*/ 1487805 w 1562100"/>
                <a:gd name="connsiteY15" fmla="*/ 187643 h 1704975"/>
                <a:gd name="connsiteX16" fmla="*/ 1510665 w 1562100"/>
                <a:gd name="connsiteY16" fmla="*/ 195263 h 1704975"/>
                <a:gd name="connsiteX17" fmla="*/ 1513522 w 1562100"/>
                <a:gd name="connsiteY17" fmla="*/ 197168 h 1704975"/>
                <a:gd name="connsiteX18" fmla="*/ 1525905 w 1562100"/>
                <a:gd name="connsiteY18" fmla="*/ 209550 h 1704975"/>
                <a:gd name="connsiteX19" fmla="*/ 1535430 w 1562100"/>
                <a:gd name="connsiteY19" fmla="*/ 222885 h 1704975"/>
                <a:gd name="connsiteX20" fmla="*/ 1541145 w 1562100"/>
                <a:gd name="connsiteY20" fmla="*/ 229553 h 1704975"/>
                <a:gd name="connsiteX21" fmla="*/ 1543050 w 1562100"/>
                <a:gd name="connsiteY21" fmla="*/ 231458 h 1704975"/>
                <a:gd name="connsiteX22" fmla="*/ 1545907 w 1562100"/>
                <a:gd name="connsiteY22" fmla="*/ 239078 h 1704975"/>
                <a:gd name="connsiteX23" fmla="*/ 1547813 w 1562100"/>
                <a:gd name="connsiteY23" fmla="*/ 240983 h 1704975"/>
                <a:gd name="connsiteX24" fmla="*/ 1550670 w 1562100"/>
                <a:gd name="connsiteY24" fmla="*/ 241935 h 1704975"/>
                <a:gd name="connsiteX25" fmla="*/ 1566863 w 1562100"/>
                <a:gd name="connsiteY25" fmla="*/ 243840 h 1704975"/>
                <a:gd name="connsiteX26" fmla="*/ 1569720 w 1562100"/>
                <a:gd name="connsiteY26" fmla="*/ 244793 h 1704975"/>
                <a:gd name="connsiteX27" fmla="*/ 1570672 w 1562100"/>
                <a:gd name="connsiteY27" fmla="*/ 246698 h 1704975"/>
                <a:gd name="connsiteX28" fmla="*/ 1570672 w 1562100"/>
                <a:gd name="connsiteY28" fmla="*/ 250508 h 1704975"/>
                <a:gd name="connsiteX29" fmla="*/ 1569720 w 1562100"/>
                <a:gd name="connsiteY29" fmla="*/ 255270 h 1704975"/>
                <a:gd name="connsiteX30" fmla="*/ 1568768 w 1562100"/>
                <a:gd name="connsiteY30" fmla="*/ 260033 h 1704975"/>
                <a:gd name="connsiteX31" fmla="*/ 1564957 w 1562100"/>
                <a:gd name="connsiteY31" fmla="*/ 269558 h 1704975"/>
                <a:gd name="connsiteX32" fmla="*/ 1562100 w 1562100"/>
                <a:gd name="connsiteY32" fmla="*/ 273368 h 1704975"/>
                <a:gd name="connsiteX33" fmla="*/ 1559243 w 1562100"/>
                <a:gd name="connsiteY33" fmla="*/ 275273 h 1704975"/>
                <a:gd name="connsiteX34" fmla="*/ 1547813 w 1562100"/>
                <a:gd name="connsiteY34" fmla="*/ 278130 h 1704975"/>
                <a:gd name="connsiteX35" fmla="*/ 1535430 w 1562100"/>
                <a:gd name="connsiteY35" fmla="*/ 280035 h 1704975"/>
                <a:gd name="connsiteX36" fmla="*/ 1528763 w 1562100"/>
                <a:gd name="connsiteY36" fmla="*/ 279083 h 1704975"/>
                <a:gd name="connsiteX37" fmla="*/ 1525905 w 1562100"/>
                <a:gd name="connsiteY37" fmla="*/ 278130 h 1704975"/>
                <a:gd name="connsiteX38" fmla="*/ 1524000 w 1562100"/>
                <a:gd name="connsiteY38" fmla="*/ 277178 h 1704975"/>
                <a:gd name="connsiteX39" fmla="*/ 1521143 w 1562100"/>
                <a:gd name="connsiteY39" fmla="*/ 271463 h 1704975"/>
                <a:gd name="connsiteX40" fmla="*/ 1518285 w 1562100"/>
                <a:gd name="connsiteY40" fmla="*/ 267653 h 1704975"/>
                <a:gd name="connsiteX41" fmla="*/ 1516380 w 1562100"/>
                <a:gd name="connsiteY41" fmla="*/ 267653 h 1704975"/>
                <a:gd name="connsiteX42" fmla="*/ 1513522 w 1562100"/>
                <a:gd name="connsiteY42" fmla="*/ 268605 h 1704975"/>
                <a:gd name="connsiteX43" fmla="*/ 1511618 w 1562100"/>
                <a:gd name="connsiteY43" fmla="*/ 271463 h 1704975"/>
                <a:gd name="connsiteX44" fmla="*/ 1510665 w 1562100"/>
                <a:gd name="connsiteY44" fmla="*/ 277178 h 1704975"/>
                <a:gd name="connsiteX45" fmla="*/ 1510665 w 1562100"/>
                <a:gd name="connsiteY45" fmla="*/ 304800 h 1704975"/>
                <a:gd name="connsiteX46" fmla="*/ 1510665 w 1562100"/>
                <a:gd name="connsiteY46" fmla="*/ 308610 h 1704975"/>
                <a:gd name="connsiteX47" fmla="*/ 1509713 w 1562100"/>
                <a:gd name="connsiteY47" fmla="*/ 313373 h 1704975"/>
                <a:gd name="connsiteX48" fmla="*/ 1506855 w 1562100"/>
                <a:gd name="connsiteY48" fmla="*/ 318135 h 1704975"/>
                <a:gd name="connsiteX49" fmla="*/ 1500188 w 1562100"/>
                <a:gd name="connsiteY49" fmla="*/ 325755 h 1704975"/>
                <a:gd name="connsiteX50" fmla="*/ 1500188 w 1562100"/>
                <a:gd name="connsiteY50" fmla="*/ 327660 h 1704975"/>
                <a:gd name="connsiteX51" fmla="*/ 1503045 w 1562100"/>
                <a:gd name="connsiteY51" fmla="*/ 329565 h 1704975"/>
                <a:gd name="connsiteX52" fmla="*/ 1511618 w 1562100"/>
                <a:gd name="connsiteY52" fmla="*/ 343853 h 1704975"/>
                <a:gd name="connsiteX53" fmla="*/ 1512570 w 1562100"/>
                <a:gd name="connsiteY53" fmla="*/ 353378 h 1704975"/>
                <a:gd name="connsiteX54" fmla="*/ 1506855 w 1562100"/>
                <a:gd name="connsiteY54" fmla="*/ 362903 h 1704975"/>
                <a:gd name="connsiteX55" fmla="*/ 1477327 w 1562100"/>
                <a:gd name="connsiteY55" fmla="*/ 373380 h 1704975"/>
                <a:gd name="connsiteX56" fmla="*/ 1464945 w 1562100"/>
                <a:gd name="connsiteY56" fmla="*/ 375285 h 1704975"/>
                <a:gd name="connsiteX57" fmla="*/ 1457325 w 1562100"/>
                <a:gd name="connsiteY57" fmla="*/ 378143 h 1704975"/>
                <a:gd name="connsiteX58" fmla="*/ 1438275 w 1562100"/>
                <a:gd name="connsiteY58" fmla="*/ 394335 h 1704975"/>
                <a:gd name="connsiteX59" fmla="*/ 1432560 w 1562100"/>
                <a:gd name="connsiteY59" fmla="*/ 398145 h 1704975"/>
                <a:gd name="connsiteX60" fmla="*/ 1408747 w 1562100"/>
                <a:gd name="connsiteY60" fmla="*/ 396240 h 1704975"/>
                <a:gd name="connsiteX61" fmla="*/ 1398270 w 1562100"/>
                <a:gd name="connsiteY61" fmla="*/ 399098 h 1704975"/>
                <a:gd name="connsiteX62" fmla="*/ 1402080 w 1562100"/>
                <a:gd name="connsiteY62" fmla="*/ 409575 h 1704975"/>
                <a:gd name="connsiteX63" fmla="*/ 1402080 w 1562100"/>
                <a:gd name="connsiteY63" fmla="*/ 416243 h 1704975"/>
                <a:gd name="connsiteX64" fmla="*/ 1388745 w 1562100"/>
                <a:gd name="connsiteY64" fmla="*/ 420053 h 1704975"/>
                <a:gd name="connsiteX65" fmla="*/ 1383030 w 1562100"/>
                <a:gd name="connsiteY65" fmla="*/ 431483 h 1704975"/>
                <a:gd name="connsiteX66" fmla="*/ 1378268 w 1562100"/>
                <a:gd name="connsiteY66" fmla="*/ 444818 h 1704975"/>
                <a:gd name="connsiteX67" fmla="*/ 1367790 w 1562100"/>
                <a:gd name="connsiteY67" fmla="*/ 451485 h 1704975"/>
                <a:gd name="connsiteX68" fmla="*/ 1361122 w 1562100"/>
                <a:gd name="connsiteY68" fmla="*/ 458153 h 1704975"/>
                <a:gd name="connsiteX69" fmla="*/ 1351597 w 1562100"/>
                <a:gd name="connsiteY69" fmla="*/ 474345 h 1704975"/>
                <a:gd name="connsiteX70" fmla="*/ 1346835 w 1562100"/>
                <a:gd name="connsiteY70" fmla="*/ 494348 h 1704975"/>
                <a:gd name="connsiteX71" fmla="*/ 1349693 w 1562100"/>
                <a:gd name="connsiteY71" fmla="*/ 512445 h 1704975"/>
                <a:gd name="connsiteX72" fmla="*/ 1352550 w 1562100"/>
                <a:gd name="connsiteY72" fmla="*/ 519113 h 1704975"/>
                <a:gd name="connsiteX73" fmla="*/ 1358265 w 1562100"/>
                <a:gd name="connsiteY73" fmla="*/ 538163 h 1704975"/>
                <a:gd name="connsiteX74" fmla="*/ 1362075 w 1562100"/>
                <a:gd name="connsiteY74" fmla="*/ 544830 h 1704975"/>
                <a:gd name="connsiteX75" fmla="*/ 1365885 w 1562100"/>
                <a:gd name="connsiteY75" fmla="*/ 550545 h 1704975"/>
                <a:gd name="connsiteX76" fmla="*/ 1394460 w 1562100"/>
                <a:gd name="connsiteY76" fmla="*/ 579120 h 1704975"/>
                <a:gd name="connsiteX77" fmla="*/ 1394460 w 1562100"/>
                <a:gd name="connsiteY77" fmla="*/ 588645 h 1704975"/>
                <a:gd name="connsiteX78" fmla="*/ 1385888 w 1562100"/>
                <a:gd name="connsiteY78" fmla="*/ 600075 h 1704975"/>
                <a:gd name="connsiteX79" fmla="*/ 1384935 w 1562100"/>
                <a:gd name="connsiteY79" fmla="*/ 609600 h 1704975"/>
                <a:gd name="connsiteX80" fmla="*/ 1386840 w 1562100"/>
                <a:gd name="connsiteY80" fmla="*/ 617220 h 1704975"/>
                <a:gd name="connsiteX81" fmla="*/ 1388745 w 1562100"/>
                <a:gd name="connsiteY81" fmla="*/ 620078 h 1704975"/>
                <a:gd name="connsiteX82" fmla="*/ 1391602 w 1562100"/>
                <a:gd name="connsiteY82" fmla="*/ 621983 h 1704975"/>
                <a:gd name="connsiteX83" fmla="*/ 1394460 w 1562100"/>
                <a:gd name="connsiteY83" fmla="*/ 622935 h 1704975"/>
                <a:gd name="connsiteX84" fmla="*/ 1396365 w 1562100"/>
                <a:gd name="connsiteY84" fmla="*/ 625793 h 1704975"/>
                <a:gd name="connsiteX85" fmla="*/ 1397318 w 1562100"/>
                <a:gd name="connsiteY85" fmla="*/ 629603 h 1704975"/>
                <a:gd name="connsiteX86" fmla="*/ 1399222 w 1562100"/>
                <a:gd name="connsiteY86" fmla="*/ 663893 h 1704975"/>
                <a:gd name="connsiteX87" fmla="*/ 1401127 w 1562100"/>
                <a:gd name="connsiteY87" fmla="*/ 667703 h 1704975"/>
                <a:gd name="connsiteX88" fmla="*/ 1403985 w 1562100"/>
                <a:gd name="connsiteY88" fmla="*/ 669608 h 1704975"/>
                <a:gd name="connsiteX89" fmla="*/ 1407795 w 1562100"/>
                <a:gd name="connsiteY89" fmla="*/ 673418 h 1704975"/>
                <a:gd name="connsiteX90" fmla="*/ 1409700 w 1562100"/>
                <a:gd name="connsiteY90" fmla="*/ 676275 h 1704975"/>
                <a:gd name="connsiteX91" fmla="*/ 1409700 w 1562100"/>
                <a:gd name="connsiteY91" fmla="*/ 678180 h 1704975"/>
                <a:gd name="connsiteX92" fmla="*/ 1408747 w 1562100"/>
                <a:gd name="connsiteY92" fmla="*/ 681038 h 1704975"/>
                <a:gd name="connsiteX93" fmla="*/ 1405890 w 1562100"/>
                <a:gd name="connsiteY93" fmla="*/ 682943 h 1704975"/>
                <a:gd name="connsiteX94" fmla="*/ 1397318 w 1562100"/>
                <a:gd name="connsiteY94" fmla="*/ 685800 h 1704975"/>
                <a:gd name="connsiteX95" fmla="*/ 1394460 w 1562100"/>
                <a:gd name="connsiteY95" fmla="*/ 688658 h 1704975"/>
                <a:gd name="connsiteX96" fmla="*/ 1393507 w 1562100"/>
                <a:gd name="connsiteY96" fmla="*/ 693420 h 1704975"/>
                <a:gd name="connsiteX97" fmla="*/ 1394460 w 1562100"/>
                <a:gd name="connsiteY97" fmla="*/ 703898 h 1704975"/>
                <a:gd name="connsiteX98" fmla="*/ 1395413 w 1562100"/>
                <a:gd name="connsiteY98" fmla="*/ 709613 h 1704975"/>
                <a:gd name="connsiteX99" fmla="*/ 1398270 w 1562100"/>
                <a:gd name="connsiteY99" fmla="*/ 713423 h 1704975"/>
                <a:gd name="connsiteX100" fmla="*/ 1408747 w 1562100"/>
                <a:gd name="connsiteY100" fmla="*/ 722948 h 1704975"/>
                <a:gd name="connsiteX101" fmla="*/ 1410652 w 1562100"/>
                <a:gd name="connsiteY101" fmla="*/ 724853 h 1704975"/>
                <a:gd name="connsiteX102" fmla="*/ 1412557 w 1562100"/>
                <a:gd name="connsiteY102" fmla="*/ 729615 h 1704975"/>
                <a:gd name="connsiteX103" fmla="*/ 1410652 w 1562100"/>
                <a:gd name="connsiteY103" fmla="*/ 733425 h 1704975"/>
                <a:gd name="connsiteX104" fmla="*/ 1403032 w 1562100"/>
                <a:gd name="connsiteY104" fmla="*/ 743903 h 1704975"/>
                <a:gd name="connsiteX105" fmla="*/ 1401127 w 1562100"/>
                <a:gd name="connsiteY105" fmla="*/ 744855 h 1704975"/>
                <a:gd name="connsiteX106" fmla="*/ 1396365 w 1562100"/>
                <a:gd name="connsiteY106" fmla="*/ 742950 h 1704975"/>
                <a:gd name="connsiteX107" fmla="*/ 1380172 w 1562100"/>
                <a:gd name="connsiteY107" fmla="*/ 734378 h 1704975"/>
                <a:gd name="connsiteX108" fmla="*/ 1378268 w 1562100"/>
                <a:gd name="connsiteY108" fmla="*/ 734378 h 1704975"/>
                <a:gd name="connsiteX109" fmla="*/ 1378268 w 1562100"/>
                <a:gd name="connsiteY109" fmla="*/ 736283 h 1704975"/>
                <a:gd name="connsiteX110" fmla="*/ 1383030 w 1562100"/>
                <a:gd name="connsiteY110" fmla="*/ 753428 h 1704975"/>
                <a:gd name="connsiteX111" fmla="*/ 1383030 w 1562100"/>
                <a:gd name="connsiteY111" fmla="*/ 757238 h 1704975"/>
                <a:gd name="connsiteX112" fmla="*/ 1383030 w 1562100"/>
                <a:gd name="connsiteY112" fmla="*/ 761048 h 1704975"/>
                <a:gd name="connsiteX113" fmla="*/ 1380172 w 1562100"/>
                <a:gd name="connsiteY113" fmla="*/ 765810 h 1704975"/>
                <a:gd name="connsiteX114" fmla="*/ 1377315 w 1562100"/>
                <a:gd name="connsiteY114" fmla="*/ 767715 h 1704975"/>
                <a:gd name="connsiteX115" fmla="*/ 1372552 w 1562100"/>
                <a:gd name="connsiteY115" fmla="*/ 770573 h 1704975"/>
                <a:gd name="connsiteX116" fmla="*/ 1371600 w 1562100"/>
                <a:gd name="connsiteY116" fmla="*/ 774383 h 1704975"/>
                <a:gd name="connsiteX117" fmla="*/ 1370647 w 1562100"/>
                <a:gd name="connsiteY117" fmla="*/ 781050 h 1704975"/>
                <a:gd name="connsiteX118" fmla="*/ 1373505 w 1562100"/>
                <a:gd name="connsiteY118" fmla="*/ 794385 h 1704975"/>
                <a:gd name="connsiteX119" fmla="*/ 1375410 w 1562100"/>
                <a:gd name="connsiteY119" fmla="*/ 800100 h 1704975"/>
                <a:gd name="connsiteX120" fmla="*/ 1378268 w 1562100"/>
                <a:gd name="connsiteY120" fmla="*/ 803910 h 1704975"/>
                <a:gd name="connsiteX121" fmla="*/ 1382077 w 1562100"/>
                <a:gd name="connsiteY121" fmla="*/ 807720 h 1704975"/>
                <a:gd name="connsiteX122" fmla="*/ 1382077 w 1562100"/>
                <a:gd name="connsiteY122" fmla="*/ 811530 h 1704975"/>
                <a:gd name="connsiteX123" fmla="*/ 1378268 w 1562100"/>
                <a:gd name="connsiteY123" fmla="*/ 817245 h 1704975"/>
                <a:gd name="connsiteX124" fmla="*/ 1377315 w 1562100"/>
                <a:gd name="connsiteY124" fmla="*/ 821055 h 1704975"/>
                <a:gd name="connsiteX125" fmla="*/ 1377315 w 1562100"/>
                <a:gd name="connsiteY125" fmla="*/ 825818 h 1704975"/>
                <a:gd name="connsiteX126" fmla="*/ 1378268 w 1562100"/>
                <a:gd name="connsiteY126" fmla="*/ 832485 h 1704975"/>
                <a:gd name="connsiteX127" fmla="*/ 1378268 w 1562100"/>
                <a:gd name="connsiteY127" fmla="*/ 842010 h 1704975"/>
                <a:gd name="connsiteX128" fmla="*/ 1376363 w 1562100"/>
                <a:gd name="connsiteY128" fmla="*/ 846773 h 1704975"/>
                <a:gd name="connsiteX129" fmla="*/ 1374457 w 1562100"/>
                <a:gd name="connsiteY129" fmla="*/ 849630 h 1704975"/>
                <a:gd name="connsiteX130" fmla="*/ 1372552 w 1562100"/>
                <a:gd name="connsiteY130" fmla="*/ 851535 h 1704975"/>
                <a:gd name="connsiteX131" fmla="*/ 1366838 w 1562100"/>
                <a:gd name="connsiteY131" fmla="*/ 854393 h 1704975"/>
                <a:gd name="connsiteX132" fmla="*/ 1356360 w 1562100"/>
                <a:gd name="connsiteY132" fmla="*/ 856298 h 1704975"/>
                <a:gd name="connsiteX133" fmla="*/ 1349693 w 1562100"/>
                <a:gd name="connsiteY133" fmla="*/ 856298 h 1704975"/>
                <a:gd name="connsiteX134" fmla="*/ 1343025 w 1562100"/>
                <a:gd name="connsiteY134" fmla="*/ 854393 h 1704975"/>
                <a:gd name="connsiteX135" fmla="*/ 1341120 w 1562100"/>
                <a:gd name="connsiteY135" fmla="*/ 852488 h 1704975"/>
                <a:gd name="connsiteX136" fmla="*/ 1338263 w 1562100"/>
                <a:gd name="connsiteY136" fmla="*/ 847725 h 1704975"/>
                <a:gd name="connsiteX137" fmla="*/ 1334452 w 1562100"/>
                <a:gd name="connsiteY137" fmla="*/ 837248 h 1704975"/>
                <a:gd name="connsiteX138" fmla="*/ 1332547 w 1562100"/>
                <a:gd name="connsiteY138" fmla="*/ 834390 h 1704975"/>
                <a:gd name="connsiteX139" fmla="*/ 1330643 w 1562100"/>
                <a:gd name="connsiteY139" fmla="*/ 832485 h 1704975"/>
                <a:gd name="connsiteX140" fmla="*/ 1324927 w 1562100"/>
                <a:gd name="connsiteY140" fmla="*/ 830580 h 1704975"/>
                <a:gd name="connsiteX141" fmla="*/ 1322070 w 1562100"/>
                <a:gd name="connsiteY141" fmla="*/ 831533 h 1704975"/>
                <a:gd name="connsiteX142" fmla="*/ 1318260 w 1562100"/>
                <a:gd name="connsiteY142" fmla="*/ 836295 h 1704975"/>
                <a:gd name="connsiteX143" fmla="*/ 1314450 w 1562100"/>
                <a:gd name="connsiteY143" fmla="*/ 843915 h 1704975"/>
                <a:gd name="connsiteX144" fmla="*/ 1314450 w 1562100"/>
                <a:gd name="connsiteY144" fmla="*/ 846773 h 1704975"/>
                <a:gd name="connsiteX145" fmla="*/ 1314450 w 1562100"/>
                <a:gd name="connsiteY145" fmla="*/ 851535 h 1704975"/>
                <a:gd name="connsiteX146" fmla="*/ 1317307 w 1562100"/>
                <a:gd name="connsiteY146" fmla="*/ 856298 h 1704975"/>
                <a:gd name="connsiteX147" fmla="*/ 1322070 w 1562100"/>
                <a:gd name="connsiteY147" fmla="*/ 865823 h 1704975"/>
                <a:gd name="connsiteX148" fmla="*/ 1323975 w 1562100"/>
                <a:gd name="connsiteY148" fmla="*/ 871538 h 1704975"/>
                <a:gd name="connsiteX149" fmla="*/ 1325880 w 1562100"/>
                <a:gd name="connsiteY149" fmla="*/ 875348 h 1704975"/>
                <a:gd name="connsiteX150" fmla="*/ 1327785 w 1562100"/>
                <a:gd name="connsiteY150" fmla="*/ 877253 h 1704975"/>
                <a:gd name="connsiteX151" fmla="*/ 1330643 w 1562100"/>
                <a:gd name="connsiteY151" fmla="*/ 877253 h 1704975"/>
                <a:gd name="connsiteX152" fmla="*/ 1337310 w 1562100"/>
                <a:gd name="connsiteY152" fmla="*/ 877253 h 1704975"/>
                <a:gd name="connsiteX153" fmla="*/ 1339215 w 1562100"/>
                <a:gd name="connsiteY153" fmla="*/ 878205 h 1704975"/>
                <a:gd name="connsiteX154" fmla="*/ 1341120 w 1562100"/>
                <a:gd name="connsiteY154" fmla="*/ 880110 h 1704975"/>
                <a:gd name="connsiteX155" fmla="*/ 1343025 w 1562100"/>
                <a:gd name="connsiteY155" fmla="*/ 882015 h 1704975"/>
                <a:gd name="connsiteX156" fmla="*/ 1343025 w 1562100"/>
                <a:gd name="connsiteY156" fmla="*/ 885825 h 1704975"/>
                <a:gd name="connsiteX157" fmla="*/ 1343025 w 1562100"/>
                <a:gd name="connsiteY157" fmla="*/ 889635 h 1704975"/>
                <a:gd name="connsiteX158" fmla="*/ 1341120 w 1562100"/>
                <a:gd name="connsiteY158" fmla="*/ 897255 h 1704975"/>
                <a:gd name="connsiteX159" fmla="*/ 1340168 w 1562100"/>
                <a:gd name="connsiteY159" fmla="*/ 902018 h 1704975"/>
                <a:gd name="connsiteX160" fmla="*/ 1340168 w 1562100"/>
                <a:gd name="connsiteY160" fmla="*/ 906780 h 1704975"/>
                <a:gd name="connsiteX161" fmla="*/ 1342072 w 1562100"/>
                <a:gd name="connsiteY161" fmla="*/ 911543 h 1704975"/>
                <a:gd name="connsiteX162" fmla="*/ 1343977 w 1562100"/>
                <a:gd name="connsiteY162" fmla="*/ 914400 h 1704975"/>
                <a:gd name="connsiteX163" fmla="*/ 1350645 w 1562100"/>
                <a:gd name="connsiteY163" fmla="*/ 920115 h 1704975"/>
                <a:gd name="connsiteX164" fmla="*/ 1352550 w 1562100"/>
                <a:gd name="connsiteY164" fmla="*/ 922973 h 1704975"/>
                <a:gd name="connsiteX165" fmla="*/ 1352550 w 1562100"/>
                <a:gd name="connsiteY165" fmla="*/ 924878 h 1704975"/>
                <a:gd name="connsiteX166" fmla="*/ 1349693 w 1562100"/>
                <a:gd name="connsiteY166" fmla="*/ 931545 h 1704975"/>
                <a:gd name="connsiteX167" fmla="*/ 1347788 w 1562100"/>
                <a:gd name="connsiteY167" fmla="*/ 934403 h 1704975"/>
                <a:gd name="connsiteX168" fmla="*/ 1347788 w 1562100"/>
                <a:gd name="connsiteY168" fmla="*/ 939165 h 1704975"/>
                <a:gd name="connsiteX169" fmla="*/ 1350645 w 1562100"/>
                <a:gd name="connsiteY169" fmla="*/ 949643 h 1704975"/>
                <a:gd name="connsiteX170" fmla="*/ 1351597 w 1562100"/>
                <a:gd name="connsiteY170" fmla="*/ 952500 h 1704975"/>
                <a:gd name="connsiteX171" fmla="*/ 1350645 w 1562100"/>
                <a:gd name="connsiteY171" fmla="*/ 955358 h 1704975"/>
                <a:gd name="connsiteX172" fmla="*/ 1348740 w 1562100"/>
                <a:gd name="connsiteY172" fmla="*/ 959168 h 1704975"/>
                <a:gd name="connsiteX173" fmla="*/ 1345882 w 1562100"/>
                <a:gd name="connsiteY173" fmla="*/ 961073 h 1704975"/>
                <a:gd name="connsiteX174" fmla="*/ 1331595 w 1562100"/>
                <a:gd name="connsiteY174" fmla="*/ 968693 h 1704975"/>
                <a:gd name="connsiteX175" fmla="*/ 1329690 w 1562100"/>
                <a:gd name="connsiteY175" fmla="*/ 972503 h 1704975"/>
                <a:gd name="connsiteX176" fmla="*/ 1329690 w 1562100"/>
                <a:gd name="connsiteY176" fmla="*/ 977265 h 1704975"/>
                <a:gd name="connsiteX177" fmla="*/ 1330643 w 1562100"/>
                <a:gd name="connsiteY177" fmla="*/ 986790 h 1704975"/>
                <a:gd name="connsiteX178" fmla="*/ 1329690 w 1562100"/>
                <a:gd name="connsiteY178" fmla="*/ 992505 h 1704975"/>
                <a:gd name="connsiteX179" fmla="*/ 1328738 w 1562100"/>
                <a:gd name="connsiteY179" fmla="*/ 998220 h 1704975"/>
                <a:gd name="connsiteX180" fmla="*/ 1323975 w 1562100"/>
                <a:gd name="connsiteY180" fmla="*/ 1002983 h 1704975"/>
                <a:gd name="connsiteX181" fmla="*/ 1296352 w 1562100"/>
                <a:gd name="connsiteY181" fmla="*/ 1012508 h 1704975"/>
                <a:gd name="connsiteX182" fmla="*/ 1294447 w 1562100"/>
                <a:gd name="connsiteY182" fmla="*/ 1015365 h 1704975"/>
                <a:gd name="connsiteX183" fmla="*/ 1293495 w 1562100"/>
                <a:gd name="connsiteY183" fmla="*/ 1020128 h 1704975"/>
                <a:gd name="connsiteX184" fmla="*/ 1293495 w 1562100"/>
                <a:gd name="connsiteY184" fmla="*/ 1031558 h 1704975"/>
                <a:gd name="connsiteX185" fmla="*/ 1296352 w 1562100"/>
                <a:gd name="connsiteY185" fmla="*/ 1039178 h 1704975"/>
                <a:gd name="connsiteX186" fmla="*/ 1297305 w 1562100"/>
                <a:gd name="connsiteY186" fmla="*/ 1043940 h 1704975"/>
                <a:gd name="connsiteX187" fmla="*/ 1298257 w 1562100"/>
                <a:gd name="connsiteY187" fmla="*/ 1047750 h 1704975"/>
                <a:gd name="connsiteX188" fmla="*/ 1296352 w 1562100"/>
                <a:gd name="connsiteY188" fmla="*/ 1053465 h 1704975"/>
                <a:gd name="connsiteX189" fmla="*/ 1295400 w 1562100"/>
                <a:gd name="connsiteY189" fmla="*/ 1056323 h 1704975"/>
                <a:gd name="connsiteX190" fmla="*/ 1283018 w 1562100"/>
                <a:gd name="connsiteY190" fmla="*/ 1078230 h 1704975"/>
                <a:gd name="connsiteX191" fmla="*/ 1282065 w 1562100"/>
                <a:gd name="connsiteY191" fmla="*/ 1082993 h 1704975"/>
                <a:gd name="connsiteX192" fmla="*/ 1284922 w 1562100"/>
                <a:gd name="connsiteY192" fmla="*/ 1085850 h 1704975"/>
                <a:gd name="connsiteX193" fmla="*/ 1304925 w 1562100"/>
                <a:gd name="connsiteY193" fmla="*/ 1091565 h 1704975"/>
                <a:gd name="connsiteX194" fmla="*/ 1324927 w 1562100"/>
                <a:gd name="connsiteY194" fmla="*/ 1101090 h 1704975"/>
                <a:gd name="connsiteX195" fmla="*/ 1331595 w 1562100"/>
                <a:gd name="connsiteY195" fmla="*/ 1102043 h 1704975"/>
                <a:gd name="connsiteX196" fmla="*/ 1342072 w 1562100"/>
                <a:gd name="connsiteY196" fmla="*/ 1099185 h 1704975"/>
                <a:gd name="connsiteX197" fmla="*/ 1344930 w 1562100"/>
                <a:gd name="connsiteY197" fmla="*/ 1099185 h 1704975"/>
                <a:gd name="connsiteX198" fmla="*/ 1346835 w 1562100"/>
                <a:gd name="connsiteY198" fmla="*/ 1101090 h 1704975"/>
                <a:gd name="connsiteX199" fmla="*/ 1347788 w 1562100"/>
                <a:gd name="connsiteY199" fmla="*/ 1102995 h 1704975"/>
                <a:gd name="connsiteX200" fmla="*/ 1348740 w 1562100"/>
                <a:gd name="connsiteY200" fmla="*/ 1105853 h 1704975"/>
                <a:gd name="connsiteX201" fmla="*/ 1347788 w 1562100"/>
                <a:gd name="connsiteY201" fmla="*/ 1109663 h 1704975"/>
                <a:gd name="connsiteX202" fmla="*/ 1344930 w 1562100"/>
                <a:gd name="connsiteY202" fmla="*/ 1113473 h 1704975"/>
                <a:gd name="connsiteX203" fmla="*/ 1337310 w 1562100"/>
                <a:gd name="connsiteY203" fmla="*/ 1118235 h 1704975"/>
                <a:gd name="connsiteX204" fmla="*/ 1336357 w 1562100"/>
                <a:gd name="connsiteY204" fmla="*/ 1121093 h 1704975"/>
                <a:gd name="connsiteX205" fmla="*/ 1337310 w 1562100"/>
                <a:gd name="connsiteY205" fmla="*/ 1123950 h 1704975"/>
                <a:gd name="connsiteX206" fmla="*/ 1342072 w 1562100"/>
                <a:gd name="connsiteY206" fmla="*/ 1128713 h 1704975"/>
                <a:gd name="connsiteX207" fmla="*/ 1346835 w 1562100"/>
                <a:gd name="connsiteY207" fmla="*/ 1132523 h 1704975"/>
                <a:gd name="connsiteX208" fmla="*/ 1358265 w 1562100"/>
                <a:gd name="connsiteY208" fmla="*/ 1138238 h 1704975"/>
                <a:gd name="connsiteX209" fmla="*/ 1385888 w 1562100"/>
                <a:gd name="connsiteY209" fmla="*/ 1143953 h 1704975"/>
                <a:gd name="connsiteX210" fmla="*/ 1388745 w 1562100"/>
                <a:gd name="connsiteY210" fmla="*/ 1143953 h 1704975"/>
                <a:gd name="connsiteX211" fmla="*/ 1390650 w 1562100"/>
                <a:gd name="connsiteY211" fmla="*/ 1142048 h 1704975"/>
                <a:gd name="connsiteX212" fmla="*/ 1392555 w 1562100"/>
                <a:gd name="connsiteY212" fmla="*/ 1140143 h 1704975"/>
                <a:gd name="connsiteX213" fmla="*/ 1403032 w 1562100"/>
                <a:gd name="connsiteY213" fmla="*/ 1116330 h 1704975"/>
                <a:gd name="connsiteX214" fmla="*/ 1404938 w 1562100"/>
                <a:gd name="connsiteY214" fmla="*/ 1114425 h 1704975"/>
                <a:gd name="connsiteX215" fmla="*/ 1407795 w 1562100"/>
                <a:gd name="connsiteY215" fmla="*/ 1114425 h 1704975"/>
                <a:gd name="connsiteX216" fmla="*/ 1414463 w 1562100"/>
                <a:gd name="connsiteY216" fmla="*/ 1116330 h 1704975"/>
                <a:gd name="connsiteX217" fmla="*/ 1420177 w 1562100"/>
                <a:gd name="connsiteY217" fmla="*/ 1119188 h 1704975"/>
                <a:gd name="connsiteX218" fmla="*/ 1422082 w 1562100"/>
                <a:gd name="connsiteY218" fmla="*/ 1121093 h 1704975"/>
                <a:gd name="connsiteX219" fmla="*/ 1423035 w 1562100"/>
                <a:gd name="connsiteY219" fmla="*/ 1124903 h 1704975"/>
                <a:gd name="connsiteX220" fmla="*/ 1418272 w 1562100"/>
                <a:gd name="connsiteY220" fmla="*/ 1134428 h 1704975"/>
                <a:gd name="connsiteX221" fmla="*/ 1410652 w 1562100"/>
                <a:gd name="connsiteY221" fmla="*/ 1149668 h 1704975"/>
                <a:gd name="connsiteX222" fmla="*/ 1404938 w 1562100"/>
                <a:gd name="connsiteY222" fmla="*/ 1155383 h 1704975"/>
                <a:gd name="connsiteX223" fmla="*/ 1396365 w 1562100"/>
                <a:gd name="connsiteY223" fmla="*/ 1164908 h 1704975"/>
                <a:gd name="connsiteX224" fmla="*/ 1395413 w 1562100"/>
                <a:gd name="connsiteY224" fmla="*/ 1166813 h 1704975"/>
                <a:gd name="connsiteX225" fmla="*/ 1395413 w 1562100"/>
                <a:gd name="connsiteY225" fmla="*/ 1173480 h 1704975"/>
                <a:gd name="connsiteX226" fmla="*/ 1397318 w 1562100"/>
                <a:gd name="connsiteY226" fmla="*/ 1177290 h 1704975"/>
                <a:gd name="connsiteX227" fmla="*/ 1399222 w 1562100"/>
                <a:gd name="connsiteY227" fmla="*/ 1180148 h 1704975"/>
                <a:gd name="connsiteX228" fmla="*/ 1409700 w 1562100"/>
                <a:gd name="connsiteY228" fmla="*/ 1189673 h 1704975"/>
                <a:gd name="connsiteX229" fmla="*/ 1411605 w 1562100"/>
                <a:gd name="connsiteY229" fmla="*/ 1192530 h 1704975"/>
                <a:gd name="connsiteX230" fmla="*/ 1412557 w 1562100"/>
                <a:gd name="connsiteY230" fmla="*/ 1197293 h 1704975"/>
                <a:gd name="connsiteX231" fmla="*/ 1410652 w 1562100"/>
                <a:gd name="connsiteY231" fmla="*/ 1205865 h 1704975"/>
                <a:gd name="connsiteX232" fmla="*/ 1410652 w 1562100"/>
                <a:gd name="connsiteY232" fmla="*/ 1224915 h 1704975"/>
                <a:gd name="connsiteX233" fmla="*/ 1410652 w 1562100"/>
                <a:gd name="connsiteY233" fmla="*/ 1234440 h 1704975"/>
                <a:gd name="connsiteX234" fmla="*/ 1409700 w 1562100"/>
                <a:gd name="connsiteY234" fmla="*/ 1239203 h 1704975"/>
                <a:gd name="connsiteX235" fmla="*/ 1408747 w 1562100"/>
                <a:gd name="connsiteY235" fmla="*/ 1244918 h 1704975"/>
                <a:gd name="connsiteX236" fmla="*/ 1403985 w 1562100"/>
                <a:gd name="connsiteY236" fmla="*/ 1252538 h 1704975"/>
                <a:gd name="connsiteX237" fmla="*/ 1400175 w 1562100"/>
                <a:gd name="connsiteY237" fmla="*/ 1254443 h 1704975"/>
                <a:gd name="connsiteX238" fmla="*/ 1397318 w 1562100"/>
                <a:gd name="connsiteY238" fmla="*/ 1256348 h 1704975"/>
                <a:gd name="connsiteX239" fmla="*/ 1395413 w 1562100"/>
                <a:gd name="connsiteY239" fmla="*/ 1257300 h 1704975"/>
                <a:gd name="connsiteX240" fmla="*/ 1393507 w 1562100"/>
                <a:gd name="connsiteY240" fmla="*/ 1260158 h 1704975"/>
                <a:gd name="connsiteX241" fmla="*/ 1391602 w 1562100"/>
                <a:gd name="connsiteY241" fmla="*/ 1264920 h 1704975"/>
                <a:gd name="connsiteX242" fmla="*/ 1379220 w 1562100"/>
                <a:gd name="connsiteY242" fmla="*/ 1312545 h 1704975"/>
                <a:gd name="connsiteX243" fmla="*/ 1378268 w 1562100"/>
                <a:gd name="connsiteY243" fmla="*/ 1321118 h 1704975"/>
                <a:gd name="connsiteX244" fmla="*/ 1378268 w 1562100"/>
                <a:gd name="connsiteY244" fmla="*/ 1336358 h 1704975"/>
                <a:gd name="connsiteX245" fmla="*/ 1378268 w 1562100"/>
                <a:gd name="connsiteY245" fmla="*/ 1344930 h 1704975"/>
                <a:gd name="connsiteX246" fmla="*/ 1380172 w 1562100"/>
                <a:gd name="connsiteY246" fmla="*/ 1351598 h 1704975"/>
                <a:gd name="connsiteX247" fmla="*/ 1381125 w 1562100"/>
                <a:gd name="connsiteY247" fmla="*/ 1355408 h 1704975"/>
                <a:gd name="connsiteX248" fmla="*/ 1386840 w 1562100"/>
                <a:gd name="connsiteY248" fmla="*/ 1361123 h 1704975"/>
                <a:gd name="connsiteX249" fmla="*/ 1393507 w 1562100"/>
                <a:gd name="connsiteY249" fmla="*/ 1366838 h 1704975"/>
                <a:gd name="connsiteX250" fmla="*/ 1397318 w 1562100"/>
                <a:gd name="connsiteY250" fmla="*/ 1368743 h 1704975"/>
                <a:gd name="connsiteX251" fmla="*/ 1400175 w 1562100"/>
                <a:gd name="connsiteY251" fmla="*/ 1370648 h 1704975"/>
                <a:gd name="connsiteX252" fmla="*/ 1402080 w 1562100"/>
                <a:gd name="connsiteY252" fmla="*/ 1374458 h 1704975"/>
                <a:gd name="connsiteX253" fmla="*/ 1402080 w 1562100"/>
                <a:gd name="connsiteY253" fmla="*/ 1380173 h 1704975"/>
                <a:gd name="connsiteX254" fmla="*/ 1400175 w 1562100"/>
                <a:gd name="connsiteY254" fmla="*/ 1385888 h 1704975"/>
                <a:gd name="connsiteX255" fmla="*/ 1396365 w 1562100"/>
                <a:gd name="connsiteY255" fmla="*/ 1391603 h 1704975"/>
                <a:gd name="connsiteX256" fmla="*/ 1391602 w 1562100"/>
                <a:gd name="connsiteY256" fmla="*/ 1395413 h 1704975"/>
                <a:gd name="connsiteX257" fmla="*/ 1387793 w 1562100"/>
                <a:gd name="connsiteY257" fmla="*/ 1398270 h 1704975"/>
                <a:gd name="connsiteX258" fmla="*/ 1384935 w 1562100"/>
                <a:gd name="connsiteY258" fmla="*/ 1402080 h 1704975"/>
                <a:gd name="connsiteX259" fmla="*/ 1383030 w 1562100"/>
                <a:gd name="connsiteY259" fmla="*/ 1407795 h 1704975"/>
                <a:gd name="connsiteX260" fmla="*/ 1381125 w 1562100"/>
                <a:gd name="connsiteY260" fmla="*/ 1416368 h 1704975"/>
                <a:gd name="connsiteX261" fmla="*/ 1381125 w 1562100"/>
                <a:gd name="connsiteY261" fmla="*/ 1429703 h 1704975"/>
                <a:gd name="connsiteX262" fmla="*/ 1380172 w 1562100"/>
                <a:gd name="connsiteY262" fmla="*/ 1432560 h 1704975"/>
                <a:gd name="connsiteX263" fmla="*/ 1379220 w 1562100"/>
                <a:gd name="connsiteY263" fmla="*/ 1436370 h 1704975"/>
                <a:gd name="connsiteX264" fmla="*/ 1375410 w 1562100"/>
                <a:gd name="connsiteY264" fmla="*/ 1440180 h 1704975"/>
                <a:gd name="connsiteX265" fmla="*/ 1369695 w 1562100"/>
                <a:gd name="connsiteY265" fmla="*/ 1443038 h 1704975"/>
                <a:gd name="connsiteX266" fmla="*/ 1367790 w 1562100"/>
                <a:gd name="connsiteY266" fmla="*/ 1445895 h 1704975"/>
                <a:gd name="connsiteX267" fmla="*/ 1366838 w 1562100"/>
                <a:gd name="connsiteY267" fmla="*/ 1448753 h 1704975"/>
                <a:gd name="connsiteX268" fmla="*/ 1367790 w 1562100"/>
                <a:gd name="connsiteY268" fmla="*/ 1454468 h 1704975"/>
                <a:gd name="connsiteX269" fmla="*/ 1369695 w 1562100"/>
                <a:gd name="connsiteY269" fmla="*/ 1463993 h 1704975"/>
                <a:gd name="connsiteX270" fmla="*/ 1369695 w 1562100"/>
                <a:gd name="connsiteY270" fmla="*/ 1467803 h 1704975"/>
                <a:gd name="connsiteX271" fmla="*/ 1368743 w 1562100"/>
                <a:gd name="connsiteY271" fmla="*/ 1478280 h 1704975"/>
                <a:gd name="connsiteX272" fmla="*/ 1363980 w 1562100"/>
                <a:gd name="connsiteY272" fmla="*/ 1497330 h 1704975"/>
                <a:gd name="connsiteX273" fmla="*/ 1345882 w 1562100"/>
                <a:gd name="connsiteY273" fmla="*/ 1549718 h 1704975"/>
                <a:gd name="connsiteX274" fmla="*/ 1325880 w 1562100"/>
                <a:gd name="connsiteY274" fmla="*/ 1588770 h 1704975"/>
                <a:gd name="connsiteX275" fmla="*/ 1318260 w 1562100"/>
                <a:gd name="connsiteY275" fmla="*/ 1598295 h 1704975"/>
                <a:gd name="connsiteX276" fmla="*/ 1305877 w 1562100"/>
                <a:gd name="connsiteY276" fmla="*/ 1604010 h 1704975"/>
                <a:gd name="connsiteX277" fmla="*/ 1299210 w 1562100"/>
                <a:gd name="connsiteY277" fmla="*/ 1607820 h 1704975"/>
                <a:gd name="connsiteX278" fmla="*/ 1296352 w 1562100"/>
                <a:gd name="connsiteY278" fmla="*/ 1611630 h 1704975"/>
                <a:gd name="connsiteX279" fmla="*/ 1293495 w 1562100"/>
                <a:gd name="connsiteY279" fmla="*/ 1615440 h 1704975"/>
                <a:gd name="connsiteX280" fmla="*/ 1290638 w 1562100"/>
                <a:gd name="connsiteY280" fmla="*/ 1624965 h 1704975"/>
                <a:gd name="connsiteX281" fmla="*/ 1287780 w 1562100"/>
                <a:gd name="connsiteY281" fmla="*/ 1627823 h 1704975"/>
                <a:gd name="connsiteX282" fmla="*/ 1284922 w 1562100"/>
                <a:gd name="connsiteY282" fmla="*/ 1629728 h 1704975"/>
                <a:gd name="connsiteX283" fmla="*/ 1276350 w 1562100"/>
                <a:gd name="connsiteY283" fmla="*/ 1632585 h 1704975"/>
                <a:gd name="connsiteX284" fmla="*/ 1263968 w 1562100"/>
                <a:gd name="connsiteY284" fmla="*/ 1640205 h 1704975"/>
                <a:gd name="connsiteX285" fmla="*/ 1261110 w 1562100"/>
                <a:gd name="connsiteY285" fmla="*/ 1644015 h 1704975"/>
                <a:gd name="connsiteX286" fmla="*/ 1258252 w 1562100"/>
                <a:gd name="connsiteY286" fmla="*/ 1647825 h 1704975"/>
                <a:gd name="connsiteX287" fmla="*/ 1255395 w 1562100"/>
                <a:gd name="connsiteY287" fmla="*/ 1656398 h 1704975"/>
                <a:gd name="connsiteX288" fmla="*/ 1252538 w 1562100"/>
                <a:gd name="connsiteY288" fmla="*/ 1664018 h 1704975"/>
                <a:gd name="connsiteX289" fmla="*/ 1249680 w 1562100"/>
                <a:gd name="connsiteY289" fmla="*/ 1666875 h 1704975"/>
                <a:gd name="connsiteX290" fmla="*/ 1246822 w 1562100"/>
                <a:gd name="connsiteY290" fmla="*/ 1668780 h 1704975"/>
                <a:gd name="connsiteX291" fmla="*/ 1242060 w 1562100"/>
                <a:gd name="connsiteY291" fmla="*/ 1670685 h 1704975"/>
                <a:gd name="connsiteX292" fmla="*/ 1223010 w 1562100"/>
                <a:gd name="connsiteY292" fmla="*/ 1672590 h 1704975"/>
                <a:gd name="connsiteX293" fmla="*/ 1214438 w 1562100"/>
                <a:gd name="connsiteY293" fmla="*/ 1674495 h 1704975"/>
                <a:gd name="connsiteX294" fmla="*/ 1169670 w 1562100"/>
                <a:gd name="connsiteY294" fmla="*/ 1699260 h 1704975"/>
                <a:gd name="connsiteX295" fmla="*/ 1150620 w 1562100"/>
                <a:gd name="connsiteY295" fmla="*/ 1699260 h 1704975"/>
                <a:gd name="connsiteX296" fmla="*/ 1147763 w 1562100"/>
                <a:gd name="connsiteY296" fmla="*/ 1698308 h 1704975"/>
                <a:gd name="connsiteX297" fmla="*/ 1145857 w 1562100"/>
                <a:gd name="connsiteY297" fmla="*/ 1693545 h 1704975"/>
                <a:gd name="connsiteX298" fmla="*/ 1143000 w 1562100"/>
                <a:gd name="connsiteY298" fmla="*/ 1691640 h 1704975"/>
                <a:gd name="connsiteX299" fmla="*/ 1138238 w 1562100"/>
                <a:gd name="connsiteY299" fmla="*/ 1691640 h 1704975"/>
                <a:gd name="connsiteX300" fmla="*/ 1117282 w 1562100"/>
                <a:gd name="connsiteY300" fmla="*/ 1695450 h 1704975"/>
                <a:gd name="connsiteX301" fmla="*/ 1063943 w 1562100"/>
                <a:gd name="connsiteY301" fmla="*/ 1693545 h 1704975"/>
                <a:gd name="connsiteX302" fmla="*/ 1051560 w 1562100"/>
                <a:gd name="connsiteY302" fmla="*/ 1689735 h 1704975"/>
                <a:gd name="connsiteX303" fmla="*/ 1049655 w 1562100"/>
                <a:gd name="connsiteY303" fmla="*/ 1686878 h 1704975"/>
                <a:gd name="connsiteX304" fmla="*/ 1046797 w 1562100"/>
                <a:gd name="connsiteY304" fmla="*/ 1682115 h 1704975"/>
                <a:gd name="connsiteX305" fmla="*/ 1044893 w 1562100"/>
                <a:gd name="connsiteY305" fmla="*/ 1677353 h 1704975"/>
                <a:gd name="connsiteX306" fmla="*/ 1042988 w 1562100"/>
                <a:gd name="connsiteY306" fmla="*/ 1668780 h 1704975"/>
                <a:gd name="connsiteX307" fmla="*/ 1041082 w 1562100"/>
                <a:gd name="connsiteY307" fmla="*/ 1663065 h 1704975"/>
                <a:gd name="connsiteX308" fmla="*/ 1038225 w 1562100"/>
                <a:gd name="connsiteY308" fmla="*/ 1659255 h 1704975"/>
                <a:gd name="connsiteX309" fmla="*/ 1035368 w 1562100"/>
                <a:gd name="connsiteY309" fmla="*/ 1658303 h 1704975"/>
                <a:gd name="connsiteX310" fmla="*/ 1031557 w 1562100"/>
                <a:gd name="connsiteY310" fmla="*/ 1658303 h 1704975"/>
                <a:gd name="connsiteX311" fmla="*/ 1023938 w 1562100"/>
                <a:gd name="connsiteY311" fmla="*/ 1658303 h 1704975"/>
                <a:gd name="connsiteX312" fmla="*/ 1020127 w 1562100"/>
                <a:gd name="connsiteY312" fmla="*/ 1659255 h 1704975"/>
                <a:gd name="connsiteX313" fmla="*/ 1003935 w 1562100"/>
                <a:gd name="connsiteY313" fmla="*/ 1670685 h 1704975"/>
                <a:gd name="connsiteX314" fmla="*/ 1001077 w 1562100"/>
                <a:gd name="connsiteY314" fmla="*/ 1671638 h 1704975"/>
                <a:gd name="connsiteX315" fmla="*/ 999172 w 1562100"/>
                <a:gd name="connsiteY315" fmla="*/ 1670685 h 1704975"/>
                <a:gd name="connsiteX316" fmla="*/ 995363 w 1562100"/>
                <a:gd name="connsiteY316" fmla="*/ 1665923 h 1704975"/>
                <a:gd name="connsiteX317" fmla="*/ 990600 w 1562100"/>
                <a:gd name="connsiteY317" fmla="*/ 1660208 h 1704975"/>
                <a:gd name="connsiteX318" fmla="*/ 988695 w 1562100"/>
                <a:gd name="connsiteY318" fmla="*/ 1658303 h 1704975"/>
                <a:gd name="connsiteX319" fmla="*/ 984885 w 1562100"/>
                <a:gd name="connsiteY319" fmla="*/ 1657350 h 1704975"/>
                <a:gd name="connsiteX320" fmla="*/ 971550 w 1562100"/>
                <a:gd name="connsiteY320" fmla="*/ 1658303 h 1704975"/>
                <a:gd name="connsiteX321" fmla="*/ 938213 w 1562100"/>
                <a:gd name="connsiteY321" fmla="*/ 1673543 h 1704975"/>
                <a:gd name="connsiteX322" fmla="*/ 934402 w 1562100"/>
                <a:gd name="connsiteY322" fmla="*/ 1677353 h 1704975"/>
                <a:gd name="connsiteX323" fmla="*/ 930593 w 1562100"/>
                <a:gd name="connsiteY323" fmla="*/ 1681163 h 1704975"/>
                <a:gd name="connsiteX324" fmla="*/ 920115 w 1562100"/>
                <a:gd name="connsiteY324" fmla="*/ 1699260 h 1704975"/>
                <a:gd name="connsiteX325" fmla="*/ 914400 w 1562100"/>
                <a:gd name="connsiteY325" fmla="*/ 1705928 h 1704975"/>
                <a:gd name="connsiteX326" fmla="*/ 908685 w 1562100"/>
                <a:gd name="connsiteY326" fmla="*/ 1709738 h 1704975"/>
                <a:gd name="connsiteX327" fmla="*/ 903922 w 1562100"/>
                <a:gd name="connsiteY327" fmla="*/ 1711643 h 1704975"/>
                <a:gd name="connsiteX328" fmla="*/ 901065 w 1562100"/>
                <a:gd name="connsiteY328" fmla="*/ 1711643 h 1704975"/>
                <a:gd name="connsiteX329" fmla="*/ 898207 w 1562100"/>
                <a:gd name="connsiteY329" fmla="*/ 1710690 h 1704975"/>
                <a:gd name="connsiteX330" fmla="*/ 894397 w 1562100"/>
                <a:gd name="connsiteY330" fmla="*/ 1706880 h 1704975"/>
                <a:gd name="connsiteX331" fmla="*/ 891540 w 1562100"/>
                <a:gd name="connsiteY331" fmla="*/ 1705928 h 1704975"/>
                <a:gd name="connsiteX332" fmla="*/ 860107 w 1562100"/>
                <a:gd name="connsiteY332" fmla="*/ 1705928 h 1704975"/>
                <a:gd name="connsiteX333" fmla="*/ 827722 w 1562100"/>
                <a:gd name="connsiteY333" fmla="*/ 1686878 h 1704975"/>
                <a:gd name="connsiteX334" fmla="*/ 824865 w 1562100"/>
                <a:gd name="connsiteY334" fmla="*/ 1683068 h 1704975"/>
                <a:gd name="connsiteX335" fmla="*/ 822007 w 1562100"/>
                <a:gd name="connsiteY335" fmla="*/ 1678305 h 1704975"/>
                <a:gd name="connsiteX336" fmla="*/ 824865 w 1562100"/>
                <a:gd name="connsiteY336" fmla="*/ 1674495 h 1704975"/>
                <a:gd name="connsiteX337" fmla="*/ 832485 w 1562100"/>
                <a:gd name="connsiteY337" fmla="*/ 1666875 h 1704975"/>
                <a:gd name="connsiteX338" fmla="*/ 833438 w 1562100"/>
                <a:gd name="connsiteY338" fmla="*/ 1664018 h 1704975"/>
                <a:gd name="connsiteX339" fmla="*/ 833438 w 1562100"/>
                <a:gd name="connsiteY339" fmla="*/ 1660208 h 1704975"/>
                <a:gd name="connsiteX340" fmla="*/ 832485 w 1562100"/>
                <a:gd name="connsiteY340" fmla="*/ 1658303 h 1704975"/>
                <a:gd name="connsiteX341" fmla="*/ 829627 w 1562100"/>
                <a:gd name="connsiteY341" fmla="*/ 1656398 h 1704975"/>
                <a:gd name="connsiteX342" fmla="*/ 823913 w 1562100"/>
                <a:gd name="connsiteY342" fmla="*/ 1655445 h 1704975"/>
                <a:gd name="connsiteX343" fmla="*/ 817245 w 1562100"/>
                <a:gd name="connsiteY343" fmla="*/ 1656398 h 1704975"/>
                <a:gd name="connsiteX344" fmla="*/ 813435 w 1562100"/>
                <a:gd name="connsiteY344" fmla="*/ 1656398 h 1704975"/>
                <a:gd name="connsiteX345" fmla="*/ 808672 w 1562100"/>
                <a:gd name="connsiteY345" fmla="*/ 1655445 h 1704975"/>
                <a:gd name="connsiteX346" fmla="*/ 801052 w 1562100"/>
                <a:gd name="connsiteY346" fmla="*/ 1651635 h 1704975"/>
                <a:gd name="connsiteX347" fmla="*/ 797243 w 1562100"/>
                <a:gd name="connsiteY347" fmla="*/ 1648778 h 1704975"/>
                <a:gd name="connsiteX348" fmla="*/ 794385 w 1562100"/>
                <a:gd name="connsiteY348" fmla="*/ 1645920 h 1704975"/>
                <a:gd name="connsiteX349" fmla="*/ 792480 w 1562100"/>
                <a:gd name="connsiteY349" fmla="*/ 1641158 h 1704975"/>
                <a:gd name="connsiteX350" fmla="*/ 791527 w 1562100"/>
                <a:gd name="connsiteY350" fmla="*/ 1635443 h 1704975"/>
                <a:gd name="connsiteX351" fmla="*/ 791527 w 1562100"/>
                <a:gd name="connsiteY351" fmla="*/ 1627823 h 1704975"/>
                <a:gd name="connsiteX352" fmla="*/ 790575 w 1562100"/>
                <a:gd name="connsiteY352" fmla="*/ 1622108 h 1704975"/>
                <a:gd name="connsiteX353" fmla="*/ 788670 w 1562100"/>
                <a:gd name="connsiteY353" fmla="*/ 1619250 h 1704975"/>
                <a:gd name="connsiteX354" fmla="*/ 786765 w 1562100"/>
                <a:gd name="connsiteY354" fmla="*/ 1617345 h 1704975"/>
                <a:gd name="connsiteX355" fmla="*/ 774382 w 1562100"/>
                <a:gd name="connsiteY355" fmla="*/ 1606868 h 1704975"/>
                <a:gd name="connsiteX356" fmla="*/ 772477 w 1562100"/>
                <a:gd name="connsiteY356" fmla="*/ 1602105 h 1704975"/>
                <a:gd name="connsiteX357" fmla="*/ 772477 w 1562100"/>
                <a:gd name="connsiteY357" fmla="*/ 1598295 h 1704975"/>
                <a:gd name="connsiteX358" fmla="*/ 773430 w 1562100"/>
                <a:gd name="connsiteY358" fmla="*/ 1595438 h 1704975"/>
                <a:gd name="connsiteX359" fmla="*/ 776288 w 1562100"/>
                <a:gd name="connsiteY359" fmla="*/ 1590675 h 1704975"/>
                <a:gd name="connsiteX360" fmla="*/ 782002 w 1562100"/>
                <a:gd name="connsiteY360" fmla="*/ 1582103 h 1704975"/>
                <a:gd name="connsiteX361" fmla="*/ 783907 w 1562100"/>
                <a:gd name="connsiteY361" fmla="*/ 1581150 h 1704975"/>
                <a:gd name="connsiteX362" fmla="*/ 786765 w 1562100"/>
                <a:gd name="connsiteY362" fmla="*/ 1580198 h 1704975"/>
                <a:gd name="connsiteX363" fmla="*/ 798195 w 1562100"/>
                <a:gd name="connsiteY363" fmla="*/ 1582103 h 1704975"/>
                <a:gd name="connsiteX364" fmla="*/ 801052 w 1562100"/>
                <a:gd name="connsiteY364" fmla="*/ 1580198 h 1704975"/>
                <a:gd name="connsiteX365" fmla="*/ 802957 w 1562100"/>
                <a:gd name="connsiteY365" fmla="*/ 1578293 h 1704975"/>
                <a:gd name="connsiteX366" fmla="*/ 803910 w 1562100"/>
                <a:gd name="connsiteY366" fmla="*/ 1572578 h 1704975"/>
                <a:gd name="connsiteX367" fmla="*/ 804863 w 1562100"/>
                <a:gd name="connsiteY367" fmla="*/ 1561148 h 1704975"/>
                <a:gd name="connsiteX368" fmla="*/ 803910 w 1562100"/>
                <a:gd name="connsiteY368" fmla="*/ 1549718 h 1704975"/>
                <a:gd name="connsiteX369" fmla="*/ 801052 w 1562100"/>
                <a:gd name="connsiteY369" fmla="*/ 1544955 h 1704975"/>
                <a:gd name="connsiteX370" fmla="*/ 798195 w 1562100"/>
                <a:gd name="connsiteY370" fmla="*/ 1542098 h 1704975"/>
                <a:gd name="connsiteX371" fmla="*/ 776288 w 1562100"/>
                <a:gd name="connsiteY371" fmla="*/ 1542098 h 1704975"/>
                <a:gd name="connsiteX372" fmla="*/ 769620 w 1562100"/>
                <a:gd name="connsiteY372" fmla="*/ 1541145 h 1704975"/>
                <a:gd name="connsiteX373" fmla="*/ 766763 w 1562100"/>
                <a:gd name="connsiteY373" fmla="*/ 1540193 h 1704975"/>
                <a:gd name="connsiteX374" fmla="*/ 762000 w 1562100"/>
                <a:gd name="connsiteY374" fmla="*/ 1536383 h 1704975"/>
                <a:gd name="connsiteX375" fmla="*/ 757238 w 1562100"/>
                <a:gd name="connsiteY375" fmla="*/ 1530668 h 1704975"/>
                <a:gd name="connsiteX376" fmla="*/ 738188 w 1562100"/>
                <a:gd name="connsiteY376" fmla="*/ 1504950 h 1704975"/>
                <a:gd name="connsiteX377" fmla="*/ 731520 w 1562100"/>
                <a:gd name="connsiteY377" fmla="*/ 1500188 h 1704975"/>
                <a:gd name="connsiteX378" fmla="*/ 716280 w 1562100"/>
                <a:gd name="connsiteY378" fmla="*/ 1484948 h 1704975"/>
                <a:gd name="connsiteX379" fmla="*/ 710565 w 1562100"/>
                <a:gd name="connsiteY379" fmla="*/ 1481138 h 1704975"/>
                <a:gd name="connsiteX380" fmla="*/ 705802 w 1562100"/>
                <a:gd name="connsiteY380" fmla="*/ 1479233 h 1704975"/>
                <a:gd name="connsiteX381" fmla="*/ 694372 w 1562100"/>
                <a:gd name="connsiteY381" fmla="*/ 1480185 h 1704975"/>
                <a:gd name="connsiteX382" fmla="*/ 683895 w 1562100"/>
                <a:gd name="connsiteY382" fmla="*/ 1483995 h 1704975"/>
                <a:gd name="connsiteX383" fmla="*/ 679132 w 1562100"/>
                <a:gd name="connsiteY383" fmla="*/ 1486853 h 1704975"/>
                <a:gd name="connsiteX384" fmla="*/ 678180 w 1562100"/>
                <a:gd name="connsiteY384" fmla="*/ 1489710 h 1704975"/>
                <a:gd name="connsiteX385" fmla="*/ 677227 w 1562100"/>
                <a:gd name="connsiteY385" fmla="*/ 1498283 h 1704975"/>
                <a:gd name="connsiteX386" fmla="*/ 676275 w 1562100"/>
                <a:gd name="connsiteY386" fmla="*/ 1501140 h 1704975"/>
                <a:gd name="connsiteX387" fmla="*/ 673418 w 1562100"/>
                <a:gd name="connsiteY387" fmla="*/ 1504950 h 1704975"/>
                <a:gd name="connsiteX388" fmla="*/ 672465 w 1562100"/>
                <a:gd name="connsiteY388" fmla="*/ 1507808 h 1704975"/>
                <a:gd name="connsiteX389" fmla="*/ 672465 w 1562100"/>
                <a:gd name="connsiteY389" fmla="*/ 1510665 h 1704975"/>
                <a:gd name="connsiteX390" fmla="*/ 672465 w 1562100"/>
                <a:gd name="connsiteY390" fmla="*/ 1516380 h 1704975"/>
                <a:gd name="connsiteX391" fmla="*/ 672465 w 1562100"/>
                <a:gd name="connsiteY391" fmla="*/ 1518285 h 1704975"/>
                <a:gd name="connsiteX392" fmla="*/ 670560 w 1562100"/>
                <a:gd name="connsiteY392" fmla="*/ 1520190 h 1704975"/>
                <a:gd name="connsiteX393" fmla="*/ 665797 w 1562100"/>
                <a:gd name="connsiteY393" fmla="*/ 1522095 h 1704975"/>
                <a:gd name="connsiteX394" fmla="*/ 663893 w 1562100"/>
                <a:gd name="connsiteY394" fmla="*/ 1524000 h 1704975"/>
                <a:gd name="connsiteX395" fmla="*/ 657225 w 1562100"/>
                <a:gd name="connsiteY395" fmla="*/ 1533525 h 1704975"/>
                <a:gd name="connsiteX396" fmla="*/ 653415 w 1562100"/>
                <a:gd name="connsiteY396" fmla="*/ 1538288 h 1704975"/>
                <a:gd name="connsiteX397" fmla="*/ 651510 w 1562100"/>
                <a:gd name="connsiteY397" fmla="*/ 1539240 h 1704975"/>
                <a:gd name="connsiteX398" fmla="*/ 647700 w 1562100"/>
                <a:gd name="connsiteY398" fmla="*/ 1539240 h 1704975"/>
                <a:gd name="connsiteX399" fmla="*/ 626745 w 1562100"/>
                <a:gd name="connsiteY399" fmla="*/ 1537335 h 1704975"/>
                <a:gd name="connsiteX400" fmla="*/ 621030 w 1562100"/>
                <a:gd name="connsiteY400" fmla="*/ 1538288 h 1704975"/>
                <a:gd name="connsiteX401" fmla="*/ 616268 w 1562100"/>
                <a:gd name="connsiteY401" fmla="*/ 1541145 h 1704975"/>
                <a:gd name="connsiteX402" fmla="*/ 612457 w 1562100"/>
                <a:gd name="connsiteY402" fmla="*/ 1544955 h 1704975"/>
                <a:gd name="connsiteX403" fmla="*/ 609600 w 1562100"/>
                <a:gd name="connsiteY403" fmla="*/ 1549718 h 1704975"/>
                <a:gd name="connsiteX404" fmla="*/ 607695 w 1562100"/>
                <a:gd name="connsiteY404" fmla="*/ 1551623 h 1704975"/>
                <a:gd name="connsiteX405" fmla="*/ 604838 w 1562100"/>
                <a:gd name="connsiteY405" fmla="*/ 1552575 h 1704975"/>
                <a:gd name="connsiteX406" fmla="*/ 599122 w 1562100"/>
                <a:gd name="connsiteY406" fmla="*/ 1553528 h 1704975"/>
                <a:gd name="connsiteX407" fmla="*/ 596265 w 1562100"/>
                <a:gd name="connsiteY407" fmla="*/ 1554480 h 1704975"/>
                <a:gd name="connsiteX408" fmla="*/ 592455 w 1562100"/>
                <a:gd name="connsiteY408" fmla="*/ 1557338 h 1704975"/>
                <a:gd name="connsiteX409" fmla="*/ 586740 w 1562100"/>
                <a:gd name="connsiteY409" fmla="*/ 1564005 h 1704975"/>
                <a:gd name="connsiteX410" fmla="*/ 584835 w 1562100"/>
                <a:gd name="connsiteY410" fmla="*/ 1565910 h 1704975"/>
                <a:gd name="connsiteX411" fmla="*/ 582930 w 1562100"/>
                <a:gd name="connsiteY411" fmla="*/ 1567815 h 1704975"/>
                <a:gd name="connsiteX412" fmla="*/ 580072 w 1562100"/>
                <a:gd name="connsiteY412" fmla="*/ 1567815 h 1704975"/>
                <a:gd name="connsiteX413" fmla="*/ 572452 w 1562100"/>
                <a:gd name="connsiteY413" fmla="*/ 1566863 h 1704975"/>
                <a:gd name="connsiteX414" fmla="*/ 569595 w 1562100"/>
                <a:gd name="connsiteY414" fmla="*/ 1567815 h 1704975"/>
                <a:gd name="connsiteX415" fmla="*/ 567690 w 1562100"/>
                <a:gd name="connsiteY415" fmla="*/ 1568768 h 1704975"/>
                <a:gd name="connsiteX416" fmla="*/ 562927 w 1562100"/>
                <a:gd name="connsiteY416" fmla="*/ 1572578 h 1704975"/>
                <a:gd name="connsiteX417" fmla="*/ 558165 w 1562100"/>
                <a:gd name="connsiteY417" fmla="*/ 1574483 h 1704975"/>
                <a:gd name="connsiteX418" fmla="*/ 555307 w 1562100"/>
                <a:gd name="connsiteY418" fmla="*/ 1574483 h 1704975"/>
                <a:gd name="connsiteX419" fmla="*/ 522922 w 1562100"/>
                <a:gd name="connsiteY419" fmla="*/ 1566863 h 1704975"/>
                <a:gd name="connsiteX420" fmla="*/ 518160 w 1562100"/>
                <a:gd name="connsiteY420" fmla="*/ 1567815 h 1704975"/>
                <a:gd name="connsiteX421" fmla="*/ 514350 w 1562100"/>
                <a:gd name="connsiteY421" fmla="*/ 1570673 h 1704975"/>
                <a:gd name="connsiteX422" fmla="*/ 508635 w 1562100"/>
                <a:gd name="connsiteY422" fmla="*/ 1577340 h 1704975"/>
                <a:gd name="connsiteX423" fmla="*/ 502920 w 1562100"/>
                <a:gd name="connsiteY423" fmla="*/ 1582103 h 1704975"/>
                <a:gd name="connsiteX424" fmla="*/ 461963 w 1562100"/>
                <a:gd name="connsiteY424" fmla="*/ 1571625 h 1704975"/>
                <a:gd name="connsiteX425" fmla="*/ 451485 w 1562100"/>
                <a:gd name="connsiteY425" fmla="*/ 1570673 h 1704975"/>
                <a:gd name="connsiteX426" fmla="*/ 443865 w 1562100"/>
                <a:gd name="connsiteY426" fmla="*/ 1570673 h 1704975"/>
                <a:gd name="connsiteX427" fmla="*/ 441007 w 1562100"/>
                <a:gd name="connsiteY427" fmla="*/ 1572578 h 1704975"/>
                <a:gd name="connsiteX428" fmla="*/ 438150 w 1562100"/>
                <a:gd name="connsiteY428" fmla="*/ 1573530 h 1704975"/>
                <a:gd name="connsiteX429" fmla="*/ 432435 w 1562100"/>
                <a:gd name="connsiteY429" fmla="*/ 1575435 h 1704975"/>
                <a:gd name="connsiteX430" fmla="*/ 428625 w 1562100"/>
                <a:gd name="connsiteY430" fmla="*/ 1573530 h 1704975"/>
                <a:gd name="connsiteX431" fmla="*/ 425767 w 1562100"/>
                <a:gd name="connsiteY431" fmla="*/ 1572578 h 1704975"/>
                <a:gd name="connsiteX432" fmla="*/ 421005 w 1562100"/>
                <a:gd name="connsiteY432" fmla="*/ 1568768 h 1704975"/>
                <a:gd name="connsiteX433" fmla="*/ 416242 w 1562100"/>
                <a:gd name="connsiteY433" fmla="*/ 1566863 h 1704975"/>
                <a:gd name="connsiteX434" fmla="*/ 410527 w 1562100"/>
                <a:gd name="connsiteY434" fmla="*/ 1566863 h 1704975"/>
                <a:gd name="connsiteX435" fmla="*/ 406717 w 1562100"/>
                <a:gd name="connsiteY435" fmla="*/ 1565910 h 1704975"/>
                <a:gd name="connsiteX436" fmla="*/ 403860 w 1562100"/>
                <a:gd name="connsiteY436" fmla="*/ 1564958 h 1704975"/>
                <a:gd name="connsiteX437" fmla="*/ 401955 w 1562100"/>
                <a:gd name="connsiteY437" fmla="*/ 1563053 h 1704975"/>
                <a:gd name="connsiteX438" fmla="*/ 399097 w 1562100"/>
                <a:gd name="connsiteY438" fmla="*/ 1558290 h 1704975"/>
                <a:gd name="connsiteX439" fmla="*/ 397192 w 1562100"/>
                <a:gd name="connsiteY439" fmla="*/ 1553528 h 1704975"/>
                <a:gd name="connsiteX440" fmla="*/ 398145 w 1562100"/>
                <a:gd name="connsiteY440" fmla="*/ 1542098 h 1704975"/>
                <a:gd name="connsiteX441" fmla="*/ 397192 w 1562100"/>
                <a:gd name="connsiteY441" fmla="*/ 1538288 h 1704975"/>
                <a:gd name="connsiteX442" fmla="*/ 395288 w 1562100"/>
                <a:gd name="connsiteY442" fmla="*/ 1534478 h 1704975"/>
                <a:gd name="connsiteX443" fmla="*/ 392430 w 1562100"/>
                <a:gd name="connsiteY443" fmla="*/ 1532573 h 1704975"/>
                <a:gd name="connsiteX444" fmla="*/ 388620 w 1562100"/>
                <a:gd name="connsiteY444" fmla="*/ 1531620 h 1704975"/>
                <a:gd name="connsiteX445" fmla="*/ 378142 w 1562100"/>
                <a:gd name="connsiteY445" fmla="*/ 1532573 h 1704975"/>
                <a:gd name="connsiteX446" fmla="*/ 375285 w 1562100"/>
                <a:gd name="connsiteY446" fmla="*/ 1530668 h 1704975"/>
                <a:gd name="connsiteX447" fmla="*/ 372427 w 1562100"/>
                <a:gd name="connsiteY447" fmla="*/ 1528763 h 1704975"/>
                <a:gd name="connsiteX448" fmla="*/ 357188 w 1562100"/>
                <a:gd name="connsiteY448" fmla="*/ 1513523 h 1704975"/>
                <a:gd name="connsiteX449" fmla="*/ 354330 w 1562100"/>
                <a:gd name="connsiteY449" fmla="*/ 1508760 h 1704975"/>
                <a:gd name="connsiteX450" fmla="*/ 353377 w 1562100"/>
                <a:gd name="connsiteY450" fmla="*/ 1505903 h 1704975"/>
                <a:gd name="connsiteX451" fmla="*/ 354330 w 1562100"/>
                <a:gd name="connsiteY451" fmla="*/ 1503045 h 1704975"/>
                <a:gd name="connsiteX452" fmla="*/ 355282 w 1562100"/>
                <a:gd name="connsiteY452" fmla="*/ 1496378 h 1704975"/>
                <a:gd name="connsiteX453" fmla="*/ 357188 w 1562100"/>
                <a:gd name="connsiteY453" fmla="*/ 1493520 h 1704975"/>
                <a:gd name="connsiteX454" fmla="*/ 359092 w 1562100"/>
                <a:gd name="connsiteY454" fmla="*/ 1492568 h 1704975"/>
                <a:gd name="connsiteX455" fmla="*/ 364807 w 1562100"/>
                <a:gd name="connsiteY455" fmla="*/ 1493520 h 1704975"/>
                <a:gd name="connsiteX456" fmla="*/ 366713 w 1562100"/>
                <a:gd name="connsiteY456" fmla="*/ 1492568 h 1704975"/>
                <a:gd name="connsiteX457" fmla="*/ 368617 w 1562100"/>
                <a:gd name="connsiteY457" fmla="*/ 1490663 h 1704975"/>
                <a:gd name="connsiteX458" fmla="*/ 372427 w 1562100"/>
                <a:gd name="connsiteY458" fmla="*/ 1485900 h 1704975"/>
                <a:gd name="connsiteX459" fmla="*/ 374332 w 1562100"/>
                <a:gd name="connsiteY459" fmla="*/ 1480185 h 1704975"/>
                <a:gd name="connsiteX460" fmla="*/ 375285 w 1562100"/>
                <a:gd name="connsiteY460" fmla="*/ 1476375 h 1704975"/>
                <a:gd name="connsiteX461" fmla="*/ 375285 w 1562100"/>
                <a:gd name="connsiteY461" fmla="*/ 1469708 h 1704975"/>
                <a:gd name="connsiteX462" fmla="*/ 374332 w 1562100"/>
                <a:gd name="connsiteY462" fmla="*/ 1461135 h 1704975"/>
                <a:gd name="connsiteX463" fmla="*/ 371475 w 1562100"/>
                <a:gd name="connsiteY463" fmla="*/ 1449705 h 1704975"/>
                <a:gd name="connsiteX464" fmla="*/ 369570 w 1562100"/>
                <a:gd name="connsiteY464" fmla="*/ 1444943 h 1704975"/>
                <a:gd name="connsiteX465" fmla="*/ 367665 w 1562100"/>
                <a:gd name="connsiteY465" fmla="*/ 1440180 h 1704975"/>
                <a:gd name="connsiteX466" fmla="*/ 363855 w 1562100"/>
                <a:gd name="connsiteY466" fmla="*/ 1435418 h 1704975"/>
                <a:gd name="connsiteX467" fmla="*/ 357188 w 1562100"/>
                <a:gd name="connsiteY467" fmla="*/ 1427798 h 1704975"/>
                <a:gd name="connsiteX468" fmla="*/ 344805 w 1562100"/>
                <a:gd name="connsiteY468" fmla="*/ 1417320 h 1704975"/>
                <a:gd name="connsiteX469" fmla="*/ 342900 w 1562100"/>
                <a:gd name="connsiteY469" fmla="*/ 1414463 h 1704975"/>
                <a:gd name="connsiteX470" fmla="*/ 342900 w 1562100"/>
                <a:gd name="connsiteY470" fmla="*/ 1406843 h 1704975"/>
                <a:gd name="connsiteX471" fmla="*/ 342900 w 1562100"/>
                <a:gd name="connsiteY471" fmla="*/ 1403033 h 1704975"/>
                <a:gd name="connsiteX472" fmla="*/ 340995 w 1562100"/>
                <a:gd name="connsiteY472" fmla="*/ 1401128 h 1704975"/>
                <a:gd name="connsiteX473" fmla="*/ 337185 w 1562100"/>
                <a:gd name="connsiteY473" fmla="*/ 1400175 h 1704975"/>
                <a:gd name="connsiteX474" fmla="*/ 329565 w 1562100"/>
                <a:gd name="connsiteY474" fmla="*/ 1399223 h 1704975"/>
                <a:gd name="connsiteX475" fmla="*/ 321945 w 1562100"/>
                <a:gd name="connsiteY475" fmla="*/ 1398270 h 1704975"/>
                <a:gd name="connsiteX476" fmla="*/ 319088 w 1562100"/>
                <a:gd name="connsiteY476" fmla="*/ 1396365 h 1704975"/>
                <a:gd name="connsiteX477" fmla="*/ 317182 w 1562100"/>
                <a:gd name="connsiteY477" fmla="*/ 1393508 h 1704975"/>
                <a:gd name="connsiteX478" fmla="*/ 317182 w 1562100"/>
                <a:gd name="connsiteY478" fmla="*/ 1390650 h 1704975"/>
                <a:gd name="connsiteX479" fmla="*/ 319088 w 1562100"/>
                <a:gd name="connsiteY479" fmla="*/ 1383983 h 1704975"/>
                <a:gd name="connsiteX480" fmla="*/ 320040 w 1562100"/>
                <a:gd name="connsiteY480" fmla="*/ 1381125 h 1704975"/>
                <a:gd name="connsiteX481" fmla="*/ 319088 w 1562100"/>
                <a:gd name="connsiteY481" fmla="*/ 1378268 h 1704975"/>
                <a:gd name="connsiteX482" fmla="*/ 315277 w 1562100"/>
                <a:gd name="connsiteY482" fmla="*/ 1373505 h 1704975"/>
                <a:gd name="connsiteX483" fmla="*/ 310515 w 1562100"/>
                <a:gd name="connsiteY483" fmla="*/ 1366838 h 1704975"/>
                <a:gd name="connsiteX484" fmla="*/ 308610 w 1562100"/>
                <a:gd name="connsiteY484" fmla="*/ 1362075 h 1704975"/>
                <a:gd name="connsiteX485" fmla="*/ 306705 w 1562100"/>
                <a:gd name="connsiteY485" fmla="*/ 1359218 h 1704975"/>
                <a:gd name="connsiteX486" fmla="*/ 302895 w 1562100"/>
                <a:gd name="connsiteY486" fmla="*/ 1358265 h 1704975"/>
                <a:gd name="connsiteX487" fmla="*/ 300038 w 1562100"/>
                <a:gd name="connsiteY487" fmla="*/ 1358265 h 1704975"/>
                <a:gd name="connsiteX488" fmla="*/ 295275 w 1562100"/>
                <a:gd name="connsiteY488" fmla="*/ 1361123 h 1704975"/>
                <a:gd name="connsiteX489" fmla="*/ 289560 w 1562100"/>
                <a:gd name="connsiteY489" fmla="*/ 1365885 h 1704975"/>
                <a:gd name="connsiteX490" fmla="*/ 286702 w 1562100"/>
                <a:gd name="connsiteY490" fmla="*/ 1366838 h 1704975"/>
                <a:gd name="connsiteX491" fmla="*/ 280988 w 1562100"/>
                <a:gd name="connsiteY491" fmla="*/ 1368743 h 1704975"/>
                <a:gd name="connsiteX492" fmla="*/ 275272 w 1562100"/>
                <a:gd name="connsiteY492" fmla="*/ 1368743 h 1704975"/>
                <a:gd name="connsiteX493" fmla="*/ 246697 w 1562100"/>
                <a:gd name="connsiteY493" fmla="*/ 1366838 h 1704975"/>
                <a:gd name="connsiteX494" fmla="*/ 240030 w 1562100"/>
                <a:gd name="connsiteY494" fmla="*/ 1366838 h 1704975"/>
                <a:gd name="connsiteX495" fmla="*/ 234315 w 1562100"/>
                <a:gd name="connsiteY495" fmla="*/ 1368743 h 1704975"/>
                <a:gd name="connsiteX496" fmla="*/ 226695 w 1562100"/>
                <a:gd name="connsiteY496" fmla="*/ 1376363 h 1704975"/>
                <a:gd name="connsiteX497" fmla="*/ 222885 w 1562100"/>
                <a:gd name="connsiteY497" fmla="*/ 1377315 h 1704975"/>
                <a:gd name="connsiteX498" fmla="*/ 216217 w 1562100"/>
                <a:gd name="connsiteY498" fmla="*/ 1376363 h 1704975"/>
                <a:gd name="connsiteX499" fmla="*/ 191452 w 1562100"/>
                <a:gd name="connsiteY499" fmla="*/ 1369695 h 1704975"/>
                <a:gd name="connsiteX500" fmla="*/ 188595 w 1562100"/>
                <a:gd name="connsiteY500" fmla="*/ 1370648 h 1704975"/>
                <a:gd name="connsiteX501" fmla="*/ 186690 w 1562100"/>
                <a:gd name="connsiteY501" fmla="*/ 1371600 h 1704975"/>
                <a:gd name="connsiteX502" fmla="*/ 182880 w 1562100"/>
                <a:gd name="connsiteY502" fmla="*/ 1380173 h 1704975"/>
                <a:gd name="connsiteX503" fmla="*/ 180022 w 1562100"/>
                <a:gd name="connsiteY503" fmla="*/ 1382078 h 1704975"/>
                <a:gd name="connsiteX504" fmla="*/ 177165 w 1562100"/>
                <a:gd name="connsiteY504" fmla="*/ 1383983 h 1704975"/>
                <a:gd name="connsiteX505" fmla="*/ 172402 w 1562100"/>
                <a:gd name="connsiteY505" fmla="*/ 1384935 h 1704975"/>
                <a:gd name="connsiteX506" fmla="*/ 169545 w 1562100"/>
                <a:gd name="connsiteY506" fmla="*/ 1383983 h 1704975"/>
                <a:gd name="connsiteX507" fmla="*/ 167640 w 1562100"/>
                <a:gd name="connsiteY507" fmla="*/ 1382078 h 1704975"/>
                <a:gd name="connsiteX508" fmla="*/ 163830 w 1562100"/>
                <a:gd name="connsiteY508" fmla="*/ 1377315 h 1704975"/>
                <a:gd name="connsiteX509" fmla="*/ 160972 w 1562100"/>
                <a:gd name="connsiteY509" fmla="*/ 1373505 h 1704975"/>
                <a:gd name="connsiteX510" fmla="*/ 155257 w 1562100"/>
                <a:gd name="connsiteY510" fmla="*/ 1367790 h 1704975"/>
                <a:gd name="connsiteX511" fmla="*/ 150495 w 1562100"/>
                <a:gd name="connsiteY511" fmla="*/ 1365885 h 1704975"/>
                <a:gd name="connsiteX512" fmla="*/ 146685 w 1562100"/>
                <a:gd name="connsiteY512" fmla="*/ 1364933 h 1704975"/>
                <a:gd name="connsiteX513" fmla="*/ 131445 w 1562100"/>
                <a:gd name="connsiteY513" fmla="*/ 1369695 h 1704975"/>
                <a:gd name="connsiteX514" fmla="*/ 125730 w 1562100"/>
                <a:gd name="connsiteY514" fmla="*/ 1369695 h 1704975"/>
                <a:gd name="connsiteX515" fmla="*/ 122872 w 1562100"/>
                <a:gd name="connsiteY515" fmla="*/ 1367790 h 1704975"/>
                <a:gd name="connsiteX516" fmla="*/ 120967 w 1562100"/>
                <a:gd name="connsiteY516" fmla="*/ 1365885 h 1704975"/>
                <a:gd name="connsiteX517" fmla="*/ 120967 w 1562100"/>
                <a:gd name="connsiteY517" fmla="*/ 1362075 h 1704975"/>
                <a:gd name="connsiteX518" fmla="*/ 122872 w 1562100"/>
                <a:gd name="connsiteY518" fmla="*/ 1357313 h 1704975"/>
                <a:gd name="connsiteX519" fmla="*/ 130492 w 1562100"/>
                <a:gd name="connsiteY519" fmla="*/ 1343978 h 1704975"/>
                <a:gd name="connsiteX520" fmla="*/ 135255 w 1562100"/>
                <a:gd name="connsiteY520" fmla="*/ 1332548 h 1704975"/>
                <a:gd name="connsiteX521" fmla="*/ 139065 w 1562100"/>
                <a:gd name="connsiteY521" fmla="*/ 1323023 h 1704975"/>
                <a:gd name="connsiteX522" fmla="*/ 140017 w 1562100"/>
                <a:gd name="connsiteY522" fmla="*/ 1316355 h 1704975"/>
                <a:gd name="connsiteX523" fmla="*/ 142875 w 1562100"/>
                <a:gd name="connsiteY523" fmla="*/ 1298258 h 1704975"/>
                <a:gd name="connsiteX524" fmla="*/ 142875 w 1562100"/>
                <a:gd name="connsiteY524" fmla="*/ 1296353 h 1704975"/>
                <a:gd name="connsiteX525" fmla="*/ 140970 w 1562100"/>
                <a:gd name="connsiteY525" fmla="*/ 1292543 h 1704975"/>
                <a:gd name="connsiteX526" fmla="*/ 136207 w 1562100"/>
                <a:gd name="connsiteY526" fmla="*/ 1287780 h 1704975"/>
                <a:gd name="connsiteX527" fmla="*/ 119063 w 1562100"/>
                <a:gd name="connsiteY527" fmla="*/ 1274445 h 1704975"/>
                <a:gd name="connsiteX528" fmla="*/ 114300 w 1562100"/>
                <a:gd name="connsiteY528" fmla="*/ 1271588 h 1704975"/>
                <a:gd name="connsiteX529" fmla="*/ 85725 w 1562100"/>
                <a:gd name="connsiteY529" fmla="*/ 1261110 h 1704975"/>
                <a:gd name="connsiteX530" fmla="*/ 80963 w 1562100"/>
                <a:gd name="connsiteY530" fmla="*/ 1258253 h 1704975"/>
                <a:gd name="connsiteX531" fmla="*/ 77152 w 1562100"/>
                <a:gd name="connsiteY531" fmla="*/ 1255395 h 1704975"/>
                <a:gd name="connsiteX532" fmla="*/ 76200 w 1562100"/>
                <a:gd name="connsiteY532" fmla="*/ 1252538 h 1704975"/>
                <a:gd name="connsiteX533" fmla="*/ 75247 w 1562100"/>
                <a:gd name="connsiteY533" fmla="*/ 1246823 h 1704975"/>
                <a:gd name="connsiteX534" fmla="*/ 75247 w 1562100"/>
                <a:gd name="connsiteY534" fmla="*/ 1240155 h 1704975"/>
                <a:gd name="connsiteX535" fmla="*/ 76200 w 1562100"/>
                <a:gd name="connsiteY535" fmla="*/ 1236345 h 1704975"/>
                <a:gd name="connsiteX536" fmla="*/ 79057 w 1562100"/>
                <a:gd name="connsiteY536" fmla="*/ 1222058 h 1704975"/>
                <a:gd name="connsiteX537" fmla="*/ 81915 w 1562100"/>
                <a:gd name="connsiteY537" fmla="*/ 1207770 h 1704975"/>
                <a:gd name="connsiteX538" fmla="*/ 81915 w 1562100"/>
                <a:gd name="connsiteY538" fmla="*/ 1201103 h 1704975"/>
                <a:gd name="connsiteX539" fmla="*/ 80963 w 1562100"/>
                <a:gd name="connsiteY539" fmla="*/ 1194435 h 1704975"/>
                <a:gd name="connsiteX540" fmla="*/ 79057 w 1562100"/>
                <a:gd name="connsiteY540" fmla="*/ 1185863 h 1704975"/>
                <a:gd name="connsiteX541" fmla="*/ 77152 w 1562100"/>
                <a:gd name="connsiteY541" fmla="*/ 1181100 h 1704975"/>
                <a:gd name="connsiteX542" fmla="*/ 74295 w 1562100"/>
                <a:gd name="connsiteY542" fmla="*/ 1177290 h 1704975"/>
                <a:gd name="connsiteX543" fmla="*/ 60960 w 1562100"/>
                <a:gd name="connsiteY543" fmla="*/ 1164908 h 1704975"/>
                <a:gd name="connsiteX544" fmla="*/ 56197 w 1562100"/>
                <a:gd name="connsiteY544" fmla="*/ 1162050 h 1704975"/>
                <a:gd name="connsiteX545" fmla="*/ 51435 w 1562100"/>
                <a:gd name="connsiteY545" fmla="*/ 1161098 h 1704975"/>
                <a:gd name="connsiteX546" fmla="*/ 48577 w 1562100"/>
                <a:gd name="connsiteY546" fmla="*/ 1161098 h 1704975"/>
                <a:gd name="connsiteX547" fmla="*/ 43815 w 1562100"/>
                <a:gd name="connsiteY547" fmla="*/ 1161098 h 1704975"/>
                <a:gd name="connsiteX548" fmla="*/ 37147 w 1562100"/>
                <a:gd name="connsiteY548" fmla="*/ 1159193 h 1704975"/>
                <a:gd name="connsiteX549" fmla="*/ 31432 w 1562100"/>
                <a:gd name="connsiteY549" fmla="*/ 1154430 h 1704975"/>
                <a:gd name="connsiteX550" fmla="*/ 24765 w 1562100"/>
                <a:gd name="connsiteY550" fmla="*/ 1150620 h 1704975"/>
                <a:gd name="connsiteX551" fmla="*/ 21907 w 1562100"/>
                <a:gd name="connsiteY551" fmla="*/ 1150620 h 1704975"/>
                <a:gd name="connsiteX552" fmla="*/ 20002 w 1562100"/>
                <a:gd name="connsiteY552" fmla="*/ 1152525 h 1704975"/>
                <a:gd name="connsiteX553" fmla="*/ 15240 w 1562100"/>
                <a:gd name="connsiteY553" fmla="*/ 1156335 h 1704975"/>
                <a:gd name="connsiteX554" fmla="*/ 12382 w 1562100"/>
                <a:gd name="connsiteY554" fmla="*/ 1158240 h 1704975"/>
                <a:gd name="connsiteX555" fmla="*/ 6667 w 1562100"/>
                <a:gd name="connsiteY555" fmla="*/ 1158240 h 1704975"/>
                <a:gd name="connsiteX556" fmla="*/ 3810 w 1562100"/>
                <a:gd name="connsiteY556" fmla="*/ 1156335 h 1704975"/>
                <a:gd name="connsiteX557" fmla="*/ 2857 w 1562100"/>
                <a:gd name="connsiteY557" fmla="*/ 1154430 h 1704975"/>
                <a:gd name="connsiteX558" fmla="*/ 1905 w 1562100"/>
                <a:gd name="connsiteY558" fmla="*/ 1150620 h 1704975"/>
                <a:gd name="connsiteX559" fmla="*/ 0 w 1562100"/>
                <a:gd name="connsiteY559" fmla="*/ 1125855 h 1704975"/>
                <a:gd name="connsiteX560" fmla="*/ 952 w 1562100"/>
                <a:gd name="connsiteY560" fmla="*/ 1074420 h 1704975"/>
                <a:gd name="connsiteX561" fmla="*/ 1905 w 1562100"/>
                <a:gd name="connsiteY561" fmla="*/ 1066800 h 1704975"/>
                <a:gd name="connsiteX562" fmla="*/ 11430 w 1562100"/>
                <a:gd name="connsiteY562" fmla="*/ 1020128 h 1704975"/>
                <a:gd name="connsiteX563" fmla="*/ 12382 w 1562100"/>
                <a:gd name="connsiteY563" fmla="*/ 1013460 h 1704975"/>
                <a:gd name="connsiteX564" fmla="*/ 11430 w 1562100"/>
                <a:gd name="connsiteY564" fmla="*/ 1006793 h 1704975"/>
                <a:gd name="connsiteX565" fmla="*/ 10477 w 1562100"/>
                <a:gd name="connsiteY565" fmla="*/ 1001078 h 1704975"/>
                <a:gd name="connsiteX566" fmla="*/ 3810 w 1562100"/>
                <a:gd name="connsiteY566" fmla="*/ 984885 h 1704975"/>
                <a:gd name="connsiteX567" fmla="*/ 2857 w 1562100"/>
                <a:gd name="connsiteY567" fmla="*/ 980123 h 1704975"/>
                <a:gd name="connsiteX568" fmla="*/ 3810 w 1562100"/>
                <a:gd name="connsiteY568" fmla="*/ 976313 h 1704975"/>
                <a:gd name="connsiteX569" fmla="*/ 5715 w 1562100"/>
                <a:gd name="connsiteY569" fmla="*/ 974408 h 1704975"/>
                <a:gd name="connsiteX570" fmla="*/ 8572 w 1562100"/>
                <a:gd name="connsiteY570" fmla="*/ 973455 h 1704975"/>
                <a:gd name="connsiteX571" fmla="*/ 19050 w 1562100"/>
                <a:gd name="connsiteY571" fmla="*/ 974408 h 1704975"/>
                <a:gd name="connsiteX572" fmla="*/ 21907 w 1562100"/>
                <a:gd name="connsiteY572" fmla="*/ 974408 h 1704975"/>
                <a:gd name="connsiteX573" fmla="*/ 23813 w 1562100"/>
                <a:gd name="connsiteY573" fmla="*/ 972503 h 1704975"/>
                <a:gd name="connsiteX574" fmla="*/ 24765 w 1562100"/>
                <a:gd name="connsiteY574" fmla="*/ 970598 h 1704975"/>
                <a:gd name="connsiteX575" fmla="*/ 25717 w 1562100"/>
                <a:gd name="connsiteY575" fmla="*/ 967740 h 1704975"/>
                <a:gd name="connsiteX576" fmla="*/ 24765 w 1562100"/>
                <a:gd name="connsiteY576" fmla="*/ 961073 h 1704975"/>
                <a:gd name="connsiteX577" fmla="*/ 24765 w 1562100"/>
                <a:gd name="connsiteY577" fmla="*/ 960120 h 1704975"/>
                <a:gd name="connsiteX578" fmla="*/ 25717 w 1562100"/>
                <a:gd name="connsiteY578" fmla="*/ 940118 h 1704975"/>
                <a:gd name="connsiteX579" fmla="*/ 26670 w 1562100"/>
                <a:gd name="connsiteY579" fmla="*/ 938213 h 1704975"/>
                <a:gd name="connsiteX580" fmla="*/ 36195 w 1562100"/>
                <a:gd name="connsiteY580" fmla="*/ 922020 h 1704975"/>
                <a:gd name="connsiteX581" fmla="*/ 37147 w 1562100"/>
                <a:gd name="connsiteY581" fmla="*/ 909638 h 1704975"/>
                <a:gd name="connsiteX582" fmla="*/ 53340 w 1562100"/>
                <a:gd name="connsiteY582" fmla="*/ 898208 h 1704975"/>
                <a:gd name="connsiteX583" fmla="*/ 68580 w 1562100"/>
                <a:gd name="connsiteY583" fmla="*/ 882015 h 1704975"/>
                <a:gd name="connsiteX584" fmla="*/ 65722 w 1562100"/>
                <a:gd name="connsiteY584" fmla="*/ 858203 h 1704975"/>
                <a:gd name="connsiteX585" fmla="*/ 72390 w 1562100"/>
                <a:gd name="connsiteY585" fmla="*/ 855345 h 1704975"/>
                <a:gd name="connsiteX586" fmla="*/ 71438 w 1562100"/>
                <a:gd name="connsiteY586" fmla="*/ 851535 h 1704975"/>
                <a:gd name="connsiteX587" fmla="*/ 67627 w 1562100"/>
                <a:gd name="connsiteY587" fmla="*/ 846773 h 1704975"/>
                <a:gd name="connsiteX588" fmla="*/ 65722 w 1562100"/>
                <a:gd name="connsiteY588" fmla="*/ 842010 h 1704975"/>
                <a:gd name="connsiteX589" fmla="*/ 60007 w 1562100"/>
                <a:gd name="connsiteY589" fmla="*/ 818198 h 1704975"/>
                <a:gd name="connsiteX590" fmla="*/ 58102 w 1562100"/>
                <a:gd name="connsiteY590" fmla="*/ 812483 h 1704975"/>
                <a:gd name="connsiteX591" fmla="*/ 51435 w 1562100"/>
                <a:gd name="connsiteY591" fmla="*/ 807720 h 1704975"/>
                <a:gd name="connsiteX592" fmla="*/ 45720 w 1562100"/>
                <a:gd name="connsiteY592" fmla="*/ 806768 h 1704975"/>
                <a:gd name="connsiteX593" fmla="*/ 41910 w 1562100"/>
                <a:gd name="connsiteY593" fmla="*/ 804863 h 1704975"/>
                <a:gd name="connsiteX594" fmla="*/ 40005 w 1562100"/>
                <a:gd name="connsiteY594" fmla="*/ 795338 h 1704975"/>
                <a:gd name="connsiteX595" fmla="*/ 40957 w 1562100"/>
                <a:gd name="connsiteY595" fmla="*/ 783908 h 1704975"/>
                <a:gd name="connsiteX596" fmla="*/ 44767 w 1562100"/>
                <a:gd name="connsiteY596" fmla="*/ 778193 h 1704975"/>
                <a:gd name="connsiteX597" fmla="*/ 50482 w 1562100"/>
                <a:gd name="connsiteY597" fmla="*/ 776288 h 1704975"/>
                <a:gd name="connsiteX598" fmla="*/ 58102 w 1562100"/>
                <a:gd name="connsiteY598" fmla="*/ 778193 h 1704975"/>
                <a:gd name="connsiteX599" fmla="*/ 58102 w 1562100"/>
                <a:gd name="connsiteY599" fmla="*/ 771525 h 1704975"/>
                <a:gd name="connsiteX600" fmla="*/ 52388 w 1562100"/>
                <a:gd name="connsiteY600" fmla="*/ 769620 h 1704975"/>
                <a:gd name="connsiteX601" fmla="*/ 46672 w 1562100"/>
                <a:gd name="connsiteY601" fmla="*/ 765810 h 1704975"/>
                <a:gd name="connsiteX602" fmla="*/ 41910 w 1562100"/>
                <a:gd name="connsiteY602" fmla="*/ 759143 h 1704975"/>
                <a:gd name="connsiteX603" fmla="*/ 40005 w 1562100"/>
                <a:gd name="connsiteY603" fmla="*/ 748665 h 1704975"/>
                <a:gd name="connsiteX604" fmla="*/ 42863 w 1562100"/>
                <a:gd name="connsiteY604" fmla="*/ 741998 h 1704975"/>
                <a:gd name="connsiteX605" fmla="*/ 40957 w 1562100"/>
                <a:gd name="connsiteY605" fmla="*/ 735330 h 1704975"/>
                <a:gd name="connsiteX606" fmla="*/ 35242 w 1562100"/>
                <a:gd name="connsiteY606" fmla="*/ 729615 h 1704975"/>
                <a:gd name="connsiteX607" fmla="*/ 28575 w 1562100"/>
                <a:gd name="connsiteY607" fmla="*/ 724853 h 1704975"/>
                <a:gd name="connsiteX608" fmla="*/ 33338 w 1562100"/>
                <a:gd name="connsiteY608" fmla="*/ 721043 h 1704975"/>
                <a:gd name="connsiteX609" fmla="*/ 36195 w 1562100"/>
                <a:gd name="connsiteY609" fmla="*/ 717233 h 1704975"/>
                <a:gd name="connsiteX610" fmla="*/ 40005 w 1562100"/>
                <a:gd name="connsiteY610" fmla="*/ 707708 h 1704975"/>
                <a:gd name="connsiteX611" fmla="*/ 31432 w 1562100"/>
                <a:gd name="connsiteY611" fmla="*/ 703898 h 1704975"/>
                <a:gd name="connsiteX612" fmla="*/ 13335 w 1562100"/>
                <a:gd name="connsiteY612" fmla="*/ 698183 h 1704975"/>
                <a:gd name="connsiteX613" fmla="*/ 7620 w 1562100"/>
                <a:gd name="connsiteY613" fmla="*/ 690563 h 1704975"/>
                <a:gd name="connsiteX614" fmla="*/ 7620 w 1562100"/>
                <a:gd name="connsiteY614" fmla="*/ 684848 h 1704975"/>
                <a:gd name="connsiteX615" fmla="*/ 14288 w 1562100"/>
                <a:gd name="connsiteY615" fmla="*/ 680085 h 1704975"/>
                <a:gd name="connsiteX616" fmla="*/ 18097 w 1562100"/>
                <a:gd name="connsiteY616" fmla="*/ 679133 h 1704975"/>
                <a:gd name="connsiteX617" fmla="*/ 18097 w 1562100"/>
                <a:gd name="connsiteY617" fmla="*/ 673418 h 1704975"/>
                <a:gd name="connsiteX618" fmla="*/ 13335 w 1562100"/>
                <a:gd name="connsiteY618" fmla="*/ 670560 h 1704975"/>
                <a:gd name="connsiteX619" fmla="*/ 3810 w 1562100"/>
                <a:gd name="connsiteY619" fmla="*/ 661988 h 1704975"/>
                <a:gd name="connsiteX620" fmla="*/ 3810 w 1562100"/>
                <a:gd name="connsiteY620" fmla="*/ 655320 h 1704975"/>
                <a:gd name="connsiteX621" fmla="*/ 19050 w 1562100"/>
                <a:gd name="connsiteY621" fmla="*/ 641985 h 1704975"/>
                <a:gd name="connsiteX622" fmla="*/ 25717 w 1562100"/>
                <a:gd name="connsiteY622" fmla="*/ 639128 h 1704975"/>
                <a:gd name="connsiteX623" fmla="*/ 23813 w 1562100"/>
                <a:gd name="connsiteY623" fmla="*/ 630555 h 1704975"/>
                <a:gd name="connsiteX624" fmla="*/ 21907 w 1562100"/>
                <a:gd name="connsiteY624" fmla="*/ 626745 h 1704975"/>
                <a:gd name="connsiteX625" fmla="*/ 24765 w 1562100"/>
                <a:gd name="connsiteY625" fmla="*/ 624840 h 1704975"/>
                <a:gd name="connsiteX626" fmla="*/ 28575 w 1562100"/>
                <a:gd name="connsiteY626" fmla="*/ 618173 h 1704975"/>
                <a:gd name="connsiteX627" fmla="*/ 32385 w 1562100"/>
                <a:gd name="connsiteY627" fmla="*/ 615315 h 1704975"/>
                <a:gd name="connsiteX628" fmla="*/ 29527 w 1562100"/>
                <a:gd name="connsiteY628" fmla="*/ 602933 h 1704975"/>
                <a:gd name="connsiteX629" fmla="*/ 35242 w 1562100"/>
                <a:gd name="connsiteY629" fmla="*/ 584835 h 1704975"/>
                <a:gd name="connsiteX630" fmla="*/ 32385 w 1562100"/>
                <a:gd name="connsiteY630" fmla="*/ 573405 h 1704975"/>
                <a:gd name="connsiteX631" fmla="*/ 39052 w 1562100"/>
                <a:gd name="connsiteY631" fmla="*/ 571500 h 1704975"/>
                <a:gd name="connsiteX632" fmla="*/ 55245 w 1562100"/>
                <a:gd name="connsiteY632" fmla="*/ 571500 h 1704975"/>
                <a:gd name="connsiteX633" fmla="*/ 60960 w 1562100"/>
                <a:gd name="connsiteY633" fmla="*/ 568643 h 1704975"/>
                <a:gd name="connsiteX634" fmla="*/ 64770 w 1562100"/>
                <a:gd name="connsiteY634" fmla="*/ 560070 h 1704975"/>
                <a:gd name="connsiteX635" fmla="*/ 64770 w 1562100"/>
                <a:gd name="connsiteY635" fmla="*/ 549593 h 1704975"/>
                <a:gd name="connsiteX636" fmla="*/ 66675 w 1562100"/>
                <a:gd name="connsiteY636" fmla="*/ 540068 h 1704975"/>
                <a:gd name="connsiteX637" fmla="*/ 72390 w 1562100"/>
                <a:gd name="connsiteY637" fmla="*/ 533400 h 1704975"/>
                <a:gd name="connsiteX638" fmla="*/ 72390 w 1562100"/>
                <a:gd name="connsiteY638" fmla="*/ 527685 h 1704975"/>
                <a:gd name="connsiteX639" fmla="*/ 68580 w 1562100"/>
                <a:gd name="connsiteY639" fmla="*/ 526733 h 1704975"/>
                <a:gd name="connsiteX640" fmla="*/ 58102 w 1562100"/>
                <a:gd name="connsiteY640" fmla="*/ 521018 h 1704975"/>
                <a:gd name="connsiteX641" fmla="*/ 63817 w 1562100"/>
                <a:gd name="connsiteY641" fmla="*/ 514350 h 1704975"/>
                <a:gd name="connsiteX642" fmla="*/ 76200 w 1562100"/>
                <a:gd name="connsiteY642" fmla="*/ 506730 h 1704975"/>
                <a:gd name="connsiteX643" fmla="*/ 85725 w 1562100"/>
                <a:gd name="connsiteY643" fmla="*/ 496253 h 1704975"/>
                <a:gd name="connsiteX644" fmla="*/ 84772 w 1562100"/>
                <a:gd name="connsiteY644" fmla="*/ 482918 h 1704975"/>
                <a:gd name="connsiteX645" fmla="*/ 80963 w 1562100"/>
                <a:gd name="connsiteY645" fmla="*/ 475298 h 1704975"/>
                <a:gd name="connsiteX646" fmla="*/ 80963 w 1562100"/>
                <a:gd name="connsiteY646" fmla="*/ 471488 h 1704975"/>
                <a:gd name="connsiteX647" fmla="*/ 82867 w 1562100"/>
                <a:gd name="connsiteY647" fmla="*/ 469583 h 1704975"/>
                <a:gd name="connsiteX648" fmla="*/ 86677 w 1562100"/>
                <a:gd name="connsiteY648" fmla="*/ 462915 h 1704975"/>
                <a:gd name="connsiteX649" fmla="*/ 98107 w 1562100"/>
                <a:gd name="connsiteY649" fmla="*/ 447675 h 1704975"/>
                <a:gd name="connsiteX650" fmla="*/ 99060 w 1562100"/>
                <a:gd name="connsiteY650" fmla="*/ 444818 h 1704975"/>
                <a:gd name="connsiteX651" fmla="*/ 102870 w 1562100"/>
                <a:gd name="connsiteY651" fmla="*/ 442913 h 1704975"/>
                <a:gd name="connsiteX652" fmla="*/ 104775 w 1562100"/>
                <a:gd name="connsiteY652" fmla="*/ 437198 h 1704975"/>
                <a:gd name="connsiteX653" fmla="*/ 108585 w 1562100"/>
                <a:gd name="connsiteY653" fmla="*/ 431483 h 1704975"/>
                <a:gd name="connsiteX654" fmla="*/ 119063 w 1562100"/>
                <a:gd name="connsiteY654" fmla="*/ 425768 h 1704975"/>
                <a:gd name="connsiteX655" fmla="*/ 120967 w 1562100"/>
                <a:gd name="connsiteY655" fmla="*/ 418148 h 1704975"/>
                <a:gd name="connsiteX656" fmla="*/ 120967 w 1562100"/>
                <a:gd name="connsiteY656" fmla="*/ 410528 h 1704975"/>
                <a:gd name="connsiteX657" fmla="*/ 122872 w 1562100"/>
                <a:gd name="connsiteY657" fmla="*/ 404813 h 1704975"/>
                <a:gd name="connsiteX658" fmla="*/ 127635 w 1562100"/>
                <a:gd name="connsiteY658" fmla="*/ 403860 h 1704975"/>
                <a:gd name="connsiteX659" fmla="*/ 142875 w 1562100"/>
                <a:gd name="connsiteY659" fmla="*/ 404813 h 1704975"/>
                <a:gd name="connsiteX660" fmla="*/ 147638 w 1562100"/>
                <a:gd name="connsiteY660" fmla="*/ 402908 h 1704975"/>
                <a:gd name="connsiteX661" fmla="*/ 152400 w 1562100"/>
                <a:gd name="connsiteY661" fmla="*/ 397193 h 1704975"/>
                <a:gd name="connsiteX662" fmla="*/ 159067 w 1562100"/>
                <a:gd name="connsiteY662" fmla="*/ 387668 h 1704975"/>
                <a:gd name="connsiteX663" fmla="*/ 159067 w 1562100"/>
                <a:gd name="connsiteY663" fmla="*/ 381953 h 1704975"/>
                <a:gd name="connsiteX664" fmla="*/ 156210 w 1562100"/>
                <a:gd name="connsiteY664" fmla="*/ 378143 h 1704975"/>
                <a:gd name="connsiteX665" fmla="*/ 155257 w 1562100"/>
                <a:gd name="connsiteY665" fmla="*/ 372428 h 1704975"/>
                <a:gd name="connsiteX666" fmla="*/ 155257 w 1562100"/>
                <a:gd name="connsiteY666" fmla="*/ 369570 h 1704975"/>
                <a:gd name="connsiteX667" fmla="*/ 170497 w 1562100"/>
                <a:gd name="connsiteY667" fmla="*/ 363855 h 1704975"/>
                <a:gd name="connsiteX668" fmla="*/ 178117 w 1562100"/>
                <a:gd name="connsiteY668" fmla="*/ 359093 h 1704975"/>
                <a:gd name="connsiteX669" fmla="*/ 183832 w 1562100"/>
                <a:gd name="connsiteY669" fmla="*/ 353378 h 1704975"/>
                <a:gd name="connsiteX670" fmla="*/ 190500 w 1562100"/>
                <a:gd name="connsiteY670" fmla="*/ 347663 h 1704975"/>
                <a:gd name="connsiteX671" fmla="*/ 195263 w 1562100"/>
                <a:gd name="connsiteY671" fmla="*/ 340043 h 1704975"/>
                <a:gd name="connsiteX672" fmla="*/ 195263 w 1562100"/>
                <a:gd name="connsiteY672" fmla="*/ 332423 h 1704975"/>
                <a:gd name="connsiteX673" fmla="*/ 196215 w 1562100"/>
                <a:gd name="connsiteY673" fmla="*/ 327660 h 1704975"/>
                <a:gd name="connsiteX674" fmla="*/ 200025 w 1562100"/>
                <a:gd name="connsiteY674" fmla="*/ 321945 h 1704975"/>
                <a:gd name="connsiteX675" fmla="*/ 204788 w 1562100"/>
                <a:gd name="connsiteY675" fmla="*/ 319088 h 1704975"/>
                <a:gd name="connsiteX676" fmla="*/ 207645 w 1562100"/>
                <a:gd name="connsiteY676" fmla="*/ 317183 h 1704975"/>
                <a:gd name="connsiteX677" fmla="*/ 210502 w 1562100"/>
                <a:gd name="connsiteY677" fmla="*/ 319088 h 1704975"/>
                <a:gd name="connsiteX678" fmla="*/ 214313 w 1562100"/>
                <a:gd name="connsiteY678" fmla="*/ 323850 h 1704975"/>
                <a:gd name="connsiteX679" fmla="*/ 228600 w 1562100"/>
                <a:gd name="connsiteY679" fmla="*/ 322898 h 1704975"/>
                <a:gd name="connsiteX680" fmla="*/ 232410 w 1562100"/>
                <a:gd name="connsiteY680" fmla="*/ 311468 h 1704975"/>
                <a:gd name="connsiteX681" fmla="*/ 227647 w 1562100"/>
                <a:gd name="connsiteY681" fmla="*/ 300038 h 1704975"/>
                <a:gd name="connsiteX682" fmla="*/ 212407 w 1562100"/>
                <a:gd name="connsiteY682" fmla="*/ 298133 h 1704975"/>
                <a:gd name="connsiteX683" fmla="*/ 214313 w 1562100"/>
                <a:gd name="connsiteY683" fmla="*/ 294323 h 1704975"/>
                <a:gd name="connsiteX684" fmla="*/ 217170 w 1562100"/>
                <a:gd name="connsiteY684" fmla="*/ 285750 h 1704975"/>
                <a:gd name="connsiteX685" fmla="*/ 219075 w 1562100"/>
                <a:gd name="connsiteY685" fmla="*/ 280988 h 1704975"/>
                <a:gd name="connsiteX686" fmla="*/ 216217 w 1562100"/>
                <a:gd name="connsiteY686" fmla="*/ 266700 h 1704975"/>
                <a:gd name="connsiteX687" fmla="*/ 224790 w 1562100"/>
                <a:gd name="connsiteY687" fmla="*/ 258128 h 1704975"/>
                <a:gd name="connsiteX688" fmla="*/ 238125 w 1562100"/>
                <a:gd name="connsiteY688" fmla="*/ 253365 h 1704975"/>
                <a:gd name="connsiteX689" fmla="*/ 309563 w 1562100"/>
                <a:gd name="connsiteY689" fmla="*/ 249555 h 1704975"/>
                <a:gd name="connsiteX690" fmla="*/ 330517 w 1562100"/>
                <a:gd name="connsiteY690" fmla="*/ 251460 h 1704975"/>
                <a:gd name="connsiteX691" fmla="*/ 342900 w 1562100"/>
                <a:gd name="connsiteY691" fmla="*/ 259080 h 1704975"/>
                <a:gd name="connsiteX692" fmla="*/ 367665 w 1562100"/>
                <a:gd name="connsiteY692" fmla="*/ 280035 h 1704975"/>
                <a:gd name="connsiteX693" fmla="*/ 380047 w 1562100"/>
                <a:gd name="connsiteY693" fmla="*/ 284798 h 1704975"/>
                <a:gd name="connsiteX694" fmla="*/ 392430 w 1562100"/>
                <a:gd name="connsiteY694" fmla="*/ 279083 h 1704975"/>
                <a:gd name="connsiteX695" fmla="*/ 401002 w 1562100"/>
                <a:gd name="connsiteY695" fmla="*/ 264795 h 1704975"/>
                <a:gd name="connsiteX696" fmla="*/ 408622 w 1562100"/>
                <a:gd name="connsiteY696" fmla="*/ 247650 h 1704975"/>
                <a:gd name="connsiteX697" fmla="*/ 420052 w 1562100"/>
                <a:gd name="connsiteY697" fmla="*/ 234315 h 1704975"/>
                <a:gd name="connsiteX698" fmla="*/ 461010 w 1562100"/>
                <a:gd name="connsiteY698" fmla="*/ 216218 h 1704975"/>
                <a:gd name="connsiteX699" fmla="*/ 509588 w 1562100"/>
                <a:gd name="connsiteY699" fmla="*/ 216218 h 1704975"/>
                <a:gd name="connsiteX700" fmla="*/ 601980 w 1562100"/>
                <a:gd name="connsiteY700" fmla="*/ 234315 h 1704975"/>
                <a:gd name="connsiteX701" fmla="*/ 661988 w 1562100"/>
                <a:gd name="connsiteY701" fmla="*/ 231458 h 1704975"/>
                <a:gd name="connsiteX702" fmla="*/ 694372 w 1562100"/>
                <a:gd name="connsiteY702" fmla="*/ 228600 h 1704975"/>
                <a:gd name="connsiteX703" fmla="*/ 711518 w 1562100"/>
                <a:gd name="connsiteY703" fmla="*/ 231458 h 1704975"/>
                <a:gd name="connsiteX704" fmla="*/ 723900 w 1562100"/>
                <a:gd name="connsiteY704" fmla="*/ 243840 h 1704975"/>
                <a:gd name="connsiteX705" fmla="*/ 726757 w 1562100"/>
                <a:gd name="connsiteY705" fmla="*/ 257175 h 1704975"/>
                <a:gd name="connsiteX706" fmla="*/ 727710 w 1562100"/>
                <a:gd name="connsiteY706" fmla="*/ 273368 h 1704975"/>
                <a:gd name="connsiteX707" fmla="*/ 729615 w 1562100"/>
                <a:gd name="connsiteY707" fmla="*/ 286703 h 1704975"/>
                <a:gd name="connsiteX708" fmla="*/ 739140 w 1562100"/>
                <a:gd name="connsiteY708" fmla="*/ 292418 h 1704975"/>
                <a:gd name="connsiteX709" fmla="*/ 747713 w 1562100"/>
                <a:gd name="connsiteY709" fmla="*/ 290513 h 1704975"/>
                <a:gd name="connsiteX710" fmla="*/ 776288 w 1562100"/>
                <a:gd name="connsiteY710" fmla="*/ 276225 h 1704975"/>
                <a:gd name="connsiteX711" fmla="*/ 795338 w 1562100"/>
                <a:gd name="connsiteY711" fmla="*/ 274320 h 1704975"/>
                <a:gd name="connsiteX712" fmla="*/ 826770 w 1562100"/>
                <a:gd name="connsiteY712" fmla="*/ 282893 h 1704975"/>
                <a:gd name="connsiteX713" fmla="*/ 837247 w 1562100"/>
                <a:gd name="connsiteY713" fmla="*/ 282893 h 1704975"/>
                <a:gd name="connsiteX714" fmla="*/ 909638 w 1562100"/>
                <a:gd name="connsiteY714" fmla="*/ 248603 h 1704975"/>
                <a:gd name="connsiteX715" fmla="*/ 932497 w 1562100"/>
                <a:gd name="connsiteY715" fmla="*/ 229553 h 1704975"/>
                <a:gd name="connsiteX716" fmla="*/ 948690 w 1562100"/>
                <a:gd name="connsiteY716" fmla="*/ 196215 h 1704975"/>
                <a:gd name="connsiteX717" fmla="*/ 954405 w 1562100"/>
                <a:gd name="connsiteY717" fmla="*/ 144780 h 1704975"/>
                <a:gd name="connsiteX718" fmla="*/ 959168 w 1562100"/>
                <a:gd name="connsiteY718" fmla="*/ 129540 h 1704975"/>
                <a:gd name="connsiteX719" fmla="*/ 964882 w 1562100"/>
                <a:gd name="connsiteY719" fmla="*/ 123825 h 1704975"/>
                <a:gd name="connsiteX720" fmla="*/ 971550 w 1562100"/>
                <a:gd name="connsiteY720" fmla="*/ 120015 h 1704975"/>
                <a:gd name="connsiteX721" fmla="*/ 977265 w 1562100"/>
                <a:gd name="connsiteY721" fmla="*/ 115253 h 1704975"/>
                <a:gd name="connsiteX722" fmla="*/ 980122 w 1562100"/>
                <a:gd name="connsiteY722" fmla="*/ 104775 h 1704975"/>
                <a:gd name="connsiteX723" fmla="*/ 978218 w 1562100"/>
                <a:gd name="connsiteY723" fmla="*/ 98108 h 1704975"/>
                <a:gd name="connsiteX724" fmla="*/ 967740 w 1562100"/>
                <a:gd name="connsiteY724" fmla="*/ 80010 h 1704975"/>
                <a:gd name="connsiteX725" fmla="*/ 965835 w 1562100"/>
                <a:gd name="connsiteY725" fmla="*/ 70485 h 1704975"/>
                <a:gd name="connsiteX726" fmla="*/ 972502 w 1562100"/>
                <a:gd name="connsiteY726" fmla="*/ 40958 h 1704975"/>
                <a:gd name="connsiteX727" fmla="*/ 994410 w 1562100"/>
                <a:gd name="connsiteY727" fmla="*/ 36195 h 1704975"/>
                <a:gd name="connsiteX728" fmla="*/ 1040130 w 1562100"/>
                <a:gd name="connsiteY728" fmla="*/ 53340 h 1704975"/>
                <a:gd name="connsiteX729" fmla="*/ 1064895 w 1562100"/>
                <a:gd name="connsiteY729" fmla="*/ 45720 h 1704975"/>
                <a:gd name="connsiteX730" fmla="*/ 1168718 w 1562100"/>
                <a:gd name="connsiteY730" fmla="*/ 100965 h 1704975"/>
                <a:gd name="connsiteX731" fmla="*/ 1184910 w 1562100"/>
                <a:gd name="connsiteY731" fmla="*/ 100965 h 1704975"/>
                <a:gd name="connsiteX732" fmla="*/ 1216343 w 1562100"/>
                <a:gd name="connsiteY732" fmla="*/ 92393 h 1704975"/>
                <a:gd name="connsiteX733" fmla="*/ 1231582 w 1562100"/>
                <a:gd name="connsiteY733" fmla="*/ 92393 h 1704975"/>
                <a:gd name="connsiteX734" fmla="*/ 1240155 w 1562100"/>
                <a:gd name="connsiteY734" fmla="*/ 96203 h 1704975"/>
                <a:gd name="connsiteX735" fmla="*/ 1256347 w 1562100"/>
                <a:gd name="connsiteY735" fmla="*/ 109538 h 1704975"/>
                <a:gd name="connsiteX736" fmla="*/ 1265872 w 1562100"/>
                <a:gd name="connsiteY736" fmla="*/ 110490 h 1704975"/>
                <a:gd name="connsiteX737" fmla="*/ 1275397 w 1562100"/>
                <a:gd name="connsiteY737" fmla="*/ 105728 h 1704975"/>
                <a:gd name="connsiteX738" fmla="*/ 1329690 w 1562100"/>
                <a:gd name="connsiteY738" fmla="*/ 56198 h 1704975"/>
                <a:gd name="connsiteX739" fmla="*/ 1339215 w 1562100"/>
                <a:gd name="connsiteY739" fmla="*/ 51435 h 1704975"/>
                <a:gd name="connsiteX740" fmla="*/ 1343977 w 1562100"/>
                <a:gd name="connsiteY740" fmla="*/ 52388 h 1704975"/>
                <a:gd name="connsiteX741" fmla="*/ 1350645 w 1562100"/>
                <a:gd name="connsiteY741" fmla="*/ 56198 h 1704975"/>
                <a:gd name="connsiteX742" fmla="*/ 1355407 w 1562100"/>
                <a:gd name="connsiteY742" fmla="*/ 54293 h 1704975"/>
                <a:gd name="connsiteX743" fmla="*/ 1360170 w 1562100"/>
                <a:gd name="connsiteY743" fmla="*/ 50483 h 1704975"/>
                <a:gd name="connsiteX744" fmla="*/ 1365885 w 1562100"/>
                <a:gd name="connsiteY744" fmla="*/ 38100 h 1704975"/>
                <a:gd name="connsiteX745" fmla="*/ 1371600 w 1562100"/>
                <a:gd name="connsiteY745" fmla="*/ 35243 h 1704975"/>
                <a:gd name="connsiteX746" fmla="*/ 1381125 w 1562100"/>
                <a:gd name="connsiteY746" fmla="*/ 31433 h 1704975"/>
                <a:gd name="connsiteX747" fmla="*/ 1387793 w 1562100"/>
                <a:gd name="connsiteY747" fmla="*/ 24765 h 1704975"/>
                <a:gd name="connsiteX748" fmla="*/ 1402080 w 1562100"/>
                <a:gd name="connsiteY748" fmla="*/ 7620 h 1704975"/>
                <a:gd name="connsiteX749" fmla="*/ 1410652 w 1562100"/>
                <a:gd name="connsiteY749" fmla="*/ 1905 h 1704975"/>
                <a:gd name="connsiteX750" fmla="*/ 1417320 w 1562100"/>
                <a:gd name="connsiteY750" fmla="*/ 0 h 1704975"/>
                <a:gd name="connsiteX751" fmla="*/ 1468755 w 1562100"/>
                <a:gd name="connsiteY751" fmla="*/ 10477 h 1704975"/>
                <a:gd name="connsiteX752" fmla="*/ 1503045 w 1562100"/>
                <a:gd name="connsiteY752" fmla="*/ 9525 h 1704975"/>
                <a:gd name="connsiteX753" fmla="*/ 1512570 w 1562100"/>
                <a:gd name="connsiteY753" fmla="*/ 11430 h 1704975"/>
                <a:gd name="connsiteX754" fmla="*/ 1524952 w 1562100"/>
                <a:gd name="connsiteY754" fmla="*/ 20955 h 1704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</a:cxnLst>
              <a:rect l="l" t="t" r="r" b="b"/>
              <a:pathLst>
                <a:path w="1562100" h="1704975">
                  <a:moveTo>
                    <a:pt x="1524952" y="20955"/>
                  </a:moveTo>
                  <a:lnTo>
                    <a:pt x="1523047" y="25718"/>
                  </a:lnTo>
                  <a:lnTo>
                    <a:pt x="1519238" y="40005"/>
                  </a:lnTo>
                  <a:lnTo>
                    <a:pt x="1517332" y="53340"/>
                  </a:lnTo>
                  <a:lnTo>
                    <a:pt x="1516380" y="59055"/>
                  </a:lnTo>
                  <a:lnTo>
                    <a:pt x="1509713" y="69533"/>
                  </a:lnTo>
                  <a:lnTo>
                    <a:pt x="1506855" y="75248"/>
                  </a:lnTo>
                  <a:lnTo>
                    <a:pt x="1505902" y="81915"/>
                  </a:lnTo>
                  <a:lnTo>
                    <a:pt x="1504950" y="98108"/>
                  </a:lnTo>
                  <a:lnTo>
                    <a:pt x="1503045" y="103823"/>
                  </a:lnTo>
                  <a:lnTo>
                    <a:pt x="1498282" y="112395"/>
                  </a:lnTo>
                  <a:lnTo>
                    <a:pt x="1483995" y="126683"/>
                  </a:lnTo>
                  <a:lnTo>
                    <a:pt x="1481138" y="137160"/>
                  </a:lnTo>
                  <a:lnTo>
                    <a:pt x="1483995" y="178118"/>
                  </a:lnTo>
                  <a:lnTo>
                    <a:pt x="1485900" y="185738"/>
                  </a:lnTo>
                  <a:lnTo>
                    <a:pt x="1487805" y="187643"/>
                  </a:lnTo>
                  <a:lnTo>
                    <a:pt x="1510665" y="195263"/>
                  </a:lnTo>
                  <a:lnTo>
                    <a:pt x="1513522" y="197168"/>
                  </a:lnTo>
                  <a:lnTo>
                    <a:pt x="1525905" y="209550"/>
                  </a:lnTo>
                  <a:lnTo>
                    <a:pt x="1535430" y="222885"/>
                  </a:lnTo>
                  <a:lnTo>
                    <a:pt x="1541145" y="229553"/>
                  </a:lnTo>
                  <a:lnTo>
                    <a:pt x="1543050" y="231458"/>
                  </a:lnTo>
                  <a:lnTo>
                    <a:pt x="1545907" y="239078"/>
                  </a:lnTo>
                  <a:lnTo>
                    <a:pt x="1547813" y="240983"/>
                  </a:lnTo>
                  <a:lnTo>
                    <a:pt x="1550670" y="241935"/>
                  </a:lnTo>
                  <a:lnTo>
                    <a:pt x="1566863" y="243840"/>
                  </a:lnTo>
                  <a:lnTo>
                    <a:pt x="1569720" y="244793"/>
                  </a:lnTo>
                  <a:lnTo>
                    <a:pt x="1570672" y="246698"/>
                  </a:lnTo>
                  <a:lnTo>
                    <a:pt x="1570672" y="250508"/>
                  </a:lnTo>
                  <a:lnTo>
                    <a:pt x="1569720" y="255270"/>
                  </a:lnTo>
                  <a:lnTo>
                    <a:pt x="1568768" y="260033"/>
                  </a:lnTo>
                  <a:lnTo>
                    <a:pt x="1564957" y="269558"/>
                  </a:lnTo>
                  <a:lnTo>
                    <a:pt x="1562100" y="273368"/>
                  </a:lnTo>
                  <a:lnTo>
                    <a:pt x="1559243" y="275273"/>
                  </a:lnTo>
                  <a:lnTo>
                    <a:pt x="1547813" y="278130"/>
                  </a:lnTo>
                  <a:lnTo>
                    <a:pt x="1535430" y="280035"/>
                  </a:lnTo>
                  <a:lnTo>
                    <a:pt x="1528763" y="279083"/>
                  </a:lnTo>
                  <a:lnTo>
                    <a:pt x="1525905" y="278130"/>
                  </a:lnTo>
                  <a:lnTo>
                    <a:pt x="1524000" y="277178"/>
                  </a:lnTo>
                  <a:lnTo>
                    <a:pt x="1521143" y="271463"/>
                  </a:lnTo>
                  <a:lnTo>
                    <a:pt x="1518285" y="267653"/>
                  </a:lnTo>
                  <a:lnTo>
                    <a:pt x="1516380" y="267653"/>
                  </a:lnTo>
                  <a:lnTo>
                    <a:pt x="1513522" y="268605"/>
                  </a:lnTo>
                  <a:lnTo>
                    <a:pt x="1511618" y="271463"/>
                  </a:lnTo>
                  <a:lnTo>
                    <a:pt x="1510665" y="277178"/>
                  </a:lnTo>
                  <a:lnTo>
                    <a:pt x="1510665" y="304800"/>
                  </a:lnTo>
                  <a:lnTo>
                    <a:pt x="1510665" y="308610"/>
                  </a:lnTo>
                  <a:lnTo>
                    <a:pt x="1509713" y="313373"/>
                  </a:lnTo>
                  <a:lnTo>
                    <a:pt x="1506855" y="318135"/>
                  </a:lnTo>
                  <a:lnTo>
                    <a:pt x="1500188" y="325755"/>
                  </a:lnTo>
                  <a:lnTo>
                    <a:pt x="1500188" y="327660"/>
                  </a:lnTo>
                  <a:lnTo>
                    <a:pt x="1503045" y="329565"/>
                  </a:lnTo>
                  <a:lnTo>
                    <a:pt x="1511618" y="343853"/>
                  </a:lnTo>
                  <a:lnTo>
                    <a:pt x="1512570" y="353378"/>
                  </a:lnTo>
                  <a:lnTo>
                    <a:pt x="1506855" y="362903"/>
                  </a:lnTo>
                  <a:lnTo>
                    <a:pt x="1477327" y="373380"/>
                  </a:lnTo>
                  <a:lnTo>
                    <a:pt x="1464945" y="375285"/>
                  </a:lnTo>
                  <a:lnTo>
                    <a:pt x="1457325" y="378143"/>
                  </a:lnTo>
                  <a:lnTo>
                    <a:pt x="1438275" y="394335"/>
                  </a:lnTo>
                  <a:lnTo>
                    <a:pt x="1432560" y="398145"/>
                  </a:lnTo>
                  <a:lnTo>
                    <a:pt x="1408747" y="396240"/>
                  </a:lnTo>
                  <a:lnTo>
                    <a:pt x="1398270" y="399098"/>
                  </a:lnTo>
                  <a:lnTo>
                    <a:pt x="1402080" y="409575"/>
                  </a:lnTo>
                  <a:lnTo>
                    <a:pt x="1402080" y="416243"/>
                  </a:lnTo>
                  <a:lnTo>
                    <a:pt x="1388745" y="420053"/>
                  </a:lnTo>
                  <a:lnTo>
                    <a:pt x="1383030" y="431483"/>
                  </a:lnTo>
                  <a:lnTo>
                    <a:pt x="1378268" y="444818"/>
                  </a:lnTo>
                  <a:lnTo>
                    <a:pt x="1367790" y="451485"/>
                  </a:lnTo>
                  <a:lnTo>
                    <a:pt x="1361122" y="458153"/>
                  </a:lnTo>
                  <a:lnTo>
                    <a:pt x="1351597" y="474345"/>
                  </a:lnTo>
                  <a:lnTo>
                    <a:pt x="1346835" y="494348"/>
                  </a:lnTo>
                  <a:lnTo>
                    <a:pt x="1349693" y="512445"/>
                  </a:lnTo>
                  <a:lnTo>
                    <a:pt x="1352550" y="519113"/>
                  </a:lnTo>
                  <a:lnTo>
                    <a:pt x="1358265" y="538163"/>
                  </a:lnTo>
                  <a:lnTo>
                    <a:pt x="1362075" y="544830"/>
                  </a:lnTo>
                  <a:lnTo>
                    <a:pt x="1365885" y="550545"/>
                  </a:lnTo>
                  <a:lnTo>
                    <a:pt x="1394460" y="579120"/>
                  </a:lnTo>
                  <a:lnTo>
                    <a:pt x="1394460" y="588645"/>
                  </a:lnTo>
                  <a:lnTo>
                    <a:pt x="1385888" y="600075"/>
                  </a:lnTo>
                  <a:lnTo>
                    <a:pt x="1384935" y="609600"/>
                  </a:lnTo>
                  <a:lnTo>
                    <a:pt x="1386840" y="617220"/>
                  </a:lnTo>
                  <a:lnTo>
                    <a:pt x="1388745" y="620078"/>
                  </a:lnTo>
                  <a:lnTo>
                    <a:pt x="1391602" y="621983"/>
                  </a:lnTo>
                  <a:lnTo>
                    <a:pt x="1394460" y="622935"/>
                  </a:lnTo>
                  <a:lnTo>
                    <a:pt x="1396365" y="625793"/>
                  </a:lnTo>
                  <a:lnTo>
                    <a:pt x="1397318" y="629603"/>
                  </a:lnTo>
                  <a:lnTo>
                    <a:pt x="1399222" y="663893"/>
                  </a:lnTo>
                  <a:lnTo>
                    <a:pt x="1401127" y="667703"/>
                  </a:lnTo>
                  <a:lnTo>
                    <a:pt x="1403985" y="669608"/>
                  </a:lnTo>
                  <a:lnTo>
                    <a:pt x="1407795" y="673418"/>
                  </a:lnTo>
                  <a:lnTo>
                    <a:pt x="1409700" y="676275"/>
                  </a:lnTo>
                  <a:lnTo>
                    <a:pt x="1409700" y="678180"/>
                  </a:lnTo>
                  <a:lnTo>
                    <a:pt x="1408747" y="681038"/>
                  </a:lnTo>
                  <a:lnTo>
                    <a:pt x="1405890" y="682943"/>
                  </a:lnTo>
                  <a:lnTo>
                    <a:pt x="1397318" y="685800"/>
                  </a:lnTo>
                  <a:lnTo>
                    <a:pt x="1394460" y="688658"/>
                  </a:lnTo>
                  <a:lnTo>
                    <a:pt x="1393507" y="693420"/>
                  </a:lnTo>
                  <a:lnTo>
                    <a:pt x="1394460" y="703898"/>
                  </a:lnTo>
                  <a:lnTo>
                    <a:pt x="1395413" y="709613"/>
                  </a:lnTo>
                  <a:lnTo>
                    <a:pt x="1398270" y="713423"/>
                  </a:lnTo>
                  <a:lnTo>
                    <a:pt x="1408747" y="722948"/>
                  </a:lnTo>
                  <a:lnTo>
                    <a:pt x="1410652" y="724853"/>
                  </a:lnTo>
                  <a:lnTo>
                    <a:pt x="1412557" y="729615"/>
                  </a:lnTo>
                  <a:lnTo>
                    <a:pt x="1410652" y="733425"/>
                  </a:lnTo>
                  <a:lnTo>
                    <a:pt x="1403032" y="743903"/>
                  </a:lnTo>
                  <a:lnTo>
                    <a:pt x="1401127" y="744855"/>
                  </a:lnTo>
                  <a:lnTo>
                    <a:pt x="1396365" y="742950"/>
                  </a:lnTo>
                  <a:lnTo>
                    <a:pt x="1380172" y="734378"/>
                  </a:lnTo>
                  <a:lnTo>
                    <a:pt x="1378268" y="734378"/>
                  </a:lnTo>
                  <a:lnTo>
                    <a:pt x="1378268" y="736283"/>
                  </a:lnTo>
                  <a:lnTo>
                    <a:pt x="1383030" y="753428"/>
                  </a:lnTo>
                  <a:lnTo>
                    <a:pt x="1383030" y="757238"/>
                  </a:lnTo>
                  <a:lnTo>
                    <a:pt x="1383030" y="761048"/>
                  </a:lnTo>
                  <a:lnTo>
                    <a:pt x="1380172" y="765810"/>
                  </a:lnTo>
                  <a:lnTo>
                    <a:pt x="1377315" y="767715"/>
                  </a:lnTo>
                  <a:lnTo>
                    <a:pt x="1372552" y="770573"/>
                  </a:lnTo>
                  <a:lnTo>
                    <a:pt x="1371600" y="774383"/>
                  </a:lnTo>
                  <a:lnTo>
                    <a:pt x="1370647" y="781050"/>
                  </a:lnTo>
                  <a:lnTo>
                    <a:pt x="1373505" y="794385"/>
                  </a:lnTo>
                  <a:lnTo>
                    <a:pt x="1375410" y="800100"/>
                  </a:lnTo>
                  <a:lnTo>
                    <a:pt x="1378268" y="803910"/>
                  </a:lnTo>
                  <a:lnTo>
                    <a:pt x="1382077" y="807720"/>
                  </a:lnTo>
                  <a:lnTo>
                    <a:pt x="1382077" y="811530"/>
                  </a:lnTo>
                  <a:lnTo>
                    <a:pt x="1378268" y="817245"/>
                  </a:lnTo>
                  <a:lnTo>
                    <a:pt x="1377315" y="821055"/>
                  </a:lnTo>
                  <a:lnTo>
                    <a:pt x="1377315" y="825818"/>
                  </a:lnTo>
                  <a:lnTo>
                    <a:pt x="1378268" y="832485"/>
                  </a:lnTo>
                  <a:lnTo>
                    <a:pt x="1378268" y="842010"/>
                  </a:lnTo>
                  <a:lnTo>
                    <a:pt x="1376363" y="846773"/>
                  </a:lnTo>
                  <a:lnTo>
                    <a:pt x="1374457" y="849630"/>
                  </a:lnTo>
                  <a:lnTo>
                    <a:pt x="1372552" y="851535"/>
                  </a:lnTo>
                  <a:lnTo>
                    <a:pt x="1366838" y="854393"/>
                  </a:lnTo>
                  <a:lnTo>
                    <a:pt x="1356360" y="856298"/>
                  </a:lnTo>
                  <a:lnTo>
                    <a:pt x="1349693" y="856298"/>
                  </a:lnTo>
                  <a:lnTo>
                    <a:pt x="1343025" y="854393"/>
                  </a:lnTo>
                  <a:lnTo>
                    <a:pt x="1341120" y="852488"/>
                  </a:lnTo>
                  <a:lnTo>
                    <a:pt x="1338263" y="847725"/>
                  </a:lnTo>
                  <a:lnTo>
                    <a:pt x="1334452" y="837248"/>
                  </a:lnTo>
                  <a:lnTo>
                    <a:pt x="1332547" y="834390"/>
                  </a:lnTo>
                  <a:lnTo>
                    <a:pt x="1330643" y="832485"/>
                  </a:lnTo>
                  <a:lnTo>
                    <a:pt x="1324927" y="830580"/>
                  </a:lnTo>
                  <a:lnTo>
                    <a:pt x="1322070" y="831533"/>
                  </a:lnTo>
                  <a:lnTo>
                    <a:pt x="1318260" y="836295"/>
                  </a:lnTo>
                  <a:lnTo>
                    <a:pt x="1314450" y="843915"/>
                  </a:lnTo>
                  <a:lnTo>
                    <a:pt x="1314450" y="846773"/>
                  </a:lnTo>
                  <a:lnTo>
                    <a:pt x="1314450" y="851535"/>
                  </a:lnTo>
                  <a:lnTo>
                    <a:pt x="1317307" y="856298"/>
                  </a:lnTo>
                  <a:lnTo>
                    <a:pt x="1322070" y="865823"/>
                  </a:lnTo>
                  <a:lnTo>
                    <a:pt x="1323975" y="871538"/>
                  </a:lnTo>
                  <a:lnTo>
                    <a:pt x="1325880" y="875348"/>
                  </a:lnTo>
                  <a:lnTo>
                    <a:pt x="1327785" y="877253"/>
                  </a:lnTo>
                  <a:lnTo>
                    <a:pt x="1330643" y="877253"/>
                  </a:lnTo>
                  <a:lnTo>
                    <a:pt x="1337310" y="877253"/>
                  </a:lnTo>
                  <a:lnTo>
                    <a:pt x="1339215" y="878205"/>
                  </a:lnTo>
                  <a:lnTo>
                    <a:pt x="1341120" y="880110"/>
                  </a:lnTo>
                  <a:lnTo>
                    <a:pt x="1343025" y="882015"/>
                  </a:lnTo>
                  <a:lnTo>
                    <a:pt x="1343025" y="885825"/>
                  </a:lnTo>
                  <a:lnTo>
                    <a:pt x="1343025" y="889635"/>
                  </a:lnTo>
                  <a:lnTo>
                    <a:pt x="1341120" y="897255"/>
                  </a:lnTo>
                  <a:lnTo>
                    <a:pt x="1340168" y="902018"/>
                  </a:lnTo>
                  <a:lnTo>
                    <a:pt x="1340168" y="906780"/>
                  </a:lnTo>
                  <a:lnTo>
                    <a:pt x="1342072" y="911543"/>
                  </a:lnTo>
                  <a:lnTo>
                    <a:pt x="1343977" y="914400"/>
                  </a:lnTo>
                  <a:lnTo>
                    <a:pt x="1350645" y="920115"/>
                  </a:lnTo>
                  <a:lnTo>
                    <a:pt x="1352550" y="922973"/>
                  </a:lnTo>
                  <a:lnTo>
                    <a:pt x="1352550" y="924878"/>
                  </a:lnTo>
                  <a:lnTo>
                    <a:pt x="1349693" y="931545"/>
                  </a:lnTo>
                  <a:lnTo>
                    <a:pt x="1347788" y="934403"/>
                  </a:lnTo>
                  <a:lnTo>
                    <a:pt x="1347788" y="939165"/>
                  </a:lnTo>
                  <a:lnTo>
                    <a:pt x="1350645" y="949643"/>
                  </a:lnTo>
                  <a:lnTo>
                    <a:pt x="1351597" y="952500"/>
                  </a:lnTo>
                  <a:lnTo>
                    <a:pt x="1350645" y="955358"/>
                  </a:lnTo>
                  <a:lnTo>
                    <a:pt x="1348740" y="959168"/>
                  </a:lnTo>
                  <a:lnTo>
                    <a:pt x="1345882" y="961073"/>
                  </a:lnTo>
                  <a:lnTo>
                    <a:pt x="1331595" y="968693"/>
                  </a:lnTo>
                  <a:lnTo>
                    <a:pt x="1329690" y="972503"/>
                  </a:lnTo>
                  <a:lnTo>
                    <a:pt x="1329690" y="977265"/>
                  </a:lnTo>
                  <a:lnTo>
                    <a:pt x="1330643" y="986790"/>
                  </a:lnTo>
                  <a:lnTo>
                    <a:pt x="1329690" y="992505"/>
                  </a:lnTo>
                  <a:lnTo>
                    <a:pt x="1328738" y="998220"/>
                  </a:lnTo>
                  <a:lnTo>
                    <a:pt x="1323975" y="1002983"/>
                  </a:lnTo>
                  <a:lnTo>
                    <a:pt x="1296352" y="1012508"/>
                  </a:lnTo>
                  <a:lnTo>
                    <a:pt x="1294447" y="1015365"/>
                  </a:lnTo>
                  <a:lnTo>
                    <a:pt x="1293495" y="1020128"/>
                  </a:lnTo>
                  <a:lnTo>
                    <a:pt x="1293495" y="1031558"/>
                  </a:lnTo>
                  <a:lnTo>
                    <a:pt x="1296352" y="1039178"/>
                  </a:lnTo>
                  <a:lnTo>
                    <a:pt x="1297305" y="1043940"/>
                  </a:lnTo>
                  <a:lnTo>
                    <a:pt x="1298257" y="1047750"/>
                  </a:lnTo>
                  <a:lnTo>
                    <a:pt x="1296352" y="1053465"/>
                  </a:lnTo>
                  <a:lnTo>
                    <a:pt x="1295400" y="1056323"/>
                  </a:lnTo>
                  <a:lnTo>
                    <a:pt x="1283018" y="1078230"/>
                  </a:lnTo>
                  <a:lnTo>
                    <a:pt x="1282065" y="1082993"/>
                  </a:lnTo>
                  <a:lnTo>
                    <a:pt x="1284922" y="1085850"/>
                  </a:lnTo>
                  <a:lnTo>
                    <a:pt x="1304925" y="1091565"/>
                  </a:lnTo>
                  <a:lnTo>
                    <a:pt x="1324927" y="1101090"/>
                  </a:lnTo>
                  <a:lnTo>
                    <a:pt x="1331595" y="1102043"/>
                  </a:lnTo>
                  <a:lnTo>
                    <a:pt x="1342072" y="1099185"/>
                  </a:lnTo>
                  <a:lnTo>
                    <a:pt x="1344930" y="1099185"/>
                  </a:lnTo>
                  <a:lnTo>
                    <a:pt x="1346835" y="1101090"/>
                  </a:lnTo>
                  <a:lnTo>
                    <a:pt x="1347788" y="1102995"/>
                  </a:lnTo>
                  <a:lnTo>
                    <a:pt x="1348740" y="1105853"/>
                  </a:lnTo>
                  <a:lnTo>
                    <a:pt x="1347788" y="1109663"/>
                  </a:lnTo>
                  <a:lnTo>
                    <a:pt x="1344930" y="1113473"/>
                  </a:lnTo>
                  <a:lnTo>
                    <a:pt x="1337310" y="1118235"/>
                  </a:lnTo>
                  <a:lnTo>
                    <a:pt x="1336357" y="1121093"/>
                  </a:lnTo>
                  <a:lnTo>
                    <a:pt x="1337310" y="1123950"/>
                  </a:lnTo>
                  <a:lnTo>
                    <a:pt x="1342072" y="1128713"/>
                  </a:lnTo>
                  <a:lnTo>
                    <a:pt x="1346835" y="1132523"/>
                  </a:lnTo>
                  <a:lnTo>
                    <a:pt x="1358265" y="1138238"/>
                  </a:lnTo>
                  <a:lnTo>
                    <a:pt x="1385888" y="1143953"/>
                  </a:lnTo>
                  <a:lnTo>
                    <a:pt x="1388745" y="1143953"/>
                  </a:lnTo>
                  <a:lnTo>
                    <a:pt x="1390650" y="1142048"/>
                  </a:lnTo>
                  <a:lnTo>
                    <a:pt x="1392555" y="1140143"/>
                  </a:lnTo>
                  <a:lnTo>
                    <a:pt x="1403032" y="1116330"/>
                  </a:lnTo>
                  <a:lnTo>
                    <a:pt x="1404938" y="1114425"/>
                  </a:lnTo>
                  <a:lnTo>
                    <a:pt x="1407795" y="1114425"/>
                  </a:lnTo>
                  <a:lnTo>
                    <a:pt x="1414463" y="1116330"/>
                  </a:lnTo>
                  <a:lnTo>
                    <a:pt x="1420177" y="1119188"/>
                  </a:lnTo>
                  <a:lnTo>
                    <a:pt x="1422082" y="1121093"/>
                  </a:lnTo>
                  <a:lnTo>
                    <a:pt x="1423035" y="1124903"/>
                  </a:lnTo>
                  <a:lnTo>
                    <a:pt x="1418272" y="1134428"/>
                  </a:lnTo>
                  <a:lnTo>
                    <a:pt x="1410652" y="1149668"/>
                  </a:lnTo>
                  <a:lnTo>
                    <a:pt x="1404938" y="1155383"/>
                  </a:lnTo>
                  <a:lnTo>
                    <a:pt x="1396365" y="1164908"/>
                  </a:lnTo>
                  <a:lnTo>
                    <a:pt x="1395413" y="1166813"/>
                  </a:lnTo>
                  <a:lnTo>
                    <a:pt x="1395413" y="1173480"/>
                  </a:lnTo>
                  <a:lnTo>
                    <a:pt x="1397318" y="1177290"/>
                  </a:lnTo>
                  <a:lnTo>
                    <a:pt x="1399222" y="1180148"/>
                  </a:lnTo>
                  <a:lnTo>
                    <a:pt x="1409700" y="1189673"/>
                  </a:lnTo>
                  <a:lnTo>
                    <a:pt x="1411605" y="1192530"/>
                  </a:lnTo>
                  <a:lnTo>
                    <a:pt x="1412557" y="1197293"/>
                  </a:lnTo>
                  <a:lnTo>
                    <a:pt x="1410652" y="1205865"/>
                  </a:lnTo>
                  <a:lnTo>
                    <a:pt x="1410652" y="1224915"/>
                  </a:lnTo>
                  <a:lnTo>
                    <a:pt x="1410652" y="1234440"/>
                  </a:lnTo>
                  <a:lnTo>
                    <a:pt x="1409700" y="1239203"/>
                  </a:lnTo>
                  <a:lnTo>
                    <a:pt x="1408747" y="1244918"/>
                  </a:lnTo>
                  <a:lnTo>
                    <a:pt x="1403985" y="1252538"/>
                  </a:lnTo>
                  <a:lnTo>
                    <a:pt x="1400175" y="1254443"/>
                  </a:lnTo>
                  <a:lnTo>
                    <a:pt x="1397318" y="1256348"/>
                  </a:lnTo>
                  <a:lnTo>
                    <a:pt x="1395413" y="1257300"/>
                  </a:lnTo>
                  <a:lnTo>
                    <a:pt x="1393507" y="1260158"/>
                  </a:lnTo>
                  <a:lnTo>
                    <a:pt x="1391602" y="1264920"/>
                  </a:lnTo>
                  <a:lnTo>
                    <a:pt x="1379220" y="1312545"/>
                  </a:lnTo>
                  <a:lnTo>
                    <a:pt x="1378268" y="1321118"/>
                  </a:lnTo>
                  <a:lnTo>
                    <a:pt x="1378268" y="1336358"/>
                  </a:lnTo>
                  <a:lnTo>
                    <a:pt x="1378268" y="1344930"/>
                  </a:lnTo>
                  <a:lnTo>
                    <a:pt x="1380172" y="1351598"/>
                  </a:lnTo>
                  <a:lnTo>
                    <a:pt x="1381125" y="1355408"/>
                  </a:lnTo>
                  <a:lnTo>
                    <a:pt x="1386840" y="1361123"/>
                  </a:lnTo>
                  <a:lnTo>
                    <a:pt x="1393507" y="1366838"/>
                  </a:lnTo>
                  <a:lnTo>
                    <a:pt x="1397318" y="1368743"/>
                  </a:lnTo>
                  <a:lnTo>
                    <a:pt x="1400175" y="1370648"/>
                  </a:lnTo>
                  <a:lnTo>
                    <a:pt x="1402080" y="1374458"/>
                  </a:lnTo>
                  <a:lnTo>
                    <a:pt x="1402080" y="1380173"/>
                  </a:lnTo>
                  <a:lnTo>
                    <a:pt x="1400175" y="1385888"/>
                  </a:lnTo>
                  <a:lnTo>
                    <a:pt x="1396365" y="1391603"/>
                  </a:lnTo>
                  <a:lnTo>
                    <a:pt x="1391602" y="1395413"/>
                  </a:lnTo>
                  <a:lnTo>
                    <a:pt x="1387793" y="1398270"/>
                  </a:lnTo>
                  <a:lnTo>
                    <a:pt x="1384935" y="1402080"/>
                  </a:lnTo>
                  <a:lnTo>
                    <a:pt x="1383030" y="1407795"/>
                  </a:lnTo>
                  <a:lnTo>
                    <a:pt x="1381125" y="1416368"/>
                  </a:lnTo>
                  <a:lnTo>
                    <a:pt x="1381125" y="1429703"/>
                  </a:lnTo>
                  <a:lnTo>
                    <a:pt x="1380172" y="1432560"/>
                  </a:lnTo>
                  <a:lnTo>
                    <a:pt x="1379220" y="1436370"/>
                  </a:lnTo>
                  <a:lnTo>
                    <a:pt x="1375410" y="1440180"/>
                  </a:lnTo>
                  <a:lnTo>
                    <a:pt x="1369695" y="1443038"/>
                  </a:lnTo>
                  <a:lnTo>
                    <a:pt x="1367790" y="1445895"/>
                  </a:lnTo>
                  <a:lnTo>
                    <a:pt x="1366838" y="1448753"/>
                  </a:lnTo>
                  <a:lnTo>
                    <a:pt x="1367790" y="1454468"/>
                  </a:lnTo>
                  <a:lnTo>
                    <a:pt x="1369695" y="1463993"/>
                  </a:lnTo>
                  <a:lnTo>
                    <a:pt x="1369695" y="1467803"/>
                  </a:lnTo>
                  <a:lnTo>
                    <a:pt x="1368743" y="1478280"/>
                  </a:lnTo>
                  <a:lnTo>
                    <a:pt x="1363980" y="1497330"/>
                  </a:lnTo>
                  <a:lnTo>
                    <a:pt x="1345882" y="1549718"/>
                  </a:lnTo>
                  <a:lnTo>
                    <a:pt x="1325880" y="1588770"/>
                  </a:lnTo>
                  <a:lnTo>
                    <a:pt x="1318260" y="1598295"/>
                  </a:lnTo>
                  <a:lnTo>
                    <a:pt x="1305877" y="1604010"/>
                  </a:lnTo>
                  <a:lnTo>
                    <a:pt x="1299210" y="1607820"/>
                  </a:lnTo>
                  <a:lnTo>
                    <a:pt x="1296352" y="1611630"/>
                  </a:lnTo>
                  <a:lnTo>
                    <a:pt x="1293495" y="1615440"/>
                  </a:lnTo>
                  <a:lnTo>
                    <a:pt x="1290638" y="1624965"/>
                  </a:lnTo>
                  <a:lnTo>
                    <a:pt x="1287780" y="1627823"/>
                  </a:lnTo>
                  <a:lnTo>
                    <a:pt x="1284922" y="1629728"/>
                  </a:lnTo>
                  <a:lnTo>
                    <a:pt x="1276350" y="1632585"/>
                  </a:lnTo>
                  <a:lnTo>
                    <a:pt x="1263968" y="1640205"/>
                  </a:lnTo>
                  <a:lnTo>
                    <a:pt x="1261110" y="1644015"/>
                  </a:lnTo>
                  <a:lnTo>
                    <a:pt x="1258252" y="1647825"/>
                  </a:lnTo>
                  <a:lnTo>
                    <a:pt x="1255395" y="1656398"/>
                  </a:lnTo>
                  <a:lnTo>
                    <a:pt x="1252538" y="1664018"/>
                  </a:lnTo>
                  <a:lnTo>
                    <a:pt x="1249680" y="1666875"/>
                  </a:lnTo>
                  <a:lnTo>
                    <a:pt x="1246822" y="1668780"/>
                  </a:lnTo>
                  <a:lnTo>
                    <a:pt x="1242060" y="1670685"/>
                  </a:lnTo>
                  <a:lnTo>
                    <a:pt x="1223010" y="1672590"/>
                  </a:lnTo>
                  <a:lnTo>
                    <a:pt x="1214438" y="1674495"/>
                  </a:lnTo>
                  <a:lnTo>
                    <a:pt x="1169670" y="1699260"/>
                  </a:lnTo>
                  <a:lnTo>
                    <a:pt x="1150620" y="1699260"/>
                  </a:lnTo>
                  <a:lnTo>
                    <a:pt x="1147763" y="1698308"/>
                  </a:lnTo>
                  <a:lnTo>
                    <a:pt x="1145857" y="1693545"/>
                  </a:lnTo>
                  <a:lnTo>
                    <a:pt x="1143000" y="1691640"/>
                  </a:lnTo>
                  <a:lnTo>
                    <a:pt x="1138238" y="1691640"/>
                  </a:lnTo>
                  <a:lnTo>
                    <a:pt x="1117282" y="1695450"/>
                  </a:lnTo>
                  <a:lnTo>
                    <a:pt x="1063943" y="1693545"/>
                  </a:lnTo>
                  <a:lnTo>
                    <a:pt x="1051560" y="1689735"/>
                  </a:lnTo>
                  <a:lnTo>
                    <a:pt x="1049655" y="1686878"/>
                  </a:lnTo>
                  <a:lnTo>
                    <a:pt x="1046797" y="1682115"/>
                  </a:lnTo>
                  <a:lnTo>
                    <a:pt x="1044893" y="1677353"/>
                  </a:lnTo>
                  <a:lnTo>
                    <a:pt x="1042988" y="1668780"/>
                  </a:lnTo>
                  <a:lnTo>
                    <a:pt x="1041082" y="1663065"/>
                  </a:lnTo>
                  <a:lnTo>
                    <a:pt x="1038225" y="1659255"/>
                  </a:lnTo>
                  <a:lnTo>
                    <a:pt x="1035368" y="1658303"/>
                  </a:lnTo>
                  <a:lnTo>
                    <a:pt x="1031557" y="1658303"/>
                  </a:lnTo>
                  <a:lnTo>
                    <a:pt x="1023938" y="1658303"/>
                  </a:lnTo>
                  <a:lnTo>
                    <a:pt x="1020127" y="1659255"/>
                  </a:lnTo>
                  <a:lnTo>
                    <a:pt x="1003935" y="1670685"/>
                  </a:lnTo>
                  <a:lnTo>
                    <a:pt x="1001077" y="1671638"/>
                  </a:lnTo>
                  <a:lnTo>
                    <a:pt x="999172" y="1670685"/>
                  </a:lnTo>
                  <a:lnTo>
                    <a:pt x="995363" y="1665923"/>
                  </a:lnTo>
                  <a:lnTo>
                    <a:pt x="990600" y="1660208"/>
                  </a:lnTo>
                  <a:lnTo>
                    <a:pt x="988695" y="1658303"/>
                  </a:lnTo>
                  <a:lnTo>
                    <a:pt x="984885" y="1657350"/>
                  </a:lnTo>
                  <a:lnTo>
                    <a:pt x="971550" y="1658303"/>
                  </a:lnTo>
                  <a:lnTo>
                    <a:pt x="938213" y="1673543"/>
                  </a:lnTo>
                  <a:lnTo>
                    <a:pt x="934402" y="1677353"/>
                  </a:lnTo>
                  <a:lnTo>
                    <a:pt x="930593" y="1681163"/>
                  </a:lnTo>
                  <a:lnTo>
                    <a:pt x="920115" y="1699260"/>
                  </a:lnTo>
                  <a:lnTo>
                    <a:pt x="914400" y="1705928"/>
                  </a:lnTo>
                  <a:lnTo>
                    <a:pt x="908685" y="1709738"/>
                  </a:lnTo>
                  <a:lnTo>
                    <a:pt x="903922" y="1711643"/>
                  </a:lnTo>
                  <a:lnTo>
                    <a:pt x="901065" y="1711643"/>
                  </a:lnTo>
                  <a:lnTo>
                    <a:pt x="898207" y="1710690"/>
                  </a:lnTo>
                  <a:lnTo>
                    <a:pt x="894397" y="1706880"/>
                  </a:lnTo>
                  <a:lnTo>
                    <a:pt x="891540" y="1705928"/>
                  </a:lnTo>
                  <a:lnTo>
                    <a:pt x="860107" y="1705928"/>
                  </a:lnTo>
                  <a:lnTo>
                    <a:pt x="827722" y="1686878"/>
                  </a:lnTo>
                  <a:lnTo>
                    <a:pt x="824865" y="1683068"/>
                  </a:lnTo>
                  <a:lnTo>
                    <a:pt x="822007" y="1678305"/>
                  </a:lnTo>
                  <a:lnTo>
                    <a:pt x="824865" y="1674495"/>
                  </a:lnTo>
                  <a:lnTo>
                    <a:pt x="832485" y="1666875"/>
                  </a:lnTo>
                  <a:lnTo>
                    <a:pt x="833438" y="1664018"/>
                  </a:lnTo>
                  <a:lnTo>
                    <a:pt x="833438" y="1660208"/>
                  </a:lnTo>
                  <a:lnTo>
                    <a:pt x="832485" y="1658303"/>
                  </a:lnTo>
                  <a:lnTo>
                    <a:pt x="829627" y="1656398"/>
                  </a:lnTo>
                  <a:lnTo>
                    <a:pt x="823913" y="1655445"/>
                  </a:lnTo>
                  <a:lnTo>
                    <a:pt x="817245" y="1656398"/>
                  </a:lnTo>
                  <a:lnTo>
                    <a:pt x="813435" y="1656398"/>
                  </a:lnTo>
                  <a:lnTo>
                    <a:pt x="808672" y="1655445"/>
                  </a:lnTo>
                  <a:lnTo>
                    <a:pt x="801052" y="1651635"/>
                  </a:lnTo>
                  <a:lnTo>
                    <a:pt x="797243" y="1648778"/>
                  </a:lnTo>
                  <a:lnTo>
                    <a:pt x="794385" y="1645920"/>
                  </a:lnTo>
                  <a:lnTo>
                    <a:pt x="792480" y="1641158"/>
                  </a:lnTo>
                  <a:lnTo>
                    <a:pt x="791527" y="1635443"/>
                  </a:lnTo>
                  <a:lnTo>
                    <a:pt x="791527" y="1627823"/>
                  </a:lnTo>
                  <a:lnTo>
                    <a:pt x="790575" y="1622108"/>
                  </a:lnTo>
                  <a:lnTo>
                    <a:pt x="788670" y="1619250"/>
                  </a:lnTo>
                  <a:lnTo>
                    <a:pt x="786765" y="1617345"/>
                  </a:lnTo>
                  <a:lnTo>
                    <a:pt x="774382" y="1606868"/>
                  </a:lnTo>
                  <a:lnTo>
                    <a:pt x="772477" y="1602105"/>
                  </a:lnTo>
                  <a:lnTo>
                    <a:pt x="772477" y="1598295"/>
                  </a:lnTo>
                  <a:lnTo>
                    <a:pt x="773430" y="1595438"/>
                  </a:lnTo>
                  <a:lnTo>
                    <a:pt x="776288" y="1590675"/>
                  </a:lnTo>
                  <a:lnTo>
                    <a:pt x="782002" y="1582103"/>
                  </a:lnTo>
                  <a:lnTo>
                    <a:pt x="783907" y="1581150"/>
                  </a:lnTo>
                  <a:lnTo>
                    <a:pt x="786765" y="1580198"/>
                  </a:lnTo>
                  <a:lnTo>
                    <a:pt x="798195" y="1582103"/>
                  </a:lnTo>
                  <a:lnTo>
                    <a:pt x="801052" y="1580198"/>
                  </a:lnTo>
                  <a:lnTo>
                    <a:pt x="802957" y="1578293"/>
                  </a:lnTo>
                  <a:lnTo>
                    <a:pt x="803910" y="1572578"/>
                  </a:lnTo>
                  <a:lnTo>
                    <a:pt x="804863" y="1561148"/>
                  </a:lnTo>
                  <a:lnTo>
                    <a:pt x="803910" y="1549718"/>
                  </a:lnTo>
                  <a:lnTo>
                    <a:pt x="801052" y="1544955"/>
                  </a:lnTo>
                  <a:lnTo>
                    <a:pt x="798195" y="1542098"/>
                  </a:lnTo>
                  <a:lnTo>
                    <a:pt x="776288" y="1542098"/>
                  </a:lnTo>
                  <a:lnTo>
                    <a:pt x="769620" y="1541145"/>
                  </a:lnTo>
                  <a:lnTo>
                    <a:pt x="766763" y="1540193"/>
                  </a:lnTo>
                  <a:lnTo>
                    <a:pt x="762000" y="1536383"/>
                  </a:lnTo>
                  <a:lnTo>
                    <a:pt x="757238" y="1530668"/>
                  </a:lnTo>
                  <a:lnTo>
                    <a:pt x="738188" y="1504950"/>
                  </a:lnTo>
                  <a:lnTo>
                    <a:pt x="731520" y="1500188"/>
                  </a:lnTo>
                  <a:lnTo>
                    <a:pt x="716280" y="1484948"/>
                  </a:lnTo>
                  <a:lnTo>
                    <a:pt x="710565" y="1481138"/>
                  </a:lnTo>
                  <a:lnTo>
                    <a:pt x="705802" y="1479233"/>
                  </a:lnTo>
                  <a:lnTo>
                    <a:pt x="694372" y="1480185"/>
                  </a:lnTo>
                  <a:lnTo>
                    <a:pt x="683895" y="1483995"/>
                  </a:lnTo>
                  <a:lnTo>
                    <a:pt x="679132" y="1486853"/>
                  </a:lnTo>
                  <a:lnTo>
                    <a:pt x="678180" y="1489710"/>
                  </a:lnTo>
                  <a:lnTo>
                    <a:pt x="677227" y="1498283"/>
                  </a:lnTo>
                  <a:lnTo>
                    <a:pt x="676275" y="1501140"/>
                  </a:lnTo>
                  <a:lnTo>
                    <a:pt x="673418" y="1504950"/>
                  </a:lnTo>
                  <a:lnTo>
                    <a:pt x="672465" y="1507808"/>
                  </a:lnTo>
                  <a:lnTo>
                    <a:pt x="672465" y="1510665"/>
                  </a:lnTo>
                  <a:lnTo>
                    <a:pt x="672465" y="1516380"/>
                  </a:lnTo>
                  <a:lnTo>
                    <a:pt x="672465" y="1518285"/>
                  </a:lnTo>
                  <a:lnTo>
                    <a:pt x="670560" y="1520190"/>
                  </a:lnTo>
                  <a:lnTo>
                    <a:pt x="665797" y="1522095"/>
                  </a:lnTo>
                  <a:lnTo>
                    <a:pt x="663893" y="1524000"/>
                  </a:lnTo>
                  <a:lnTo>
                    <a:pt x="657225" y="1533525"/>
                  </a:lnTo>
                  <a:lnTo>
                    <a:pt x="653415" y="1538288"/>
                  </a:lnTo>
                  <a:lnTo>
                    <a:pt x="651510" y="1539240"/>
                  </a:lnTo>
                  <a:lnTo>
                    <a:pt x="647700" y="1539240"/>
                  </a:lnTo>
                  <a:lnTo>
                    <a:pt x="626745" y="1537335"/>
                  </a:lnTo>
                  <a:lnTo>
                    <a:pt x="621030" y="1538288"/>
                  </a:lnTo>
                  <a:lnTo>
                    <a:pt x="616268" y="1541145"/>
                  </a:lnTo>
                  <a:lnTo>
                    <a:pt x="612457" y="1544955"/>
                  </a:lnTo>
                  <a:lnTo>
                    <a:pt x="609600" y="1549718"/>
                  </a:lnTo>
                  <a:lnTo>
                    <a:pt x="607695" y="1551623"/>
                  </a:lnTo>
                  <a:lnTo>
                    <a:pt x="604838" y="1552575"/>
                  </a:lnTo>
                  <a:lnTo>
                    <a:pt x="599122" y="1553528"/>
                  </a:lnTo>
                  <a:lnTo>
                    <a:pt x="596265" y="1554480"/>
                  </a:lnTo>
                  <a:lnTo>
                    <a:pt x="592455" y="1557338"/>
                  </a:lnTo>
                  <a:lnTo>
                    <a:pt x="586740" y="1564005"/>
                  </a:lnTo>
                  <a:lnTo>
                    <a:pt x="584835" y="1565910"/>
                  </a:lnTo>
                  <a:lnTo>
                    <a:pt x="582930" y="1567815"/>
                  </a:lnTo>
                  <a:lnTo>
                    <a:pt x="580072" y="1567815"/>
                  </a:lnTo>
                  <a:lnTo>
                    <a:pt x="572452" y="1566863"/>
                  </a:lnTo>
                  <a:lnTo>
                    <a:pt x="569595" y="1567815"/>
                  </a:lnTo>
                  <a:lnTo>
                    <a:pt x="567690" y="1568768"/>
                  </a:lnTo>
                  <a:lnTo>
                    <a:pt x="562927" y="1572578"/>
                  </a:lnTo>
                  <a:lnTo>
                    <a:pt x="558165" y="1574483"/>
                  </a:lnTo>
                  <a:lnTo>
                    <a:pt x="555307" y="1574483"/>
                  </a:lnTo>
                  <a:lnTo>
                    <a:pt x="522922" y="1566863"/>
                  </a:lnTo>
                  <a:lnTo>
                    <a:pt x="518160" y="1567815"/>
                  </a:lnTo>
                  <a:lnTo>
                    <a:pt x="514350" y="1570673"/>
                  </a:lnTo>
                  <a:lnTo>
                    <a:pt x="508635" y="1577340"/>
                  </a:lnTo>
                  <a:lnTo>
                    <a:pt x="502920" y="1582103"/>
                  </a:lnTo>
                  <a:lnTo>
                    <a:pt x="461963" y="1571625"/>
                  </a:lnTo>
                  <a:lnTo>
                    <a:pt x="451485" y="1570673"/>
                  </a:lnTo>
                  <a:lnTo>
                    <a:pt x="443865" y="1570673"/>
                  </a:lnTo>
                  <a:lnTo>
                    <a:pt x="441007" y="1572578"/>
                  </a:lnTo>
                  <a:lnTo>
                    <a:pt x="438150" y="1573530"/>
                  </a:lnTo>
                  <a:lnTo>
                    <a:pt x="432435" y="1575435"/>
                  </a:lnTo>
                  <a:lnTo>
                    <a:pt x="428625" y="1573530"/>
                  </a:lnTo>
                  <a:lnTo>
                    <a:pt x="425767" y="1572578"/>
                  </a:lnTo>
                  <a:lnTo>
                    <a:pt x="421005" y="1568768"/>
                  </a:lnTo>
                  <a:lnTo>
                    <a:pt x="416242" y="1566863"/>
                  </a:lnTo>
                  <a:lnTo>
                    <a:pt x="410527" y="1566863"/>
                  </a:lnTo>
                  <a:lnTo>
                    <a:pt x="406717" y="1565910"/>
                  </a:lnTo>
                  <a:lnTo>
                    <a:pt x="403860" y="1564958"/>
                  </a:lnTo>
                  <a:lnTo>
                    <a:pt x="401955" y="1563053"/>
                  </a:lnTo>
                  <a:lnTo>
                    <a:pt x="399097" y="1558290"/>
                  </a:lnTo>
                  <a:lnTo>
                    <a:pt x="397192" y="1553528"/>
                  </a:lnTo>
                  <a:lnTo>
                    <a:pt x="398145" y="1542098"/>
                  </a:lnTo>
                  <a:lnTo>
                    <a:pt x="397192" y="1538288"/>
                  </a:lnTo>
                  <a:lnTo>
                    <a:pt x="395288" y="1534478"/>
                  </a:lnTo>
                  <a:lnTo>
                    <a:pt x="392430" y="1532573"/>
                  </a:lnTo>
                  <a:lnTo>
                    <a:pt x="388620" y="1531620"/>
                  </a:lnTo>
                  <a:lnTo>
                    <a:pt x="378142" y="1532573"/>
                  </a:lnTo>
                  <a:lnTo>
                    <a:pt x="375285" y="1530668"/>
                  </a:lnTo>
                  <a:lnTo>
                    <a:pt x="372427" y="1528763"/>
                  </a:lnTo>
                  <a:lnTo>
                    <a:pt x="357188" y="1513523"/>
                  </a:lnTo>
                  <a:lnTo>
                    <a:pt x="354330" y="1508760"/>
                  </a:lnTo>
                  <a:lnTo>
                    <a:pt x="353377" y="1505903"/>
                  </a:lnTo>
                  <a:lnTo>
                    <a:pt x="354330" y="1503045"/>
                  </a:lnTo>
                  <a:lnTo>
                    <a:pt x="355282" y="1496378"/>
                  </a:lnTo>
                  <a:lnTo>
                    <a:pt x="357188" y="1493520"/>
                  </a:lnTo>
                  <a:lnTo>
                    <a:pt x="359092" y="1492568"/>
                  </a:lnTo>
                  <a:lnTo>
                    <a:pt x="364807" y="1493520"/>
                  </a:lnTo>
                  <a:lnTo>
                    <a:pt x="366713" y="1492568"/>
                  </a:lnTo>
                  <a:lnTo>
                    <a:pt x="368617" y="1490663"/>
                  </a:lnTo>
                  <a:lnTo>
                    <a:pt x="372427" y="1485900"/>
                  </a:lnTo>
                  <a:lnTo>
                    <a:pt x="374332" y="1480185"/>
                  </a:lnTo>
                  <a:lnTo>
                    <a:pt x="375285" y="1476375"/>
                  </a:lnTo>
                  <a:lnTo>
                    <a:pt x="375285" y="1469708"/>
                  </a:lnTo>
                  <a:lnTo>
                    <a:pt x="374332" y="1461135"/>
                  </a:lnTo>
                  <a:lnTo>
                    <a:pt x="371475" y="1449705"/>
                  </a:lnTo>
                  <a:lnTo>
                    <a:pt x="369570" y="1444943"/>
                  </a:lnTo>
                  <a:lnTo>
                    <a:pt x="367665" y="1440180"/>
                  </a:lnTo>
                  <a:lnTo>
                    <a:pt x="363855" y="1435418"/>
                  </a:lnTo>
                  <a:lnTo>
                    <a:pt x="357188" y="1427798"/>
                  </a:lnTo>
                  <a:lnTo>
                    <a:pt x="344805" y="1417320"/>
                  </a:lnTo>
                  <a:lnTo>
                    <a:pt x="342900" y="1414463"/>
                  </a:lnTo>
                  <a:lnTo>
                    <a:pt x="342900" y="1406843"/>
                  </a:lnTo>
                  <a:lnTo>
                    <a:pt x="342900" y="1403033"/>
                  </a:lnTo>
                  <a:lnTo>
                    <a:pt x="340995" y="1401128"/>
                  </a:lnTo>
                  <a:lnTo>
                    <a:pt x="337185" y="1400175"/>
                  </a:lnTo>
                  <a:lnTo>
                    <a:pt x="329565" y="1399223"/>
                  </a:lnTo>
                  <a:lnTo>
                    <a:pt x="321945" y="1398270"/>
                  </a:lnTo>
                  <a:lnTo>
                    <a:pt x="319088" y="1396365"/>
                  </a:lnTo>
                  <a:lnTo>
                    <a:pt x="317182" y="1393508"/>
                  </a:lnTo>
                  <a:lnTo>
                    <a:pt x="317182" y="1390650"/>
                  </a:lnTo>
                  <a:lnTo>
                    <a:pt x="319088" y="1383983"/>
                  </a:lnTo>
                  <a:lnTo>
                    <a:pt x="320040" y="1381125"/>
                  </a:lnTo>
                  <a:lnTo>
                    <a:pt x="319088" y="1378268"/>
                  </a:lnTo>
                  <a:lnTo>
                    <a:pt x="315277" y="1373505"/>
                  </a:lnTo>
                  <a:lnTo>
                    <a:pt x="310515" y="1366838"/>
                  </a:lnTo>
                  <a:lnTo>
                    <a:pt x="308610" y="1362075"/>
                  </a:lnTo>
                  <a:lnTo>
                    <a:pt x="306705" y="1359218"/>
                  </a:lnTo>
                  <a:lnTo>
                    <a:pt x="302895" y="1358265"/>
                  </a:lnTo>
                  <a:lnTo>
                    <a:pt x="300038" y="1358265"/>
                  </a:lnTo>
                  <a:lnTo>
                    <a:pt x="295275" y="1361123"/>
                  </a:lnTo>
                  <a:lnTo>
                    <a:pt x="289560" y="1365885"/>
                  </a:lnTo>
                  <a:lnTo>
                    <a:pt x="286702" y="1366838"/>
                  </a:lnTo>
                  <a:lnTo>
                    <a:pt x="280988" y="1368743"/>
                  </a:lnTo>
                  <a:lnTo>
                    <a:pt x="275272" y="1368743"/>
                  </a:lnTo>
                  <a:lnTo>
                    <a:pt x="246697" y="1366838"/>
                  </a:lnTo>
                  <a:lnTo>
                    <a:pt x="240030" y="1366838"/>
                  </a:lnTo>
                  <a:lnTo>
                    <a:pt x="234315" y="1368743"/>
                  </a:lnTo>
                  <a:lnTo>
                    <a:pt x="226695" y="1376363"/>
                  </a:lnTo>
                  <a:lnTo>
                    <a:pt x="222885" y="1377315"/>
                  </a:lnTo>
                  <a:lnTo>
                    <a:pt x="216217" y="1376363"/>
                  </a:lnTo>
                  <a:lnTo>
                    <a:pt x="191452" y="1369695"/>
                  </a:lnTo>
                  <a:lnTo>
                    <a:pt x="188595" y="1370648"/>
                  </a:lnTo>
                  <a:lnTo>
                    <a:pt x="186690" y="1371600"/>
                  </a:lnTo>
                  <a:lnTo>
                    <a:pt x="182880" y="1380173"/>
                  </a:lnTo>
                  <a:lnTo>
                    <a:pt x="180022" y="1382078"/>
                  </a:lnTo>
                  <a:lnTo>
                    <a:pt x="177165" y="1383983"/>
                  </a:lnTo>
                  <a:lnTo>
                    <a:pt x="172402" y="1384935"/>
                  </a:lnTo>
                  <a:lnTo>
                    <a:pt x="169545" y="1383983"/>
                  </a:lnTo>
                  <a:lnTo>
                    <a:pt x="167640" y="1382078"/>
                  </a:lnTo>
                  <a:lnTo>
                    <a:pt x="163830" y="1377315"/>
                  </a:lnTo>
                  <a:lnTo>
                    <a:pt x="160972" y="1373505"/>
                  </a:lnTo>
                  <a:lnTo>
                    <a:pt x="155257" y="1367790"/>
                  </a:lnTo>
                  <a:lnTo>
                    <a:pt x="150495" y="1365885"/>
                  </a:lnTo>
                  <a:lnTo>
                    <a:pt x="146685" y="1364933"/>
                  </a:lnTo>
                  <a:lnTo>
                    <a:pt x="131445" y="1369695"/>
                  </a:lnTo>
                  <a:lnTo>
                    <a:pt x="125730" y="1369695"/>
                  </a:lnTo>
                  <a:lnTo>
                    <a:pt x="122872" y="1367790"/>
                  </a:lnTo>
                  <a:lnTo>
                    <a:pt x="120967" y="1365885"/>
                  </a:lnTo>
                  <a:lnTo>
                    <a:pt x="120967" y="1362075"/>
                  </a:lnTo>
                  <a:lnTo>
                    <a:pt x="122872" y="1357313"/>
                  </a:lnTo>
                  <a:lnTo>
                    <a:pt x="130492" y="1343978"/>
                  </a:lnTo>
                  <a:lnTo>
                    <a:pt x="135255" y="1332548"/>
                  </a:lnTo>
                  <a:lnTo>
                    <a:pt x="139065" y="1323023"/>
                  </a:lnTo>
                  <a:lnTo>
                    <a:pt x="140017" y="1316355"/>
                  </a:lnTo>
                  <a:lnTo>
                    <a:pt x="142875" y="1298258"/>
                  </a:lnTo>
                  <a:lnTo>
                    <a:pt x="142875" y="1296353"/>
                  </a:lnTo>
                  <a:lnTo>
                    <a:pt x="140970" y="1292543"/>
                  </a:lnTo>
                  <a:lnTo>
                    <a:pt x="136207" y="1287780"/>
                  </a:lnTo>
                  <a:lnTo>
                    <a:pt x="119063" y="1274445"/>
                  </a:lnTo>
                  <a:lnTo>
                    <a:pt x="114300" y="1271588"/>
                  </a:lnTo>
                  <a:lnTo>
                    <a:pt x="85725" y="1261110"/>
                  </a:lnTo>
                  <a:lnTo>
                    <a:pt x="80963" y="1258253"/>
                  </a:lnTo>
                  <a:lnTo>
                    <a:pt x="77152" y="1255395"/>
                  </a:lnTo>
                  <a:lnTo>
                    <a:pt x="76200" y="1252538"/>
                  </a:lnTo>
                  <a:lnTo>
                    <a:pt x="75247" y="1246823"/>
                  </a:lnTo>
                  <a:lnTo>
                    <a:pt x="75247" y="1240155"/>
                  </a:lnTo>
                  <a:lnTo>
                    <a:pt x="76200" y="1236345"/>
                  </a:lnTo>
                  <a:lnTo>
                    <a:pt x="79057" y="1222058"/>
                  </a:lnTo>
                  <a:lnTo>
                    <a:pt x="81915" y="1207770"/>
                  </a:lnTo>
                  <a:lnTo>
                    <a:pt x="81915" y="1201103"/>
                  </a:lnTo>
                  <a:lnTo>
                    <a:pt x="80963" y="1194435"/>
                  </a:lnTo>
                  <a:lnTo>
                    <a:pt x="79057" y="1185863"/>
                  </a:lnTo>
                  <a:lnTo>
                    <a:pt x="77152" y="1181100"/>
                  </a:lnTo>
                  <a:lnTo>
                    <a:pt x="74295" y="1177290"/>
                  </a:lnTo>
                  <a:lnTo>
                    <a:pt x="60960" y="1164908"/>
                  </a:lnTo>
                  <a:lnTo>
                    <a:pt x="56197" y="1162050"/>
                  </a:lnTo>
                  <a:lnTo>
                    <a:pt x="51435" y="1161098"/>
                  </a:lnTo>
                  <a:lnTo>
                    <a:pt x="48577" y="1161098"/>
                  </a:lnTo>
                  <a:lnTo>
                    <a:pt x="43815" y="1161098"/>
                  </a:lnTo>
                  <a:lnTo>
                    <a:pt x="37147" y="1159193"/>
                  </a:lnTo>
                  <a:lnTo>
                    <a:pt x="31432" y="1154430"/>
                  </a:lnTo>
                  <a:lnTo>
                    <a:pt x="24765" y="1150620"/>
                  </a:lnTo>
                  <a:lnTo>
                    <a:pt x="21907" y="1150620"/>
                  </a:lnTo>
                  <a:lnTo>
                    <a:pt x="20002" y="1152525"/>
                  </a:lnTo>
                  <a:lnTo>
                    <a:pt x="15240" y="1156335"/>
                  </a:lnTo>
                  <a:lnTo>
                    <a:pt x="12382" y="1158240"/>
                  </a:lnTo>
                  <a:lnTo>
                    <a:pt x="6667" y="1158240"/>
                  </a:lnTo>
                  <a:lnTo>
                    <a:pt x="3810" y="1156335"/>
                  </a:lnTo>
                  <a:lnTo>
                    <a:pt x="2857" y="1154430"/>
                  </a:lnTo>
                  <a:lnTo>
                    <a:pt x="1905" y="1150620"/>
                  </a:lnTo>
                  <a:lnTo>
                    <a:pt x="0" y="1125855"/>
                  </a:lnTo>
                  <a:lnTo>
                    <a:pt x="952" y="1074420"/>
                  </a:lnTo>
                  <a:lnTo>
                    <a:pt x="1905" y="1066800"/>
                  </a:lnTo>
                  <a:lnTo>
                    <a:pt x="11430" y="1020128"/>
                  </a:lnTo>
                  <a:lnTo>
                    <a:pt x="12382" y="1013460"/>
                  </a:lnTo>
                  <a:lnTo>
                    <a:pt x="11430" y="1006793"/>
                  </a:lnTo>
                  <a:lnTo>
                    <a:pt x="10477" y="1001078"/>
                  </a:lnTo>
                  <a:lnTo>
                    <a:pt x="3810" y="984885"/>
                  </a:lnTo>
                  <a:lnTo>
                    <a:pt x="2857" y="980123"/>
                  </a:lnTo>
                  <a:lnTo>
                    <a:pt x="3810" y="976313"/>
                  </a:lnTo>
                  <a:lnTo>
                    <a:pt x="5715" y="974408"/>
                  </a:lnTo>
                  <a:lnTo>
                    <a:pt x="8572" y="973455"/>
                  </a:lnTo>
                  <a:lnTo>
                    <a:pt x="19050" y="974408"/>
                  </a:lnTo>
                  <a:lnTo>
                    <a:pt x="21907" y="974408"/>
                  </a:lnTo>
                  <a:lnTo>
                    <a:pt x="23813" y="972503"/>
                  </a:lnTo>
                  <a:lnTo>
                    <a:pt x="24765" y="970598"/>
                  </a:lnTo>
                  <a:lnTo>
                    <a:pt x="25717" y="967740"/>
                  </a:lnTo>
                  <a:lnTo>
                    <a:pt x="24765" y="961073"/>
                  </a:lnTo>
                  <a:lnTo>
                    <a:pt x="24765" y="960120"/>
                  </a:lnTo>
                  <a:lnTo>
                    <a:pt x="25717" y="940118"/>
                  </a:lnTo>
                  <a:lnTo>
                    <a:pt x="26670" y="938213"/>
                  </a:lnTo>
                  <a:lnTo>
                    <a:pt x="36195" y="922020"/>
                  </a:lnTo>
                  <a:lnTo>
                    <a:pt x="37147" y="909638"/>
                  </a:lnTo>
                  <a:lnTo>
                    <a:pt x="53340" y="898208"/>
                  </a:lnTo>
                  <a:lnTo>
                    <a:pt x="68580" y="882015"/>
                  </a:lnTo>
                  <a:lnTo>
                    <a:pt x="65722" y="858203"/>
                  </a:lnTo>
                  <a:lnTo>
                    <a:pt x="72390" y="855345"/>
                  </a:lnTo>
                  <a:lnTo>
                    <a:pt x="71438" y="851535"/>
                  </a:lnTo>
                  <a:lnTo>
                    <a:pt x="67627" y="846773"/>
                  </a:lnTo>
                  <a:lnTo>
                    <a:pt x="65722" y="842010"/>
                  </a:lnTo>
                  <a:lnTo>
                    <a:pt x="60007" y="818198"/>
                  </a:lnTo>
                  <a:lnTo>
                    <a:pt x="58102" y="812483"/>
                  </a:lnTo>
                  <a:lnTo>
                    <a:pt x="51435" y="807720"/>
                  </a:lnTo>
                  <a:lnTo>
                    <a:pt x="45720" y="806768"/>
                  </a:lnTo>
                  <a:lnTo>
                    <a:pt x="41910" y="804863"/>
                  </a:lnTo>
                  <a:lnTo>
                    <a:pt x="40005" y="795338"/>
                  </a:lnTo>
                  <a:lnTo>
                    <a:pt x="40957" y="783908"/>
                  </a:lnTo>
                  <a:lnTo>
                    <a:pt x="44767" y="778193"/>
                  </a:lnTo>
                  <a:lnTo>
                    <a:pt x="50482" y="776288"/>
                  </a:lnTo>
                  <a:lnTo>
                    <a:pt x="58102" y="778193"/>
                  </a:lnTo>
                  <a:lnTo>
                    <a:pt x="58102" y="771525"/>
                  </a:lnTo>
                  <a:lnTo>
                    <a:pt x="52388" y="769620"/>
                  </a:lnTo>
                  <a:lnTo>
                    <a:pt x="46672" y="765810"/>
                  </a:lnTo>
                  <a:lnTo>
                    <a:pt x="41910" y="759143"/>
                  </a:lnTo>
                  <a:lnTo>
                    <a:pt x="40005" y="748665"/>
                  </a:lnTo>
                  <a:lnTo>
                    <a:pt x="42863" y="741998"/>
                  </a:lnTo>
                  <a:lnTo>
                    <a:pt x="40957" y="735330"/>
                  </a:lnTo>
                  <a:lnTo>
                    <a:pt x="35242" y="729615"/>
                  </a:lnTo>
                  <a:lnTo>
                    <a:pt x="28575" y="724853"/>
                  </a:lnTo>
                  <a:lnTo>
                    <a:pt x="33338" y="721043"/>
                  </a:lnTo>
                  <a:lnTo>
                    <a:pt x="36195" y="717233"/>
                  </a:lnTo>
                  <a:lnTo>
                    <a:pt x="40005" y="707708"/>
                  </a:lnTo>
                  <a:lnTo>
                    <a:pt x="31432" y="703898"/>
                  </a:lnTo>
                  <a:lnTo>
                    <a:pt x="13335" y="698183"/>
                  </a:lnTo>
                  <a:lnTo>
                    <a:pt x="7620" y="690563"/>
                  </a:lnTo>
                  <a:lnTo>
                    <a:pt x="7620" y="684848"/>
                  </a:lnTo>
                  <a:lnTo>
                    <a:pt x="14288" y="680085"/>
                  </a:lnTo>
                  <a:lnTo>
                    <a:pt x="18097" y="679133"/>
                  </a:lnTo>
                  <a:lnTo>
                    <a:pt x="18097" y="673418"/>
                  </a:lnTo>
                  <a:lnTo>
                    <a:pt x="13335" y="670560"/>
                  </a:lnTo>
                  <a:lnTo>
                    <a:pt x="3810" y="661988"/>
                  </a:lnTo>
                  <a:lnTo>
                    <a:pt x="3810" y="655320"/>
                  </a:lnTo>
                  <a:lnTo>
                    <a:pt x="19050" y="641985"/>
                  </a:lnTo>
                  <a:lnTo>
                    <a:pt x="25717" y="639128"/>
                  </a:lnTo>
                  <a:lnTo>
                    <a:pt x="23813" y="630555"/>
                  </a:lnTo>
                  <a:lnTo>
                    <a:pt x="21907" y="626745"/>
                  </a:lnTo>
                  <a:lnTo>
                    <a:pt x="24765" y="624840"/>
                  </a:lnTo>
                  <a:lnTo>
                    <a:pt x="28575" y="618173"/>
                  </a:lnTo>
                  <a:lnTo>
                    <a:pt x="32385" y="615315"/>
                  </a:lnTo>
                  <a:lnTo>
                    <a:pt x="29527" y="602933"/>
                  </a:lnTo>
                  <a:lnTo>
                    <a:pt x="35242" y="584835"/>
                  </a:lnTo>
                  <a:lnTo>
                    <a:pt x="32385" y="573405"/>
                  </a:lnTo>
                  <a:lnTo>
                    <a:pt x="39052" y="571500"/>
                  </a:lnTo>
                  <a:lnTo>
                    <a:pt x="55245" y="571500"/>
                  </a:lnTo>
                  <a:lnTo>
                    <a:pt x="60960" y="568643"/>
                  </a:lnTo>
                  <a:lnTo>
                    <a:pt x="64770" y="560070"/>
                  </a:lnTo>
                  <a:lnTo>
                    <a:pt x="64770" y="549593"/>
                  </a:lnTo>
                  <a:lnTo>
                    <a:pt x="66675" y="540068"/>
                  </a:lnTo>
                  <a:lnTo>
                    <a:pt x="72390" y="533400"/>
                  </a:lnTo>
                  <a:lnTo>
                    <a:pt x="72390" y="527685"/>
                  </a:lnTo>
                  <a:lnTo>
                    <a:pt x="68580" y="526733"/>
                  </a:lnTo>
                  <a:lnTo>
                    <a:pt x="58102" y="521018"/>
                  </a:lnTo>
                  <a:lnTo>
                    <a:pt x="63817" y="514350"/>
                  </a:lnTo>
                  <a:lnTo>
                    <a:pt x="76200" y="506730"/>
                  </a:lnTo>
                  <a:lnTo>
                    <a:pt x="85725" y="496253"/>
                  </a:lnTo>
                  <a:lnTo>
                    <a:pt x="84772" y="482918"/>
                  </a:lnTo>
                  <a:lnTo>
                    <a:pt x="80963" y="475298"/>
                  </a:lnTo>
                  <a:lnTo>
                    <a:pt x="80963" y="471488"/>
                  </a:lnTo>
                  <a:lnTo>
                    <a:pt x="82867" y="469583"/>
                  </a:lnTo>
                  <a:lnTo>
                    <a:pt x="86677" y="462915"/>
                  </a:lnTo>
                  <a:lnTo>
                    <a:pt x="98107" y="447675"/>
                  </a:lnTo>
                  <a:lnTo>
                    <a:pt x="99060" y="444818"/>
                  </a:lnTo>
                  <a:lnTo>
                    <a:pt x="102870" y="442913"/>
                  </a:lnTo>
                  <a:lnTo>
                    <a:pt x="104775" y="437198"/>
                  </a:lnTo>
                  <a:lnTo>
                    <a:pt x="108585" y="431483"/>
                  </a:lnTo>
                  <a:lnTo>
                    <a:pt x="119063" y="425768"/>
                  </a:lnTo>
                  <a:lnTo>
                    <a:pt x="120967" y="418148"/>
                  </a:lnTo>
                  <a:lnTo>
                    <a:pt x="120967" y="410528"/>
                  </a:lnTo>
                  <a:lnTo>
                    <a:pt x="122872" y="404813"/>
                  </a:lnTo>
                  <a:lnTo>
                    <a:pt x="127635" y="403860"/>
                  </a:lnTo>
                  <a:lnTo>
                    <a:pt x="142875" y="404813"/>
                  </a:lnTo>
                  <a:lnTo>
                    <a:pt x="147638" y="402908"/>
                  </a:lnTo>
                  <a:lnTo>
                    <a:pt x="152400" y="397193"/>
                  </a:lnTo>
                  <a:lnTo>
                    <a:pt x="159067" y="387668"/>
                  </a:lnTo>
                  <a:lnTo>
                    <a:pt x="159067" y="381953"/>
                  </a:lnTo>
                  <a:lnTo>
                    <a:pt x="156210" y="378143"/>
                  </a:lnTo>
                  <a:lnTo>
                    <a:pt x="155257" y="372428"/>
                  </a:lnTo>
                  <a:lnTo>
                    <a:pt x="155257" y="369570"/>
                  </a:lnTo>
                  <a:lnTo>
                    <a:pt x="170497" y="363855"/>
                  </a:lnTo>
                  <a:lnTo>
                    <a:pt x="178117" y="359093"/>
                  </a:lnTo>
                  <a:lnTo>
                    <a:pt x="183832" y="353378"/>
                  </a:lnTo>
                  <a:lnTo>
                    <a:pt x="190500" y="347663"/>
                  </a:lnTo>
                  <a:lnTo>
                    <a:pt x="195263" y="340043"/>
                  </a:lnTo>
                  <a:lnTo>
                    <a:pt x="195263" y="332423"/>
                  </a:lnTo>
                  <a:lnTo>
                    <a:pt x="196215" y="327660"/>
                  </a:lnTo>
                  <a:lnTo>
                    <a:pt x="200025" y="321945"/>
                  </a:lnTo>
                  <a:lnTo>
                    <a:pt x="204788" y="319088"/>
                  </a:lnTo>
                  <a:lnTo>
                    <a:pt x="207645" y="317183"/>
                  </a:lnTo>
                  <a:lnTo>
                    <a:pt x="210502" y="319088"/>
                  </a:lnTo>
                  <a:lnTo>
                    <a:pt x="214313" y="323850"/>
                  </a:lnTo>
                  <a:lnTo>
                    <a:pt x="228600" y="322898"/>
                  </a:lnTo>
                  <a:lnTo>
                    <a:pt x="232410" y="311468"/>
                  </a:lnTo>
                  <a:lnTo>
                    <a:pt x="227647" y="300038"/>
                  </a:lnTo>
                  <a:lnTo>
                    <a:pt x="212407" y="298133"/>
                  </a:lnTo>
                  <a:lnTo>
                    <a:pt x="214313" y="294323"/>
                  </a:lnTo>
                  <a:lnTo>
                    <a:pt x="217170" y="285750"/>
                  </a:lnTo>
                  <a:lnTo>
                    <a:pt x="219075" y="280988"/>
                  </a:lnTo>
                  <a:lnTo>
                    <a:pt x="216217" y="266700"/>
                  </a:lnTo>
                  <a:lnTo>
                    <a:pt x="224790" y="258128"/>
                  </a:lnTo>
                  <a:lnTo>
                    <a:pt x="238125" y="253365"/>
                  </a:lnTo>
                  <a:lnTo>
                    <a:pt x="309563" y="249555"/>
                  </a:lnTo>
                  <a:lnTo>
                    <a:pt x="330517" y="251460"/>
                  </a:lnTo>
                  <a:lnTo>
                    <a:pt x="342900" y="259080"/>
                  </a:lnTo>
                  <a:lnTo>
                    <a:pt x="367665" y="280035"/>
                  </a:lnTo>
                  <a:lnTo>
                    <a:pt x="380047" y="284798"/>
                  </a:lnTo>
                  <a:lnTo>
                    <a:pt x="392430" y="279083"/>
                  </a:lnTo>
                  <a:lnTo>
                    <a:pt x="401002" y="264795"/>
                  </a:lnTo>
                  <a:lnTo>
                    <a:pt x="408622" y="247650"/>
                  </a:lnTo>
                  <a:lnTo>
                    <a:pt x="420052" y="234315"/>
                  </a:lnTo>
                  <a:lnTo>
                    <a:pt x="461010" y="216218"/>
                  </a:lnTo>
                  <a:lnTo>
                    <a:pt x="509588" y="216218"/>
                  </a:lnTo>
                  <a:lnTo>
                    <a:pt x="601980" y="234315"/>
                  </a:lnTo>
                  <a:lnTo>
                    <a:pt x="661988" y="231458"/>
                  </a:lnTo>
                  <a:lnTo>
                    <a:pt x="694372" y="228600"/>
                  </a:lnTo>
                  <a:lnTo>
                    <a:pt x="711518" y="231458"/>
                  </a:lnTo>
                  <a:lnTo>
                    <a:pt x="723900" y="243840"/>
                  </a:lnTo>
                  <a:lnTo>
                    <a:pt x="726757" y="257175"/>
                  </a:lnTo>
                  <a:lnTo>
                    <a:pt x="727710" y="273368"/>
                  </a:lnTo>
                  <a:lnTo>
                    <a:pt x="729615" y="286703"/>
                  </a:lnTo>
                  <a:lnTo>
                    <a:pt x="739140" y="292418"/>
                  </a:lnTo>
                  <a:lnTo>
                    <a:pt x="747713" y="290513"/>
                  </a:lnTo>
                  <a:lnTo>
                    <a:pt x="776288" y="276225"/>
                  </a:lnTo>
                  <a:lnTo>
                    <a:pt x="795338" y="274320"/>
                  </a:lnTo>
                  <a:lnTo>
                    <a:pt x="826770" y="282893"/>
                  </a:lnTo>
                  <a:lnTo>
                    <a:pt x="837247" y="282893"/>
                  </a:lnTo>
                  <a:lnTo>
                    <a:pt x="909638" y="248603"/>
                  </a:lnTo>
                  <a:lnTo>
                    <a:pt x="932497" y="229553"/>
                  </a:lnTo>
                  <a:lnTo>
                    <a:pt x="948690" y="196215"/>
                  </a:lnTo>
                  <a:lnTo>
                    <a:pt x="954405" y="144780"/>
                  </a:lnTo>
                  <a:lnTo>
                    <a:pt x="959168" y="129540"/>
                  </a:lnTo>
                  <a:lnTo>
                    <a:pt x="964882" y="123825"/>
                  </a:lnTo>
                  <a:lnTo>
                    <a:pt x="971550" y="120015"/>
                  </a:lnTo>
                  <a:lnTo>
                    <a:pt x="977265" y="115253"/>
                  </a:lnTo>
                  <a:lnTo>
                    <a:pt x="980122" y="104775"/>
                  </a:lnTo>
                  <a:lnTo>
                    <a:pt x="978218" y="98108"/>
                  </a:lnTo>
                  <a:lnTo>
                    <a:pt x="967740" y="80010"/>
                  </a:lnTo>
                  <a:lnTo>
                    <a:pt x="965835" y="70485"/>
                  </a:lnTo>
                  <a:lnTo>
                    <a:pt x="972502" y="40958"/>
                  </a:lnTo>
                  <a:lnTo>
                    <a:pt x="994410" y="36195"/>
                  </a:lnTo>
                  <a:lnTo>
                    <a:pt x="1040130" y="53340"/>
                  </a:lnTo>
                  <a:lnTo>
                    <a:pt x="1064895" y="45720"/>
                  </a:lnTo>
                  <a:lnTo>
                    <a:pt x="1168718" y="100965"/>
                  </a:lnTo>
                  <a:lnTo>
                    <a:pt x="1184910" y="100965"/>
                  </a:lnTo>
                  <a:lnTo>
                    <a:pt x="1216343" y="92393"/>
                  </a:lnTo>
                  <a:lnTo>
                    <a:pt x="1231582" y="92393"/>
                  </a:lnTo>
                  <a:lnTo>
                    <a:pt x="1240155" y="96203"/>
                  </a:lnTo>
                  <a:lnTo>
                    <a:pt x="1256347" y="109538"/>
                  </a:lnTo>
                  <a:lnTo>
                    <a:pt x="1265872" y="110490"/>
                  </a:lnTo>
                  <a:lnTo>
                    <a:pt x="1275397" y="105728"/>
                  </a:lnTo>
                  <a:lnTo>
                    <a:pt x="1329690" y="56198"/>
                  </a:lnTo>
                  <a:lnTo>
                    <a:pt x="1339215" y="51435"/>
                  </a:lnTo>
                  <a:lnTo>
                    <a:pt x="1343977" y="52388"/>
                  </a:lnTo>
                  <a:lnTo>
                    <a:pt x="1350645" y="56198"/>
                  </a:lnTo>
                  <a:lnTo>
                    <a:pt x="1355407" y="54293"/>
                  </a:lnTo>
                  <a:lnTo>
                    <a:pt x="1360170" y="50483"/>
                  </a:lnTo>
                  <a:lnTo>
                    <a:pt x="1365885" y="38100"/>
                  </a:lnTo>
                  <a:lnTo>
                    <a:pt x="1371600" y="35243"/>
                  </a:lnTo>
                  <a:lnTo>
                    <a:pt x="1381125" y="31433"/>
                  </a:lnTo>
                  <a:lnTo>
                    <a:pt x="1387793" y="24765"/>
                  </a:lnTo>
                  <a:lnTo>
                    <a:pt x="1402080" y="7620"/>
                  </a:lnTo>
                  <a:lnTo>
                    <a:pt x="1410652" y="1905"/>
                  </a:lnTo>
                  <a:lnTo>
                    <a:pt x="1417320" y="0"/>
                  </a:lnTo>
                  <a:lnTo>
                    <a:pt x="1468755" y="10477"/>
                  </a:lnTo>
                  <a:lnTo>
                    <a:pt x="1503045" y="9525"/>
                  </a:lnTo>
                  <a:lnTo>
                    <a:pt x="1512570" y="11430"/>
                  </a:lnTo>
                  <a:lnTo>
                    <a:pt x="1524952" y="2095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4" name="Полилиния: фигура 6">
              <a:extLst>
                <a:ext uri="{FF2B5EF4-FFF2-40B4-BE49-F238E27FC236}">
                  <a16:creationId xmlns:a16="http://schemas.microsoft.com/office/drawing/2014/main" id="{DA7B163B-3F76-E002-32CA-90B5B0361E33}"/>
                </a:ext>
              </a:extLst>
            </p:cNvPr>
            <p:cNvSpPr/>
            <p:nvPr/>
          </p:nvSpPr>
          <p:spPr>
            <a:xfrm>
              <a:off x="2887980" y="626745"/>
              <a:ext cx="1390650" cy="1600200"/>
            </a:xfrm>
            <a:custGeom>
              <a:avLst/>
              <a:gdLst>
                <a:gd name="connsiteX0" fmla="*/ 1372552 w 1390650"/>
                <a:gd name="connsiteY0" fmla="*/ 372428 h 1600200"/>
                <a:gd name="connsiteX1" fmla="*/ 1355408 w 1390650"/>
                <a:gd name="connsiteY1" fmla="*/ 375285 h 1600200"/>
                <a:gd name="connsiteX2" fmla="*/ 1343025 w 1390650"/>
                <a:gd name="connsiteY2" fmla="*/ 381953 h 1600200"/>
                <a:gd name="connsiteX3" fmla="*/ 1337310 w 1390650"/>
                <a:gd name="connsiteY3" fmla="*/ 383858 h 1600200"/>
                <a:gd name="connsiteX4" fmla="*/ 1332548 w 1390650"/>
                <a:gd name="connsiteY4" fmla="*/ 386715 h 1600200"/>
                <a:gd name="connsiteX5" fmla="*/ 1330643 w 1390650"/>
                <a:gd name="connsiteY5" fmla="*/ 387668 h 1600200"/>
                <a:gd name="connsiteX6" fmla="*/ 1328738 w 1390650"/>
                <a:gd name="connsiteY6" fmla="*/ 393383 h 1600200"/>
                <a:gd name="connsiteX7" fmla="*/ 1326833 w 1390650"/>
                <a:gd name="connsiteY7" fmla="*/ 401003 h 1600200"/>
                <a:gd name="connsiteX8" fmla="*/ 1324927 w 1390650"/>
                <a:gd name="connsiteY8" fmla="*/ 417195 h 1600200"/>
                <a:gd name="connsiteX9" fmla="*/ 1325880 w 1390650"/>
                <a:gd name="connsiteY9" fmla="*/ 423863 h 1600200"/>
                <a:gd name="connsiteX10" fmla="*/ 1326833 w 1390650"/>
                <a:gd name="connsiteY10" fmla="*/ 428625 h 1600200"/>
                <a:gd name="connsiteX11" fmla="*/ 1335405 w 1390650"/>
                <a:gd name="connsiteY11" fmla="*/ 437197 h 1600200"/>
                <a:gd name="connsiteX12" fmla="*/ 1338263 w 1390650"/>
                <a:gd name="connsiteY12" fmla="*/ 441960 h 1600200"/>
                <a:gd name="connsiteX13" fmla="*/ 1340168 w 1390650"/>
                <a:gd name="connsiteY13" fmla="*/ 446722 h 1600200"/>
                <a:gd name="connsiteX14" fmla="*/ 1340168 w 1390650"/>
                <a:gd name="connsiteY14" fmla="*/ 450533 h 1600200"/>
                <a:gd name="connsiteX15" fmla="*/ 1339215 w 1390650"/>
                <a:gd name="connsiteY15" fmla="*/ 453390 h 1600200"/>
                <a:gd name="connsiteX16" fmla="*/ 1338263 w 1390650"/>
                <a:gd name="connsiteY16" fmla="*/ 456247 h 1600200"/>
                <a:gd name="connsiteX17" fmla="*/ 1334452 w 1390650"/>
                <a:gd name="connsiteY17" fmla="*/ 456247 h 1600200"/>
                <a:gd name="connsiteX18" fmla="*/ 1331595 w 1390650"/>
                <a:gd name="connsiteY18" fmla="*/ 456247 h 1600200"/>
                <a:gd name="connsiteX19" fmla="*/ 1329690 w 1390650"/>
                <a:gd name="connsiteY19" fmla="*/ 454343 h 1600200"/>
                <a:gd name="connsiteX20" fmla="*/ 1308735 w 1390650"/>
                <a:gd name="connsiteY20" fmla="*/ 436245 h 1600200"/>
                <a:gd name="connsiteX21" fmla="*/ 1304925 w 1390650"/>
                <a:gd name="connsiteY21" fmla="*/ 431483 h 1600200"/>
                <a:gd name="connsiteX22" fmla="*/ 1302068 w 1390650"/>
                <a:gd name="connsiteY22" fmla="*/ 422910 h 1600200"/>
                <a:gd name="connsiteX23" fmla="*/ 1299210 w 1390650"/>
                <a:gd name="connsiteY23" fmla="*/ 418147 h 1600200"/>
                <a:gd name="connsiteX24" fmla="*/ 1295400 w 1390650"/>
                <a:gd name="connsiteY24" fmla="*/ 414338 h 1600200"/>
                <a:gd name="connsiteX25" fmla="*/ 1293495 w 1390650"/>
                <a:gd name="connsiteY25" fmla="*/ 413385 h 1600200"/>
                <a:gd name="connsiteX26" fmla="*/ 1290638 w 1390650"/>
                <a:gd name="connsiteY26" fmla="*/ 412433 h 1600200"/>
                <a:gd name="connsiteX27" fmla="*/ 1287780 w 1390650"/>
                <a:gd name="connsiteY27" fmla="*/ 413385 h 1600200"/>
                <a:gd name="connsiteX28" fmla="*/ 1286827 w 1390650"/>
                <a:gd name="connsiteY28" fmla="*/ 415290 h 1600200"/>
                <a:gd name="connsiteX29" fmla="*/ 1284923 w 1390650"/>
                <a:gd name="connsiteY29" fmla="*/ 421958 h 1600200"/>
                <a:gd name="connsiteX30" fmla="*/ 1279208 w 1390650"/>
                <a:gd name="connsiteY30" fmla="*/ 459105 h 1600200"/>
                <a:gd name="connsiteX31" fmla="*/ 1279208 w 1390650"/>
                <a:gd name="connsiteY31" fmla="*/ 469583 h 1600200"/>
                <a:gd name="connsiteX32" fmla="*/ 1280160 w 1390650"/>
                <a:gd name="connsiteY32" fmla="*/ 477203 h 1600200"/>
                <a:gd name="connsiteX33" fmla="*/ 1288733 w 1390650"/>
                <a:gd name="connsiteY33" fmla="*/ 484822 h 1600200"/>
                <a:gd name="connsiteX34" fmla="*/ 1291590 w 1390650"/>
                <a:gd name="connsiteY34" fmla="*/ 489585 h 1600200"/>
                <a:gd name="connsiteX35" fmla="*/ 1291590 w 1390650"/>
                <a:gd name="connsiteY35" fmla="*/ 493395 h 1600200"/>
                <a:gd name="connsiteX36" fmla="*/ 1290638 w 1390650"/>
                <a:gd name="connsiteY36" fmla="*/ 498158 h 1600200"/>
                <a:gd name="connsiteX37" fmla="*/ 1286827 w 1390650"/>
                <a:gd name="connsiteY37" fmla="*/ 505778 h 1600200"/>
                <a:gd name="connsiteX38" fmla="*/ 1283970 w 1390650"/>
                <a:gd name="connsiteY38" fmla="*/ 512445 h 1600200"/>
                <a:gd name="connsiteX39" fmla="*/ 1278255 w 1390650"/>
                <a:gd name="connsiteY39" fmla="*/ 518160 h 1600200"/>
                <a:gd name="connsiteX40" fmla="*/ 1273493 w 1390650"/>
                <a:gd name="connsiteY40" fmla="*/ 521018 h 1600200"/>
                <a:gd name="connsiteX41" fmla="*/ 1243965 w 1390650"/>
                <a:gd name="connsiteY41" fmla="*/ 527685 h 1600200"/>
                <a:gd name="connsiteX42" fmla="*/ 1242060 w 1390650"/>
                <a:gd name="connsiteY42" fmla="*/ 529590 h 1600200"/>
                <a:gd name="connsiteX43" fmla="*/ 1241108 w 1390650"/>
                <a:gd name="connsiteY43" fmla="*/ 531495 h 1600200"/>
                <a:gd name="connsiteX44" fmla="*/ 1242060 w 1390650"/>
                <a:gd name="connsiteY44" fmla="*/ 535305 h 1600200"/>
                <a:gd name="connsiteX45" fmla="*/ 1259205 w 1390650"/>
                <a:gd name="connsiteY45" fmla="*/ 571500 h 1600200"/>
                <a:gd name="connsiteX46" fmla="*/ 1260158 w 1390650"/>
                <a:gd name="connsiteY46" fmla="*/ 575310 h 1600200"/>
                <a:gd name="connsiteX47" fmla="*/ 1261110 w 1390650"/>
                <a:gd name="connsiteY47" fmla="*/ 580073 h 1600200"/>
                <a:gd name="connsiteX48" fmla="*/ 1261110 w 1390650"/>
                <a:gd name="connsiteY48" fmla="*/ 583883 h 1600200"/>
                <a:gd name="connsiteX49" fmla="*/ 1260158 w 1390650"/>
                <a:gd name="connsiteY49" fmla="*/ 588645 h 1600200"/>
                <a:gd name="connsiteX50" fmla="*/ 1258252 w 1390650"/>
                <a:gd name="connsiteY50" fmla="*/ 594360 h 1600200"/>
                <a:gd name="connsiteX51" fmla="*/ 1254443 w 1390650"/>
                <a:gd name="connsiteY51" fmla="*/ 603885 h 1600200"/>
                <a:gd name="connsiteX52" fmla="*/ 1251585 w 1390650"/>
                <a:gd name="connsiteY52" fmla="*/ 607695 h 1600200"/>
                <a:gd name="connsiteX53" fmla="*/ 1248727 w 1390650"/>
                <a:gd name="connsiteY53" fmla="*/ 610553 h 1600200"/>
                <a:gd name="connsiteX54" fmla="*/ 1236345 w 1390650"/>
                <a:gd name="connsiteY54" fmla="*/ 618173 h 1600200"/>
                <a:gd name="connsiteX55" fmla="*/ 1234440 w 1390650"/>
                <a:gd name="connsiteY55" fmla="*/ 620078 h 1600200"/>
                <a:gd name="connsiteX56" fmla="*/ 1231583 w 1390650"/>
                <a:gd name="connsiteY56" fmla="*/ 624840 h 1600200"/>
                <a:gd name="connsiteX57" fmla="*/ 1224915 w 1390650"/>
                <a:gd name="connsiteY57" fmla="*/ 645795 h 1600200"/>
                <a:gd name="connsiteX58" fmla="*/ 1222058 w 1390650"/>
                <a:gd name="connsiteY58" fmla="*/ 650558 h 1600200"/>
                <a:gd name="connsiteX59" fmla="*/ 1220152 w 1390650"/>
                <a:gd name="connsiteY59" fmla="*/ 654368 h 1600200"/>
                <a:gd name="connsiteX60" fmla="*/ 1216343 w 1390650"/>
                <a:gd name="connsiteY60" fmla="*/ 658178 h 1600200"/>
                <a:gd name="connsiteX61" fmla="*/ 1211580 w 1390650"/>
                <a:gd name="connsiteY61" fmla="*/ 663893 h 1600200"/>
                <a:gd name="connsiteX62" fmla="*/ 1210627 w 1390650"/>
                <a:gd name="connsiteY62" fmla="*/ 666750 h 1600200"/>
                <a:gd name="connsiteX63" fmla="*/ 1209675 w 1390650"/>
                <a:gd name="connsiteY63" fmla="*/ 671513 h 1600200"/>
                <a:gd name="connsiteX64" fmla="*/ 1208723 w 1390650"/>
                <a:gd name="connsiteY64" fmla="*/ 677228 h 1600200"/>
                <a:gd name="connsiteX65" fmla="*/ 1207770 w 1390650"/>
                <a:gd name="connsiteY65" fmla="*/ 696278 h 1600200"/>
                <a:gd name="connsiteX66" fmla="*/ 1205865 w 1390650"/>
                <a:gd name="connsiteY66" fmla="*/ 701993 h 1600200"/>
                <a:gd name="connsiteX67" fmla="*/ 1203008 w 1390650"/>
                <a:gd name="connsiteY67" fmla="*/ 708660 h 1600200"/>
                <a:gd name="connsiteX68" fmla="*/ 1198245 w 1390650"/>
                <a:gd name="connsiteY68" fmla="*/ 715328 h 1600200"/>
                <a:gd name="connsiteX69" fmla="*/ 1192530 w 1390650"/>
                <a:gd name="connsiteY69" fmla="*/ 721043 h 1600200"/>
                <a:gd name="connsiteX70" fmla="*/ 1190625 w 1390650"/>
                <a:gd name="connsiteY70" fmla="*/ 722948 h 1600200"/>
                <a:gd name="connsiteX71" fmla="*/ 1188720 w 1390650"/>
                <a:gd name="connsiteY71" fmla="*/ 726758 h 1600200"/>
                <a:gd name="connsiteX72" fmla="*/ 1182052 w 1390650"/>
                <a:gd name="connsiteY72" fmla="*/ 741998 h 1600200"/>
                <a:gd name="connsiteX73" fmla="*/ 1179195 w 1390650"/>
                <a:gd name="connsiteY73" fmla="*/ 746760 h 1600200"/>
                <a:gd name="connsiteX74" fmla="*/ 1177290 w 1390650"/>
                <a:gd name="connsiteY74" fmla="*/ 749618 h 1600200"/>
                <a:gd name="connsiteX75" fmla="*/ 1164908 w 1390650"/>
                <a:gd name="connsiteY75" fmla="*/ 755333 h 1600200"/>
                <a:gd name="connsiteX76" fmla="*/ 1143952 w 1390650"/>
                <a:gd name="connsiteY76" fmla="*/ 760095 h 1600200"/>
                <a:gd name="connsiteX77" fmla="*/ 1139190 w 1390650"/>
                <a:gd name="connsiteY77" fmla="*/ 762953 h 1600200"/>
                <a:gd name="connsiteX78" fmla="*/ 1137285 w 1390650"/>
                <a:gd name="connsiteY78" fmla="*/ 764858 h 1600200"/>
                <a:gd name="connsiteX79" fmla="*/ 1135380 w 1390650"/>
                <a:gd name="connsiteY79" fmla="*/ 768668 h 1600200"/>
                <a:gd name="connsiteX80" fmla="*/ 1130618 w 1390650"/>
                <a:gd name="connsiteY80" fmla="*/ 785813 h 1600200"/>
                <a:gd name="connsiteX81" fmla="*/ 1126808 w 1390650"/>
                <a:gd name="connsiteY81" fmla="*/ 789623 h 1600200"/>
                <a:gd name="connsiteX82" fmla="*/ 1125855 w 1390650"/>
                <a:gd name="connsiteY82" fmla="*/ 793433 h 1600200"/>
                <a:gd name="connsiteX83" fmla="*/ 1129665 w 1390650"/>
                <a:gd name="connsiteY83" fmla="*/ 801053 h 1600200"/>
                <a:gd name="connsiteX84" fmla="*/ 1135380 w 1390650"/>
                <a:gd name="connsiteY84" fmla="*/ 811530 h 1600200"/>
                <a:gd name="connsiteX85" fmla="*/ 1136333 w 1390650"/>
                <a:gd name="connsiteY85" fmla="*/ 815340 h 1600200"/>
                <a:gd name="connsiteX86" fmla="*/ 1136333 w 1390650"/>
                <a:gd name="connsiteY86" fmla="*/ 820103 h 1600200"/>
                <a:gd name="connsiteX87" fmla="*/ 1137285 w 1390650"/>
                <a:gd name="connsiteY87" fmla="*/ 827723 h 1600200"/>
                <a:gd name="connsiteX88" fmla="*/ 1139190 w 1390650"/>
                <a:gd name="connsiteY88" fmla="*/ 831533 h 1600200"/>
                <a:gd name="connsiteX89" fmla="*/ 1141095 w 1390650"/>
                <a:gd name="connsiteY89" fmla="*/ 834390 h 1600200"/>
                <a:gd name="connsiteX90" fmla="*/ 1144905 w 1390650"/>
                <a:gd name="connsiteY90" fmla="*/ 838200 h 1600200"/>
                <a:gd name="connsiteX91" fmla="*/ 1145858 w 1390650"/>
                <a:gd name="connsiteY91" fmla="*/ 841058 h 1600200"/>
                <a:gd name="connsiteX92" fmla="*/ 1146810 w 1390650"/>
                <a:gd name="connsiteY92" fmla="*/ 843915 h 1600200"/>
                <a:gd name="connsiteX93" fmla="*/ 1143952 w 1390650"/>
                <a:gd name="connsiteY93" fmla="*/ 848677 h 1600200"/>
                <a:gd name="connsiteX94" fmla="*/ 1142048 w 1390650"/>
                <a:gd name="connsiteY94" fmla="*/ 851535 h 1600200"/>
                <a:gd name="connsiteX95" fmla="*/ 1136333 w 1390650"/>
                <a:gd name="connsiteY95" fmla="*/ 853440 h 1600200"/>
                <a:gd name="connsiteX96" fmla="*/ 1135380 w 1390650"/>
                <a:gd name="connsiteY96" fmla="*/ 856298 h 1600200"/>
                <a:gd name="connsiteX97" fmla="*/ 1137285 w 1390650"/>
                <a:gd name="connsiteY97" fmla="*/ 861060 h 1600200"/>
                <a:gd name="connsiteX98" fmla="*/ 1139190 w 1390650"/>
                <a:gd name="connsiteY98" fmla="*/ 863918 h 1600200"/>
                <a:gd name="connsiteX99" fmla="*/ 1145858 w 1390650"/>
                <a:gd name="connsiteY99" fmla="*/ 872490 h 1600200"/>
                <a:gd name="connsiteX100" fmla="*/ 1147763 w 1390650"/>
                <a:gd name="connsiteY100" fmla="*/ 878205 h 1600200"/>
                <a:gd name="connsiteX101" fmla="*/ 1148715 w 1390650"/>
                <a:gd name="connsiteY101" fmla="*/ 883920 h 1600200"/>
                <a:gd name="connsiteX102" fmla="*/ 1147763 w 1390650"/>
                <a:gd name="connsiteY102" fmla="*/ 892493 h 1600200"/>
                <a:gd name="connsiteX103" fmla="*/ 1140143 w 1390650"/>
                <a:gd name="connsiteY103" fmla="*/ 932498 h 1600200"/>
                <a:gd name="connsiteX104" fmla="*/ 1139190 w 1390650"/>
                <a:gd name="connsiteY104" fmla="*/ 937260 h 1600200"/>
                <a:gd name="connsiteX105" fmla="*/ 1139190 w 1390650"/>
                <a:gd name="connsiteY105" fmla="*/ 942975 h 1600200"/>
                <a:gd name="connsiteX106" fmla="*/ 1140143 w 1390650"/>
                <a:gd name="connsiteY106" fmla="*/ 952500 h 1600200"/>
                <a:gd name="connsiteX107" fmla="*/ 1141095 w 1390650"/>
                <a:gd name="connsiteY107" fmla="*/ 957263 h 1600200"/>
                <a:gd name="connsiteX108" fmla="*/ 1143952 w 1390650"/>
                <a:gd name="connsiteY108" fmla="*/ 963930 h 1600200"/>
                <a:gd name="connsiteX109" fmla="*/ 1148715 w 1390650"/>
                <a:gd name="connsiteY109" fmla="*/ 973455 h 1600200"/>
                <a:gd name="connsiteX110" fmla="*/ 1159193 w 1390650"/>
                <a:gd name="connsiteY110" fmla="*/ 989648 h 1600200"/>
                <a:gd name="connsiteX111" fmla="*/ 1163002 w 1390650"/>
                <a:gd name="connsiteY111" fmla="*/ 997268 h 1600200"/>
                <a:gd name="connsiteX112" fmla="*/ 1164908 w 1390650"/>
                <a:gd name="connsiteY112" fmla="*/ 1005840 h 1600200"/>
                <a:gd name="connsiteX113" fmla="*/ 1163955 w 1390650"/>
                <a:gd name="connsiteY113" fmla="*/ 1011555 h 1600200"/>
                <a:gd name="connsiteX114" fmla="*/ 1162050 w 1390650"/>
                <a:gd name="connsiteY114" fmla="*/ 1020127 h 1600200"/>
                <a:gd name="connsiteX115" fmla="*/ 1149668 w 1390650"/>
                <a:gd name="connsiteY115" fmla="*/ 1051560 h 1600200"/>
                <a:gd name="connsiteX116" fmla="*/ 1145858 w 1390650"/>
                <a:gd name="connsiteY116" fmla="*/ 1059180 h 1600200"/>
                <a:gd name="connsiteX117" fmla="*/ 1135380 w 1390650"/>
                <a:gd name="connsiteY117" fmla="*/ 1072515 h 1600200"/>
                <a:gd name="connsiteX118" fmla="*/ 1133475 w 1390650"/>
                <a:gd name="connsiteY118" fmla="*/ 1076325 h 1600200"/>
                <a:gd name="connsiteX119" fmla="*/ 1127760 w 1390650"/>
                <a:gd name="connsiteY119" fmla="*/ 1091565 h 1600200"/>
                <a:gd name="connsiteX120" fmla="*/ 1124902 w 1390650"/>
                <a:gd name="connsiteY120" fmla="*/ 1100138 h 1600200"/>
                <a:gd name="connsiteX121" fmla="*/ 1122998 w 1390650"/>
                <a:gd name="connsiteY121" fmla="*/ 1104900 h 1600200"/>
                <a:gd name="connsiteX122" fmla="*/ 1122998 w 1390650"/>
                <a:gd name="connsiteY122" fmla="*/ 1108710 h 1600200"/>
                <a:gd name="connsiteX123" fmla="*/ 1125855 w 1390650"/>
                <a:gd name="connsiteY123" fmla="*/ 1115378 h 1600200"/>
                <a:gd name="connsiteX124" fmla="*/ 1127760 w 1390650"/>
                <a:gd name="connsiteY124" fmla="*/ 1119188 h 1600200"/>
                <a:gd name="connsiteX125" fmla="*/ 1130618 w 1390650"/>
                <a:gd name="connsiteY125" fmla="*/ 1121093 h 1600200"/>
                <a:gd name="connsiteX126" fmla="*/ 1141095 w 1390650"/>
                <a:gd name="connsiteY126" fmla="*/ 1126808 h 1600200"/>
                <a:gd name="connsiteX127" fmla="*/ 1144905 w 1390650"/>
                <a:gd name="connsiteY127" fmla="*/ 1130618 h 1600200"/>
                <a:gd name="connsiteX128" fmla="*/ 1145858 w 1390650"/>
                <a:gd name="connsiteY128" fmla="*/ 1134428 h 1600200"/>
                <a:gd name="connsiteX129" fmla="*/ 1142048 w 1390650"/>
                <a:gd name="connsiteY129" fmla="*/ 1146810 h 1600200"/>
                <a:gd name="connsiteX130" fmla="*/ 1122998 w 1390650"/>
                <a:gd name="connsiteY130" fmla="*/ 1168718 h 1600200"/>
                <a:gd name="connsiteX131" fmla="*/ 1097280 w 1390650"/>
                <a:gd name="connsiteY131" fmla="*/ 1163003 h 1600200"/>
                <a:gd name="connsiteX132" fmla="*/ 1094423 w 1390650"/>
                <a:gd name="connsiteY132" fmla="*/ 1160145 h 1600200"/>
                <a:gd name="connsiteX133" fmla="*/ 1091565 w 1390650"/>
                <a:gd name="connsiteY133" fmla="*/ 1157288 h 1600200"/>
                <a:gd name="connsiteX134" fmla="*/ 1091565 w 1390650"/>
                <a:gd name="connsiteY134" fmla="*/ 1149668 h 1600200"/>
                <a:gd name="connsiteX135" fmla="*/ 1091565 w 1390650"/>
                <a:gd name="connsiteY135" fmla="*/ 1145858 h 1600200"/>
                <a:gd name="connsiteX136" fmla="*/ 1090613 w 1390650"/>
                <a:gd name="connsiteY136" fmla="*/ 1141095 h 1600200"/>
                <a:gd name="connsiteX137" fmla="*/ 1087755 w 1390650"/>
                <a:gd name="connsiteY137" fmla="*/ 1134428 h 1600200"/>
                <a:gd name="connsiteX138" fmla="*/ 1084898 w 1390650"/>
                <a:gd name="connsiteY138" fmla="*/ 1132523 h 1600200"/>
                <a:gd name="connsiteX139" fmla="*/ 1081088 w 1390650"/>
                <a:gd name="connsiteY139" fmla="*/ 1130618 h 1600200"/>
                <a:gd name="connsiteX140" fmla="*/ 1073468 w 1390650"/>
                <a:gd name="connsiteY140" fmla="*/ 1130618 h 1600200"/>
                <a:gd name="connsiteX141" fmla="*/ 1069658 w 1390650"/>
                <a:gd name="connsiteY141" fmla="*/ 1132523 h 1600200"/>
                <a:gd name="connsiteX142" fmla="*/ 1065848 w 1390650"/>
                <a:gd name="connsiteY142" fmla="*/ 1136333 h 1600200"/>
                <a:gd name="connsiteX143" fmla="*/ 1063943 w 1390650"/>
                <a:gd name="connsiteY143" fmla="*/ 1142048 h 1600200"/>
                <a:gd name="connsiteX144" fmla="*/ 1061085 w 1390650"/>
                <a:gd name="connsiteY144" fmla="*/ 1151573 h 1600200"/>
                <a:gd name="connsiteX145" fmla="*/ 1060133 w 1390650"/>
                <a:gd name="connsiteY145" fmla="*/ 1154430 h 1600200"/>
                <a:gd name="connsiteX146" fmla="*/ 1055370 w 1390650"/>
                <a:gd name="connsiteY146" fmla="*/ 1157288 h 1600200"/>
                <a:gd name="connsiteX147" fmla="*/ 1043940 w 1390650"/>
                <a:gd name="connsiteY147" fmla="*/ 1160145 h 1600200"/>
                <a:gd name="connsiteX148" fmla="*/ 1033463 w 1390650"/>
                <a:gd name="connsiteY148" fmla="*/ 1164908 h 1600200"/>
                <a:gd name="connsiteX149" fmla="*/ 1029652 w 1390650"/>
                <a:gd name="connsiteY149" fmla="*/ 1167765 h 1600200"/>
                <a:gd name="connsiteX150" fmla="*/ 1021080 w 1390650"/>
                <a:gd name="connsiteY150" fmla="*/ 1175385 h 1600200"/>
                <a:gd name="connsiteX151" fmla="*/ 1017270 w 1390650"/>
                <a:gd name="connsiteY151" fmla="*/ 1180148 h 1600200"/>
                <a:gd name="connsiteX152" fmla="*/ 1014413 w 1390650"/>
                <a:gd name="connsiteY152" fmla="*/ 1183005 h 1600200"/>
                <a:gd name="connsiteX153" fmla="*/ 1009650 w 1390650"/>
                <a:gd name="connsiteY153" fmla="*/ 1186815 h 1600200"/>
                <a:gd name="connsiteX154" fmla="*/ 1004888 w 1390650"/>
                <a:gd name="connsiteY154" fmla="*/ 1188720 h 1600200"/>
                <a:gd name="connsiteX155" fmla="*/ 1001077 w 1390650"/>
                <a:gd name="connsiteY155" fmla="*/ 1188720 h 1600200"/>
                <a:gd name="connsiteX156" fmla="*/ 994410 w 1390650"/>
                <a:gd name="connsiteY156" fmla="*/ 1186815 h 1600200"/>
                <a:gd name="connsiteX157" fmla="*/ 983933 w 1390650"/>
                <a:gd name="connsiteY157" fmla="*/ 1181100 h 1600200"/>
                <a:gd name="connsiteX158" fmla="*/ 973455 w 1390650"/>
                <a:gd name="connsiteY158" fmla="*/ 1176338 h 1600200"/>
                <a:gd name="connsiteX159" fmla="*/ 969645 w 1390650"/>
                <a:gd name="connsiteY159" fmla="*/ 1176338 h 1600200"/>
                <a:gd name="connsiteX160" fmla="*/ 966788 w 1390650"/>
                <a:gd name="connsiteY160" fmla="*/ 1177290 h 1600200"/>
                <a:gd name="connsiteX161" fmla="*/ 956310 w 1390650"/>
                <a:gd name="connsiteY161" fmla="*/ 1186815 h 1600200"/>
                <a:gd name="connsiteX162" fmla="*/ 920115 w 1390650"/>
                <a:gd name="connsiteY162" fmla="*/ 1202055 h 1600200"/>
                <a:gd name="connsiteX163" fmla="*/ 917258 w 1390650"/>
                <a:gd name="connsiteY163" fmla="*/ 1205865 h 1600200"/>
                <a:gd name="connsiteX164" fmla="*/ 915352 w 1390650"/>
                <a:gd name="connsiteY164" fmla="*/ 1211580 h 1600200"/>
                <a:gd name="connsiteX165" fmla="*/ 915352 w 1390650"/>
                <a:gd name="connsiteY165" fmla="*/ 1218248 h 1600200"/>
                <a:gd name="connsiteX166" fmla="*/ 916305 w 1390650"/>
                <a:gd name="connsiteY166" fmla="*/ 1227773 h 1600200"/>
                <a:gd name="connsiteX167" fmla="*/ 916305 w 1390650"/>
                <a:gd name="connsiteY167" fmla="*/ 1231583 h 1600200"/>
                <a:gd name="connsiteX168" fmla="*/ 914400 w 1390650"/>
                <a:gd name="connsiteY168" fmla="*/ 1234440 h 1600200"/>
                <a:gd name="connsiteX169" fmla="*/ 911543 w 1390650"/>
                <a:gd name="connsiteY169" fmla="*/ 1236345 h 1600200"/>
                <a:gd name="connsiteX170" fmla="*/ 908685 w 1390650"/>
                <a:gd name="connsiteY170" fmla="*/ 1237298 h 1600200"/>
                <a:gd name="connsiteX171" fmla="*/ 905827 w 1390650"/>
                <a:gd name="connsiteY171" fmla="*/ 1236345 h 1600200"/>
                <a:gd name="connsiteX172" fmla="*/ 893445 w 1390650"/>
                <a:gd name="connsiteY172" fmla="*/ 1231583 h 1600200"/>
                <a:gd name="connsiteX173" fmla="*/ 887730 w 1390650"/>
                <a:gd name="connsiteY173" fmla="*/ 1230630 h 1600200"/>
                <a:gd name="connsiteX174" fmla="*/ 884873 w 1390650"/>
                <a:gd name="connsiteY174" fmla="*/ 1231583 h 1600200"/>
                <a:gd name="connsiteX175" fmla="*/ 882968 w 1390650"/>
                <a:gd name="connsiteY175" fmla="*/ 1234440 h 1600200"/>
                <a:gd name="connsiteX176" fmla="*/ 882015 w 1390650"/>
                <a:gd name="connsiteY176" fmla="*/ 1238250 h 1600200"/>
                <a:gd name="connsiteX177" fmla="*/ 882015 w 1390650"/>
                <a:gd name="connsiteY177" fmla="*/ 1244918 h 1600200"/>
                <a:gd name="connsiteX178" fmla="*/ 880110 w 1390650"/>
                <a:gd name="connsiteY178" fmla="*/ 1249680 h 1600200"/>
                <a:gd name="connsiteX179" fmla="*/ 878205 w 1390650"/>
                <a:gd name="connsiteY179" fmla="*/ 1253490 h 1600200"/>
                <a:gd name="connsiteX180" fmla="*/ 872490 w 1390650"/>
                <a:gd name="connsiteY180" fmla="*/ 1258253 h 1600200"/>
                <a:gd name="connsiteX181" fmla="*/ 869633 w 1390650"/>
                <a:gd name="connsiteY181" fmla="*/ 1262063 h 1600200"/>
                <a:gd name="connsiteX182" fmla="*/ 867728 w 1390650"/>
                <a:gd name="connsiteY182" fmla="*/ 1265873 h 1600200"/>
                <a:gd name="connsiteX183" fmla="*/ 867728 w 1390650"/>
                <a:gd name="connsiteY183" fmla="*/ 1268730 h 1600200"/>
                <a:gd name="connsiteX184" fmla="*/ 864870 w 1390650"/>
                <a:gd name="connsiteY184" fmla="*/ 1274445 h 1600200"/>
                <a:gd name="connsiteX185" fmla="*/ 860108 w 1390650"/>
                <a:gd name="connsiteY185" fmla="*/ 1280160 h 1600200"/>
                <a:gd name="connsiteX186" fmla="*/ 837248 w 1390650"/>
                <a:gd name="connsiteY186" fmla="*/ 1298258 h 1600200"/>
                <a:gd name="connsiteX187" fmla="*/ 836295 w 1390650"/>
                <a:gd name="connsiteY187" fmla="*/ 1301115 h 1600200"/>
                <a:gd name="connsiteX188" fmla="*/ 836295 w 1390650"/>
                <a:gd name="connsiteY188" fmla="*/ 1303973 h 1600200"/>
                <a:gd name="connsiteX189" fmla="*/ 836295 w 1390650"/>
                <a:gd name="connsiteY189" fmla="*/ 1309688 h 1600200"/>
                <a:gd name="connsiteX190" fmla="*/ 835343 w 1390650"/>
                <a:gd name="connsiteY190" fmla="*/ 1314450 h 1600200"/>
                <a:gd name="connsiteX191" fmla="*/ 833438 w 1390650"/>
                <a:gd name="connsiteY191" fmla="*/ 1319213 h 1600200"/>
                <a:gd name="connsiteX192" fmla="*/ 830580 w 1390650"/>
                <a:gd name="connsiteY192" fmla="*/ 1322070 h 1600200"/>
                <a:gd name="connsiteX193" fmla="*/ 805815 w 1390650"/>
                <a:gd name="connsiteY193" fmla="*/ 1340168 h 1600200"/>
                <a:gd name="connsiteX194" fmla="*/ 802958 w 1390650"/>
                <a:gd name="connsiteY194" fmla="*/ 1343978 h 1600200"/>
                <a:gd name="connsiteX195" fmla="*/ 798195 w 1390650"/>
                <a:gd name="connsiteY195" fmla="*/ 1351598 h 1600200"/>
                <a:gd name="connsiteX196" fmla="*/ 794385 w 1390650"/>
                <a:gd name="connsiteY196" fmla="*/ 1360170 h 1600200"/>
                <a:gd name="connsiteX197" fmla="*/ 791528 w 1390650"/>
                <a:gd name="connsiteY197" fmla="*/ 1363980 h 1600200"/>
                <a:gd name="connsiteX198" fmla="*/ 786765 w 1390650"/>
                <a:gd name="connsiteY198" fmla="*/ 1367790 h 1600200"/>
                <a:gd name="connsiteX199" fmla="*/ 767715 w 1390650"/>
                <a:gd name="connsiteY199" fmla="*/ 1382078 h 1600200"/>
                <a:gd name="connsiteX200" fmla="*/ 765810 w 1390650"/>
                <a:gd name="connsiteY200" fmla="*/ 1383983 h 1600200"/>
                <a:gd name="connsiteX201" fmla="*/ 760095 w 1390650"/>
                <a:gd name="connsiteY201" fmla="*/ 1393508 h 1600200"/>
                <a:gd name="connsiteX202" fmla="*/ 756285 w 1390650"/>
                <a:gd name="connsiteY202" fmla="*/ 1397318 h 1600200"/>
                <a:gd name="connsiteX203" fmla="*/ 747713 w 1390650"/>
                <a:gd name="connsiteY203" fmla="*/ 1406843 h 1600200"/>
                <a:gd name="connsiteX204" fmla="*/ 742950 w 1390650"/>
                <a:gd name="connsiteY204" fmla="*/ 1409700 h 1600200"/>
                <a:gd name="connsiteX205" fmla="*/ 739140 w 1390650"/>
                <a:gd name="connsiteY205" fmla="*/ 1410653 h 1600200"/>
                <a:gd name="connsiteX206" fmla="*/ 726758 w 1390650"/>
                <a:gd name="connsiteY206" fmla="*/ 1412558 h 1600200"/>
                <a:gd name="connsiteX207" fmla="*/ 722948 w 1390650"/>
                <a:gd name="connsiteY207" fmla="*/ 1411605 h 1600200"/>
                <a:gd name="connsiteX208" fmla="*/ 716280 w 1390650"/>
                <a:gd name="connsiteY208" fmla="*/ 1409700 h 1600200"/>
                <a:gd name="connsiteX209" fmla="*/ 711518 w 1390650"/>
                <a:gd name="connsiteY209" fmla="*/ 1409700 h 1600200"/>
                <a:gd name="connsiteX210" fmla="*/ 704850 w 1390650"/>
                <a:gd name="connsiteY210" fmla="*/ 1410653 h 1600200"/>
                <a:gd name="connsiteX211" fmla="*/ 700088 w 1390650"/>
                <a:gd name="connsiteY211" fmla="*/ 1412558 h 1600200"/>
                <a:gd name="connsiteX212" fmla="*/ 696278 w 1390650"/>
                <a:gd name="connsiteY212" fmla="*/ 1414463 h 1600200"/>
                <a:gd name="connsiteX213" fmla="*/ 688658 w 1390650"/>
                <a:gd name="connsiteY213" fmla="*/ 1422083 h 1600200"/>
                <a:gd name="connsiteX214" fmla="*/ 684848 w 1390650"/>
                <a:gd name="connsiteY214" fmla="*/ 1425893 h 1600200"/>
                <a:gd name="connsiteX215" fmla="*/ 662940 w 1390650"/>
                <a:gd name="connsiteY215" fmla="*/ 1460183 h 1600200"/>
                <a:gd name="connsiteX216" fmla="*/ 654368 w 1390650"/>
                <a:gd name="connsiteY216" fmla="*/ 1470660 h 1600200"/>
                <a:gd name="connsiteX217" fmla="*/ 642938 w 1390650"/>
                <a:gd name="connsiteY217" fmla="*/ 1478280 h 1600200"/>
                <a:gd name="connsiteX218" fmla="*/ 617220 w 1390650"/>
                <a:gd name="connsiteY218" fmla="*/ 1490663 h 1600200"/>
                <a:gd name="connsiteX219" fmla="*/ 615315 w 1390650"/>
                <a:gd name="connsiteY219" fmla="*/ 1465898 h 1600200"/>
                <a:gd name="connsiteX220" fmla="*/ 614363 w 1390650"/>
                <a:gd name="connsiteY220" fmla="*/ 1462088 h 1600200"/>
                <a:gd name="connsiteX221" fmla="*/ 610553 w 1390650"/>
                <a:gd name="connsiteY221" fmla="*/ 1458278 h 1600200"/>
                <a:gd name="connsiteX222" fmla="*/ 606743 w 1390650"/>
                <a:gd name="connsiteY222" fmla="*/ 1455420 h 1600200"/>
                <a:gd name="connsiteX223" fmla="*/ 601980 w 1390650"/>
                <a:gd name="connsiteY223" fmla="*/ 1451610 h 1600200"/>
                <a:gd name="connsiteX224" fmla="*/ 601028 w 1390650"/>
                <a:gd name="connsiteY224" fmla="*/ 1447800 h 1600200"/>
                <a:gd name="connsiteX225" fmla="*/ 601028 w 1390650"/>
                <a:gd name="connsiteY225" fmla="*/ 1443038 h 1600200"/>
                <a:gd name="connsiteX226" fmla="*/ 601980 w 1390650"/>
                <a:gd name="connsiteY226" fmla="*/ 1437323 h 1600200"/>
                <a:gd name="connsiteX227" fmla="*/ 604838 w 1390650"/>
                <a:gd name="connsiteY227" fmla="*/ 1431608 h 1600200"/>
                <a:gd name="connsiteX228" fmla="*/ 606743 w 1390650"/>
                <a:gd name="connsiteY228" fmla="*/ 1425893 h 1600200"/>
                <a:gd name="connsiteX229" fmla="*/ 612458 w 1390650"/>
                <a:gd name="connsiteY229" fmla="*/ 1419225 h 1600200"/>
                <a:gd name="connsiteX230" fmla="*/ 614363 w 1390650"/>
                <a:gd name="connsiteY230" fmla="*/ 1416368 h 1600200"/>
                <a:gd name="connsiteX231" fmla="*/ 616268 w 1390650"/>
                <a:gd name="connsiteY231" fmla="*/ 1410653 h 1600200"/>
                <a:gd name="connsiteX232" fmla="*/ 615315 w 1390650"/>
                <a:gd name="connsiteY232" fmla="*/ 1406843 h 1600200"/>
                <a:gd name="connsiteX233" fmla="*/ 614363 w 1390650"/>
                <a:gd name="connsiteY233" fmla="*/ 1403985 h 1600200"/>
                <a:gd name="connsiteX234" fmla="*/ 611505 w 1390650"/>
                <a:gd name="connsiteY234" fmla="*/ 1400175 h 1600200"/>
                <a:gd name="connsiteX235" fmla="*/ 608648 w 1390650"/>
                <a:gd name="connsiteY235" fmla="*/ 1399223 h 1600200"/>
                <a:gd name="connsiteX236" fmla="*/ 606743 w 1390650"/>
                <a:gd name="connsiteY236" fmla="*/ 1400175 h 1600200"/>
                <a:gd name="connsiteX237" fmla="*/ 601028 w 1390650"/>
                <a:gd name="connsiteY237" fmla="*/ 1406843 h 1600200"/>
                <a:gd name="connsiteX238" fmla="*/ 597218 w 1390650"/>
                <a:gd name="connsiteY238" fmla="*/ 1409700 h 1600200"/>
                <a:gd name="connsiteX239" fmla="*/ 581978 w 1390650"/>
                <a:gd name="connsiteY239" fmla="*/ 1416368 h 1600200"/>
                <a:gd name="connsiteX240" fmla="*/ 579120 w 1390650"/>
                <a:gd name="connsiteY240" fmla="*/ 1416368 h 1600200"/>
                <a:gd name="connsiteX241" fmla="*/ 575310 w 1390650"/>
                <a:gd name="connsiteY241" fmla="*/ 1416368 h 1600200"/>
                <a:gd name="connsiteX242" fmla="*/ 571500 w 1390650"/>
                <a:gd name="connsiteY242" fmla="*/ 1415415 h 1600200"/>
                <a:gd name="connsiteX243" fmla="*/ 538163 w 1390650"/>
                <a:gd name="connsiteY243" fmla="*/ 1399223 h 1600200"/>
                <a:gd name="connsiteX244" fmla="*/ 531495 w 1390650"/>
                <a:gd name="connsiteY244" fmla="*/ 1397318 h 1600200"/>
                <a:gd name="connsiteX245" fmla="*/ 525780 w 1390650"/>
                <a:gd name="connsiteY245" fmla="*/ 1397318 h 1600200"/>
                <a:gd name="connsiteX246" fmla="*/ 520065 w 1390650"/>
                <a:gd name="connsiteY246" fmla="*/ 1399223 h 1600200"/>
                <a:gd name="connsiteX247" fmla="*/ 505778 w 1390650"/>
                <a:gd name="connsiteY247" fmla="*/ 1406843 h 1600200"/>
                <a:gd name="connsiteX248" fmla="*/ 501015 w 1390650"/>
                <a:gd name="connsiteY248" fmla="*/ 1406843 h 1600200"/>
                <a:gd name="connsiteX249" fmla="*/ 493395 w 1390650"/>
                <a:gd name="connsiteY249" fmla="*/ 1404938 h 1600200"/>
                <a:gd name="connsiteX250" fmla="*/ 478155 w 1390650"/>
                <a:gd name="connsiteY250" fmla="*/ 1399223 h 1600200"/>
                <a:gd name="connsiteX251" fmla="*/ 471488 w 1390650"/>
                <a:gd name="connsiteY251" fmla="*/ 1398270 h 1600200"/>
                <a:gd name="connsiteX252" fmla="*/ 466725 w 1390650"/>
                <a:gd name="connsiteY252" fmla="*/ 1397318 h 1600200"/>
                <a:gd name="connsiteX253" fmla="*/ 453390 w 1390650"/>
                <a:gd name="connsiteY253" fmla="*/ 1407795 h 1600200"/>
                <a:gd name="connsiteX254" fmla="*/ 404813 w 1390650"/>
                <a:gd name="connsiteY254" fmla="*/ 1461135 h 1600200"/>
                <a:gd name="connsiteX255" fmla="*/ 401003 w 1390650"/>
                <a:gd name="connsiteY255" fmla="*/ 1463993 h 1600200"/>
                <a:gd name="connsiteX256" fmla="*/ 393383 w 1390650"/>
                <a:gd name="connsiteY256" fmla="*/ 1467803 h 1600200"/>
                <a:gd name="connsiteX257" fmla="*/ 332423 w 1390650"/>
                <a:gd name="connsiteY257" fmla="*/ 1473518 h 1600200"/>
                <a:gd name="connsiteX258" fmla="*/ 322898 w 1390650"/>
                <a:gd name="connsiteY258" fmla="*/ 1475423 h 1600200"/>
                <a:gd name="connsiteX259" fmla="*/ 318135 w 1390650"/>
                <a:gd name="connsiteY259" fmla="*/ 1478280 h 1600200"/>
                <a:gd name="connsiteX260" fmla="*/ 310515 w 1390650"/>
                <a:gd name="connsiteY260" fmla="*/ 1485900 h 1600200"/>
                <a:gd name="connsiteX261" fmla="*/ 307658 w 1390650"/>
                <a:gd name="connsiteY261" fmla="*/ 1488758 h 1600200"/>
                <a:gd name="connsiteX262" fmla="*/ 301942 w 1390650"/>
                <a:gd name="connsiteY262" fmla="*/ 1491615 h 1600200"/>
                <a:gd name="connsiteX263" fmla="*/ 299085 w 1390650"/>
                <a:gd name="connsiteY263" fmla="*/ 1491615 h 1600200"/>
                <a:gd name="connsiteX264" fmla="*/ 296228 w 1390650"/>
                <a:gd name="connsiteY264" fmla="*/ 1490663 h 1600200"/>
                <a:gd name="connsiteX265" fmla="*/ 292417 w 1390650"/>
                <a:gd name="connsiteY265" fmla="*/ 1484948 h 1600200"/>
                <a:gd name="connsiteX266" fmla="*/ 289560 w 1390650"/>
                <a:gd name="connsiteY266" fmla="*/ 1483043 h 1600200"/>
                <a:gd name="connsiteX267" fmla="*/ 286703 w 1390650"/>
                <a:gd name="connsiteY267" fmla="*/ 1483043 h 1600200"/>
                <a:gd name="connsiteX268" fmla="*/ 284798 w 1390650"/>
                <a:gd name="connsiteY268" fmla="*/ 1483995 h 1600200"/>
                <a:gd name="connsiteX269" fmla="*/ 273367 w 1390650"/>
                <a:gd name="connsiteY269" fmla="*/ 1495425 h 1600200"/>
                <a:gd name="connsiteX270" fmla="*/ 270510 w 1390650"/>
                <a:gd name="connsiteY270" fmla="*/ 1497330 h 1600200"/>
                <a:gd name="connsiteX271" fmla="*/ 265748 w 1390650"/>
                <a:gd name="connsiteY271" fmla="*/ 1500188 h 1600200"/>
                <a:gd name="connsiteX272" fmla="*/ 262890 w 1390650"/>
                <a:gd name="connsiteY272" fmla="*/ 1499235 h 1600200"/>
                <a:gd name="connsiteX273" fmla="*/ 254317 w 1390650"/>
                <a:gd name="connsiteY273" fmla="*/ 1493520 h 1600200"/>
                <a:gd name="connsiteX274" fmla="*/ 240983 w 1390650"/>
                <a:gd name="connsiteY274" fmla="*/ 1489710 h 1600200"/>
                <a:gd name="connsiteX275" fmla="*/ 229553 w 1390650"/>
                <a:gd name="connsiteY275" fmla="*/ 1484948 h 1600200"/>
                <a:gd name="connsiteX276" fmla="*/ 216217 w 1390650"/>
                <a:gd name="connsiteY276" fmla="*/ 1481138 h 1600200"/>
                <a:gd name="connsiteX277" fmla="*/ 210503 w 1390650"/>
                <a:gd name="connsiteY277" fmla="*/ 1480185 h 1600200"/>
                <a:gd name="connsiteX278" fmla="*/ 205740 w 1390650"/>
                <a:gd name="connsiteY278" fmla="*/ 1482090 h 1600200"/>
                <a:gd name="connsiteX279" fmla="*/ 203835 w 1390650"/>
                <a:gd name="connsiteY279" fmla="*/ 1486853 h 1600200"/>
                <a:gd name="connsiteX280" fmla="*/ 200978 w 1390650"/>
                <a:gd name="connsiteY280" fmla="*/ 1500188 h 1600200"/>
                <a:gd name="connsiteX281" fmla="*/ 200025 w 1390650"/>
                <a:gd name="connsiteY281" fmla="*/ 1506855 h 1600200"/>
                <a:gd name="connsiteX282" fmla="*/ 200978 w 1390650"/>
                <a:gd name="connsiteY282" fmla="*/ 1512570 h 1600200"/>
                <a:gd name="connsiteX283" fmla="*/ 204788 w 1390650"/>
                <a:gd name="connsiteY283" fmla="*/ 1516380 h 1600200"/>
                <a:gd name="connsiteX284" fmla="*/ 210503 w 1390650"/>
                <a:gd name="connsiteY284" fmla="*/ 1522095 h 1600200"/>
                <a:gd name="connsiteX285" fmla="*/ 212408 w 1390650"/>
                <a:gd name="connsiteY285" fmla="*/ 1524000 h 1600200"/>
                <a:gd name="connsiteX286" fmla="*/ 213360 w 1390650"/>
                <a:gd name="connsiteY286" fmla="*/ 1525905 h 1600200"/>
                <a:gd name="connsiteX287" fmla="*/ 213360 w 1390650"/>
                <a:gd name="connsiteY287" fmla="*/ 1528763 h 1600200"/>
                <a:gd name="connsiteX288" fmla="*/ 209550 w 1390650"/>
                <a:gd name="connsiteY288" fmla="*/ 1536383 h 1600200"/>
                <a:gd name="connsiteX289" fmla="*/ 208598 w 1390650"/>
                <a:gd name="connsiteY289" fmla="*/ 1539240 h 1600200"/>
                <a:gd name="connsiteX290" fmla="*/ 206692 w 1390650"/>
                <a:gd name="connsiteY290" fmla="*/ 1543050 h 1600200"/>
                <a:gd name="connsiteX291" fmla="*/ 203835 w 1390650"/>
                <a:gd name="connsiteY291" fmla="*/ 1546860 h 1600200"/>
                <a:gd name="connsiteX292" fmla="*/ 188595 w 1390650"/>
                <a:gd name="connsiteY292" fmla="*/ 1556385 h 1600200"/>
                <a:gd name="connsiteX293" fmla="*/ 186690 w 1390650"/>
                <a:gd name="connsiteY293" fmla="*/ 1558290 h 1600200"/>
                <a:gd name="connsiteX294" fmla="*/ 184785 w 1390650"/>
                <a:gd name="connsiteY294" fmla="*/ 1564958 h 1600200"/>
                <a:gd name="connsiteX295" fmla="*/ 185738 w 1390650"/>
                <a:gd name="connsiteY295" fmla="*/ 1574483 h 1600200"/>
                <a:gd name="connsiteX296" fmla="*/ 185738 w 1390650"/>
                <a:gd name="connsiteY296" fmla="*/ 1577340 h 1600200"/>
                <a:gd name="connsiteX297" fmla="*/ 185738 w 1390650"/>
                <a:gd name="connsiteY297" fmla="*/ 1584960 h 1600200"/>
                <a:gd name="connsiteX298" fmla="*/ 183833 w 1390650"/>
                <a:gd name="connsiteY298" fmla="*/ 1592580 h 1600200"/>
                <a:gd name="connsiteX299" fmla="*/ 181928 w 1390650"/>
                <a:gd name="connsiteY299" fmla="*/ 1592580 h 1600200"/>
                <a:gd name="connsiteX300" fmla="*/ 178117 w 1390650"/>
                <a:gd name="connsiteY300" fmla="*/ 1588770 h 1600200"/>
                <a:gd name="connsiteX301" fmla="*/ 175260 w 1390650"/>
                <a:gd name="connsiteY301" fmla="*/ 1586865 h 1600200"/>
                <a:gd name="connsiteX302" fmla="*/ 167640 w 1390650"/>
                <a:gd name="connsiteY302" fmla="*/ 1584960 h 1600200"/>
                <a:gd name="connsiteX303" fmla="*/ 164783 w 1390650"/>
                <a:gd name="connsiteY303" fmla="*/ 1585913 h 1600200"/>
                <a:gd name="connsiteX304" fmla="*/ 162878 w 1390650"/>
                <a:gd name="connsiteY304" fmla="*/ 1588770 h 1600200"/>
                <a:gd name="connsiteX305" fmla="*/ 161925 w 1390650"/>
                <a:gd name="connsiteY305" fmla="*/ 1592580 h 1600200"/>
                <a:gd name="connsiteX306" fmla="*/ 160973 w 1390650"/>
                <a:gd name="connsiteY306" fmla="*/ 1604963 h 1600200"/>
                <a:gd name="connsiteX307" fmla="*/ 122873 w 1390650"/>
                <a:gd name="connsiteY307" fmla="*/ 1581150 h 1600200"/>
                <a:gd name="connsiteX308" fmla="*/ 73342 w 1390650"/>
                <a:gd name="connsiteY308" fmla="*/ 1537335 h 1600200"/>
                <a:gd name="connsiteX309" fmla="*/ 68580 w 1390650"/>
                <a:gd name="connsiteY309" fmla="*/ 1530668 h 1600200"/>
                <a:gd name="connsiteX310" fmla="*/ 64770 w 1390650"/>
                <a:gd name="connsiteY310" fmla="*/ 1510665 h 1600200"/>
                <a:gd name="connsiteX311" fmla="*/ 63817 w 1390650"/>
                <a:gd name="connsiteY311" fmla="*/ 1500188 h 1600200"/>
                <a:gd name="connsiteX312" fmla="*/ 64770 w 1390650"/>
                <a:gd name="connsiteY312" fmla="*/ 1485900 h 1600200"/>
                <a:gd name="connsiteX313" fmla="*/ 68580 w 1390650"/>
                <a:gd name="connsiteY313" fmla="*/ 1465898 h 1600200"/>
                <a:gd name="connsiteX314" fmla="*/ 68580 w 1390650"/>
                <a:gd name="connsiteY314" fmla="*/ 1462088 h 1600200"/>
                <a:gd name="connsiteX315" fmla="*/ 66675 w 1390650"/>
                <a:gd name="connsiteY315" fmla="*/ 1457325 h 1600200"/>
                <a:gd name="connsiteX316" fmla="*/ 56198 w 1390650"/>
                <a:gd name="connsiteY316" fmla="*/ 1445895 h 1600200"/>
                <a:gd name="connsiteX317" fmla="*/ 54292 w 1390650"/>
                <a:gd name="connsiteY317" fmla="*/ 1440180 h 1600200"/>
                <a:gd name="connsiteX318" fmla="*/ 54292 w 1390650"/>
                <a:gd name="connsiteY318" fmla="*/ 1436370 h 1600200"/>
                <a:gd name="connsiteX319" fmla="*/ 55245 w 1390650"/>
                <a:gd name="connsiteY319" fmla="*/ 1434465 h 1600200"/>
                <a:gd name="connsiteX320" fmla="*/ 70485 w 1390650"/>
                <a:gd name="connsiteY320" fmla="*/ 1419225 h 1600200"/>
                <a:gd name="connsiteX321" fmla="*/ 74295 w 1390650"/>
                <a:gd name="connsiteY321" fmla="*/ 1414463 h 1600200"/>
                <a:gd name="connsiteX322" fmla="*/ 76200 w 1390650"/>
                <a:gd name="connsiteY322" fmla="*/ 1409700 h 1600200"/>
                <a:gd name="connsiteX323" fmla="*/ 77153 w 1390650"/>
                <a:gd name="connsiteY323" fmla="*/ 1404938 h 1600200"/>
                <a:gd name="connsiteX324" fmla="*/ 76200 w 1390650"/>
                <a:gd name="connsiteY324" fmla="*/ 1398270 h 1600200"/>
                <a:gd name="connsiteX325" fmla="*/ 74295 w 1390650"/>
                <a:gd name="connsiteY325" fmla="*/ 1387793 h 1600200"/>
                <a:gd name="connsiteX326" fmla="*/ 72390 w 1390650"/>
                <a:gd name="connsiteY326" fmla="*/ 1382078 h 1600200"/>
                <a:gd name="connsiteX327" fmla="*/ 70485 w 1390650"/>
                <a:gd name="connsiteY327" fmla="*/ 1378268 h 1600200"/>
                <a:gd name="connsiteX328" fmla="*/ 65723 w 1390650"/>
                <a:gd name="connsiteY328" fmla="*/ 1375410 h 1600200"/>
                <a:gd name="connsiteX329" fmla="*/ 60008 w 1390650"/>
                <a:gd name="connsiteY329" fmla="*/ 1373505 h 1600200"/>
                <a:gd name="connsiteX330" fmla="*/ 56198 w 1390650"/>
                <a:gd name="connsiteY330" fmla="*/ 1372553 h 1600200"/>
                <a:gd name="connsiteX331" fmla="*/ 53340 w 1390650"/>
                <a:gd name="connsiteY331" fmla="*/ 1373505 h 1600200"/>
                <a:gd name="connsiteX332" fmla="*/ 47625 w 1390650"/>
                <a:gd name="connsiteY332" fmla="*/ 1374458 h 1600200"/>
                <a:gd name="connsiteX333" fmla="*/ 33338 w 1390650"/>
                <a:gd name="connsiteY333" fmla="*/ 1383030 h 1600200"/>
                <a:gd name="connsiteX334" fmla="*/ 28575 w 1390650"/>
                <a:gd name="connsiteY334" fmla="*/ 1384935 h 1600200"/>
                <a:gd name="connsiteX335" fmla="*/ 21908 w 1390650"/>
                <a:gd name="connsiteY335" fmla="*/ 1385888 h 1600200"/>
                <a:gd name="connsiteX336" fmla="*/ 11430 w 1390650"/>
                <a:gd name="connsiteY336" fmla="*/ 1384935 h 1600200"/>
                <a:gd name="connsiteX337" fmla="*/ 3810 w 1390650"/>
                <a:gd name="connsiteY337" fmla="*/ 1381125 h 1600200"/>
                <a:gd name="connsiteX338" fmla="*/ 0 w 1390650"/>
                <a:gd name="connsiteY338" fmla="*/ 1372553 h 1600200"/>
                <a:gd name="connsiteX339" fmla="*/ 31433 w 1390650"/>
                <a:gd name="connsiteY339" fmla="*/ 1343025 h 1600200"/>
                <a:gd name="connsiteX340" fmla="*/ 42863 w 1390650"/>
                <a:gd name="connsiteY340" fmla="*/ 1329690 h 1600200"/>
                <a:gd name="connsiteX341" fmla="*/ 48578 w 1390650"/>
                <a:gd name="connsiteY341" fmla="*/ 1320165 h 1600200"/>
                <a:gd name="connsiteX342" fmla="*/ 53340 w 1390650"/>
                <a:gd name="connsiteY342" fmla="*/ 1317308 h 1600200"/>
                <a:gd name="connsiteX343" fmla="*/ 58103 w 1390650"/>
                <a:gd name="connsiteY343" fmla="*/ 1315403 h 1600200"/>
                <a:gd name="connsiteX344" fmla="*/ 62865 w 1390650"/>
                <a:gd name="connsiteY344" fmla="*/ 1314450 h 1600200"/>
                <a:gd name="connsiteX345" fmla="*/ 69533 w 1390650"/>
                <a:gd name="connsiteY345" fmla="*/ 1310640 h 1600200"/>
                <a:gd name="connsiteX346" fmla="*/ 73342 w 1390650"/>
                <a:gd name="connsiteY346" fmla="*/ 1305878 h 1600200"/>
                <a:gd name="connsiteX347" fmla="*/ 74295 w 1390650"/>
                <a:gd name="connsiteY347" fmla="*/ 1302068 h 1600200"/>
                <a:gd name="connsiteX348" fmla="*/ 74295 w 1390650"/>
                <a:gd name="connsiteY348" fmla="*/ 1298258 h 1600200"/>
                <a:gd name="connsiteX349" fmla="*/ 73342 w 1390650"/>
                <a:gd name="connsiteY349" fmla="*/ 1295400 h 1600200"/>
                <a:gd name="connsiteX350" fmla="*/ 72390 w 1390650"/>
                <a:gd name="connsiteY350" fmla="*/ 1292543 h 1600200"/>
                <a:gd name="connsiteX351" fmla="*/ 69533 w 1390650"/>
                <a:gd name="connsiteY351" fmla="*/ 1291590 h 1600200"/>
                <a:gd name="connsiteX352" fmla="*/ 60008 w 1390650"/>
                <a:gd name="connsiteY352" fmla="*/ 1289685 h 1600200"/>
                <a:gd name="connsiteX353" fmla="*/ 57150 w 1390650"/>
                <a:gd name="connsiteY353" fmla="*/ 1288733 h 1600200"/>
                <a:gd name="connsiteX354" fmla="*/ 55245 w 1390650"/>
                <a:gd name="connsiteY354" fmla="*/ 1286828 h 1600200"/>
                <a:gd name="connsiteX355" fmla="*/ 41910 w 1390650"/>
                <a:gd name="connsiteY355" fmla="*/ 1263015 h 1600200"/>
                <a:gd name="connsiteX356" fmla="*/ 37148 w 1390650"/>
                <a:gd name="connsiteY356" fmla="*/ 1256348 h 1600200"/>
                <a:gd name="connsiteX357" fmla="*/ 29528 w 1390650"/>
                <a:gd name="connsiteY357" fmla="*/ 1248728 h 1600200"/>
                <a:gd name="connsiteX358" fmla="*/ 20003 w 1390650"/>
                <a:gd name="connsiteY358" fmla="*/ 1243013 h 1600200"/>
                <a:gd name="connsiteX359" fmla="*/ 18098 w 1390650"/>
                <a:gd name="connsiteY359" fmla="*/ 1240155 h 1600200"/>
                <a:gd name="connsiteX360" fmla="*/ 16192 w 1390650"/>
                <a:gd name="connsiteY360" fmla="*/ 1238250 h 1600200"/>
                <a:gd name="connsiteX361" fmla="*/ 15240 w 1390650"/>
                <a:gd name="connsiteY361" fmla="*/ 1234440 h 1600200"/>
                <a:gd name="connsiteX362" fmla="*/ 16192 w 1390650"/>
                <a:gd name="connsiteY362" fmla="*/ 1231583 h 1600200"/>
                <a:gd name="connsiteX363" fmla="*/ 18098 w 1390650"/>
                <a:gd name="connsiteY363" fmla="*/ 1230630 h 1600200"/>
                <a:gd name="connsiteX364" fmla="*/ 20955 w 1390650"/>
                <a:gd name="connsiteY364" fmla="*/ 1230630 h 1600200"/>
                <a:gd name="connsiteX365" fmla="*/ 31433 w 1390650"/>
                <a:gd name="connsiteY365" fmla="*/ 1231583 h 1600200"/>
                <a:gd name="connsiteX366" fmla="*/ 34290 w 1390650"/>
                <a:gd name="connsiteY366" fmla="*/ 1231583 h 1600200"/>
                <a:gd name="connsiteX367" fmla="*/ 37148 w 1390650"/>
                <a:gd name="connsiteY367" fmla="*/ 1230630 h 1600200"/>
                <a:gd name="connsiteX368" fmla="*/ 39053 w 1390650"/>
                <a:gd name="connsiteY368" fmla="*/ 1229678 h 1600200"/>
                <a:gd name="connsiteX369" fmla="*/ 42863 w 1390650"/>
                <a:gd name="connsiteY369" fmla="*/ 1225868 h 1600200"/>
                <a:gd name="connsiteX370" fmla="*/ 46673 w 1390650"/>
                <a:gd name="connsiteY370" fmla="*/ 1220153 h 1600200"/>
                <a:gd name="connsiteX371" fmla="*/ 55245 w 1390650"/>
                <a:gd name="connsiteY371" fmla="*/ 1203960 h 1600200"/>
                <a:gd name="connsiteX372" fmla="*/ 56198 w 1390650"/>
                <a:gd name="connsiteY372" fmla="*/ 1202055 h 1600200"/>
                <a:gd name="connsiteX373" fmla="*/ 55245 w 1390650"/>
                <a:gd name="connsiteY373" fmla="*/ 1200150 h 1600200"/>
                <a:gd name="connsiteX374" fmla="*/ 49530 w 1390650"/>
                <a:gd name="connsiteY374" fmla="*/ 1194435 h 1600200"/>
                <a:gd name="connsiteX375" fmla="*/ 34290 w 1390650"/>
                <a:gd name="connsiteY375" fmla="*/ 1183005 h 1600200"/>
                <a:gd name="connsiteX376" fmla="*/ 32385 w 1390650"/>
                <a:gd name="connsiteY376" fmla="*/ 1180148 h 1600200"/>
                <a:gd name="connsiteX377" fmla="*/ 29528 w 1390650"/>
                <a:gd name="connsiteY377" fmla="*/ 1176338 h 1600200"/>
                <a:gd name="connsiteX378" fmla="*/ 30480 w 1390650"/>
                <a:gd name="connsiteY378" fmla="*/ 1172528 h 1600200"/>
                <a:gd name="connsiteX379" fmla="*/ 31433 w 1390650"/>
                <a:gd name="connsiteY379" fmla="*/ 1169670 h 1600200"/>
                <a:gd name="connsiteX380" fmla="*/ 37148 w 1390650"/>
                <a:gd name="connsiteY380" fmla="*/ 1162050 h 1600200"/>
                <a:gd name="connsiteX381" fmla="*/ 40005 w 1390650"/>
                <a:gd name="connsiteY381" fmla="*/ 1160145 h 1600200"/>
                <a:gd name="connsiteX382" fmla="*/ 42863 w 1390650"/>
                <a:gd name="connsiteY382" fmla="*/ 1159193 h 1600200"/>
                <a:gd name="connsiteX383" fmla="*/ 44767 w 1390650"/>
                <a:gd name="connsiteY383" fmla="*/ 1159193 h 1600200"/>
                <a:gd name="connsiteX384" fmla="*/ 69533 w 1390650"/>
                <a:gd name="connsiteY384" fmla="*/ 1165860 h 1600200"/>
                <a:gd name="connsiteX385" fmla="*/ 109538 w 1390650"/>
                <a:gd name="connsiteY385" fmla="*/ 1169670 h 1600200"/>
                <a:gd name="connsiteX386" fmla="*/ 114300 w 1390650"/>
                <a:gd name="connsiteY386" fmla="*/ 1168718 h 1600200"/>
                <a:gd name="connsiteX387" fmla="*/ 118110 w 1390650"/>
                <a:gd name="connsiteY387" fmla="*/ 1166813 h 1600200"/>
                <a:gd name="connsiteX388" fmla="*/ 123825 w 1390650"/>
                <a:gd name="connsiteY388" fmla="*/ 1162050 h 1600200"/>
                <a:gd name="connsiteX389" fmla="*/ 126683 w 1390650"/>
                <a:gd name="connsiteY389" fmla="*/ 1158240 h 1600200"/>
                <a:gd name="connsiteX390" fmla="*/ 127635 w 1390650"/>
                <a:gd name="connsiteY390" fmla="*/ 1153478 h 1600200"/>
                <a:gd name="connsiteX391" fmla="*/ 127635 w 1390650"/>
                <a:gd name="connsiteY391" fmla="*/ 1150620 h 1600200"/>
                <a:gd name="connsiteX392" fmla="*/ 127635 w 1390650"/>
                <a:gd name="connsiteY392" fmla="*/ 1143953 h 1600200"/>
                <a:gd name="connsiteX393" fmla="*/ 127635 w 1390650"/>
                <a:gd name="connsiteY393" fmla="*/ 1140143 h 1600200"/>
                <a:gd name="connsiteX394" fmla="*/ 124778 w 1390650"/>
                <a:gd name="connsiteY394" fmla="*/ 1132523 h 1600200"/>
                <a:gd name="connsiteX395" fmla="*/ 118110 w 1390650"/>
                <a:gd name="connsiteY395" fmla="*/ 1120140 h 1600200"/>
                <a:gd name="connsiteX396" fmla="*/ 117158 w 1390650"/>
                <a:gd name="connsiteY396" fmla="*/ 1116330 h 1600200"/>
                <a:gd name="connsiteX397" fmla="*/ 118110 w 1390650"/>
                <a:gd name="connsiteY397" fmla="*/ 1110615 h 1600200"/>
                <a:gd name="connsiteX398" fmla="*/ 120015 w 1390650"/>
                <a:gd name="connsiteY398" fmla="*/ 1108710 h 1600200"/>
                <a:gd name="connsiteX399" fmla="*/ 122873 w 1390650"/>
                <a:gd name="connsiteY399" fmla="*/ 1106805 h 1600200"/>
                <a:gd name="connsiteX400" fmla="*/ 160020 w 1390650"/>
                <a:gd name="connsiteY400" fmla="*/ 1112520 h 1600200"/>
                <a:gd name="connsiteX401" fmla="*/ 163830 w 1390650"/>
                <a:gd name="connsiteY401" fmla="*/ 1111568 h 1600200"/>
                <a:gd name="connsiteX402" fmla="*/ 168592 w 1390650"/>
                <a:gd name="connsiteY402" fmla="*/ 1109663 h 1600200"/>
                <a:gd name="connsiteX403" fmla="*/ 169545 w 1390650"/>
                <a:gd name="connsiteY403" fmla="*/ 1107758 h 1600200"/>
                <a:gd name="connsiteX404" fmla="*/ 168592 w 1390650"/>
                <a:gd name="connsiteY404" fmla="*/ 1104900 h 1600200"/>
                <a:gd name="connsiteX405" fmla="*/ 166688 w 1390650"/>
                <a:gd name="connsiteY405" fmla="*/ 1102995 h 1600200"/>
                <a:gd name="connsiteX406" fmla="*/ 155258 w 1390650"/>
                <a:gd name="connsiteY406" fmla="*/ 1095375 h 1600200"/>
                <a:gd name="connsiteX407" fmla="*/ 153353 w 1390650"/>
                <a:gd name="connsiteY407" fmla="*/ 1093470 h 1600200"/>
                <a:gd name="connsiteX408" fmla="*/ 152400 w 1390650"/>
                <a:gd name="connsiteY408" fmla="*/ 1089660 h 1600200"/>
                <a:gd name="connsiteX409" fmla="*/ 153353 w 1390650"/>
                <a:gd name="connsiteY409" fmla="*/ 1083945 h 1600200"/>
                <a:gd name="connsiteX410" fmla="*/ 157163 w 1390650"/>
                <a:gd name="connsiteY410" fmla="*/ 1078230 h 1600200"/>
                <a:gd name="connsiteX411" fmla="*/ 159067 w 1390650"/>
                <a:gd name="connsiteY411" fmla="*/ 1074420 h 1600200"/>
                <a:gd name="connsiteX412" fmla="*/ 159067 w 1390650"/>
                <a:gd name="connsiteY412" fmla="*/ 1070610 h 1600200"/>
                <a:gd name="connsiteX413" fmla="*/ 156210 w 1390650"/>
                <a:gd name="connsiteY413" fmla="*/ 1062038 h 1600200"/>
                <a:gd name="connsiteX414" fmla="*/ 156210 w 1390650"/>
                <a:gd name="connsiteY414" fmla="*/ 1059180 h 1600200"/>
                <a:gd name="connsiteX415" fmla="*/ 156210 w 1390650"/>
                <a:gd name="connsiteY415" fmla="*/ 1055370 h 1600200"/>
                <a:gd name="connsiteX416" fmla="*/ 159067 w 1390650"/>
                <a:gd name="connsiteY416" fmla="*/ 1054418 h 1600200"/>
                <a:gd name="connsiteX417" fmla="*/ 160020 w 1390650"/>
                <a:gd name="connsiteY417" fmla="*/ 1055370 h 1600200"/>
                <a:gd name="connsiteX418" fmla="*/ 168592 w 1390650"/>
                <a:gd name="connsiteY418" fmla="*/ 1062990 h 1600200"/>
                <a:gd name="connsiteX419" fmla="*/ 175260 w 1390650"/>
                <a:gd name="connsiteY419" fmla="*/ 1066800 h 1600200"/>
                <a:gd name="connsiteX420" fmla="*/ 185738 w 1390650"/>
                <a:gd name="connsiteY420" fmla="*/ 1071563 h 1600200"/>
                <a:gd name="connsiteX421" fmla="*/ 199073 w 1390650"/>
                <a:gd name="connsiteY421" fmla="*/ 1074420 h 1600200"/>
                <a:gd name="connsiteX422" fmla="*/ 203835 w 1390650"/>
                <a:gd name="connsiteY422" fmla="*/ 1074420 h 1600200"/>
                <a:gd name="connsiteX423" fmla="*/ 208598 w 1390650"/>
                <a:gd name="connsiteY423" fmla="*/ 1072515 h 1600200"/>
                <a:gd name="connsiteX424" fmla="*/ 224790 w 1390650"/>
                <a:gd name="connsiteY424" fmla="*/ 1062990 h 1600200"/>
                <a:gd name="connsiteX425" fmla="*/ 242888 w 1390650"/>
                <a:gd name="connsiteY425" fmla="*/ 1056323 h 1600200"/>
                <a:gd name="connsiteX426" fmla="*/ 262890 w 1390650"/>
                <a:gd name="connsiteY426" fmla="*/ 1044893 h 1600200"/>
                <a:gd name="connsiteX427" fmla="*/ 274320 w 1390650"/>
                <a:gd name="connsiteY427" fmla="*/ 1036320 h 1600200"/>
                <a:gd name="connsiteX428" fmla="*/ 284798 w 1390650"/>
                <a:gd name="connsiteY428" fmla="*/ 1030605 h 1600200"/>
                <a:gd name="connsiteX429" fmla="*/ 312420 w 1390650"/>
                <a:gd name="connsiteY429" fmla="*/ 1030605 h 1600200"/>
                <a:gd name="connsiteX430" fmla="*/ 319088 w 1390650"/>
                <a:gd name="connsiteY430" fmla="*/ 1032510 h 1600200"/>
                <a:gd name="connsiteX431" fmla="*/ 321945 w 1390650"/>
                <a:gd name="connsiteY431" fmla="*/ 1033463 h 1600200"/>
                <a:gd name="connsiteX432" fmla="*/ 329565 w 1390650"/>
                <a:gd name="connsiteY432" fmla="*/ 1041083 h 1600200"/>
                <a:gd name="connsiteX433" fmla="*/ 340042 w 1390650"/>
                <a:gd name="connsiteY433" fmla="*/ 1053465 h 1600200"/>
                <a:gd name="connsiteX434" fmla="*/ 341948 w 1390650"/>
                <a:gd name="connsiteY434" fmla="*/ 1056323 h 1600200"/>
                <a:gd name="connsiteX435" fmla="*/ 341948 w 1390650"/>
                <a:gd name="connsiteY435" fmla="*/ 1059180 h 1600200"/>
                <a:gd name="connsiteX436" fmla="*/ 340995 w 1390650"/>
                <a:gd name="connsiteY436" fmla="*/ 1063943 h 1600200"/>
                <a:gd name="connsiteX437" fmla="*/ 342900 w 1390650"/>
                <a:gd name="connsiteY437" fmla="*/ 1065848 h 1600200"/>
                <a:gd name="connsiteX438" fmla="*/ 344805 w 1390650"/>
                <a:gd name="connsiteY438" fmla="*/ 1067753 h 1600200"/>
                <a:gd name="connsiteX439" fmla="*/ 365760 w 1390650"/>
                <a:gd name="connsiteY439" fmla="*/ 1070610 h 1600200"/>
                <a:gd name="connsiteX440" fmla="*/ 371475 w 1390650"/>
                <a:gd name="connsiteY440" fmla="*/ 1073468 h 1600200"/>
                <a:gd name="connsiteX441" fmla="*/ 375285 w 1390650"/>
                <a:gd name="connsiteY441" fmla="*/ 1077278 h 1600200"/>
                <a:gd name="connsiteX442" fmla="*/ 386715 w 1390650"/>
                <a:gd name="connsiteY442" fmla="*/ 1088708 h 1600200"/>
                <a:gd name="connsiteX443" fmla="*/ 390525 w 1390650"/>
                <a:gd name="connsiteY443" fmla="*/ 1092518 h 1600200"/>
                <a:gd name="connsiteX444" fmla="*/ 394335 w 1390650"/>
                <a:gd name="connsiteY444" fmla="*/ 1093470 h 1600200"/>
                <a:gd name="connsiteX445" fmla="*/ 398145 w 1390650"/>
                <a:gd name="connsiteY445" fmla="*/ 1094423 h 1600200"/>
                <a:gd name="connsiteX446" fmla="*/ 402908 w 1390650"/>
                <a:gd name="connsiteY446" fmla="*/ 1093470 h 1600200"/>
                <a:gd name="connsiteX447" fmla="*/ 405765 w 1390650"/>
                <a:gd name="connsiteY447" fmla="*/ 1092518 h 1600200"/>
                <a:gd name="connsiteX448" fmla="*/ 407670 w 1390650"/>
                <a:gd name="connsiteY448" fmla="*/ 1089660 h 1600200"/>
                <a:gd name="connsiteX449" fmla="*/ 412433 w 1390650"/>
                <a:gd name="connsiteY449" fmla="*/ 1062038 h 1600200"/>
                <a:gd name="connsiteX450" fmla="*/ 414338 w 1390650"/>
                <a:gd name="connsiteY450" fmla="*/ 1059180 h 1600200"/>
                <a:gd name="connsiteX451" fmla="*/ 417195 w 1390650"/>
                <a:gd name="connsiteY451" fmla="*/ 1052513 h 1600200"/>
                <a:gd name="connsiteX452" fmla="*/ 421005 w 1390650"/>
                <a:gd name="connsiteY452" fmla="*/ 1048703 h 1600200"/>
                <a:gd name="connsiteX453" fmla="*/ 424815 w 1390650"/>
                <a:gd name="connsiteY453" fmla="*/ 1042035 h 1600200"/>
                <a:gd name="connsiteX454" fmla="*/ 425767 w 1390650"/>
                <a:gd name="connsiteY454" fmla="*/ 1036320 h 1600200"/>
                <a:gd name="connsiteX455" fmla="*/ 425767 w 1390650"/>
                <a:gd name="connsiteY455" fmla="*/ 1029652 h 1600200"/>
                <a:gd name="connsiteX456" fmla="*/ 425767 w 1390650"/>
                <a:gd name="connsiteY456" fmla="*/ 1022985 h 1600200"/>
                <a:gd name="connsiteX457" fmla="*/ 422910 w 1390650"/>
                <a:gd name="connsiteY457" fmla="*/ 1006793 h 1600200"/>
                <a:gd name="connsiteX458" fmla="*/ 424815 w 1390650"/>
                <a:gd name="connsiteY458" fmla="*/ 968693 h 1600200"/>
                <a:gd name="connsiteX459" fmla="*/ 425767 w 1390650"/>
                <a:gd name="connsiteY459" fmla="*/ 965835 h 1600200"/>
                <a:gd name="connsiteX460" fmla="*/ 428625 w 1390650"/>
                <a:gd name="connsiteY460" fmla="*/ 959168 h 1600200"/>
                <a:gd name="connsiteX461" fmla="*/ 431483 w 1390650"/>
                <a:gd name="connsiteY461" fmla="*/ 956310 h 1600200"/>
                <a:gd name="connsiteX462" fmla="*/ 434340 w 1390650"/>
                <a:gd name="connsiteY462" fmla="*/ 954405 h 1600200"/>
                <a:gd name="connsiteX463" fmla="*/ 436245 w 1390650"/>
                <a:gd name="connsiteY463" fmla="*/ 953452 h 1600200"/>
                <a:gd name="connsiteX464" fmla="*/ 460058 w 1390650"/>
                <a:gd name="connsiteY464" fmla="*/ 934402 h 1600200"/>
                <a:gd name="connsiteX465" fmla="*/ 463867 w 1390650"/>
                <a:gd name="connsiteY465" fmla="*/ 931545 h 1600200"/>
                <a:gd name="connsiteX466" fmla="*/ 466725 w 1390650"/>
                <a:gd name="connsiteY466" fmla="*/ 930593 h 1600200"/>
                <a:gd name="connsiteX467" fmla="*/ 473392 w 1390650"/>
                <a:gd name="connsiteY467" fmla="*/ 930593 h 1600200"/>
                <a:gd name="connsiteX468" fmla="*/ 482917 w 1390650"/>
                <a:gd name="connsiteY468" fmla="*/ 933450 h 1600200"/>
                <a:gd name="connsiteX469" fmla="*/ 487680 w 1390650"/>
                <a:gd name="connsiteY469" fmla="*/ 932498 h 1600200"/>
                <a:gd name="connsiteX470" fmla="*/ 490538 w 1390650"/>
                <a:gd name="connsiteY470" fmla="*/ 931545 h 1600200"/>
                <a:gd name="connsiteX471" fmla="*/ 492442 w 1390650"/>
                <a:gd name="connsiteY471" fmla="*/ 929640 h 1600200"/>
                <a:gd name="connsiteX472" fmla="*/ 496253 w 1390650"/>
                <a:gd name="connsiteY472" fmla="*/ 923925 h 1600200"/>
                <a:gd name="connsiteX473" fmla="*/ 496253 w 1390650"/>
                <a:gd name="connsiteY473" fmla="*/ 922020 h 1600200"/>
                <a:gd name="connsiteX474" fmla="*/ 494348 w 1390650"/>
                <a:gd name="connsiteY474" fmla="*/ 918210 h 1600200"/>
                <a:gd name="connsiteX475" fmla="*/ 491490 w 1390650"/>
                <a:gd name="connsiteY475" fmla="*/ 916305 h 1600200"/>
                <a:gd name="connsiteX476" fmla="*/ 479108 w 1390650"/>
                <a:gd name="connsiteY476" fmla="*/ 909638 h 1600200"/>
                <a:gd name="connsiteX477" fmla="*/ 477203 w 1390650"/>
                <a:gd name="connsiteY477" fmla="*/ 908685 h 1600200"/>
                <a:gd name="connsiteX478" fmla="*/ 476250 w 1390650"/>
                <a:gd name="connsiteY478" fmla="*/ 904875 h 1600200"/>
                <a:gd name="connsiteX479" fmla="*/ 478155 w 1390650"/>
                <a:gd name="connsiteY479" fmla="*/ 899160 h 1600200"/>
                <a:gd name="connsiteX480" fmla="*/ 484823 w 1390650"/>
                <a:gd name="connsiteY480" fmla="*/ 888683 h 1600200"/>
                <a:gd name="connsiteX481" fmla="*/ 498158 w 1390650"/>
                <a:gd name="connsiteY481" fmla="*/ 876300 h 1600200"/>
                <a:gd name="connsiteX482" fmla="*/ 500063 w 1390650"/>
                <a:gd name="connsiteY482" fmla="*/ 873443 h 1600200"/>
                <a:gd name="connsiteX483" fmla="*/ 501967 w 1390650"/>
                <a:gd name="connsiteY483" fmla="*/ 866775 h 1600200"/>
                <a:gd name="connsiteX484" fmla="*/ 501967 w 1390650"/>
                <a:gd name="connsiteY484" fmla="*/ 860108 h 1600200"/>
                <a:gd name="connsiteX485" fmla="*/ 501015 w 1390650"/>
                <a:gd name="connsiteY485" fmla="*/ 857250 h 1600200"/>
                <a:gd name="connsiteX486" fmla="*/ 500063 w 1390650"/>
                <a:gd name="connsiteY486" fmla="*/ 855345 h 1600200"/>
                <a:gd name="connsiteX487" fmla="*/ 497205 w 1390650"/>
                <a:gd name="connsiteY487" fmla="*/ 852488 h 1600200"/>
                <a:gd name="connsiteX488" fmla="*/ 495300 w 1390650"/>
                <a:gd name="connsiteY488" fmla="*/ 849630 h 1600200"/>
                <a:gd name="connsiteX489" fmla="*/ 493395 w 1390650"/>
                <a:gd name="connsiteY489" fmla="*/ 846773 h 1600200"/>
                <a:gd name="connsiteX490" fmla="*/ 484823 w 1390650"/>
                <a:gd name="connsiteY490" fmla="*/ 840105 h 1600200"/>
                <a:gd name="connsiteX491" fmla="*/ 482917 w 1390650"/>
                <a:gd name="connsiteY491" fmla="*/ 838200 h 1600200"/>
                <a:gd name="connsiteX492" fmla="*/ 481013 w 1390650"/>
                <a:gd name="connsiteY492" fmla="*/ 835343 h 1600200"/>
                <a:gd name="connsiteX493" fmla="*/ 481013 w 1390650"/>
                <a:gd name="connsiteY493" fmla="*/ 831533 h 1600200"/>
                <a:gd name="connsiteX494" fmla="*/ 482917 w 1390650"/>
                <a:gd name="connsiteY494" fmla="*/ 825818 h 1600200"/>
                <a:gd name="connsiteX495" fmla="*/ 485775 w 1390650"/>
                <a:gd name="connsiteY495" fmla="*/ 822960 h 1600200"/>
                <a:gd name="connsiteX496" fmla="*/ 488633 w 1390650"/>
                <a:gd name="connsiteY496" fmla="*/ 820103 h 1600200"/>
                <a:gd name="connsiteX497" fmla="*/ 525780 w 1390650"/>
                <a:gd name="connsiteY497" fmla="*/ 815340 h 1600200"/>
                <a:gd name="connsiteX498" fmla="*/ 530543 w 1390650"/>
                <a:gd name="connsiteY498" fmla="*/ 813435 h 1600200"/>
                <a:gd name="connsiteX499" fmla="*/ 534353 w 1390650"/>
                <a:gd name="connsiteY499" fmla="*/ 811530 h 1600200"/>
                <a:gd name="connsiteX500" fmla="*/ 541973 w 1390650"/>
                <a:gd name="connsiteY500" fmla="*/ 805815 h 1600200"/>
                <a:gd name="connsiteX501" fmla="*/ 543878 w 1390650"/>
                <a:gd name="connsiteY501" fmla="*/ 802005 h 1600200"/>
                <a:gd name="connsiteX502" fmla="*/ 544830 w 1390650"/>
                <a:gd name="connsiteY502" fmla="*/ 798195 h 1600200"/>
                <a:gd name="connsiteX503" fmla="*/ 543878 w 1390650"/>
                <a:gd name="connsiteY503" fmla="*/ 792480 h 1600200"/>
                <a:gd name="connsiteX504" fmla="*/ 542925 w 1390650"/>
                <a:gd name="connsiteY504" fmla="*/ 782003 h 1600200"/>
                <a:gd name="connsiteX505" fmla="*/ 541020 w 1390650"/>
                <a:gd name="connsiteY505" fmla="*/ 776288 h 1600200"/>
                <a:gd name="connsiteX506" fmla="*/ 536258 w 1390650"/>
                <a:gd name="connsiteY506" fmla="*/ 769620 h 1600200"/>
                <a:gd name="connsiteX507" fmla="*/ 536258 w 1390650"/>
                <a:gd name="connsiteY507" fmla="*/ 766763 h 1600200"/>
                <a:gd name="connsiteX508" fmla="*/ 535305 w 1390650"/>
                <a:gd name="connsiteY508" fmla="*/ 760095 h 1600200"/>
                <a:gd name="connsiteX509" fmla="*/ 533400 w 1390650"/>
                <a:gd name="connsiteY509" fmla="*/ 755333 h 1600200"/>
                <a:gd name="connsiteX510" fmla="*/ 524828 w 1390650"/>
                <a:gd name="connsiteY510" fmla="*/ 740093 h 1600200"/>
                <a:gd name="connsiteX511" fmla="*/ 516255 w 1390650"/>
                <a:gd name="connsiteY511" fmla="*/ 730568 h 1600200"/>
                <a:gd name="connsiteX512" fmla="*/ 511492 w 1390650"/>
                <a:gd name="connsiteY512" fmla="*/ 726758 h 1600200"/>
                <a:gd name="connsiteX513" fmla="*/ 506730 w 1390650"/>
                <a:gd name="connsiteY513" fmla="*/ 723900 h 1600200"/>
                <a:gd name="connsiteX514" fmla="*/ 501015 w 1390650"/>
                <a:gd name="connsiteY514" fmla="*/ 724853 h 1600200"/>
                <a:gd name="connsiteX515" fmla="*/ 495300 w 1390650"/>
                <a:gd name="connsiteY515" fmla="*/ 725805 h 1600200"/>
                <a:gd name="connsiteX516" fmla="*/ 494348 w 1390650"/>
                <a:gd name="connsiteY516" fmla="*/ 726758 h 1600200"/>
                <a:gd name="connsiteX517" fmla="*/ 488633 w 1390650"/>
                <a:gd name="connsiteY517" fmla="*/ 731520 h 1600200"/>
                <a:gd name="connsiteX518" fmla="*/ 486728 w 1390650"/>
                <a:gd name="connsiteY518" fmla="*/ 732473 h 1600200"/>
                <a:gd name="connsiteX519" fmla="*/ 483870 w 1390650"/>
                <a:gd name="connsiteY519" fmla="*/ 732473 h 1600200"/>
                <a:gd name="connsiteX520" fmla="*/ 470535 w 1390650"/>
                <a:gd name="connsiteY520" fmla="*/ 726758 h 1600200"/>
                <a:gd name="connsiteX521" fmla="*/ 467678 w 1390650"/>
                <a:gd name="connsiteY521" fmla="*/ 724853 h 1600200"/>
                <a:gd name="connsiteX522" fmla="*/ 465773 w 1390650"/>
                <a:gd name="connsiteY522" fmla="*/ 722948 h 1600200"/>
                <a:gd name="connsiteX523" fmla="*/ 465773 w 1390650"/>
                <a:gd name="connsiteY523" fmla="*/ 718185 h 1600200"/>
                <a:gd name="connsiteX524" fmla="*/ 468630 w 1390650"/>
                <a:gd name="connsiteY524" fmla="*/ 695325 h 1600200"/>
                <a:gd name="connsiteX525" fmla="*/ 469583 w 1390650"/>
                <a:gd name="connsiteY525" fmla="*/ 690563 h 1600200"/>
                <a:gd name="connsiteX526" fmla="*/ 471488 w 1390650"/>
                <a:gd name="connsiteY526" fmla="*/ 688658 h 1600200"/>
                <a:gd name="connsiteX527" fmla="*/ 508635 w 1390650"/>
                <a:gd name="connsiteY527" fmla="*/ 681038 h 1600200"/>
                <a:gd name="connsiteX528" fmla="*/ 513398 w 1390650"/>
                <a:gd name="connsiteY528" fmla="*/ 677228 h 1600200"/>
                <a:gd name="connsiteX529" fmla="*/ 519113 w 1390650"/>
                <a:gd name="connsiteY529" fmla="*/ 671513 h 1600200"/>
                <a:gd name="connsiteX530" fmla="*/ 523875 w 1390650"/>
                <a:gd name="connsiteY530" fmla="*/ 662940 h 1600200"/>
                <a:gd name="connsiteX531" fmla="*/ 526733 w 1390650"/>
                <a:gd name="connsiteY531" fmla="*/ 657225 h 1600200"/>
                <a:gd name="connsiteX532" fmla="*/ 526733 w 1390650"/>
                <a:gd name="connsiteY532" fmla="*/ 652463 h 1600200"/>
                <a:gd name="connsiteX533" fmla="*/ 527685 w 1390650"/>
                <a:gd name="connsiteY533" fmla="*/ 642938 h 1600200"/>
                <a:gd name="connsiteX534" fmla="*/ 527685 w 1390650"/>
                <a:gd name="connsiteY534" fmla="*/ 639128 h 1600200"/>
                <a:gd name="connsiteX535" fmla="*/ 525780 w 1390650"/>
                <a:gd name="connsiteY535" fmla="*/ 633413 h 1600200"/>
                <a:gd name="connsiteX536" fmla="*/ 523875 w 1390650"/>
                <a:gd name="connsiteY536" fmla="*/ 631508 h 1600200"/>
                <a:gd name="connsiteX537" fmla="*/ 497205 w 1390650"/>
                <a:gd name="connsiteY537" fmla="*/ 604838 h 1600200"/>
                <a:gd name="connsiteX538" fmla="*/ 457200 w 1390650"/>
                <a:gd name="connsiteY538" fmla="*/ 584835 h 1600200"/>
                <a:gd name="connsiteX539" fmla="*/ 453390 w 1390650"/>
                <a:gd name="connsiteY539" fmla="*/ 580073 h 1600200"/>
                <a:gd name="connsiteX540" fmla="*/ 450533 w 1390650"/>
                <a:gd name="connsiteY540" fmla="*/ 575310 h 1600200"/>
                <a:gd name="connsiteX541" fmla="*/ 440055 w 1390650"/>
                <a:gd name="connsiteY541" fmla="*/ 562928 h 1600200"/>
                <a:gd name="connsiteX542" fmla="*/ 424815 w 1390650"/>
                <a:gd name="connsiteY542" fmla="*/ 550545 h 1600200"/>
                <a:gd name="connsiteX543" fmla="*/ 421005 w 1390650"/>
                <a:gd name="connsiteY543" fmla="*/ 546735 h 1600200"/>
                <a:gd name="connsiteX544" fmla="*/ 420053 w 1390650"/>
                <a:gd name="connsiteY544" fmla="*/ 543878 h 1600200"/>
                <a:gd name="connsiteX545" fmla="*/ 420053 w 1390650"/>
                <a:gd name="connsiteY545" fmla="*/ 541020 h 1600200"/>
                <a:gd name="connsiteX546" fmla="*/ 419100 w 1390650"/>
                <a:gd name="connsiteY546" fmla="*/ 534353 h 1600200"/>
                <a:gd name="connsiteX547" fmla="*/ 417195 w 1390650"/>
                <a:gd name="connsiteY547" fmla="*/ 529590 h 1600200"/>
                <a:gd name="connsiteX548" fmla="*/ 414338 w 1390650"/>
                <a:gd name="connsiteY548" fmla="*/ 526733 h 1600200"/>
                <a:gd name="connsiteX549" fmla="*/ 404813 w 1390650"/>
                <a:gd name="connsiteY549" fmla="*/ 521970 h 1600200"/>
                <a:gd name="connsiteX550" fmla="*/ 399098 w 1390650"/>
                <a:gd name="connsiteY550" fmla="*/ 519113 h 1600200"/>
                <a:gd name="connsiteX551" fmla="*/ 396240 w 1390650"/>
                <a:gd name="connsiteY551" fmla="*/ 514350 h 1600200"/>
                <a:gd name="connsiteX552" fmla="*/ 393383 w 1390650"/>
                <a:gd name="connsiteY552" fmla="*/ 509588 h 1600200"/>
                <a:gd name="connsiteX553" fmla="*/ 392430 w 1390650"/>
                <a:gd name="connsiteY553" fmla="*/ 506730 h 1600200"/>
                <a:gd name="connsiteX554" fmla="*/ 393383 w 1390650"/>
                <a:gd name="connsiteY554" fmla="*/ 500063 h 1600200"/>
                <a:gd name="connsiteX555" fmla="*/ 395288 w 1390650"/>
                <a:gd name="connsiteY555" fmla="*/ 491490 h 1600200"/>
                <a:gd name="connsiteX556" fmla="*/ 400050 w 1390650"/>
                <a:gd name="connsiteY556" fmla="*/ 472440 h 1600200"/>
                <a:gd name="connsiteX557" fmla="*/ 400050 w 1390650"/>
                <a:gd name="connsiteY557" fmla="*/ 464820 h 1600200"/>
                <a:gd name="connsiteX558" fmla="*/ 399098 w 1390650"/>
                <a:gd name="connsiteY558" fmla="*/ 462915 h 1600200"/>
                <a:gd name="connsiteX559" fmla="*/ 397192 w 1390650"/>
                <a:gd name="connsiteY559" fmla="*/ 463868 h 1600200"/>
                <a:gd name="connsiteX560" fmla="*/ 389573 w 1390650"/>
                <a:gd name="connsiteY560" fmla="*/ 471488 h 1600200"/>
                <a:gd name="connsiteX561" fmla="*/ 384810 w 1390650"/>
                <a:gd name="connsiteY561" fmla="*/ 473393 h 1600200"/>
                <a:gd name="connsiteX562" fmla="*/ 381000 w 1390650"/>
                <a:gd name="connsiteY562" fmla="*/ 474345 h 1600200"/>
                <a:gd name="connsiteX563" fmla="*/ 374333 w 1390650"/>
                <a:gd name="connsiteY563" fmla="*/ 474345 h 1600200"/>
                <a:gd name="connsiteX564" fmla="*/ 371475 w 1390650"/>
                <a:gd name="connsiteY564" fmla="*/ 473393 h 1600200"/>
                <a:gd name="connsiteX565" fmla="*/ 365760 w 1390650"/>
                <a:gd name="connsiteY565" fmla="*/ 470535 h 1600200"/>
                <a:gd name="connsiteX566" fmla="*/ 362903 w 1390650"/>
                <a:gd name="connsiteY566" fmla="*/ 465772 h 1600200"/>
                <a:gd name="connsiteX567" fmla="*/ 360998 w 1390650"/>
                <a:gd name="connsiteY567" fmla="*/ 461010 h 1600200"/>
                <a:gd name="connsiteX568" fmla="*/ 359092 w 1390650"/>
                <a:gd name="connsiteY568" fmla="*/ 459105 h 1600200"/>
                <a:gd name="connsiteX569" fmla="*/ 356235 w 1390650"/>
                <a:gd name="connsiteY569" fmla="*/ 459105 h 1600200"/>
                <a:gd name="connsiteX570" fmla="*/ 354330 w 1390650"/>
                <a:gd name="connsiteY570" fmla="*/ 460058 h 1600200"/>
                <a:gd name="connsiteX571" fmla="*/ 352425 w 1390650"/>
                <a:gd name="connsiteY571" fmla="*/ 461963 h 1600200"/>
                <a:gd name="connsiteX572" fmla="*/ 350520 w 1390650"/>
                <a:gd name="connsiteY572" fmla="*/ 464820 h 1600200"/>
                <a:gd name="connsiteX573" fmla="*/ 346710 w 1390650"/>
                <a:gd name="connsiteY573" fmla="*/ 471488 h 1600200"/>
                <a:gd name="connsiteX574" fmla="*/ 344805 w 1390650"/>
                <a:gd name="connsiteY574" fmla="*/ 474345 h 1600200"/>
                <a:gd name="connsiteX575" fmla="*/ 340995 w 1390650"/>
                <a:gd name="connsiteY575" fmla="*/ 478155 h 1600200"/>
                <a:gd name="connsiteX576" fmla="*/ 339090 w 1390650"/>
                <a:gd name="connsiteY576" fmla="*/ 480060 h 1600200"/>
                <a:gd name="connsiteX577" fmla="*/ 336233 w 1390650"/>
                <a:gd name="connsiteY577" fmla="*/ 481013 h 1600200"/>
                <a:gd name="connsiteX578" fmla="*/ 333375 w 1390650"/>
                <a:gd name="connsiteY578" fmla="*/ 481013 h 1600200"/>
                <a:gd name="connsiteX579" fmla="*/ 330517 w 1390650"/>
                <a:gd name="connsiteY579" fmla="*/ 481013 h 1600200"/>
                <a:gd name="connsiteX580" fmla="*/ 319088 w 1390650"/>
                <a:gd name="connsiteY580" fmla="*/ 476250 h 1600200"/>
                <a:gd name="connsiteX581" fmla="*/ 312420 w 1390650"/>
                <a:gd name="connsiteY581" fmla="*/ 475297 h 1600200"/>
                <a:gd name="connsiteX582" fmla="*/ 305753 w 1390650"/>
                <a:gd name="connsiteY582" fmla="*/ 476250 h 1600200"/>
                <a:gd name="connsiteX583" fmla="*/ 300038 w 1390650"/>
                <a:gd name="connsiteY583" fmla="*/ 477203 h 1600200"/>
                <a:gd name="connsiteX584" fmla="*/ 294323 w 1390650"/>
                <a:gd name="connsiteY584" fmla="*/ 479108 h 1600200"/>
                <a:gd name="connsiteX585" fmla="*/ 287655 w 1390650"/>
                <a:gd name="connsiteY585" fmla="*/ 483870 h 1600200"/>
                <a:gd name="connsiteX586" fmla="*/ 285750 w 1390650"/>
                <a:gd name="connsiteY586" fmla="*/ 485775 h 1600200"/>
                <a:gd name="connsiteX587" fmla="*/ 282892 w 1390650"/>
                <a:gd name="connsiteY587" fmla="*/ 491490 h 1600200"/>
                <a:gd name="connsiteX588" fmla="*/ 280035 w 1390650"/>
                <a:gd name="connsiteY588" fmla="*/ 500063 h 1600200"/>
                <a:gd name="connsiteX589" fmla="*/ 278130 w 1390650"/>
                <a:gd name="connsiteY589" fmla="*/ 502920 h 1600200"/>
                <a:gd name="connsiteX590" fmla="*/ 276225 w 1390650"/>
                <a:gd name="connsiteY590" fmla="*/ 504825 h 1600200"/>
                <a:gd name="connsiteX591" fmla="*/ 274320 w 1390650"/>
                <a:gd name="connsiteY591" fmla="*/ 505778 h 1600200"/>
                <a:gd name="connsiteX592" fmla="*/ 269558 w 1390650"/>
                <a:gd name="connsiteY592" fmla="*/ 504825 h 1600200"/>
                <a:gd name="connsiteX593" fmla="*/ 267653 w 1390650"/>
                <a:gd name="connsiteY593" fmla="*/ 503872 h 1600200"/>
                <a:gd name="connsiteX594" fmla="*/ 263842 w 1390650"/>
                <a:gd name="connsiteY594" fmla="*/ 499110 h 1600200"/>
                <a:gd name="connsiteX595" fmla="*/ 260985 w 1390650"/>
                <a:gd name="connsiteY595" fmla="*/ 494347 h 1600200"/>
                <a:gd name="connsiteX596" fmla="*/ 260033 w 1390650"/>
                <a:gd name="connsiteY596" fmla="*/ 491490 h 1600200"/>
                <a:gd name="connsiteX597" fmla="*/ 259080 w 1390650"/>
                <a:gd name="connsiteY597" fmla="*/ 484822 h 1600200"/>
                <a:gd name="connsiteX598" fmla="*/ 262890 w 1390650"/>
                <a:gd name="connsiteY598" fmla="*/ 453390 h 1600200"/>
                <a:gd name="connsiteX599" fmla="*/ 262890 w 1390650"/>
                <a:gd name="connsiteY599" fmla="*/ 450533 h 1600200"/>
                <a:gd name="connsiteX600" fmla="*/ 261938 w 1390650"/>
                <a:gd name="connsiteY600" fmla="*/ 440055 h 1600200"/>
                <a:gd name="connsiteX601" fmla="*/ 261938 w 1390650"/>
                <a:gd name="connsiteY601" fmla="*/ 433388 h 1600200"/>
                <a:gd name="connsiteX602" fmla="*/ 262890 w 1390650"/>
                <a:gd name="connsiteY602" fmla="*/ 421958 h 1600200"/>
                <a:gd name="connsiteX603" fmla="*/ 264795 w 1390650"/>
                <a:gd name="connsiteY603" fmla="*/ 407670 h 1600200"/>
                <a:gd name="connsiteX604" fmla="*/ 265748 w 1390650"/>
                <a:gd name="connsiteY604" fmla="*/ 400050 h 1600200"/>
                <a:gd name="connsiteX605" fmla="*/ 265748 w 1390650"/>
                <a:gd name="connsiteY605" fmla="*/ 397193 h 1600200"/>
                <a:gd name="connsiteX606" fmla="*/ 264795 w 1390650"/>
                <a:gd name="connsiteY606" fmla="*/ 390525 h 1600200"/>
                <a:gd name="connsiteX607" fmla="*/ 259080 w 1390650"/>
                <a:gd name="connsiteY607" fmla="*/ 367665 h 1600200"/>
                <a:gd name="connsiteX608" fmla="*/ 257175 w 1390650"/>
                <a:gd name="connsiteY608" fmla="*/ 360045 h 1600200"/>
                <a:gd name="connsiteX609" fmla="*/ 257175 w 1390650"/>
                <a:gd name="connsiteY609" fmla="*/ 356235 h 1600200"/>
                <a:gd name="connsiteX610" fmla="*/ 258128 w 1390650"/>
                <a:gd name="connsiteY610" fmla="*/ 342900 h 1600200"/>
                <a:gd name="connsiteX611" fmla="*/ 259080 w 1390650"/>
                <a:gd name="connsiteY611" fmla="*/ 338138 h 1600200"/>
                <a:gd name="connsiteX612" fmla="*/ 260033 w 1390650"/>
                <a:gd name="connsiteY612" fmla="*/ 334328 h 1600200"/>
                <a:gd name="connsiteX613" fmla="*/ 262890 w 1390650"/>
                <a:gd name="connsiteY613" fmla="*/ 329565 h 1600200"/>
                <a:gd name="connsiteX614" fmla="*/ 266700 w 1390650"/>
                <a:gd name="connsiteY614" fmla="*/ 325755 h 1600200"/>
                <a:gd name="connsiteX615" fmla="*/ 276225 w 1390650"/>
                <a:gd name="connsiteY615" fmla="*/ 317183 h 1600200"/>
                <a:gd name="connsiteX616" fmla="*/ 279083 w 1390650"/>
                <a:gd name="connsiteY616" fmla="*/ 313372 h 1600200"/>
                <a:gd name="connsiteX617" fmla="*/ 283845 w 1390650"/>
                <a:gd name="connsiteY617" fmla="*/ 304800 h 1600200"/>
                <a:gd name="connsiteX618" fmla="*/ 284798 w 1390650"/>
                <a:gd name="connsiteY618" fmla="*/ 299085 h 1600200"/>
                <a:gd name="connsiteX619" fmla="*/ 284798 w 1390650"/>
                <a:gd name="connsiteY619" fmla="*/ 295275 h 1600200"/>
                <a:gd name="connsiteX620" fmla="*/ 281940 w 1390650"/>
                <a:gd name="connsiteY620" fmla="*/ 289560 h 1600200"/>
                <a:gd name="connsiteX621" fmla="*/ 278130 w 1390650"/>
                <a:gd name="connsiteY621" fmla="*/ 286703 h 1600200"/>
                <a:gd name="connsiteX622" fmla="*/ 268605 w 1390650"/>
                <a:gd name="connsiteY622" fmla="*/ 283845 h 1600200"/>
                <a:gd name="connsiteX623" fmla="*/ 265748 w 1390650"/>
                <a:gd name="connsiteY623" fmla="*/ 281940 h 1600200"/>
                <a:gd name="connsiteX624" fmla="*/ 264795 w 1390650"/>
                <a:gd name="connsiteY624" fmla="*/ 280035 h 1600200"/>
                <a:gd name="connsiteX625" fmla="*/ 262890 w 1390650"/>
                <a:gd name="connsiteY625" fmla="*/ 270510 h 1600200"/>
                <a:gd name="connsiteX626" fmla="*/ 260985 w 1390650"/>
                <a:gd name="connsiteY626" fmla="*/ 268605 h 1600200"/>
                <a:gd name="connsiteX627" fmla="*/ 259080 w 1390650"/>
                <a:gd name="connsiteY627" fmla="*/ 269558 h 1600200"/>
                <a:gd name="connsiteX628" fmla="*/ 253365 w 1390650"/>
                <a:gd name="connsiteY628" fmla="*/ 270510 h 1600200"/>
                <a:gd name="connsiteX629" fmla="*/ 249555 w 1390650"/>
                <a:gd name="connsiteY629" fmla="*/ 270510 h 1600200"/>
                <a:gd name="connsiteX630" fmla="*/ 242888 w 1390650"/>
                <a:gd name="connsiteY630" fmla="*/ 269558 h 1600200"/>
                <a:gd name="connsiteX631" fmla="*/ 238125 w 1390650"/>
                <a:gd name="connsiteY631" fmla="*/ 266700 h 1600200"/>
                <a:gd name="connsiteX632" fmla="*/ 235267 w 1390650"/>
                <a:gd name="connsiteY632" fmla="*/ 261938 h 1600200"/>
                <a:gd name="connsiteX633" fmla="*/ 234315 w 1390650"/>
                <a:gd name="connsiteY633" fmla="*/ 255270 h 1600200"/>
                <a:gd name="connsiteX634" fmla="*/ 234315 w 1390650"/>
                <a:gd name="connsiteY634" fmla="*/ 244793 h 1600200"/>
                <a:gd name="connsiteX635" fmla="*/ 233363 w 1390650"/>
                <a:gd name="connsiteY635" fmla="*/ 227647 h 1600200"/>
                <a:gd name="connsiteX636" fmla="*/ 233363 w 1390650"/>
                <a:gd name="connsiteY636" fmla="*/ 213360 h 1600200"/>
                <a:gd name="connsiteX637" fmla="*/ 236220 w 1390650"/>
                <a:gd name="connsiteY637" fmla="*/ 196215 h 1600200"/>
                <a:gd name="connsiteX638" fmla="*/ 237173 w 1390650"/>
                <a:gd name="connsiteY638" fmla="*/ 187643 h 1600200"/>
                <a:gd name="connsiteX639" fmla="*/ 239078 w 1390650"/>
                <a:gd name="connsiteY639" fmla="*/ 181928 h 1600200"/>
                <a:gd name="connsiteX640" fmla="*/ 242888 w 1390650"/>
                <a:gd name="connsiteY640" fmla="*/ 173355 h 1600200"/>
                <a:gd name="connsiteX641" fmla="*/ 268605 w 1390650"/>
                <a:gd name="connsiteY641" fmla="*/ 136208 h 1600200"/>
                <a:gd name="connsiteX642" fmla="*/ 287655 w 1390650"/>
                <a:gd name="connsiteY642" fmla="*/ 120015 h 1600200"/>
                <a:gd name="connsiteX643" fmla="*/ 291465 w 1390650"/>
                <a:gd name="connsiteY643" fmla="*/ 116205 h 1600200"/>
                <a:gd name="connsiteX644" fmla="*/ 298133 w 1390650"/>
                <a:gd name="connsiteY644" fmla="*/ 105728 h 1600200"/>
                <a:gd name="connsiteX645" fmla="*/ 303848 w 1390650"/>
                <a:gd name="connsiteY645" fmla="*/ 95250 h 1600200"/>
                <a:gd name="connsiteX646" fmla="*/ 304800 w 1390650"/>
                <a:gd name="connsiteY646" fmla="*/ 90488 h 1600200"/>
                <a:gd name="connsiteX647" fmla="*/ 305753 w 1390650"/>
                <a:gd name="connsiteY647" fmla="*/ 86678 h 1600200"/>
                <a:gd name="connsiteX648" fmla="*/ 305753 w 1390650"/>
                <a:gd name="connsiteY648" fmla="*/ 82868 h 1600200"/>
                <a:gd name="connsiteX649" fmla="*/ 304800 w 1390650"/>
                <a:gd name="connsiteY649" fmla="*/ 77153 h 1600200"/>
                <a:gd name="connsiteX650" fmla="*/ 300990 w 1390650"/>
                <a:gd name="connsiteY650" fmla="*/ 68580 h 1600200"/>
                <a:gd name="connsiteX651" fmla="*/ 300038 w 1390650"/>
                <a:gd name="connsiteY651" fmla="*/ 63818 h 1600200"/>
                <a:gd name="connsiteX652" fmla="*/ 299085 w 1390650"/>
                <a:gd name="connsiteY652" fmla="*/ 58103 h 1600200"/>
                <a:gd name="connsiteX653" fmla="*/ 299085 w 1390650"/>
                <a:gd name="connsiteY653" fmla="*/ 52388 h 1600200"/>
                <a:gd name="connsiteX654" fmla="*/ 300038 w 1390650"/>
                <a:gd name="connsiteY654" fmla="*/ 47625 h 1600200"/>
                <a:gd name="connsiteX655" fmla="*/ 300990 w 1390650"/>
                <a:gd name="connsiteY655" fmla="*/ 44768 h 1600200"/>
                <a:gd name="connsiteX656" fmla="*/ 302895 w 1390650"/>
                <a:gd name="connsiteY656" fmla="*/ 41910 h 1600200"/>
                <a:gd name="connsiteX657" fmla="*/ 306705 w 1390650"/>
                <a:gd name="connsiteY657" fmla="*/ 39053 h 1600200"/>
                <a:gd name="connsiteX658" fmla="*/ 314325 w 1390650"/>
                <a:gd name="connsiteY658" fmla="*/ 34290 h 1600200"/>
                <a:gd name="connsiteX659" fmla="*/ 316230 w 1390650"/>
                <a:gd name="connsiteY659" fmla="*/ 32385 h 1600200"/>
                <a:gd name="connsiteX660" fmla="*/ 315278 w 1390650"/>
                <a:gd name="connsiteY660" fmla="*/ 30480 h 1600200"/>
                <a:gd name="connsiteX661" fmla="*/ 312420 w 1390650"/>
                <a:gd name="connsiteY661" fmla="*/ 29528 h 1600200"/>
                <a:gd name="connsiteX662" fmla="*/ 264795 w 1390650"/>
                <a:gd name="connsiteY662" fmla="*/ 26670 h 1600200"/>
                <a:gd name="connsiteX663" fmla="*/ 258128 w 1390650"/>
                <a:gd name="connsiteY663" fmla="*/ 22860 h 1600200"/>
                <a:gd name="connsiteX664" fmla="*/ 255270 w 1390650"/>
                <a:gd name="connsiteY664" fmla="*/ 7620 h 1600200"/>
                <a:gd name="connsiteX665" fmla="*/ 327660 w 1390650"/>
                <a:gd name="connsiteY665" fmla="*/ 8573 h 1600200"/>
                <a:gd name="connsiteX666" fmla="*/ 371475 w 1390650"/>
                <a:gd name="connsiteY666" fmla="*/ 0 h 1600200"/>
                <a:gd name="connsiteX667" fmla="*/ 484823 w 1390650"/>
                <a:gd name="connsiteY667" fmla="*/ 20955 h 1600200"/>
                <a:gd name="connsiteX668" fmla="*/ 521017 w 1390650"/>
                <a:gd name="connsiteY668" fmla="*/ 20003 h 1600200"/>
                <a:gd name="connsiteX669" fmla="*/ 537210 w 1390650"/>
                <a:gd name="connsiteY669" fmla="*/ 23813 h 1600200"/>
                <a:gd name="connsiteX670" fmla="*/ 570548 w 1390650"/>
                <a:gd name="connsiteY670" fmla="*/ 54293 h 1600200"/>
                <a:gd name="connsiteX671" fmla="*/ 586740 w 1390650"/>
                <a:gd name="connsiteY671" fmla="*/ 60960 h 1600200"/>
                <a:gd name="connsiteX672" fmla="*/ 709613 w 1390650"/>
                <a:gd name="connsiteY672" fmla="*/ 65723 h 1600200"/>
                <a:gd name="connsiteX673" fmla="*/ 715328 w 1390650"/>
                <a:gd name="connsiteY673" fmla="*/ 69532 h 1600200"/>
                <a:gd name="connsiteX674" fmla="*/ 715328 w 1390650"/>
                <a:gd name="connsiteY674" fmla="*/ 75248 h 1600200"/>
                <a:gd name="connsiteX675" fmla="*/ 714375 w 1390650"/>
                <a:gd name="connsiteY675" fmla="*/ 82868 h 1600200"/>
                <a:gd name="connsiteX676" fmla="*/ 715328 w 1390650"/>
                <a:gd name="connsiteY676" fmla="*/ 91440 h 1600200"/>
                <a:gd name="connsiteX677" fmla="*/ 721995 w 1390650"/>
                <a:gd name="connsiteY677" fmla="*/ 100965 h 1600200"/>
                <a:gd name="connsiteX678" fmla="*/ 729615 w 1390650"/>
                <a:gd name="connsiteY678" fmla="*/ 104775 h 1600200"/>
                <a:gd name="connsiteX679" fmla="*/ 845820 w 1390650"/>
                <a:gd name="connsiteY679" fmla="*/ 108585 h 1600200"/>
                <a:gd name="connsiteX680" fmla="*/ 944880 w 1390650"/>
                <a:gd name="connsiteY680" fmla="*/ 152400 h 1600200"/>
                <a:gd name="connsiteX681" fmla="*/ 980123 w 1390650"/>
                <a:gd name="connsiteY681" fmla="*/ 158115 h 1600200"/>
                <a:gd name="connsiteX682" fmla="*/ 1033463 w 1390650"/>
                <a:gd name="connsiteY682" fmla="*/ 140018 h 1600200"/>
                <a:gd name="connsiteX683" fmla="*/ 1079183 w 1390650"/>
                <a:gd name="connsiteY683" fmla="*/ 140970 h 1600200"/>
                <a:gd name="connsiteX684" fmla="*/ 1101090 w 1390650"/>
                <a:gd name="connsiteY684" fmla="*/ 146685 h 1600200"/>
                <a:gd name="connsiteX685" fmla="*/ 1115377 w 1390650"/>
                <a:gd name="connsiteY685" fmla="*/ 154305 h 1600200"/>
                <a:gd name="connsiteX686" fmla="*/ 1119188 w 1390650"/>
                <a:gd name="connsiteY686" fmla="*/ 167640 h 1600200"/>
                <a:gd name="connsiteX687" fmla="*/ 1117283 w 1390650"/>
                <a:gd name="connsiteY687" fmla="*/ 185738 h 1600200"/>
                <a:gd name="connsiteX688" fmla="*/ 1117283 w 1390650"/>
                <a:gd name="connsiteY688" fmla="*/ 208598 h 1600200"/>
                <a:gd name="connsiteX689" fmla="*/ 1121093 w 1390650"/>
                <a:gd name="connsiteY689" fmla="*/ 225743 h 1600200"/>
                <a:gd name="connsiteX690" fmla="*/ 1128713 w 1390650"/>
                <a:gd name="connsiteY690" fmla="*/ 232410 h 1600200"/>
                <a:gd name="connsiteX691" fmla="*/ 1139190 w 1390650"/>
                <a:gd name="connsiteY691" fmla="*/ 234315 h 1600200"/>
                <a:gd name="connsiteX692" fmla="*/ 1152525 w 1390650"/>
                <a:gd name="connsiteY692" fmla="*/ 232410 h 1600200"/>
                <a:gd name="connsiteX693" fmla="*/ 1167765 w 1390650"/>
                <a:gd name="connsiteY693" fmla="*/ 236220 h 1600200"/>
                <a:gd name="connsiteX694" fmla="*/ 1166813 w 1390650"/>
                <a:gd name="connsiteY694" fmla="*/ 250508 h 1600200"/>
                <a:gd name="connsiteX695" fmla="*/ 1158240 w 1390650"/>
                <a:gd name="connsiteY695" fmla="*/ 269558 h 1600200"/>
                <a:gd name="connsiteX696" fmla="*/ 1155383 w 1390650"/>
                <a:gd name="connsiteY696" fmla="*/ 283845 h 1600200"/>
                <a:gd name="connsiteX697" fmla="*/ 1163002 w 1390650"/>
                <a:gd name="connsiteY697" fmla="*/ 290513 h 1600200"/>
                <a:gd name="connsiteX698" fmla="*/ 1174433 w 1390650"/>
                <a:gd name="connsiteY698" fmla="*/ 288608 h 1600200"/>
                <a:gd name="connsiteX699" fmla="*/ 1195388 w 1390650"/>
                <a:gd name="connsiteY699" fmla="*/ 281940 h 1600200"/>
                <a:gd name="connsiteX700" fmla="*/ 1226820 w 1390650"/>
                <a:gd name="connsiteY700" fmla="*/ 287655 h 1600200"/>
                <a:gd name="connsiteX701" fmla="*/ 1237298 w 1390650"/>
                <a:gd name="connsiteY701" fmla="*/ 286703 h 1600200"/>
                <a:gd name="connsiteX702" fmla="*/ 1248727 w 1390650"/>
                <a:gd name="connsiteY702" fmla="*/ 280988 h 1600200"/>
                <a:gd name="connsiteX703" fmla="*/ 1263968 w 1390650"/>
                <a:gd name="connsiteY703" fmla="*/ 264795 h 1600200"/>
                <a:gd name="connsiteX704" fmla="*/ 1273493 w 1390650"/>
                <a:gd name="connsiteY704" fmla="*/ 259080 h 1600200"/>
                <a:gd name="connsiteX705" fmla="*/ 1291590 w 1390650"/>
                <a:gd name="connsiteY705" fmla="*/ 260033 h 1600200"/>
                <a:gd name="connsiteX706" fmla="*/ 1348740 w 1390650"/>
                <a:gd name="connsiteY706" fmla="*/ 282893 h 1600200"/>
                <a:gd name="connsiteX707" fmla="*/ 1378268 w 1390650"/>
                <a:gd name="connsiteY707" fmla="*/ 283845 h 1600200"/>
                <a:gd name="connsiteX708" fmla="*/ 1386840 w 1390650"/>
                <a:gd name="connsiteY708" fmla="*/ 288608 h 1600200"/>
                <a:gd name="connsiteX709" fmla="*/ 1393508 w 1390650"/>
                <a:gd name="connsiteY709" fmla="*/ 306705 h 1600200"/>
                <a:gd name="connsiteX710" fmla="*/ 1389698 w 1390650"/>
                <a:gd name="connsiteY710" fmla="*/ 327660 h 1600200"/>
                <a:gd name="connsiteX711" fmla="*/ 1371600 w 1390650"/>
                <a:gd name="connsiteY711" fmla="*/ 370522 h 1600200"/>
                <a:gd name="connsiteX712" fmla="*/ 1372552 w 1390650"/>
                <a:gd name="connsiteY712" fmla="*/ 372428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</a:cxnLst>
              <a:rect l="l" t="t" r="r" b="b"/>
              <a:pathLst>
                <a:path w="1390650" h="1600200">
                  <a:moveTo>
                    <a:pt x="1372552" y="372428"/>
                  </a:moveTo>
                  <a:lnTo>
                    <a:pt x="1355408" y="375285"/>
                  </a:lnTo>
                  <a:lnTo>
                    <a:pt x="1343025" y="381953"/>
                  </a:lnTo>
                  <a:lnTo>
                    <a:pt x="1337310" y="383858"/>
                  </a:lnTo>
                  <a:lnTo>
                    <a:pt x="1332548" y="386715"/>
                  </a:lnTo>
                  <a:lnTo>
                    <a:pt x="1330643" y="387668"/>
                  </a:lnTo>
                  <a:lnTo>
                    <a:pt x="1328738" y="393383"/>
                  </a:lnTo>
                  <a:lnTo>
                    <a:pt x="1326833" y="401003"/>
                  </a:lnTo>
                  <a:lnTo>
                    <a:pt x="1324927" y="417195"/>
                  </a:lnTo>
                  <a:lnTo>
                    <a:pt x="1325880" y="423863"/>
                  </a:lnTo>
                  <a:lnTo>
                    <a:pt x="1326833" y="428625"/>
                  </a:lnTo>
                  <a:lnTo>
                    <a:pt x="1335405" y="437197"/>
                  </a:lnTo>
                  <a:lnTo>
                    <a:pt x="1338263" y="441960"/>
                  </a:lnTo>
                  <a:lnTo>
                    <a:pt x="1340168" y="446722"/>
                  </a:lnTo>
                  <a:lnTo>
                    <a:pt x="1340168" y="450533"/>
                  </a:lnTo>
                  <a:lnTo>
                    <a:pt x="1339215" y="453390"/>
                  </a:lnTo>
                  <a:lnTo>
                    <a:pt x="1338263" y="456247"/>
                  </a:lnTo>
                  <a:lnTo>
                    <a:pt x="1334452" y="456247"/>
                  </a:lnTo>
                  <a:lnTo>
                    <a:pt x="1331595" y="456247"/>
                  </a:lnTo>
                  <a:lnTo>
                    <a:pt x="1329690" y="454343"/>
                  </a:lnTo>
                  <a:lnTo>
                    <a:pt x="1308735" y="436245"/>
                  </a:lnTo>
                  <a:lnTo>
                    <a:pt x="1304925" y="431483"/>
                  </a:lnTo>
                  <a:lnTo>
                    <a:pt x="1302068" y="422910"/>
                  </a:lnTo>
                  <a:lnTo>
                    <a:pt x="1299210" y="418147"/>
                  </a:lnTo>
                  <a:lnTo>
                    <a:pt x="1295400" y="414338"/>
                  </a:lnTo>
                  <a:lnTo>
                    <a:pt x="1293495" y="413385"/>
                  </a:lnTo>
                  <a:lnTo>
                    <a:pt x="1290638" y="412433"/>
                  </a:lnTo>
                  <a:lnTo>
                    <a:pt x="1287780" y="413385"/>
                  </a:lnTo>
                  <a:lnTo>
                    <a:pt x="1286827" y="415290"/>
                  </a:lnTo>
                  <a:lnTo>
                    <a:pt x="1284923" y="421958"/>
                  </a:lnTo>
                  <a:lnTo>
                    <a:pt x="1279208" y="459105"/>
                  </a:lnTo>
                  <a:lnTo>
                    <a:pt x="1279208" y="469583"/>
                  </a:lnTo>
                  <a:lnTo>
                    <a:pt x="1280160" y="477203"/>
                  </a:lnTo>
                  <a:lnTo>
                    <a:pt x="1288733" y="484822"/>
                  </a:lnTo>
                  <a:lnTo>
                    <a:pt x="1291590" y="489585"/>
                  </a:lnTo>
                  <a:lnTo>
                    <a:pt x="1291590" y="493395"/>
                  </a:lnTo>
                  <a:lnTo>
                    <a:pt x="1290638" y="498158"/>
                  </a:lnTo>
                  <a:lnTo>
                    <a:pt x="1286827" y="505778"/>
                  </a:lnTo>
                  <a:lnTo>
                    <a:pt x="1283970" y="512445"/>
                  </a:lnTo>
                  <a:lnTo>
                    <a:pt x="1278255" y="518160"/>
                  </a:lnTo>
                  <a:lnTo>
                    <a:pt x="1273493" y="521018"/>
                  </a:lnTo>
                  <a:lnTo>
                    <a:pt x="1243965" y="527685"/>
                  </a:lnTo>
                  <a:lnTo>
                    <a:pt x="1242060" y="529590"/>
                  </a:lnTo>
                  <a:lnTo>
                    <a:pt x="1241108" y="531495"/>
                  </a:lnTo>
                  <a:lnTo>
                    <a:pt x="1242060" y="535305"/>
                  </a:lnTo>
                  <a:lnTo>
                    <a:pt x="1259205" y="571500"/>
                  </a:lnTo>
                  <a:lnTo>
                    <a:pt x="1260158" y="575310"/>
                  </a:lnTo>
                  <a:lnTo>
                    <a:pt x="1261110" y="580073"/>
                  </a:lnTo>
                  <a:lnTo>
                    <a:pt x="1261110" y="583883"/>
                  </a:lnTo>
                  <a:lnTo>
                    <a:pt x="1260158" y="588645"/>
                  </a:lnTo>
                  <a:lnTo>
                    <a:pt x="1258252" y="594360"/>
                  </a:lnTo>
                  <a:lnTo>
                    <a:pt x="1254443" y="603885"/>
                  </a:lnTo>
                  <a:lnTo>
                    <a:pt x="1251585" y="607695"/>
                  </a:lnTo>
                  <a:lnTo>
                    <a:pt x="1248727" y="610553"/>
                  </a:lnTo>
                  <a:lnTo>
                    <a:pt x="1236345" y="618173"/>
                  </a:lnTo>
                  <a:lnTo>
                    <a:pt x="1234440" y="620078"/>
                  </a:lnTo>
                  <a:lnTo>
                    <a:pt x="1231583" y="624840"/>
                  </a:lnTo>
                  <a:lnTo>
                    <a:pt x="1224915" y="645795"/>
                  </a:lnTo>
                  <a:lnTo>
                    <a:pt x="1222058" y="650558"/>
                  </a:lnTo>
                  <a:lnTo>
                    <a:pt x="1220152" y="654368"/>
                  </a:lnTo>
                  <a:lnTo>
                    <a:pt x="1216343" y="658178"/>
                  </a:lnTo>
                  <a:lnTo>
                    <a:pt x="1211580" y="663893"/>
                  </a:lnTo>
                  <a:lnTo>
                    <a:pt x="1210627" y="666750"/>
                  </a:lnTo>
                  <a:lnTo>
                    <a:pt x="1209675" y="671513"/>
                  </a:lnTo>
                  <a:lnTo>
                    <a:pt x="1208723" y="677228"/>
                  </a:lnTo>
                  <a:lnTo>
                    <a:pt x="1207770" y="696278"/>
                  </a:lnTo>
                  <a:lnTo>
                    <a:pt x="1205865" y="701993"/>
                  </a:lnTo>
                  <a:lnTo>
                    <a:pt x="1203008" y="708660"/>
                  </a:lnTo>
                  <a:lnTo>
                    <a:pt x="1198245" y="715328"/>
                  </a:lnTo>
                  <a:lnTo>
                    <a:pt x="1192530" y="721043"/>
                  </a:lnTo>
                  <a:lnTo>
                    <a:pt x="1190625" y="722948"/>
                  </a:lnTo>
                  <a:lnTo>
                    <a:pt x="1188720" y="726758"/>
                  </a:lnTo>
                  <a:lnTo>
                    <a:pt x="1182052" y="741998"/>
                  </a:lnTo>
                  <a:lnTo>
                    <a:pt x="1179195" y="746760"/>
                  </a:lnTo>
                  <a:lnTo>
                    <a:pt x="1177290" y="749618"/>
                  </a:lnTo>
                  <a:lnTo>
                    <a:pt x="1164908" y="755333"/>
                  </a:lnTo>
                  <a:lnTo>
                    <a:pt x="1143952" y="760095"/>
                  </a:lnTo>
                  <a:lnTo>
                    <a:pt x="1139190" y="762953"/>
                  </a:lnTo>
                  <a:lnTo>
                    <a:pt x="1137285" y="764858"/>
                  </a:lnTo>
                  <a:lnTo>
                    <a:pt x="1135380" y="768668"/>
                  </a:lnTo>
                  <a:lnTo>
                    <a:pt x="1130618" y="785813"/>
                  </a:lnTo>
                  <a:lnTo>
                    <a:pt x="1126808" y="789623"/>
                  </a:lnTo>
                  <a:lnTo>
                    <a:pt x="1125855" y="793433"/>
                  </a:lnTo>
                  <a:lnTo>
                    <a:pt x="1129665" y="801053"/>
                  </a:lnTo>
                  <a:lnTo>
                    <a:pt x="1135380" y="811530"/>
                  </a:lnTo>
                  <a:lnTo>
                    <a:pt x="1136333" y="815340"/>
                  </a:lnTo>
                  <a:lnTo>
                    <a:pt x="1136333" y="820103"/>
                  </a:lnTo>
                  <a:lnTo>
                    <a:pt x="1137285" y="827723"/>
                  </a:lnTo>
                  <a:lnTo>
                    <a:pt x="1139190" y="831533"/>
                  </a:lnTo>
                  <a:lnTo>
                    <a:pt x="1141095" y="834390"/>
                  </a:lnTo>
                  <a:lnTo>
                    <a:pt x="1144905" y="838200"/>
                  </a:lnTo>
                  <a:lnTo>
                    <a:pt x="1145858" y="841058"/>
                  </a:lnTo>
                  <a:lnTo>
                    <a:pt x="1146810" y="843915"/>
                  </a:lnTo>
                  <a:lnTo>
                    <a:pt x="1143952" y="848677"/>
                  </a:lnTo>
                  <a:lnTo>
                    <a:pt x="1142048" y="851535"/>
                  </a:lnTo>
                  <a:lnTo>
                    <a:pt x="1136333" y="853440"/>
                  </a:lnTo>
                  <a:lnTo>
                    <a:pt x="1135380" y="856298"/>
                  </a:lnTo>
                  <a:lnTo>
                    <a:pt x="1137285" y="861060"/>
                  </a:lnTo>
                  <a:lnTo>
                    <a:pt x="1139190" y="863918"/>
                  </a:lnTo>
                  <a:lnTo>
                    <a:pt x="1145858" y="872490"/>
                  </a:lnTo>
                  <a:lnTo>
                    <a:pt x="1147763" y="878205"/>
                  </a:lnTo>
                  <a:lnTo>
                    <a:pt x="1148715" y="883920"/>
                  </a:lnTo>
                  <a:lnTo>
                    <a:pt x="1147763" y="892493"/>
                  </a:lnTo>
                  <a:lnTo>
                    <a:pt x="1140143" y="932498"/>
                  </a:lnTo>
                  <a:lnTo>
                    <a:pt x="1139190" y="937260"/>
                  </a:lnTo>
                  <a:lnTo>
                    <a:pt x="1139190" y="942975"/>
                  </a:lnTo>
                  <a:lnTo>
                    <a:pt x="1140143" y="952500"/>
                  </a:lnTo>
                  <a:lnTo>
                    <a:pt x="1141095" y="957263"/>
                  </a:lnTo>
                  <a:lnTo>
                    <a:pt x="1143952" y="963930"/>
                  </a:lnTo>
                  <a:lnTo>
                    <a:pt x="1148715" y="973455"/>
                  </a:lnTo>
                  <a:lnTo>
                    <a:pt x="1159193" y="989648"/>
                  </a:lnTo>
                  <a:lnTo>
                    <a:pt x="1163002" y="997268"/>
                  </a:lnTo>
                  <a:lnTo>
                    <a:pt x="1164908" y="1005840"/>
                  </a:lnTo>
                  <a:lnTo>
                    <a:pt x="1163955" y="1011555"/>
                  </a:lnTo>
                  <a:lnTo>
                    <a:pt x="1162050" y="1020127"/>
                  </a:lnTo>
                  <a:lnTo>
                    <a:pt x="1149668" y="1051560"/>
                  </a:lnTo>
                  <a:lnTo>
                    <a:pt x="1145858" y="1059180"/>
                  </a:lnTo>
                  <a:lnTo>
                    <a:pt x="1135380" y="1072515"/>
                  </a:lnTo>
                  <a:lnTo>
                    <a:pt x="1133475" y="1076325"/>
                  </a:lnTo>
                  <a:lnTo>
                    <a:pt x="1127760" y="1091565"/>
                  </a:lnTo>
                  <a:lnTo>
                    <a:pt x="1124902" y="1100138"/>
                  </a:lnTo>
                  <a:lnTo>
                    <a:pt x="1122998" y="1104900"/>
                  </a:lnTo>
                  <a:lnTo>
                    <a:pt x="1122998" y="1108710"/>
                  </a:lnTo>
                  <a:lnTo>
                    <a:pt x="1125855" y="1115378"/>
                  </a:lnTo>
                  <a:lnTo>
                    <a:pt x="1127760" y="1119188"/>
                  </a:lnTo>
                  <a:lnTo>
                    <a:pt x="1130618" y="1121093"/>
                  </a:lnTo>
                  <a:lnTo>
                    <a:pt x="1141095" y="1126808"/>
                  </a:lnTo>
                  <a:lnTo>
                    <a:pt x="1144905" y="1130618"/>
                  </a:lnTo>
                  <a:lnTo>
                    <a:pt x="1145858" y="1134428"/>
                  </a:lnTo>
                  <a:lnTo>
                    <a:pt x="1142048" y="1146810"/>
                  </a:lnTo>
                  <a:lnTo>
                    <a:pt x="1122998" y="1168718"/>
                  </a:lnTo>
                  <a:lnTo>
                    <a:pt x="1097280" y="1163003"/>
                  </a:lnTo>
                  <a:lnTo>
                    <a:pt x="1094423" y="1160145"/>
                  </a:lnTo>
                  <a:lnTo>
                    <a:pt x="1091565" y="1157288"/>
                  </a:lnTo>
                  <a:lnTo>
                    <a:pt x="1091565" y="1149668"/>
                  </a:lnTo>
                  <a:lnTo>
                    <a:pt x="1091565" y="1145858"/>
                  </a:lnTo>
                  <a:lnTo>
                    <a:pt x="1090613" y="1141095"/>
                  </a:lnTo>
                  <a:lnTo>
                    <a:pt x="1087755" y="1134428"/>
                  </a:lnTo>
                  <a:lnTo>
                    <a:pt x="1084898" y="1132523"/>
                  </a:lnTo>
                  <a:lnTo>
                    <a:pt x="1081088" y="1130618"/>
                  </a:lnTo>
                  <a:lnTo>
                    <a:pt x="1073468" y="1130618"/>
                  </a:lnTo>
                  <a:lnTo>
                    <a:pt x="1069658" y="1132523"/>
                  </a:lnTo>
                  <a:lnTo>
                    <a:pt x="1065848" y="1136333"/>
                  </a:lnTo>
                  <a:lnTo>
                    <a:pt x="1063943" y="1142048"/>
                  </a:lnTo>
                  <a:lnTo>
                    <a:pt x="1061085" y="1151573"/>
                  </a:lnTo>
                  <a:lnTo>
                    <a:pt x="1060133" y="1154430"/>
                  </a:lnTo>
                  <a:lnTo>
                    <a:pt x="1055370" y="1157288"/>
                  </a:lnTo>
                  <a:lnTo>
                    <a:pt x="1043940" y="1160145"/>
                  </a:lnTo>
                  <a:lnTo>
                    <a:pt x="1033463" y="1164908"/>
                  </a:lnTo>
                  <a:lnTo>
                    <a:pt x="1029652" y="1167765"/>
                  </a:lnTo>
                  <a:lnTo>
                    <a:pt x="1021080" y="1175385"/>
                  </a:lnTo>
                  <a:lnTo>
                    <a:pt x="1017270" y="1180148"/>
                  </a:lnTo>
                  <a:lnTo>
                    <a:pt x="1014413" y="1183005"/>
                  </a:lnTo>
                  <a:lnTo>
                    <a:pt x="1009650" y="1186815"/>
                  </a:lnTo>
                  <a:lnTo>
                    <a:pt x="1004888" y="1188720"/>
                  </a:lnTo>
                  <a:lnTo>
                    <a:pt x="1001077" y="1188720"/>
                  </a:lnTo>
                  <a:lnTo>
                    <a:pt x="994410" y="1186815"/>
                  </a:lnTo>
                  <a:lnTo>
                    <a:pt x="983933" y="1181100"/>
                  </a:lnTo>
                  <a:lnTo>
                    <a:pt x="973455" y="1176338"/>
                  </a:lnTo>
                  <a:lnTo>
                    <a:pt x="969645" y="1176338"/>
                  </a:lnTo>
                  <a:lnTo>
                    <a:pt x="966788" y="1177290"/>
                  </a:lnTo>
                  <a:lnTo>
                    <a:pt x="956310" y="1186815"/>
                  </a:lnTo>
                  <a:lnTo>
                    <a:pt x="920115" y="1202055"/>
                  </a:lnTo>
                  <a:lnTo>
                    <a:pt x="917258" y="1205865"/>
                  </a:lnTo>
                  <a:lnTo>
                    <a:pt x="915352" y="1211580"/>
                  </a:lnTo>
                  <a:lnTo>
                    <a:pt x="915352" y="1218248"/>
                  </a:lnTo>
                  <a:lnTo>
                    <a:pt x="916305" y="1227773"/>
                  </a:lnTo>
                  <a:lnTo>
                    <a:pt x="916305" y="1231583"/>
                  </a:lnTo>
                  <a:lnTo>
                    <a:pt x="914400" y="1234440"/>
                  </a:lnTo>
                  <a:lnTo>
                    <a:pt x="911543" y="1236345"/>
                  </a:lnTo>
                  <a:lnTo>
                    <a:pt x="908685" y="1237298"/>
                  </a:lnTo>
                  <a:lnTo>
                    <a:pt x="905827" y="1236345"/>
                  </a:lnTo>
                  <a:lnTo>
                    <a:pt x="893445" y="1231583"/>
                  </a:lnTo>
                  <a:lnTo>
                    <a:pt x="887730" y="1230630"/>
                  </a:lnTo>
                  <a:lnTo>
                    <a:pt x="884873" y="1231583"/>
                  </a:lnTo>
                  <a:lnTo>
                    <a:pt x="882968" y="1234440"/>
                  </a:lnTo>
                  <a:lnTo>
                    <a:pt x="882015" y="1238250"/>
                  </a:lnTo>
                  <a:lnTo>
                    <a:pt x="882015" y="1244918"/>
                  </a:lnTo>
                  <a:lnTo>
                    <a:pt x="880110" y="1249680"/>
                  </a:lnTo>
                  <a:lnTo>
                    <a:pt x="878205" y="1253490"/>
                  </a:lnTo>
                  <a:lnTo>
                    <a:pt x="872490" y="1258253"/>
                  </a:lnTo>
                  <a:lnTo>
                    <a:pt x="869633" y="1262063"/>
                  </a:lnTo>
                  <a:lnTo>
                    <a:pt x="867728" y="1265873"/>
                  </a:lnTo>
                  <a:lnTo>
                    <a:pt x="867728" y="1268730"/>
                  </a:lnTo>
                  <a:lnTo>
                    <a:pt x="864870" y="1274445"/>
                  </a:lnTo>
                  <a:lnTo>
                    <a:pt x="860108" y="1280160"/>
                  </a:lnTo>
                  <a:lnTo>
                    <a:pt x="837248" y="1298258"/>
                  </a:lnTo>
                  <a:lnTo>
                    <a:pt x="836295" y="1301115"/>
                  </a:lnTo>
                  <a:lnTo>
                    <a:pt x="836295" y="1303973"/>
                  </a:lnTo>
                  <a:lnTo>
                    <a:pt x="836295" y="1309688"/>
                  </a:lnTo>
                  <a:lnTo>
                    <a:pt x="835343" y="1314450"/>
                  </a:lnTo>
                  <a:lnTo>
                    <a:pt x="833438" y="1319213"/>
                  </a:lnTo>
                  <a:lnTo>
                    <a:pt x="830580" y="1322070"/>
                  </a:lnTo>
                  <a:lnTo>
                    <a:pt x="805815" y="1340168"/>
                  </a:lnTo>
                  <a:lnTo>
                    <a:pt x="802958" y="1343978"/>
                  </a:lnTo>
                  <a:lnTo>
                    <a:pt x="798195" y="1351598"/>
                  </a:lnTo>
                  <a:lnTo>
                    <a:pt x="794385" y="1360170"/>
                  </a:lnTo>
                  <a:lnTo>
                    <a:pt x="791528" y="1363980"/>
                  </a:lnTo>
                  <a:lnTo>
                    <a:pt x="786765" y="1367790"/>
                  </a:lnTo>
                  <a:lnTo>
                    <a:pt x="767715" y="1382078"/>
                  </a:lnTo>
                  <a:lnTo>
                    <a:pt x="765810" y="1383983"/>
                  </a:lnTo>
                  <a:lnTo>
                    <a:pt x="760095" y="1393508"/>
                  </a:lnTo>
                  <a:lnTo>
                    <a:pt x="756285" y="1397318"/>
                  </a:lnTo>
                  <a:lnTo>
                    <a:pt x="747713" y="1406843"/>
                  </a:lnTo>
                  <a:lnTo>
                    <a:pt x="742950" y="1409700"/>
                  </a:lnTo>
                  <a:lnTo>
                    <a:pt x="739140" y="1410653"/>
                  </a:lnTo>
                  <a:lnTo>
                    <a:pt x="726758" y="1412558"/>
                  </a:lnTo>
                  <a:lnTo>
                    <a:pt x="722948" y="1411605"/>
                  </a:lnTo>
                  <a:lnTo>
                    <a:pt x="716280" y="1409700"/>
                  </a:lnTo>
                  <a:lnTo>
                    <a:pt x="711518" y="1409700"/>
                  </a:lnTo>
                  <a:lnTo>
                    <a:pt x="704850" y="1410653"/>
                  </a:lnTo>
                  <a:lnTo>
                    <a:pt x="700088" y="1412558"/>
                  </a:lnTo>
                  <a:lnTo>
                    <a:pt x="696278" y="1414463"/>
                  </a:lnTo>
                  <a:lnTo>
                    <a:pt x="688658" y="1422083"/>
                  </a:lnTo>
                  <a:lnTo>
                    <a:pt x="684848" y="1425893"/>
                  </a:lnTo>
                  <a:lnTo>
                    <a:pt x="662940" y="1460183"/>
                  </a:lnTo>
                  <a:lnTo>
                    <a:pt x="654368" y="1470660"/>
                  </a:lnTo>
                  <a:lnTo>
                    <a:pt x="642938" y="1478280"/>
                  </a:lnTo>
                  <a:lnTo>
                    <a:pt x="617220" y="1490663"/>
                  </a:lnTo>
                  <a:lnTo>
                    <a:pt x="615315" y="1465898"/>
                  </a:lnTo>
                  <a:lnTo>
                    <a:pt x="614363" y="1462088"/>
                  </a:lnTo>
                  <a:lnTo>
                    <a:pt x="610553" y="1458278"/>
                  </a:lnTo>
                  <a:lnTo>
                    <a:pt x="606743" y="1455420"/>
                  </a:lnTo>
                  <a:lnTo>
                    <a:pt x="601980" y="1451610"/>
                  </a:lnTo>
                  <a:lnTo>
                    <a:pt x="601028" y="1447800"/>
                  </a:lnTo>
                  <a:lnTo>
                    <a:pt x="601028" y="1443038"/>
                  </a:lnTo>
                  <a:lnTo>
                    <a:pt x="601980" y="1437323"/>
                  </a:lnTo>
                  <a:lnTo>
                    <a:pt x="604838" y="1431608"/>
                  </a:lnTo>
                  <a:lnTo>
                    <a:pt x="606743" y="1425893"/>
                  </a:lnTo>
                  <a:lnTo>
                    <a:pt x="612458" y="1419225"/>
                  </a:lnTo>
                  <a:lnTo>
                    <a:pt x="614363" y="1416368"/>
                  </a:lnTo>
                  <a:lnTo>
                    <a:pt x="616268" y="1410653"/>
                  </a:lnTo>
                  <a:lnTo>
                    <a:pt x="615315" y="1406843"/>
                  </a:lnTo>
                  <a:lnTo>
                    <a:pt x="614363" y="1403985"/>
                  </a:lnTo>
                  <a:lnTo>
                    <a:pt x="611505" y="1400175"/>
                  </a:lnTo>
                  <a:lnTo>
                    <a:pt x="608648" y="1399223"/>
                  </a:lnTo>
                  <a:lnTo>
                    <a:pt x="606743" y="1400175"/>
                  </a:lnTo>
                  <a:lnTo>
                    <a:pt x="601028" y="1406843"/>
                  </a:lnTo>
                  <a:lnTo>
                    <a:pt x="597218" y="1409700"/>
                  </a:lnTo>
                  <a:lnTo>
                    <a:pt x="581978" y="1416368"/>
                  </a:lnTo>
                  <a:lnTo>
                    <a:pt x="579120" y="1416368"/>
                  </a:lnTo>
                  <a:lnTo>
                    <a:pt x="575310" y="1416368"/>
                  </a:lnTo>
                  <a:lnTo>
                    <a:pt x="571500" y="1415415"/>
                  </a:lnTo>
                  <a:lnTo>
                    <a:pt x="538163" y="1399223"/>
                  </a:lnTo>
                  <a:lnTo>
                    <a:pt x="531495" y="1397318"/>
                  </a:lnTo>
                  <a:lnTo>
                    <a:pt x="525780" y="1397318"/>
                  </a:lnTo>
                  <a:lnTo>
                    <a:pt x="520065" y="1399223"/>
                  </a:lnTo>
                  <a:lnTo>
                    <a:pt x="505778" y="1406843"/>
                  </a:lnTo>
                  <a:lnTo>
                    <a:pt x="501015" y="1406843"/>
                  </a:lnTo>
                  <a:lnTo>
                    <a:pt x="493395" y="1404938"/>
                  </a:lnTo>
                  <a:lnTo>
                    <a:pt x="478155" y="1399223"/>
                  </a:lnTo>
                  <a:lnTo>
                    <a:pt x="471488" y="1398270"/>
                  </a:lnTo>
                  <a:lnTo>
                    <a:pt x="466725" y="1397318"/>
                  </a:lnTo>
                  <a:lnTo>
                    <a:pt x="453390" y="1407795"/>
                  </a:lnTo>
                  <a:lnTo>
                    <a:pt x="404813" y="1461135"/>
                  </a:lnTo>
                  <a:lnTo>
                    <a:pt x="401003" y="1463993"/>
                  </a:lnTo>
                  <a:lnTo>
                    <a:pt x="393383" y="1467803"/>
                  </a:lnTo>
                  <a:lnTo>
                    <a:pt x="332423" y="1473518"/>
                  </a:lnTo>
                  <a:lnTo>
                    <a:pt x="322898" y="1475423"/>
                  </a:lnTo>
                  <a:lnTo>
                    <a:pt x="318135" y="1478280"/>
                  </a:lnTo>
                  <a:lnTo>
                    <a:pt x="310515" y="1485900"/>
                  </a:lnTo>
                  <a:lnTo>
                    <a:pt x="307658" y="1488758"/>
                  </a:lnTo>
                  <a:lnTo>
                    <a:pt x="301942" y="1491615"/>
                  </a:lnTo>
                  <a:lnTo>
                    <a:pt x="299085" y="1491615"/>
                  </a:lnTo>
                  <a:lnTo>
                    <a:pt x="296228" y="1490663"/>
                  </a:lnTo>
                  <a:lnTo>
                    <a:pt x="292417" y="1484948"/>
                  </a:lnTo>
                  <a:lnTo>
                    <a:pt x="289560" y="1483043"/>
                  </a:lnTo>
                  <a:lnTo>
                    <a:pt x="286703" y="1483043"/>
                  </a:lnTo>
                  <a:lnTo>
                    <a:pt x="284798" y="1483995"/>
                  </a:lnTo>
                  <a:lnTo>
                    <a:pt x="273367" y="1495425"/>
                  </a:lnTo>
                  <a:lnTo>
                    <a:pt x="270510" y="1497330"/>
                  </a:lnTo>
                  <a:lnTo>
                    <a:pt x="265748" y="1500188"/>
                  </a:lnTo>
                  <a:lnTo>
                    <a:pt x="262890" y="1499235"/>
                  </a:lnTo>
                  <a:lnTo>
                    <a:pt x="254317" y="1493520"/>
                  </a:lnTo>
                  <a:lnTo>
                    <a:pt x="240983" y="1489710"/>
                  </a:lnTo>
                  <a:lnTo>
                    <a:pt x="229553" y="1484948"/>
                  </a:lnTo>
                  <a:lnTo>
                    <a:pt x="216217" y="1481138"/>
                  </a:lnTo>
                  <a:lnTo>
                    <a:pt x="210503" y="1480185"/>
                  </a:lnTo>
                  <a:lnTo>
                    <a:pt x="205740" y="1482090"/>
                  </a:lnTo>
                  <a:lnTo>
                    <a:pt x="203835" y="1486853"/>
                  </a:lnTo>
                  <a:lnTo>
                    <a:pt x="200978" y="1500188"/>
                  </a:lnTo>
                  <a:lnTo>
                    <a:pt x="200025" y="1506855"/>
                  </a:lnTo>
                  <a:lnTo>
                    <a:pt x="200978" y="1512570"/>
                  </a:lnTo>
                  <a:lnTo>
                    <a:pt x="204788" y="1516380"/>
                  </a:lnTo>
                  <a:lnTo>
                    <a:pt x="210503" y="1522095"/>
                  </a:lnTo>
                  <a:lnTo>
                    <a:pt x="212408" y="1524000"/>
                  </a:lnTo>
                  <a:lnTo>
                    <a:pt x="213360" y="1525905"/>
                  </a:lnTo>
                  <a:lnTo>
                    <a:pt x="213360" y="1528763"/>
                  </a:lnTo>
                  <a:lnTo>
                    <a:pt x="209550" y="1536383"/>
                  </a:lnTo>
                  <a:lnTo>
                    <a:pt x="208598" y="1539240"/>
                  </a:lnTo>
                  <a:lnTo>
                    <a:pt x="206692" y="1543050"/>
                  </a:lnTo>
                  <a:lnTo>
                    <a:pt x="203835" y="1546860"/>
                  </a:lnTo>
                  <a:lnTo>
                    <a:pt x="188595" y="1556385"/>
                  </a:lnTo>
                  <a:lnTo>
                    <a:pt x="186690" y="1558290"/>
                  </a:lnTo>
                  <a:lnTo>
                    <a:pt x="184785" y="1564958"/>
                  </a:lnTo>
                  <a:lnTo>
                    <a:pt x="185738" y="1574483"/>
                  </a:lnTo>
                  <a:lnTo>
                    <a:pt x="185738" y="1577340"/>
                  </a:lnTo>
                  <a:lnTo>
                    <a:pt x="185738" y="1584960"/>
                  </a:lnTo>
                  <a:lnTo>
                    <a:pt x="183833" y="1592580"/>
                  </a:lnTo>
                  <a:lnTo>
                    <a:pt x="181928" y="1592580"/>
                  </a:lnTo>
                  <a:lnTo>
                    <a:pt x="178117" y="1588770"/>
                  </a:lnTo>
                  <a:lnTo>
                    <a:pt x="175260" y="1586865"/>
                  </a:lnTo>
                  <a:lnTo>
                    <a:pt x="167640" y="1584960"/>
                  </a:lnTo>
                  <a:lnTo>
                    <a:pt x="164783" y="1585913"/>
                  </a:lnTo>
                  <a:lnTo>
                    <a:pt x="162878" y="1588770"/>
                  </a:lnTo>
                  <a:lnTo>
                    <a:pt x="161925" y="1592580"/>
                  </a:lnTo>
                  <a:lnTo>
                    <a:pt x="160973" y="1604963"/>
                  </a:lnTo>
                  <a:lnTo>
                    <a:pt x="122873" y="1581150"/>
                  </a:lnTo>
                  <a:lnTo>
                    <a:pt x="73342" y="1537335"/>
                  </a:lnTo>
                  <a:lnTo>
                    <a:pt x="68580" y="1530668"/>
                  </a:lnTo>
                  <a:lnTo>
                    <a:pt x="64770" y="1510665"/>
                  </a:lnTo>
                  <a:lnTo>
                    <a:pt x="63817" y="1500188"/>
                  </a:lnTo>
                  <a:lnTo>
                    <a:pt x="64770" y="1485900"/>
                  </a:lnTo>
                  <a:lnTo>
                    <a:pt x="68580" y="1465898"/>
                  </a:lnTo>
                  <a:lnTo>
                    <a:pt x="68580" y="1462088"/>
                  </a:lnTo>
                  <a:lnTo>
                    <a:pt x="66675" y="1457325"/>
                  </a:lnTo>
                  <a:lnTo>
                    <a:pt x="56198" y="1445895"/>
                  </a:lnTo>
                  <a:lnTo>
                    <a:pt x="54292" y="1440180"/>
                  </a:lnTo>
                  <a:lnTo>
                    <a:pt x="54292" y="1436370"/>
                  </a:lnTo>
                  <a:lnTo>
                    <a:pt x="55245" y="1434465"/>
                  </a:lnTo>
                  <a:lnTo>
                    <a:pt x="70485" y="1419225"/>
                  </a:lnTo>
                  <a:lnTo>
                    <a:pt x="74295" y="1414463"/>
                  </a:lnTo>
                  <a:lnTo>
                    <a:pt x="76200" y="1409700"/>
                  </a:lnTo>
                  <a:lnTo>
                    <a:pt x="77153" y="1404938"/>
                  </a:lnTo>
                  <a:lnTo>
                    <a:pt x="76200" y="1398270"/>
                  </a:lnTo>
                  <a:lnTo>
                    <a:pt x="74295" y="1387793"/>
                  </a:lnTo>
                  <a:lnTo>
                    <a:pt x="72390" y="1382078"/>
                  </a:lnTo>
                  <a:lnTo>
                    <a:pt x="70485" y="1378268"/>
                  </a:lnTo>
                  <a:lnTo>
                    <a:pt x="65723" y="1375410"/>
                  </a:lnTo>
                  <a:lnTo>
                    <a:pt x="60008" y="1373505"/>
                  </a:lnTo>
                  <a:lnTo>
                    <a:pt x="56198" y="1372553"/>
                  </a:lnTo>
                  <a:lnTo>
                    <a:pt x="53340" y="1373505"/>
                  </a:lnTo>
                  <a:lnTo>
                    <a:pt x="47625" y="1374458"/>
                  </a:lnTo>
                  <a:lnTo>
                    <a:pt x="33338" y="1383030"/>
                  </a:lnTo>
                  <a:lnTo>
                    <a:pt x="28575" y="1384935"/>
                  </a:lnTo>
                  <a:lnTo>
                    <a:pt x="21908" y="1385888"/>
                  </a:lnTo>
                  <a:lnTo>
                    <a:pt x="11430" y="1384935"/>
                  </a:lnTo>
                  <a:lnTo>
                    <a:pt x="3810" y="1381125"/>
                  </a:lnTo>
                  <a:lnTo>
                    <a:pt x="0" y="1372553"/>
                  </a:lnTo>
                  <a:lnTo>
                    <a:pt x="31433" y="1343025"/>
                  </a:lnTo>
                  <a:lnTo>
                    <a:pt x="42863" y="1329690"/>
                  </a:lnTo>
                  <a:lnTo>
                    <a:pt x="48578" y="1320165"/>
                  </a:lnTo>
                  <a:lnTo>
                    <a:pt x="53340" y="1317308"/>
                  </a:lnTo>
                  <a:lnTo>
                    <a:pt x="58103" y="1315403"/>
                  </a:lnTo>
                  <a:lnTo>
                    <a:pt x="62865" y="1314450"/>
                  </a:lnTo>
                  <a:lnTo>
                    <a:pt x="69533" y="1310640"/>
                  </a:lnTo>
                  <a:lnTo>
                    <a:pt x="73342" y="1305878"/>
                  </a:lnTo>
                  <a:lnTo>
                    <a:pt x="74295" y="1302068"/>
                  </a:lnTo>
                  <a:lnTo>
                    <a:pt x="74295" y="1298258"/>
                  </a:lnTo>
                  <a:lnTo>
                    <a:pt x="73342" y="1295400"/>
                  </a:lnTo>
                  <a:lnTo>
                    <a:pt x="72390" y="1292543"/>
                  </a:lnTo>
                  <a:lnTo>
                    <a:pt x="69533" y="1291590"/>
                  </a:lnTo>
                  <a:lnTo>
                    <a:pt x="60008" y="1289685"/>
                  </a:lnTo>
                  <a:lnTo>
                    <a:pt x="57150" y="1288733"/>
                  </a:lnTo>
                  <a:lnTo>
                    <a:pt x="55245" y="1286828"/>
                  </a:lnTo>
                  <a:lnTo>
                    <a:pt x="41910" y="1263015"/>
                  </a:lnTo>
                  <a:lnTo>
                    <a:pt x="37148" y="1256348"/>
                  </a:lnTo>
                  <a:lnTo>
                    <a:pt x="29528" y="1248728"/>
                  </a:lnTo>
                  <a:lnTo>
                    <a:pt x="20003" y="1243013"/>
                  </a:lnTo>
                  <a:lnTo>
                    <a:pt x="18098" y="1240155"/>
                  </a:lnTo>
                  <a:lnTo>
                    <a:pt x="16192" y="1238250"/>
                  </a:lnTo>
                  <a:lnTo>
                    <a:pt x="15240" y="1234440"/>
                  </a:lnTo>
                  <a:lnTo>
                    <a:pt x="16192" y="1231583"/>
                  </a:lnTo>
                  <a:lnTo>
                    <a:pt x="18098" y="1230630"/>
                  </a:lnTo>
                  <a:lnTo>
                    <a:pt x="20955" y="1230630"/>
                  </a:lnTo>
                  <a:lnTo>
                    <a:pt x="31433" y="1231583"/>
                  </a:lnTo>
                  <a:lnTo>
                    <a:pt x="34290" y="1231583"/>
                  </a:lnTo>
                  <a:lnTo>
                    <a:pt x="37148" y="1230630"/>
                  </a:lnTo>
                  <a:lnTo>
                    <a:pt x="39053" y="1229678"/>
                  </a:lnTo>
                  <a:lnTo>
                    <a:pt x="42863" y="1225868"/>
                  </a:lnTo>
                  <a:lnTo>
                    <a:pt x="46673" y="1220153"/>
                  </a:lnTo>
                  <a:lnTo>
                    <a:pt x="55245" y="1203960"/>
                  </a:lnTo>
                  <a:lnTo>
                    <a:pt x="56198" y="1202055"/>
                  </a:lnTo>
                  <a:lnTo>
                    <a:pt x="55245" y="1200150"/>
                  </a:lnTo>
                  <a:lnTo>
                    <a:pt x="49530" y="1194435"/>
                  </a:lnTo>
                  <a:lnTo>
                    <a:pt x="34290" y="1183005"/>
                  </a:lnTo>
                  <a:lnTo>
                    <a:pt x="32385" y="1180148"/>
                  </a:lnTo>
                  <a:lnTo>
                    <a:pt x="29528" y="1176338"/>
                  </a:lnTo>
                  <a:lnTo>
                    <a:pt x="30480" y="1172528"/>
                  </a:lnTo>
                  <a:lnTo>
                    <a:pt x="31433" y="1169670"/>
                  </a:lnTo>
                  <a:lnTo>
                    <a:pt x="37148" y="1162050"/>
                  </a:lnTo>
                  <a:lnTo>
                    <a:pt x="40005" y="1160145"/>
                  </a:lnTo>
                  <a:lnTo>
                    <a:pt x="42863" y="1159193"/>
                  </a:lnTo>
                  <a:lnTo>
                    <a:pt x="44767" y="1159193"/>
                  </a:lnTo>
                  <a:lnTo>
                    <a:pt x="69533" y="1165860"/>
                  </a:lnTo>
                  <a:lnTo>
                    <a:pt x="109538" y="1169670"/>
                  </a:lnTo>
                  <a:lnTo>
                    <a:pt x="114300" y="1168718"/>
                  </a:lnTo>
                  <a:lnTo>
                    <a:pt x="118110" y="1166813"/>
                  </a:lnTo>
                  <a:lnTo>
                    <a:pt x="123825" y="1162050"/>
                  </a:lnTo>
                  <a:lnTo>
                    <a:pt x="126683" y="1158240"/>
                  </a:lnTo>
                  <a:lnTo>
                    <a:pt x="127635" y="1153478"/>
                  </a:lnTo>
                  <a:lnTo>
                    <a:pt x="127635" y="1150620"/>
                  </a:lnTo>
                  <a:lnTo>
                    <a:pt x="127635" y="1143953"/>
                  </a:lnTo>
                  <a:lnTo>
                    <a:pt x="127635" y="1140143"/>
                  </a:lnTo>
                  <a:lnTo>
                    <a:pt x="124778" y="1132523"/>
                  </a:lnTo>
                  <a:lnTo>
                    <a:pt x="118110" y="1120140"/>
                  </a:lnTo>
                  <a:lnTo>
                    <a:pt x="117158" y="1116330"/>
                  </a:lnTo>
                  <a:lnTo>
                    <a:pt x="118110" y="1110615"/>
                  </a:lnTo>
                  <a:lnTo>
                    <a:pt x="120015" y="1108710"/>
                  </a:lnTo>
                  <a:lnTo>
                    <a:pt x="122873" y="1106805"/>
                  </a:lnTo>
                  <a:lnTo>
                    <a:pt x="160020" y="1112520"/>
                  </a:lnTo>
                  <a:lnTo>
                    <a:pt x="163830" y="1111568"/>
                  </a:lnTo>
                  <a:lnTo>
                    <a:pt x="168592" y="1109663"/>
                  </a:lnTo>
                  <a:lnTo>
                    <a:pt x="169545" y="1107758"/>
                  </a:lnTo>
                  <a:lnTo>
                    <a:pt x="168592" y="1104900"/>
                  </a:lnTo>
                  <a:lnTo>
                    <a:pt x="166688" y="1102995"/>
                  </a:lnTo>
                  <a:lnTo>
                    <a:pt x="155258" y="1095375"/>
                  </a:lnTo>
                  <a:lnTo>
                    <a:pt x="153353" y="1093470"/>
                  </a:lnTo>
                  <a:lnTo>
                    <a:pt x="152400" y="1089660"/>
                  </a:lnTo>
                  <a:lnTo>
                    <a:pt x="153353" y="1083945"/>
                  </a:lnTo>
                  <a:lnTo>
                    <a:pt x="157163" y="1078230"/>
                  </a:lnTo>
                  <a:lnTo>
                    <a:pt x="159067" y="1074420"/>
                  </a:lnTo>
                  <a:lnTo>
                    <a:pt x="159067" y="1070610"/>
                  </a:lnTo>
                  <a:lnTo>
                    <a:pt x="156210" y="1062038"/>
                  </a:lnTo>
                  <a:lnTo>
                    <a:pt x="156210" y="1059180"/>
                  </a:lnTo>
                  <a:lnTo>
                    <a:pt x="156210" y="1055370"/>
                  </a:lnTo>
                  <a:lnTo>
                    <a:pt x="159067" y="1054418"/>
                  </a:lnTo>
                  <a:lnTo>
                    <a:pt x="160020" y="1055370"/>
                  </a:lnTo>
                  <a:lnTo>
                    <a:pt x="168592" y="1062990"/>
                  </a:lnTo>
                  <a:lnTo>
                    <a:pt x="175260" y="1066800"/>
                  </a:lnTo>
                  <a:lnTo>
                    <a:pt x="185738" y="1071563"/>
                  </a:lnTo>
                  <a:lnTo>
                    <a:pt x="199073" y="1074420"/>
                  </a:lnTo>
                  <a:lnTo>
                    <a:pt x="203835" y="1074420"/>
                  </a:lnTo>
                  <a:lnTo>
                    <a:pt x="208598" y="1072515"/>
                  </a:lnTo>
                  <a:lnTo>
                    <a:pt x="224790" y="1062990"/>
                  </a:lnTo>
                  <a:lnTo>
                    <a:pt x="242888" y="1056323"/>
                  </a:lnTo>
                  <a:lnTo>
                    <a:pt x="262890" y="1044893"/>
                  </a:lnTo>
                  <a:lnTo>
                    <a:pt x="274320" y="1036320"/>
                  </a:lnTo>
                  <a:lnTo>
                    <a:pt x="284798" y="1030605"/>
                  </a:lnTo>
                  <a:lnTo>
                    <a:pt x="312420" y="1030605"/>
                  </a:lnTo>
                  <a:lnTo>
                    <a:pt x="319088" y="1032510"/>
                  </a:lnTo>
                  <a:lnTo>
                    <a:pt x="321945" y="1033463"/>
                  </a:lnTo>
                  <a:lnTo>
                    <a:pt x="329565" y="1041083"/>
                  </a:lnTo>
                  <a:lnTo>
                    <a:pt x="340042" y="1053465"/>
                  </a:lnTo>
                  <a:lnTo>
                    <a:pt x="341948" y="1056323"/>
                  </a:lnTo>
                  <a:lnTo>
                    <a:pt x="341948" y="1059180"/>
                  </a:lnTo>
                  <a:lnTo>
                    <a:pt x="340995" y="1063943"/>
                  </a:lnTo>
                  <a:lnTo>
                    <a:pt x="342900" y="1065848"/>
                  </a:lnTo>
                  <a:lnTo>
                    <a:pt x="344805" y="1067753"/>
                  </a:lnTo>
                  <a:lnTo>
                    <a:pt x="365760" y="1070610"/>
                  </a:lnTo>
                  <a:lnTo>
                    <a:pt x="371475" y="1073468"/>
                  </a:lnTo>
                  <a:lnTo>
                    <a:pt x="375285" y="1077278"/>
                  </a:lnTo>
                  <a:lnTo>
                    <a:pt x="386715" y="1088708"/>
                  </a:lnTo>
                  <a:lnTo>
                    <a:pt x="390525" y="1092518"/>
                  </a:lnTo>
                  <a:lnTo>
                    <a:pt x="394335" y="1093470"/>
                  </a:lnTo>
                  <a:lnTo>
                    <a:pt x="398145" y="1094423"/>
                  </a:lnTo>
                  <a:lnTo>
                    <a:pt x="402908" y="1093470"/>
                  </a:lnTo>
                  <a:lnTo>
                    <a:pt x="405765" y="1092518"/>
                  </a:lnTo>
                  <a:lnTo>
                    <a:pt x="407670" y="1089660"/>
                  </a:lnTo>
                  <a:lnTo>
                    <a:pt x="412433" y="1062038"/>
                  </a:lnTo>
                  <a:lnTo>
                    <a:pt x="414338" y="1059180"/>
                  </a:lnTo>
                  <a:lnTo>
                    <a:pt x="417195" y="1052513"/>
                  </a:lnTo>
                  <a:lnTo>
                    <a:pt x="421005" y="1048703"/>
                  </a:lnTo>
                  <a:lnTo>
                    <a:pt x="424815" y="1042035"/>
                  </a:lnTo>
                  <a:lnTo>
                    <a:pt x="425767" y="1036320"/>
                  </a:lnTo>
                  <a:lnTo>
                    <a:pt x="425767" y="1029652"/>
                  </a:lnTo>
                  <a:lnTo>
                    <a:pt x="425767" y="1022985"/>
                  </a:lnTo>
                  <a:lnTo>
                    <a:pt x="422910" y="1006793"/>
                  </a:lnTo>
                  <a:lnTo>
                    <a:pt x="424815" y="968693"/>
                  </a:lnTo>
                  <a:lnTo>
                    <a:pt x="425767" y="965835"/>
                  </a:lnTo>
                  <a:lnTo>
                    <a:pt x="428625" y="959168"/>
                  </a:lnTo>
                  <a:lnTo>
                    <a:pt x="431483" y="956310"/>
                  </a:lnTo>
                  <a:lnTo>
                    <a:pt x="434340" y="954405"/>
                  </a:lnTo>
                  <a:lnTo>
                    <a:pt x="436245" y="953452"/>
                  </a:lnTo>
                  <a:lnTo>
                    <a:pt x="460058" y="934402"/>
                  </a:lnTo>
                  <a:lnTo>
                    <a:pt x="463867" y="931545"/>
                  </a:lnTo>
                  <a:lnTo>
                    <a:pt x="466725" y="930593"/>
                  </a:lnTo>
                  <a:lnTo>
                    <a:pt x="473392" y="930593"/>
                  </a:lnTo>
                  <a:lnTo>
                    <a:pt x="482917" y="933450"/>
                  </a:lnTo>
                  <a:lnTo>
                    <a:pt x="487680" y="932498"/>
                  </a:lnTo>
                  <a:lnTo>
                    <a:pt x="490538" y="931545"/>
                  </a:lnTo>
                  <a:lnTo>
                    <a:pt x="492442" y="929640"/>
                  </a:lnTo>
                  <a:lnTo>
                    <a:pt x="496253" y="923925"/>
                  </a:lnTo>
                  <a:lnTo>
                    <a:pt x="496253" y="922020"/>
                  </a:lnTo>
                  <a:lnTo>
                    <a:pt x="494348" y="918210"/>
                  </a:lnTo>
                  <a:lnTo>
                    <a:pt x="491490" y="916305"/>
                  </a:lnTo>
                  <a:lnTo>
                    <a:pt x="479108" y="909638"/>
                  </a:lnTo>
                  <a:lnTo>
                    <a:pt x="477203" y="908685"/>
                  </a:lnTo>
                  <a:lnTo>
                    <a:pt x="476250" y="904875"/>
                  </a:lnTo>
                  <a:lnTo>
                    <a:pt x="478155" y="899160"/>
                  </a:lnTo>
                  <a:lnTo>
                    <a:pt x="484823" y="888683"/>
                  </a:lnTo>
                  <a:lnTo>
                    <a:pt x="498158" y="876300"/>
                  </a:lnTo>
                  <a:lnTo>
                    <a:pt x="500063" y="873443"/>
                  </a:lnTo>
                  <a:lnTo>
                    <a:pt x="501967" y="866775"/>
                  </a:lnTo>
                  <a:lnTo>
                    <a:pt x="501967" y="860108"/>
                  </a:lnTo>
                  <a:lnTo>
                    <a:pt x="501015" y="857250"/>
                  </a:lnTo>
                  <a:lnTo>
                    <a:pt x="500063" y="855345"/>
                  </a:lnTo>
                  <a:lnTo>
                    <a:pt x="497205" y="852488"/>
                  </a:lnTo>
                  <a:lnTo>
                    <a:pt x="495300" y="849630"/>
                  </a:lnTo>
                  <a:lnTo>
                    <a:pt x="493395" y="846773"/>
                  </a:lnTo>
                  <a:lnTo>
                    <a:pt x="484823" y="840105"/>
                  </a:lnTo>
                  <a:lnTo>
                    <a:pt x="482917" y="838200"/>
                  </a:lnTo>
                  <a:lnTo>
                    <a:pt x="481013" y="835343"/>
                  </a:lnTo>
                  <a:lnTo>
                    <a:pt x="481013" y="831533"/>
                  </a:lnTo>
                  <a:lnTo>
                    <a:pt x="482917" y="825818"/>
                  </a:lnTo>
                  <a:lnTo>
                    <a:pt x="485775" y="822960"/>
                  </a:lnTo>
                  <a:lnTo>
                    <a:pt x="488633" y="820103"/>
                  </a:lnTo>
                  <a:lnTo>
                    <a:pt x="525780" y="815340"/>
                  </a:lnTo>
                  <a:lnTo>
                    <a:pt x="530543" y="813435"/>
                  </a:lnTo>
                  <a:lnTo>
                    <a:pt x="534353" y="811530"/>
                  </a:lnTo>
                  <a:lnTo>
                    <a:pt x="541973" y="805815"/>
                  </a:lnTo>
                  <a:lnTo>
                    <a:pt x="543878" y="802005"/>
                  </a:lnTo>
                  <a:lnTo>
                    <a:pt x="544830" y="798195"/>
                  </a:lnTo>
                  <a:lnTo>
                    <a:pt x="543878" y="792480"/>
                  </a:lnTo>
                  <a:lnTo>
                    <a:pt x="542925" y="782003"/>
                  </a:lnTo>
                  <a:lnTo>
                    <a:pt x="541020" y="776288"/>
                  </a:lnTo>
                  <a:lnTo>
                    <a:pt x="536258" y="769620"/>
                  </a:lnTo>
                  <a:lnTo>
                    <a:pt x="536258" y="766763"/>
                  </a:lnTo>
                  <a:lnTo>
                    <a:pt x="535305" y="760095"/>
                  </a:lnTo>
                  <a:lnTo>
                    <a:pt x="533400" y="755333"/>
                  </a:lnTo>
                  <a:lnTo>
                    <a:pt x="524828" y="740093"/>
                  </a:lnTo>
                  <a:lnTo>
                    <a:pt x="516255" y="730568"/>
                  </a:lnTo>
                  <a:lnTo>
                    <a:pt x="511492" y="726758"/>
                  </a:lnTo>
                  <a:lnTo>
                    <a:pt x="506730" y="723900"/>
                  </a:lnTo>
                  <a:lnTo>
                    <a:pt x="501015" y="724853"/>
                  </a:lnTo>
                  <a:lnTo>
                    <a:pt x="495300" y="725805"/>
                  </a:lnTo>
                  <a:lnTo>
                    <a:pt x="494348" y="726758"/>
                  </a:lnTo>
                  <a:lnTo>
                    <a:pt x="488633" y="731520"/>
                  </a:lnTo>
                  <a:lnTo>
                    <a:pt x="486728" y="732473"/>
                  </a:lnTo>
                  <a:lnTo>
                    <a:pt x="483870" y="732473"/>
                  </a:lnTo>
                  <a:lnTo>
                    <a:pt x="470535" y="726758"/>
                  </a:lnTo>
                  <a:lnTo>
                    <a:pt x="467678" y="724853"/>
                  </a:lnTo>
                  <a:lnTo>
                    <a:pt x="465773" y="722948"/>
                  </a:lnTo>
                  <a:lnTo>
                    <a:pt x="465773" y="718185"/>
                  </a:lnTo>
                  <a:lnTo>
                    <a:pt x="468630" y="695325"/>
                  </a:lnTo>
                  <a:lnTo>
                    <a:pt x="469583" y="690563"/>
                  </a:lnTo>
                  <a:lnTo>
                    <a:pt x="471488" y="688658"/>
                  </a:lnTo>
                  <a:lnTo>
                    <a:pt x="508635" y="681038"/>
                  </a:lnTo>
                  <a:lnTo>
                    <a:pt x="513398" y="677228"/>
                  </a:lnTo>
                  <a:lnTo>
                    <a:pt x="519113" y="671513"/>
                  </a:lnTo>
                  <a:lnTo>
                    <a:pt x="523875" y="662940"/>
                  </a:lnTo>
                  <a:lnTo>
                    <a:pt x="526733" y="657225"/>
                  </a:lnTo>
                  <a:lnTo>
                    <a:pt x="526733" y="652463"/>
                  </a:lnTo>
                  <a:lnTo>
                    <a:pt x="527685" y="642938"/>
                  </a:lnTo>
                  <a:lnTo>
                    <a:pt x="527685" y="639128"/>
                  </a:lnTo>
                  <a:lnTo>
                    <a:pt x="525780" y="633413"/>
                  </a:lnTo>
                  <a:lnTo>
                    <a:pt x="523875" y="631508"/>
                  </a:lnTo>
                  <a:lnTo>
                    <a:pt x="497205" y="604838"/>
                  </a:lnTo>
                  <a:lnTo>
                    <a:pt x="457200" y="584835"/>
                  </a:lnTo>
                  <a:lnTo>
                    <a:pt x="453390" y="580073"/>
                  </a:lnTo>
                  <a:lnTo>
                    <a:pt x="450533" y="575310"/>
                  </a:lnTo>
                  <a:lnTo>
                    <a:pt x="440055" y="562928"/>
                  </a:lnTo>
                  <a:lnTo>
                    <a:pt x="424815" y="550545"/>
                  </a:lnTo>
                  <a:lnTo>
                    <a:pt x="421005" y="546735"/>
                  </a:lnTo>
                  <a:lnTo>
                    <a:pt x="420053" y="543878"/>
                  </a:lnTo>
                  <a:lnTo>
                    <a:pt x="420053" y="541020"/>
                  </a:lnTo>
                  <a:lnTo>
                    <a:pt x="419100" y="534353"/>
                  </a:lnTo>
                  <a:lnTo>
                    <a:pt x="417195" y="529590"/>
                  </a:lnTo>
                  <a:lnTo>
                    <a:pt x="414338" y="526733"/>
                  </a:lnTo>
                  <a:lnTo>
                    <a:pt x="404813" y="521970"/>
                  </a:lnTo>
                  <a:lnTo>
                    <a:pt x="399098" y="519113"/>
                  </a:lnTo>
                  <a:lnTo>
                    <a:pt x="396240" y="514350"/>
                  </a:lnTo>
                  <a:lnTo>
                    <a:pt x="393383" y="509588"/>
                  </a:lnTo>
                  <a:lnTo>
                    <a:pt x="392430" y="506730"/>
                  </a:lnTo>
                  <a:lnTo>
                    <a:pt x="393383" y="500063"/>
                  </a:lnTo>
                  <a:lnTo>
                    <a:pt x="395288" y="491490"/>
                  </a:lnTo>
                  <a:lnTo>
                    <a:pt x="400050" y="472440"/>
                  </a:lnTo>
                  <a:lnTo>
                    <a:pt x="400050" y="464820"/>
                  </a:lnTo>
                  <a:lnTo>
                    <a:pt x="399098" y="462915"/>
                  </a:lnTo>
                  <a:lnTo>
                    <a:pt x="397192" y="463868"/>
                  </a:lnTo>
                  <a:lnTo>
                    <a:pt x="389573" y="471488"/>
                  </a:lnTo>
                  <a:lnTo>
                    <a:pt x="384810" y="473393"/>
                  </a:lnTo>
                  <a:lnTo>
                    <a:pt x="381000" y="474345"/>
                  </a:lnTo>
                  <a:lnTo>
                    <a:pt x="374333" y="474345"/>
                  </a:lnTo>
                  <a:lnTo>
                    <a:pt x="371475" y="473393"/>
                  </a:lnTo>
                  <a:lnTo>
                    <a:pt x="365760" y="470535"/>
                  </a:lnTo>
                  <a:lnTo>
                    <a:pt x="362903" y="465772"/>
                  </a:lnTo>
                  <a:lnTo>
                    <a:pt x="360998" y="461010"/>
                  </a:lnTo>
                  <a:lnTo>
                    <a:pt x="359092" y="459105"/>
                  </a:lnTo>
                  <a:lnTo>
                    <a:pt x="356235" y="459105"/>
                  </a:lnTo>
                  <a:lnTo>
                    <a:pt x="354330" y="460058"/>
                  </a:lnTo>
                  <a:lnTo>
                    <a:pt x="352425" y="461963"/>
                  </a:lnTo>
                  <a:lnTo>
                    <a:pt x="350520" y="464820"/>
                  </a:lnTo>
                  <a:lnTo>
                    <a:pt x="346710" y="471488"/>
                  </a:lnTo>
                  <a:lnTo>
                    <a:pt x="344805" y="474345"/>
                  </a:lnTo>
                  <a:lnTo>
                    <a:pt x="340995" y="478155"/>
                  </a:lnTo>
                  <a:lnTo>
                    <a:pt x="339090" y="480060"/>
                  </a:lnTo>
                  <a:lnTo>
                    <a:pt x="336233" y="481013"/>
                  </a:lnTo>
                  <a:lnTo>
                    <a:pt x="333375" y="481013"/>
                  </a:lnTo>
                  <a:lnTo>
                    <a:pt x="330517" y="481013"/>
                  </a:lnTo>
                  <a:lnTo>
                    <a:pt x="319088" y="476250"/>
                  </a:lnTo>
                  <a:lnTo>
                    <a:pt x="312420" y="475297"/>
                  </a:lnTo>
                  <a:lnTo>
                    <a:pt x="305753" y="476250"/>
                  </a:lnTo>
                  <a:lnTo>
                    <a:pt x="300038" y="477203"/>
                  </a:lnTo>
                  <a:lnTo>
                    <a:pt x="294323" y="479108"/>
                  </a:lnTo>
                  <a:lnTo>
                    <a:pt x="287655" y="483870"/>
                  </a:lnTo>
                  <a:lnTo>
                    <a:pt x="285750" y="485775"/>
                  </a:lnTo>
                  <a:lnTo>
                    <a:pt x="282892" y="491490"/>
                  </a:lnTo>
                  <a:lnTo>
                    <a:pt x="280035" y="500063"/>
                  </a:lnTo>
                  <a:lnTo>
                    <a:pt x="278130" y="502920"/>
                  </a:lnTo>
                  <a:lnTo>
                    <a:pt x="276225" y="504825"/>
                  </a:lnTo>
                  <a:lnTo>
                    <a:pt x="274320" y="505778"/>
                  </a:lnTo>
                  <a:lnTo>
                    <a:pt x="269558" y="504825"/>
                  </a:lnTo>
                  <a:lnTo>
                    <a:pt x="267653" y="503872"/>
                  </a:lnTo>
                  <a:lnTo>
                    <a:pt x="263842" y="499110"/>
                  </a:lnTo>
                  <a:lnTo>
                    <a:pt x="260985" y="494347"/>
                  </a:lnTo>
                  <a:lnTo>
                    <a:pt x="260033" y="491490"/>
                  </a:lnTo>
                  <a:lnTo>
                    <a:pt x="259080" y="484822"/>
                  </a:lnTo>
                  <a:lnTo>
                    <a:pt x="262890" y="453390"/>
                  </a:lnTo>
                  <a:lnTo>
                    <a:pt x="262890" y="450533"/>
                  </a:lnTo>
                  <a:lnTo>
                    <a:pt x="261938" y="440055"/>
                  </a:lnTo>
                  <a:lnTo>
                    <a:pt x="261938" y="433388"/>
                  </a:lnTo>
                  <a:lnTo>
                    <a:pt x="262890" y="421958"/>
                  </a:lnTo>
                  <a:lnTo>
                    <a:pt x="264795" y="407670"/>
                  </a:lnTo>
                  <a:lnTo>
                    <a:pt x="265748" y="400050"/>
                  </a:lnTo>
                  <a:lnTo>
                    <a:pt x="265748" y="397193"/>
                  </a:lnTo>
                  <a:lnTo>
                    <a:pt x="264795" y="390525"/>
                  </a:lnTo>
                  <a:lnTo>
                    <a:pt x="259080" y="367665"/>
                  </a:lnTo>
                  <a:lnTo>
                    <a:pt x="257175" y="360045"/>
                  </a:lnTo>
                  <a:lnTo>
                    <a:pt x="257175" y="356235"/>
                  </a:lnTo>
                  <a:lnTo>
                    <a:pt x="258128" y="342900"/>
                  </a:lnTo>
                  <a:lnTo>
                    <a:pt x="259080" y="338138"/>
                  </a:lnTo>
                  <a:lnTo>
                    <a:pt x="260033" y="334328"/>
                  </a:lnTo>
                  <a:lnTo>
                    <a:pt x="262890" y="329565"/>
                  </a:lnTo>
                  <a:lnTo>
                    <a:pt x="266700" y="325755"/>
                  </a:lnTo>
                  <a:lnTo>
                    <a:pt x="276225" y="317183"/>
                  </a:lnTo>
                  <a:lnTo>
                    <a:pt x="279083" y="313372"/>
                  </a:lnTo>
                  <a:lnTo>
                    <a:pt x="283845" y="304800"/>
                  </a:lnTo>
                  <a:lnTo>
                    <a:pt x="284798" y="299085"/>
                  </a:lnTo>
                  <a:lnTo>
                    <a:pt x="284798" y="295275"/>
                  </a:lnTo>
                  <a:lnTo>
                    <a:pt x="281940" y="289560"/>
                  </a:lnTo>
                  <a:lnTo>
                    <a:pt x="278130" y="286703"/>
                  </a:lnTo>
                  <a:lnTo>
                    <a:pt x="268605" y="283845"/>
                  </a:lnTo>
                  <a:lnTo>
                    <a:pt x="265748" y="281940"/>
                  </a:lnTo>
                  <a:lnTo>
                    <a:pt x="264795" y="280035"/>
                  </a:lnTo>
                  <a:lnTo>
                    <a:pt x="262890" y="270510"/>
                  </a:lnTo>
                  <a:lnTo>
                    <a:pt x="260985" y="268605"/>
                  </a:lnTo>
                  <a:lnTo>
                    <a:pt x="259080" y="269558"/>
                  </a:lnTo>
                  <a:lnTo>
                    <a:pt x="253365" y="270510"/>
                  </a:lnTo>
                  <a:lnTo>
                    <a:pt x="249555" y="270510"/>
                  </a:lnTo>
                  <a:lnTo>
                    <a:pt x="242888" y="269558"/>
                  </a:lnTo>
                  <a:lnTo>
                    <a:pt x="238125" y="266700"/>
                  </a:lnTo>
                  <a:lnTo>
                    <a:pt x="235267" y="261938"/>
                  </a:lnTo>
                  <a:lnTo>
                    <a:pt x="234315" y="255270"/>
                  </a:lnTo>
                  <a:lnTo>
                    <a:pt x="234315" y="244793"/>
                  </a:lnTo>
                  <a:lnTo>
                    <a:pt x="233363" y="227647"/>
                  </a:lnTo>
                  <a:lnTo>
                    <a:pt x="233363" y="213360"/>
                  </a:lnTo>
                  <a:lnTo>
                    <a:pt x="236220" y="196215"/>
                  </a:lnTo>
                  <a:lnTo>
                    <a:pt x="237173" y="187643"/>
                  </a:lnTo>
                  <a:lnTo>
                    <a:pt x="239078" y="181928"/>
                  </a:lnTo>
                  <a:lnTo>
                    <a:pt x="242888" y="173355"/>
                  </a:lnTo>
                  <a:lnTo>
                    <a:pt x="268605" y="136208"/>
                  </a:lnTo>
                  <a:lnTo>
                    <a:pt x="287655" y="120015"/>
                  </a:lnTo>
                  <a:lnTo>
                    <a:pt x="291465" y="116205"/>
                  </a:lnTo>
                  <a:lnTo>
                    <a:pt x="298133" y="105728"/>
                  </a:lnTo>
                  <a:lnTo>
                    <a:pt x="303848" y="95250"/>
                  </a:lnTo>
                  <a:lnTo>
                    <a:pt x="304800" y="90488"/>
                  </a:lnTo>
                  <a:lnTo>
                    <a:pt x="305753" y="86678"/>
                  </a:lnTo>
                  <a:lnTo>
                    <a:pt x="305753" y="82868"/>
                  </a:lnTo>
                  <a:lnTo>
                    <a:pt x="304800" y="77153"/>
                  </a:lnTo>
                  <a:lnTo>
                    <a:pt x="300990" y="68580"/>
                  </a:lnTo>
                  <a:lnTo>
                    <a:pt x="300038" y="63818"/>
                  </a:lnTo>
                  <a:lnTo>
                    <a:pt x="299085" y="58103"/>
                  </a:lnTo>
                  <a:lnTo>
                    <a:pt x="299085" y="52388"/>
                  </a:lnTo>
                  <a:lnTo>
                    <a:pt x="300038" y="47625"/>
                  </a:lnTo>
                  <a:lnTo>
                    <a:pt x="300990" y="44768"/>
                  </a:lnTo>
                  <a:lnTo>
                    <a:pt x="302895" y="41910"/>
                  </a:lnTo>
                  <a:lnTo>
                    <a:pt x="306705" y="39053"/>
                  </a:lnTo>
                  <a:lnTo>
                    <a:pt x="314325" y="34290"/>
                  </a:lnTo>
                  <a:lnTo>
                    <a:pt x="316230" y="32385"/>
                  </a:lnTo>
                  <a:lnTo>
                    <a:pt x="315278" y="30480"/>
                  </a:lnTo>
                  <a:lnTo>
                    <a:pt x="312420" y="29528"/>
                  </a:lnTo>
                  <a:lnTo>
                    <a:pt x="264795" y="26670"/>
                  </a:lnTo>
                  <a:lnTo>
                    <a:pt x="258128" y="22860"/>
                  </a:lnTo>
                  <a:lnTo>
                    <a:pt x="255270" y="7620"/>
                  </a:lnTo>
                  <a:lnTo>
                    <a:pt x="327660" y="8573"/>
                  </a:lnTo>
                  <a:lnTo>
                    <a:pt x="371475" y="0"/>
                  </a:lnTo>
                  <a:lnTo>
                    <a:pt x="484823" y="20955"/>
                  </a:lnTo>
                  <a:lnTo>
                    <a:pt x="521017" y="20003"/>
                  </a:lnTo>
                  <a:lnTo>
                    <a:pt x="537210" y="23813"/>
                  </a:lnTo>
                  <a:lnTo>
                    <a:pt x="570548" y="54293"/>
                  </a:lnTo>
                  <a:lnTo>
                    <a:pt x="586740" y="60960"/>
                  </a:lnTo>
                  <a:lnTo>
                    <a:pt x="709613" y="65723"/>
                  </a:lnTo>
                  <a:lnTo>
                    <a:pt x="715328" y="69532"/>
                  </a:lnTo>
                  <a:lnTo>
                    <a:pt x="715328" y="75248"/>
                  </a:lnTo>
                  <a:lnTo>
                    <a:pt x="714375" y="82868"/>
                  </a:lnTo>
                  <a:lnTo>
                    <a:pt x="715328" y="91440"/>
                  </a:lnTo>
                  <a:lnTo>
                    <a:pt x="721995" y="100965"/>
                  </a:lnTo>
                  <a:lnTo>
                    <a:pt x="729615" y="104775"/>
                  </a:lnTo>
                  <a:lnTo>
                    <a:pt x="845820" y="108585"/>
                  </a:lnTo>
                  <a:lnTo>
                    <a:pt x="944880" y="152400"/>
                  </a:lnTo>
                  <a:lnTo>
                    <a:pt x="980123" y="158115"/>
                  </a:lnTo>
                  <a:lnTo>
                    <a:pt x="1033463" y="140018"/>
                  </a:lnTo>
                  <a:lnTo>
                    <a:pt x="1079183" y="140970"/>
                  </a:lnTo>
                  <a:lnTo>
                    <a:pt x="1101090" y="146685"/>
                  </a:lnTo>
                  <a:lnTo>
                    <a:pt x="1115377" y="154305"/>
                  </a:lnTo>
                  <a:lnTo>
                    <a:pt x="1119188" y="167640"/>
                  </a:lnTo>
                  <a:lnTo>
                    <a:pt x="1117283" y="185738"/>
                  </a:lnTo>
                  <a:lnTo>
                    <a:pt x="1117283" y="208598"/>
                  </a:lnTo>
                  <a:lnTo>
                    <a:pt x="1121093" y="225743"/>
                  </a:lnTo>
                  <a:lnTo>
                    <a:pt x="1128713" y="232410"/>
                  </a:lnTo>
                  <a:lnTo>
                    <a:pt x="1139190" y="234315"/>
                  </a:lnTo>
                  <a:lnTo>
                    <a:pt x="1152525" y="232410"/>
                  </a:lnTo>
                  <a:lnTo>
                    <a:pt x="1167765" y="236220"/>
                  </a:lnTo>
                  <a:lnTo>
                    <a:pt x="1166813" y="250508"/>
                  </a:lnTo>
                  <a:lnTo>
                    <a:pt x="1158240" y="269558"/>
                  </a:lnTo>
                  <a:lnTo>
                    <a:pt x="1155383" y="283845"/>
                  </a:lnTo>
                  <a:lnTo>
                    <a:pt x="1163002" y="290513"/>
                  </a:lnTo>
                  <a:lnTo>
                    <a:pt x="1174433" y="288608"/>
                  </a:lnTo>
                  <a:lnTo>
                    <a:pt x="1195388" y="281940"/>
                  </a:lnTo>
                  <a:lnTo>
                    <a:pt x="1226820" y="287655"/>
                  </a:lnTo>
                  <a:lnTo>
                    <a:pt x="1237298" y="286703"/>
                  </a:lnTo>
                  <a:lnTo>
                    <a:pt x="1248727" y="280988"/>
                  </a:lnTo>
                  <a:lnTo>
                    <a:pt x="1263968" y="264795"/>
                  </a:lnTo>
                  <a:lnTo>
                    <a:pt x="1273493" y="259080"/>
                  </a:lnTo>
                  <a:lnTo>
                    <a:pt x="1291590" y="260033"/>
                  </a:lnTo>
                  <a:lnTo>
                    <a:pt x="1348740" y="282893"/>
                  </a:lnTo>
                  <a:lnTo>
                    <a:pt x="1378268" y="283845"/>
                  </a:lnTo>
                  <a:lnTo>
                    <a:pt x="1386840" y="288608"/>
                  </a:lnTo>
                  <a:lnTo>
                    <a:pt x="1393508" y="306705"/>
                  </a:lnTo>
                  <a:lnTo>
                    <a:pt x="1389698" y="327660"/>
                  </a:lnTo>
                  <a:lnTo>
                    <a:pt x="1371600" y="370522"/>
                  </a:lnTo>
                  <a:lnTo>
                    <a:pt x="1372552" y="37242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5" name="Полилиния: фигура 7">
              <a:extLst>
                <a:ext uri="{FF2B5EF4-FFF2-40B4-BE49-F238E27FC236}">
                  <a16:creationId xmlns:a16="http://schemas.microsoft.com/office/drawing/2014/main" id="{CE8B950D-03A3-1752-B5E7-0795DA11A475}"/>
                </a:ext>
              </a:extLst>
            </p:cNvPr>
            <p:cNvSpPr/>
            <p:nvPr/>
          </p:nvSpPr>
          <p:spPr>
            <a:xfrm>
              <a:off x="2816542" y="3312795"/>
              <a:ext cx="1352550" cy="762000"/>
            </a:xfrm>
            <a:custGeom>
              <a:avLst/>
              <a:gdLst>
                <a:gd name="connsiteX0" fmla="*/ 766763 w 1352550"/>
                <a:gd name="connsiteY0" fmla="*/ 128588 h 762000"/>
                <a:gd name="connsiteX1" fmla="*/ 779145 w 1352550"/>
                <a:gd name="connsiteY1" fmla="*/ 114300 h 762000"/>
                <a:gd name="connsiteX2" fmla="*/ 788670 w 1352550"/>
                <a:gd name="connsiteY2" fmla="*/ 118110 h 762000"/>
                <a:gd name="connsiteX3" fmla="*/ 813435 w 1352550"/>
                <a:gd name="connsiteY3" fmla="*/ 111443 h 762000"/>
                <a:gd name="connsiteX4" fmla="*/ 823913 w 1352550"/>
                <a:gd name="connsiteY4" fmla="*/ 117158 h 762000"/>
                <a:gd name="connsiteX5" fmla="*/ 837248 w 1352550"/>
                <a:gd name="connsiteY5" fmla="*/ 130493 h 762000"/>
                <a:gd name="connsiteX6" fmla="*/ 841058 w 1352550"/>
                <a:gd name="connsiteY6" fmla="*/ 136208 h 762000"/>
                <a:gd name="connsiteX7" fmla="*/ 850583 w 1352550"/>
                <a:gd name="connsiteY7" fmla="*/ 159068 h 762000"/>
                <a:gd name="connsiteX8" fmla="*/ 857250 w 1352550"/>
                <a:gd name="connsiteY8" fmla="*/ 169545 h 762000"/>
                <a:gd name="connsiteX9" fmla="*/ 864870 w 1352550"/>
                <a:gd name="connsiteY9" fmla="*/ 176213 h 762000"/>
                <a:gd name="connsiteX10" fmla="*/ 873443 w 1352550"/>
                <a:gd name="connsiteY10" fmla="*/ 179070 h 762000"/>
                <a:gd name="connsiteX11" fmla="*/ 884873 w 1352550"/>
                <a:gd name="connsiteY11" fmla="*/ 180023 h 762000"/>
                <a:gd name="connsiteX12" fmla="*/ 893445 w 1352550"/>
                <a:gd name="connsiteY12" fmla="*/ 175260 h 762000"/>
                <a:gd name="connsiteX13" fmla="*/ 885825 w 1352550"/>
                <a:gd name="connsiteY13" fmla="*/ 147638 h 762000"/>
                <a:gd name="connsiteX14" fmla="*/ 890588 w 1352550"/>
                <a:gd name="connsiteY14" fmla="*/ 136208 h 762000"/>
                <a:gd name="connsiteX15" fmla="*/ 896303 w 1352550"/>
                <a:gd name="connsiteY15" fmla="*/ 135255 h 762000"/>
                <a:gd name="connsiteX16" fmla="*/ 900113 w 1352550"/>
                <a:gd name="connsiteY16" fmla="*/ 139065 h 762000"/>
                <a:gd name="connsiteX17" fmla="*/ 902970 w 1352550"/>
                <a:gd name="connsiteY17" fmla="*/ 144780 h 762000"/>
                <a:gd name="connsiteX18" fmla="*/ 904875 w 1352550"/>
                <a:gd name="connsiteY18" fmla="*/ 147638 h 762000"/>
                <a:gd name="connsiteX19" fmla="*/ 910590 w 1352550"/>
                <a:gd name="connsiteY19" fmla="*/ 148590 h 762000"/>
                <a:gd name="connsiteX20" fmla="*/ 928688 w 1352550"/>
                <a:gd name="connsiteY20" fmla="*/ 147638 h 762000"/>
                <a:gd name="connsiteX21" fmla="*/ 939165 w 1352550"/>
                <a:gd name="connsiteY21" fmla="*/ 144780 h 762000"/>
                <a:gd name="connsiteX22" fmla="*/ 937260 w 1352550"/>
                <a:gd name="connsiteY22" fmla="*/ 136208 h 762000"/>
                <a:gd name="connsiteX23" fmla="*/ 928688 w 1352550"/>
                <a:gd name="connsiteY23" fmla="*/ 127635 h 762000"/>
                <a:gd name="connsiteX24" fmla="*/ 919163 w 1352550"/>
                <a:gd name="connsiteY24" fmla="*/ 120968 h 762000"/>
                <a:gd name="connsiteX25" fmla="*/ 900113 w 1352550"/>
                <a:gd name="connsiteY25" fmla="*/ 115253 h 762000"/>
                <a:gd name="connsiteX26" fmla="*/ 889635 w 1352550"/>
                <a:gd name="connsiteY26" fmla="*/ 109538 h 762000"/>
                <a:gd name="connsiteX27" fmla="*/ 888683 w 1352550"/>
                <a:gd name="connsiteY27" fmla="*/ 100965 h 762000"/>
                <a:gd name="connsiteX28" fmla="*/ 899160 w 1352550"/>
                <a:gd name="connsiteY28" fmla="*/ 92393 h 762000"/>
                <a:gd name="connsiteX29" fmla="*/ 911543 w 1352550"/>
                <a:gd name="connsiteY29" fmla="*/ 95250 h 762000"/>
                <a:gd name="connsiteX30" fmla="*/ 930593 w 1352550"/>
                <a:gd name="connsiteY30" fmla="*/ 109538 h 762000"/>
                <a:gd name="connsiteX31" fmla="*/ 938213 w 1352550"/>
                <a:gd name="connsiteY31" fmla="*/ 113348 h 762000"/>
                <a:gd name="connsiteX32" fmla="*/ 946785 w 1352550"/>
                <a:gd name="connsiteY32" fmla="*/ 114300 h 762000"/>
                <a:gd name="connsiteX33" fmla="*/ 952500 w 1352550"/>
                <a:gd name="connsiteY33" fmla="*/ 109538 h 762000"/>
                <a:gd name="connsiteX34" fmla="*/ 955358 w 1352550"/>
                <a:gd name="connsiteY34" fmla="*/ 96203 h 762000"/>
                <a:gd name="connsiteX35" fmla="*/ 953453 w 1352550"/>
                <a:gd name="connsiteY35" fmla="*/ 91440 h 762000"/>
                <a:gd name="connsiteX36" fmla="*/ 942975 w 1352550"/>
                <a:gd name="connsiteY36" fmla="*/ 80010 h 762000"/>
                <a:gd name="connsiteX37" fmla="*/ 941070 w 1352550"/>
                <a:gd name="connsiteY37" fmla="*/ 74295 h 762000"/>
                <a:gd name="connsiteX38" fmla="*/ 943928 w 1352550"/>
                <a:gd name="connsiteY38" fmla="*/ 66675 h 762000"/>
                <a:gd name="connsiteX39" fmla="*/ 950595 w 1352550"/>
                <a:gd name="connsiteY39" fmla="*/ 65723 h 762000"/>
                <a:gd name="connsiteX40" fmla="*/ 956310 w 1352550"/>
                <a:gd name="connsiteY40" fmla="*/ 71438 h 762000"/>
                <a:gd name="connsiteX41" fmla="*/ 959168 w 1352550"/>
                <a:gd name="connsiteY41" fmla="*/ 79058 h 762000"/>
                <a:gd name="connsiteX42" fmla="*/ 961073 w 1352550"/>
                <a:gd name="connsiteY42" fmla="*/ 92393 h 762000"/>
                <a:gd name="connsiteX43" fmla="*/ 965835 w 1352550"/>
                <a:gd name="connsiteY43" fmla="*/ 101918 h 762000"/>
                <a:gd name="connsiteX44" fmla="*/ 973455 w 1352550"/>
                <a:gd name="connsiteY44" fmla="*/ 100965 h 762000"/>
                <a:gd name="connsiteX45" fmla="*/ 981075 w 1352550"/>
                <a:gd name="connsiteY45" fmla="*/ 87630 h 762000"/>
                <a:gd name="connsiteX46" fmla="*/ 982027 w 1352550"/>
                <a:gd name="connsiteY46" fmla="*/ 79058 h 762000"/>
                <a:gd name="connsiteX47" fmla="*/ 978218 w 1352550"/>
                <a:gd name="connsiteY47" fmla="*/ 67628 h 762000"/>
                <a:gd name="connsiteX48" fmla="*/ 981075 w 1352550"/>
                <a:gd name="connsiteY48" fmla="*/ 60960 h 762000"/>
                <a:gd name="connsiteX49" fmla="*/ 986790 w 1352550"/>
                <a:gd name="connsiteY49" fmla="*/ 56198 h 762000"/>
                <a:gd name="connsiteX50" fmla="*/ 991552 w 1352550"/>
                <a:gd name="connsiteY50" fmla="*/ 55245 h 762000"/>
                <a:gd name="connsiteX51" fmla="*/ 997268 w 1352550"/>
                <a:gd name="connsiteY51" fmla="*/ 57150 h 762000"/>
                <a:gd name="connsiteX52" fmla="*/ 1002983 w 1352550"/>
                <a:gd name="connsiteY52" fmla="*/ 60960 h 762000"/>
                <a:gd name="connsiteX53" fmla="*/ 999173 w 1352550"/>
                <a:gd name="connsiteY53" fmla="*/ 77153 h 762000"/>
                <a:gd name="connsiteX54" fmla="*/ 1002030 w 1352550"/>
                <a:gd name="connsiteY54" fmla="*/ 93345 h 762000"/>
                <a:gd name="connsiteX55" fmla="*/ 1009650 w 1352550"/>
                <a:gd name="connsiteY55" fmla="*/ 104775 h 762000"/>
                <a:gd name="connsiteX56" fmla="*/ 1019175 w 1352550"/>
                <a:gd name="connsiteY56" fmla="*/ 109538 h 762000"/>
                <a:gd name="connsiteX57" fmla="*/ 1032510 w 1352550"/>
                <a:gd name="connsiteY57" fmla="*/ 107633 h 762000"/>
                <a:gd name="connsiteX58" fmla="*/ 1040130 w 1352550"/>
                <a:gd name="connsiteY58" fmla="*/ 100965 h 762000"/>
                <a:gd name="connsiteX59" fmla="*/ 1045845 w 1352550"/>
                <a:gd name="connsiteY59" fmla="*/ 91440 h 762000"/>
                <a:gd name="connsiteX60" fmla="*/ 1053465 w 1352550"/>
                <a:gd name="connsiteY60" fmla="*/ 81915 h 762000"/>
                <a:gd name="connsiteX61" fmla="*/ 1063943 w 1352550"/>
                <a:gd name="connsiteY61" fmla="*/ 77153 h 762000"/>
                <a:gd name="connsiteX62" fmla="*/ 1075373 w 1352550"/>
                <a:gd name="connsiteY62" fmla="*/ 77153 h 762000"/>
                <a:gd name="connsiteX63" fmla="*/ 1095375 w 1352550"/>
                <a:gd name="connsiteY63" fmla="*/ 81915 h 762000"/>
                <a:gd name="connsiteX64" fmla="*/ 1102043 w 1352550"/>
                <a:gd name="connsiteY64" fmla="*/ 90488 h 762000"/>
                <a:gd name="connsiteX65" fmla="*/ 1105852 w 1352550"/>
                <a:gd name="connsiteY65" fmla="*/ 93345 h 762000"/>
                <a:gd name="connsiteX66" fmla="*/ 1107758 w 1352550"/>
                <a:gd name="connsiteY66" fmla="*/ 92393 h 762000"/>
                <a:gd name="connsiteX67" fmla="*/ 1109663 w 1352550"/>
                <a:gd name="connsiteY67" fmla="*/ 89535 h 762000"/>
                <a:gd name="connsiteX68" fmla="*/ 1112520 w 1352550"/>
                <a:gd name="connsiteY68" fmla="*/ 87630 h 762000"/>
                <a:gd name="connsiteX69" fmla="*/ 1119188 w 1352550"/>
                <a:gd name="connsiteY69" fmla="*/ 88583 h 762000"/>
                <a:gd name="connsiteX70" fmla="*/ 1129665 w 1352550"/>
                <a:gd name="connsiteY70" fmla="*/ 92393 h 762000"/>
                <a:gd name="connsiteX71" fmla="*/ 1152525 w 1352550"/>
                <a:gd name="connsiteY71" fmla="*/ 94298 h 762000"/>
                <a:gd name="connsiteX72" fmla="*/ 1158240 w 1352550"/>
                <a:gd name="connsiteY72" fmla="*/ 93345 h 762000"/>
                <a:gd name="connsiteX73" fmla="*/ 1161098 w 1352550"/>
                <a:gd name="connsiteY73" fmla="*/ 89535 h 762000"/>
                <a:gd name="connsiteX74" fmla="*/ 1167765 w 1352550"/>
                <a:gd name="connsiteY74" fmla="*/ 79058 h 762000"/>
                <a:gd name="connsiteX75" fmla="*/ 1170623 w 1352550"/>
                <a:gd name="connsiteY75" fmla="*/ 76200 h 762000"/>
                <a:gd name="connsiteX76" fmla="*/ 1188720 w 1352550"/>
                <a:gd name="connsiteY76" fmla="*/ 76200 h 762000"/>
                <a:gd name="connsiteX77" fmla="*/ 1194435 w 1352550"/>
                <a:gd name="connsiteY77" fmla="*/ 78105 h 762000"/>
                <a:gd name="connsiteX78" fmla="*/ 1205865 w 1352550"/>
                <a:gd name="connsiteY78" fmla="*/ 85725 h 762000"/>
                <a:gd name="connsiteX79" fmla="*/ 1212533 w 1352550"/>
                <a:gd name="connsiteY79" fmla="*/ 87630 h 762000"/>
                <a:gd name="connsiteX80" fmla="*/ 1218248 w 1352550"/>
                <a:gd name="connsiteY80" fmla="*/ 86678 h 762000"/>
                <a:gd name="connsiteX81" fmla="*/ 1223963 w 1352550"/>
                <a:gd name="connsiteY81" fmla="*/ 85725 h 762000"/>
                <a:gd name="connsiteX82" fmla="*/ 1227773 w 1352550"/>
                <a:gd name="connsiteY82" fmla="*/ 82868 h 762000"/>
                <a:gd name="connsiteX83" fmla="*/ 1230630 w 1352550"/>
                <a:gd name="connsiteY83" fmla="*/ 76200 h 762000"/>
                <a:gd name="connsiteX84" fmla="*/ 1230630 w 1352550"/>
                <a:gd name="connsiteY84" fmla="*/ 65723 h 762000"/>
                <a:gd name="connsiteX85" fmla="*/ 1227773 w 1352550"/>
                <a:gd name="connsiteY85" fmla="*/ 61913 h 762000"/>
                <a:gd name="connsiteX86" fmla="*/ 1222058 w 1352550"/>
                <a:gd name="connsiteY86" fmla="*/ 60960 h 762000"/>
                <a:gd name="connsiteX87" fmla="*/ 1217295 w 1352550"/>
                <a:gd name="connsiteY87" fmla="*/ 58103 h 762000"/>
                <a:gd name="connsiteX88" fmla="*/ 1216343 w 1352550"/>
                <a:gd name="connsiteY88" fmla="*/ 47625 h 762000"/>
                <a:gd name="connsiteX89" fmla="*/ 1227773 w 1352550"/>
                <a:gd name="connsiteY89" fmla="*/ 45720 h 762000"/>
                <a:gd name="connsiteX90" fmla="*/ 1248727 w 1352550"/>
                <a:gd name="connsiteY90" fmla="*/ 49530 h 762000"/>
                <a:gd name="connsiteX91" fmla="*/ 1253490 w 1352550"/>
                <a:gd name="connsiteY91" fmla="*/ 53340 h 762000"/>
                <a:gd name="connsiteX92" fmla="*/ 1258252 w 1352550"/>
                <a:gd name="connsiteY92" fmla="*/ 58103 h 762000"/>
                <a:gd name="connsiteX93" fmla="*/ 1263015 w 1352550"/>
                <a:gd name="connsiteY93" fmla="*/ 61913 h 762000"/>
                <a:gd name="connsiteX94" fmla="*/ 1269683 w 1352550"/>
                <a:gd name="connsiteY94" fmla="*/ 60960 h 762000"/>
                <a:gd name="connsiteX95" fmla="*/ 1275398 w 1352550"/>
                <a:gd name="connsiteY95" fmla="*/ 56198 h 762000"/>
                <a:gd name="connsiteX96" fmla="*/ 1282065 w 1352550"/>
                <a:gd name="connsiteY96" fmla="*/ 42863 h 762000"/>
                <a:gd name="connsiteX97" fmla="*/ 1288733 w 1352550"/>
                <a:gd name="connsiteY97" fmla="*/ 38100 h 762000"/>
                <a:gd name="connsiteX98" fmla="*/ 1308735 w 1352550"/>
                <a:gd name="connsiteY98" fmla="*/ 45720 h 762000"/>
                <a:gd name="connsiteX99" fmla="*/ 1323975 w 1352550"/>
                <a:gd name="connsiteY99" fmla="*/ 60008 h 762000"/>
                <a:gd name="connsiteX100" fmla="*/ 1334452 w 1352550"/>
                <a:gd name="connsiteY100" fmla="*/ 80010 h 762000"/>
                <a:gd name="connsiteX101" fmla="*/ 1342073 w 1352550"/>
                <a:gd name="connsiteY101" fmla="*/ 103823 h 762000"/>
                <a:gd name="connsiteX102" fmla="*/ 1353502 w 1352550"/>
                <a:gd name="connsiteY102" fmla="*/ 156210 h 762000"/>
                <a:gd name="connsiteX103" fmla="*/ 1359218 w 1352550"/>
                <a:gd name="connsiteY103" fmla="*/ 163830 h 762000"/>
                <a:gd name="connsiteX104" fmla="*/ 1346835 w 1352550"/>
                <a:gd name="connsiteY104" fmla="*/ 180975 h 762000"/>
                <a:gd name="connsiteX105" fmla="*/ 1314450 w 1352550"/>
                <a:gd name="connsiteY105" fmla="*/ 207645 h 762000"/>
                <a:gd name="connsiteX106" fmla="*/ 1305877 w 1352550"/>
                <a:gd name="connsiteY106" fmla="*/ 212408 h 762000"/>
                <a:gd name="connsiteX107" fmla="*/ 1298258 w 1352550"/>
                <a:gd name="connsiteY107" fmla="*/ 209550 h 762000"/>
                <a:gd name="connsiteX108" fmla="*/ 1283970 w 1352550"/>
                <a:gd name="connsiteY108" fmla="*/ 195263 h 762000"/>
                <a:gd name="connsiteX109" fmla="*/ 1273493 w 1352550"/>
                <a:gd name="connsiteY109" fmla="*/ 192405 h 762000"/>
                <a:gd name="connsiteX110" fmla="*/ 1254443 w 1352550"/>
                <a:gd name="connsiteY110" fmla="*/ 202883 h 762000"/>
                <a:gd name="connsiteX111" fmla="*/ 1223010 w 1352550"/>
                <a:gd name="connsiteY111" fmla="*/ 241935 h 762000"/>
                <a:gd name="connsiteX112" fmla="*/ 1203008 w 1352550"/>
                <a:gd name="connsiteY112" fmla="*/ 252413 h 762000"/>
                <a:gd name="connsiteX113" fmla="*/ 1185863 w 1352550"/>
                <a:gd name="connsiteY113" fmla="*/ 251460 h 762000"/>
                <a:gd name="connsiteX114" fmla="*/ 1129665 w 1352550"/>
                <a:gd name="connsiteY114" fmla="*/ 230505 h 762000"/>
                <a:gd name="connsiteX115" fmla="*/ 1118235 w 1352550"/>
                <a:gd name="connsiteY115" fmla="*/ 222885 h 762000"/>
                <a:gd name="connsiteX116" fmla="*/ 1112520 w 1352550"/>
                <a:gd name="connsiteY116" fmla="*/ 221933 h 762000"/>
                <a:gd name="connsiteX117" fmla="*/ 1106805 w 1352550"/>
                <a:gd name="connsiteY117" fmla="*/ 223838 h 762000"/>
                <a:gd name="connsiteX118" fmla="*/ 1106805 w 1352550"/>
                <a:gd name="connsiteY118" fmla="*/ 229553 h 762000"/>
                <a:gd name="connsiteX119" fmla="*/ 1107758 w 1352550"/>
                <a:gd name="connsiteY119" fmla="*/ 236220 h 762000"/>
                <a:gd name="connsiteX120" fmla="*/ 1107758 w 1352550"/>
                <a:gd name="connsiteY120" fmla="*/ 240983 h 762000"/>
                <a:gd name="connsiteX121" fmla="*/ 1107758 w 1352550"/>
                <a:gd name="connsiteY121" fmla="*/ 244793 h 762000"/>
                <a:gd name="connsiteX122" fmla="*/ 1109663 w 1352550"/>
                <a:gd name="connsiteY122" fmla="*/ 248603 h 762000"/>
                <a:gd name="connsiteX123" fmla="*/ 1110615 w 1352550"/>
                <a:gd name="connsiteY123" fmla="*/ 253365 h 762000"/>
                <a:gd name="connsiteX124" fmla="*/ 1107758 w 1352550"/>
                <a:gd name="connsiteY124" fmla="*/ 255270 h 762000"/>
                <a:gd name="connsiteX125" fmla="*/ 1101090 w 1352550"/>
                <a:gd name="connsiteY125" fmla="*/ 253365 h 762000"/>
                <a:gd name="connsiteX126" fmla="*/ 1095375 w 1352550"/>
                <a:gd name="connsiteY126" fmla="*/ 254318 h 762000"/>
                <a:gd name="connsiteX127" fmla="*/ 1091565 w 1352550"/>
                <a:gd name="connsiteY127" fmla="*/ 252413 h 762000"/>
                <a:gd name="connsiteX128" fmla="*/ 1087755 w 1352550"/>
                <a:gd name="connsiteY128" fmla="*/ 251460 h 762000"/>
                <a:gd name="connsiteX129" fmla="*/ 1082993 w 1352550"/>
                <a:gd name="connsiteY129" fmla="*/ 256223 h 762000"/>
                <a:gd name="connsiteX130" fmla="*/ 1062990 w 1352550"/>
                <a:gd name="connsiteY130" fmla="*/ 260033 h 762000"/>
                <a:gd name="connsiteX131" fmla="*/ 1044893 w 1352550"/>
                <a:gd name="connsiteY131" fmla="*/ 248603 h 762000"/>
                <a:gd name="connsiteX132" fmla="*/ 1027748 w 1352550"/>
                <a:gd name="connsiteY132" fmla="*/ 234315 h 762000"/>
                <a:gd name="connsiteX133" fmla="*/ 1010602 w 1352550"/>
                <a:gd name="connsiteY133" fmla="*/ 226695 h 762000"/>
                <a:gd name="connsiteX134" fmla="*/ 1004888 w 1352550"/>
                <a:gd name="connsiteY134" fmla="*/ 228600 h 762000"/>
                <a:gd name="connsiteX135" fmla="*/ 1002983 w 1352550"/>
                <a:gd name="connsiteY135" fmla="*/ 233363 h 762000"/>
                <a:gd name="connsiteX136" fmla="*/ 1001077 w 1352550"/>
                <a:gd name="connsiteY136" fmla="*/ 239078 h 762000"/>
                <a:gd name="connsiteX137" fmla="*/ 996315 w 1352550"/>
                <a:gd name="connsiteY137" fmla="*/ 243840 h 762000"/>
                <a:gd name="connsiteX138" fmla="*/ 992505 w 1352550"/>
                <a:gd name="connsiteY138" fmla="*/ 243840 h 762000"/>
                <a:gd name="connsiteX139" fmla="*/ 983933 w 1352550"/>
                <a:gd name="connsiteY139" fmla="*/ 240030 h 762000"/>
                <a:gd name="connsiteX140" fmla="*/ 981075 w 1352550"/>
                <a:gd name="connsiteY140" fmla="*/ 240030 h 762000"/>
                <a:gd name="connsiteX141" fmla="*/ 975360 w 1352550"/>
                <a:gd name="connsiteY141" fmla="*/ 248603 h 762000"/>
                <a:gd name="connsiteX142" fmla="*/ 976313 w 1352550"/>
                <a:gd name="connsiteY142" fmla="*/ 255270 h 762000"/>
                <a:gd name="connsiteX143" fmla="*/ 979170 w 1352550"/>
                <a:gd name="connsiteY143" fmla="*/ 264795 h 762000"/>
                <a:gd name="connsiteX144" fmla="*/ 982027 w 1352550"/>
                <a:gd name="connsiteY144" fmla="*/ 280035 h 762000"/>
                <a:gd name="connsiteX145" fmla="*/ 982027 w 1352550"/>
                <a:gd name="connsiteY145" fmla="*/ 295275 h 762000"/>
                <a:gd name="connsiteX146" fmla="*/ 980123 w 1352550"/>
                <a:gd name="connsiteY146" fmla="*/ 305753 h 762000"/>
                <a:gd name="connsiteX147" fmla="*/ 974408 w 1352550"/>
                <a:gd name="connsiteY147" fmla="*/ 310515 h 762000"/>
                <a:gd name="connsiteX148" fmla="*/ 963930 w 1352550"/>
                <a:gd name="connsiteY148" fmla="*/ 311468 h 762000"/>
                <a:gd name="connsiteX149" fmla="*/ 953453 w 1352550"/>
                <a:gd name="connsiteY149" fmla="*/ 307658 h 762000"/>
                <a:gd name="connsiteX150" fmla="*/ 947738 w 1352550"/>
                <a:gd name="connsiteY150" fmla="*/ 299085 h 762000"/>
                <a:gd name="connsiteX151" fmla="*/ 942023 w 1352550"/>
                <a:gd name="connsiteY151" fmla="*/ 288608 h 762000"/>
                <a:gd name="connsiteX152" fmla="*/ 934403 w 1352550"/>
                <a:gd name="connsiteY152" fmla="*/ 280988 h 762000"/>
                <a:gd name="connsiteX153" fmla="*/ 923925 w 1352550"/>
                <a:gd name="connsiteY153" fmla="*/ 277178 h 762000"/>
                <a:gd name="connsiteX154" fmla="*/ 921068 w 1352550"/>
                <a:gd name="connsiteY154" fmla="*/ 283845 h 762000"/>
                <a:gd name="connsiteX155" fmla="*/ 918210 w 1352550"/>
                <a:gd name="connsiteY155" fmla="*/ 293370 h 762000"/>
                <a:gd name="connsiteX156" fmla="*/ 901065 w 1352550"/>
                <a:gd name="connsiteY156" fmla="*/ 304800 h 762000"/>
                <a:gd name="connsiteX157" fmla="*/ 895350 w 1352550"/>
                <a:gd name="connsiteY157" fmla="*/ 314325 h 762000"/>
                <a:gd name="connsiteX158" fmla="*/ 891540 w 1352550"/>
                <a:gd name="connsiteY158" fmla="*/ 326708 h 762000"/>
                <a:gd name="connsiteX159" fmla="*/ 891540 w 1352550"/>
                <a:gd name="connsiteY159" fmla="*/ 333375 h 762000"/>
                <a:gd name="connsiteX160" fmla="*/ 875348 w 1352550"/>
                <a:gd name="connsiteY160" fmla="*/ 340995 h 762000"/>
                <a:gd name="connsiteX161" fmla="*/ 808673 w 1352550"/>
                <a:gd name="connsiteY161" fmla="*/ 356235 h 762000"/>
                <a:gd name="connsiteX162" fmla="*/ 800100 w 1352550"/>
                <a:gd name="connsiteY162" fmla="*/ 358140 h 762000"/>
                <a:gd name="connsiteX163" fmla="*/ 775335 w 1352550"/>
                <a:gd name="connsiteY163" fmla="*/ 359093 h 762000"/>
                <a:gd name="connsiteX164" fmla="*/ 766763 w 1352550"/>
                <a:gd name="connsiteY164" fmla="*/ 361950 h 762000"/>
                <a:gd name="connsiteX165" fmla="*/ 748665 w 1352550"/>
                <a:gd name="connsiteY165" fmla="*/ 370523 h 762000"/>
                <a:gd name="connsiteX166" fmla="*/ 740093 w 1352550"/>
                <a:gd name="connsiteY166" fmla="*/ 373380 h 762000"/>
                <a:gd name="connsiteX167" fmla="*/ 730568 w 1352550"/>
                <a:gd name="connsiteY167" fmla="*/ 372428 h 762000"/>
                <a:gd name="connsiteX168" fmla="*/ 725805 w 1352550"/>
                <a:gd name="connsiteY168" fmla="*/ 370523 h 762000"/>
                <a:gd name="connsiteX169" fmla="*/ 721995 w 1352550"/>
                <a:gd name="connsiteY169" fmla="*/ 396240 h 762000"/>
                <a:gd name="connsiteX170" fmla="*/ 722948 w 1352550"/>
                <a:gd name="connsiteY170" fmla="*/ 414338 h 762000"/>
                <a:gd name="connsiteX171" fmla="*/ 717233 w 1352550"/>
                <a:gd name="connsiteY171" fmla="*/ 439103 h 762000"/>
                <a:gd name="connsiteX172" fmla="*/ 708660 w 1352550"/>
                <a:gd name="connsiteY172" fmla="*/ 463868 h 762000"/>
                <a:gd name="connsiteX173" fmla="*/ 700088 w 1352550"/>
                <a:gd name="connsiteY173" fmla="*/ 481013 h 762000"/>
                <a:gd name="connsiteX174" fmla="*/ 694373 w 1352550"/>
                <a:gd name="connsiteY174" fmla="*/ 488633 h 762000"/>
                <a:gd name="connsiteX175" fmla="*/ 680085 w 1352550"/>
                <a:gd name="connsiteY175" fmla="*/ 500063 h 762000"/>
                <a:gd name="connsiteX176" fmla="*/ 673418 w 1352550"/>
                <a:gd name="connsiteY176" fmla="*/ 508635 h 762000"/>
                <a:gd name="connsiteX177" fmla="*/ 661988 w 1352550"/>
                <a:gd name="connsiteY177" fmla="*/ 535305 h 762000"/>
                <a:gd name="connsiteX178" fmla="*/ 657225 w 1352550"/>
                <a:gd name="connsiteY178" fmla="*/ 543878 h 762000"/>
                <a:gd name="connsiteX179" fmla="*/ 632460 w 1352550"/>
                <a:gd name="connsiteY179" fmla="*/ 555308 h 762000"/>
                <a:gd name="connsiteX180" fmla="*/ 581025 w 1352550"/>
                <a:gd name="connsiteY180" fmla="*/ 555308 h 762000"/>
                <a:gd name="connsiteX181" fmla="*/ 547688 w 1352550"/>
                <a:gd name="connsiteY181" fmla="*/ 565785 h 762000"/>
                <a:gd name="connsiteX182" fmla="*/ 522923 w 1352550"/>
                <a:gd name="connsiteY182" fmla="*/ 562928 h 762000"/>
                <a:gd name="connsiteX183" fmla="*/ 513398 w 1352550"/>
                <a:gd name="connsiteY183" fmla="*/ 564833 h 762000"/>
                <a:gd name="connsiteX184" fmla="*/ 498158 w 1352550"/>
                <a:gd name="connsiteY184" fmla="*/ 571500 h 762000"/>
                <a:gd name="connsiteX185" fmla="*/ 469583 w 1352550"/>
                <a:gd name="connsiteY185" fmla="*/ 575310 h 762000"/>
                <a:gd name="connsiteX186" fmla="*/ 435292 w 1352550"/>
                <a:gd name="connsiteY186" fmla="*/ 589598 h 762000"/>
                <a:gd name="connsiteX187" fmla="*/ 176213 w 1352550"/>
                <a:gd name="connsiteY187" fmla="*/ 618173 h 762000"/>
                <a:gd name="connsiteX188" fmla="*/ 154305 w 1352550"/>
                <a:gd name="connsiteY188" fmla="*/ 633413 h 762000"/>
                <a:gd name="connsiteX189" fmla="*/ 102870 w 1352550"/>
                <a:gd name="connsiteY189" fmla="*/ 719138 h 762000"/>
                <a:gd name="connsiteX190" fmla="*/ 80963 w 1352550"/>
                <a:gd name="connsiteY190" fmla="*/ 740093 h 762000"/>
                <a:gd name="connsiteX191" fmla="*/ 47625 w 1352550"/>
                <a:gd name="connsiteY191" fmla="*/ 754380 h 762000"/>
                <a:gd name="connsiteX192" fmla="*/ 953 w 1352550"/>
                <a:gd name="connsiteY192" fmla="*/ 762953 h 762000"/>
                <a:gd name="connsiteX193" fmla="*/ 953 w 1352550"/>
                <a:gd name="connsiteY193" fmla="*/ 753428 h 762000"/>
                <a:gd name="connsiteX194" fmla="*/ 953 w 1352550"/>
                <a:gd name="connsiteY194" fmla="*/ 749618 h 762000"/>
                <a:gd name="connsiteX195" fmla="*/ 2858 w 1352550"/>
                <a:gd name="connsiteY195" fmla="*/ 731520 h 762000"/>
                <a:gd name="connsiteX196" fmla="*/ 3810 w 1352550"/>
                <a:gd name="connsiteY196" fmla="*/ 728663 h 762000"/>
                <a:gd name="connsiteX197" fmla="*/ 28575 w 1352550"/>
                <a:gd name="connsiteY197" fmla="*/ 673418 h 762000"/>
                <a:gd name="connsiteX198" fmla="*/ 30480 w 1352550"/>
                <a:gd name="connsiteY198" fmla="*/ 666750 h 762000"/>
                <a:gd name="connsiteX199" fmla="*/ 30480 w 1352550"/>
                <a:gd name="connsiteY199" fmla="*/ 660083 h 762000"/>
                <a:gd name="connsiteX200" fmla="*/ 29528 w 1352550"/>
                <a:gd name="connsiteY200" fmla="*/ 654368 h 762000"/>
                <a:gd name="connsiteX201" fmla="*/ 28575 w 1352550"/>
                <a:gd name="connsiteY201" fmla="*/ 652463 h 762000"/>
                <a:gd name="connsiteX202" fmla="*/ 23813 w 1352550"/>
                <a:gd name="connsiteY202" fmla="*/ 641985 h 762000"/>
                <a:gd name="connsiteX203" fmla="*/ 21908 w 1352550"/>
                <a:gd name="connsiteY203" fmla="*/ 634365 h 762000"/>
                <a:gd name="connsiteX204" fmla="*/ 21908 w 1352550"/>
                <a:gd name="connsiteY204" fmla="*/ 617220 h 762000"/>
                <a:gd name="connsiteX205" fmla="*/ 20955 w 1352550"/>
                <a:gd name="connsiteY205" fmla="*/ 611505 h 762000"/>
                <a:gd name="connsiteX206" fmla="*/ 19050 w 1352550"/>
                <a:gd name="connsiteY206" fmla="*/ 606743 h 762000"/>
                <a:gd name="connsiteX207" fmla="*/ 10478 w 1352550"/>
                <a:gd name="connsiteY207" fmla="*/ 597218 h 762000"/>
                <a:gd name="connsiteX208" fmla="*/ 8573 w 1352550"/>
                <a:gd name="connsiteY208" fmla="*/ 592455 h 762000"/>
                <a:gd name="connsiteX209" fmla="*/ 3810 w 1352550"/>
                <a:gd name="connsiteY209" fmla="*/ 579120 h 762000"/>
                <a:gd name="connsiteX210" fmla="*/ 2858 w 1352550"/>
                <a:gd name="connsiteY210" fmla="*/ 573405 h 762000"/>
                <a:gd name="connsiteX211" fmla="*/ 2858 w 1352550"/>
                <a:gd name="connsiteY211" fmla="*/ 561023 h 762000"/>
                <a:gd name="connsiteX212" fmla="*/ 0 w 1352550"/>
                <a:gd name="connsiteY212" fmla="*/ 545783 h 762000"/>
                <a:gd name="connsiteX213" fmla="*/ 953 w 1352550"/>
                <a:gd name="connsiteY213" fmla="*/ 540068 h 762000"/>
                <a:gd name="connsiteX214" fmla="*/ 1905 w 1352550"/>
                <a:gd name="connsiteY214" fmla="*/ 533400 h 762000"/>
                <a:gd name="connsiteX215" fmla="*/ 3810 w 1352550"/>
                <a:gd name="connsiteY215" fmla="*/ 527685 h 762000"/>
                <a:gd name="connsiteX216" fmla="*/ 27623 w 1352550"/>
                <a:gd name="connsiteY216" fmla="*/ 481965 h 762000"/>
                <a:gd name="connsiteX217" fmla="*/ 30480 w 1352550"/>
                <a:gd name="connsiteY217" fmla="*/ 476250 h 762000"/>
                <a:gd name="connsiteX218" fmla="*/ 32385 w 1352550"/>
                <a:gd name="connsiteY218" fmla="*/ 461963 h 762000"/>
                <a:gd name="connsiteX219" fmla="*/ 32385 w 1352550"/>
                <a:gd name="connsiteY219" fmla="*/ 459105 h 762000"/>
                <a:gd name="connsiteX220" fmla="*/ 35242 w 1352550"/>
                <a:gd name="connsiteY220" fmla="*/ 455295 h 762000"/>
                <a:gd name="connsiteX221" fmla="*/ 39053 w 1352550"/>
                <a:gd name="connsiteY221" fmla="*/ 450533 h 762000"/>
                <a:gd name="connsiteX222" fmla="*/ 47625 w 1352550"/>
                <a:gd name="connsiteY222" fmla="*/ 444818 h 762000"/>
                <a:gd name="connsiteX223" fmla="*/ 53340 w 1352550"/>
                <a:gd name="connsiteY223" fmla="*/ 441960 h 762000"/>
                <a:gd name="connsiteX224" fmla="*/ 62865 w 1352550"/>
                <a:gd name="connsiteY224" fmla="*/ 439103 h 762000"/>
                <a:gd name="connsiteX225" fmla="*/ 66675 w 1352550"/>
                <a:gd name="connsiteY225" fmla="*/ 436245 h 762000"/>
                <a:gd name="connsiteX226" fmla="*/ 94298 w 1352550"/>
                <a:gd name="connsiteY226" fmla="*/ 403860 h 762000"/>
                <a:gd name="connsiteX227" fmla="*/ 100013 w 1352550"/>
                <a:gd name="connsiteY227" fmla="*/ 400050 h 762000"/>
                <a:gd name="connsiteX228" fmla="*/ 104775 w 1352550"/>
                <a:gd name="connsiteY228" fmla="*/ 397193 h 762000"/>
                <a:gd name="connsiteX229" fmla="*/ 110490 w 1352550"/>
                <a:gd name="connsiteY229" fmla="*/ 396240 h 762000"/>
                <a:gd name="connsiteX230" fmla="*/ 112395 w 1352550"/>
                <a:gd name="connsiteY230" fmla="*/ 394335 h 762000"/>
                <a:gd name="connsiteX231" fmla="*/ 113348 w 1352550"/>
                <a:gd name="connsiteY231" fmla="*/ 390525 h 762000"/>
                <a:gd name="connsiteX232" fmla="*/ 112395 w 1352550"/>
                <a:gd name="connsiteY232" fmla="*/ 387668 h 762000"/>
                <a:gd name="connsiteX233" fmla="*/ 109538 w 1352550"/>
                <a:gd name="connsiteY233" fmla="*/ 380048 h 762000"/>
                <a:gd name="connsiteX234" fmla="*/ 108585 w 1352550"/>
                <a:gd name="connsiteY234" fmla="*/ 374333 h 762000"/>
                <a:gd name="connsiteX235" fmla="*/ 108585 w 1352550"/>
                <a:gd name="connsiteY235" fmla="*/ 363855 h 762000"/>
                <a:gd name="connsiteX236" fmla="*/ 110490 w 1352550"/>
                <a:gd name="connsiteY236" fmla="*/ 358140 h 762000"/>
                <a:gd name="connsiteX237" fmla="*/ 112395 w 1352550"/>
                <a:gd name="connsiteY237" fmla="*/ 354330 h 762000"/>
                <a:gd name="connsiteX238" fmla="*/ 116205 w 1352550"/>
                <a:gd name="connsiteY238" fmla="*/ 350520 h 762000"/>
                <a:gd name="connsiteX239" fmla="*/ 123825 w 1352550"/>
                <a:gd name="connsiteY239" fmla="*/ 344805 h 762000"/>
                <a:gd name="connsiteX240" fmla="*/ 131445 w 1352550"/>
                <a:gd name="connsiteY240" fmla="*/ 340995 h 762000"/>
                <a:gd name="connsiteX241" fmla="*/ 137160 w 1352550"/>
                <a:gd name="connsiteY241" fmla="*/ 338138 h 762000"/>
                <a:gd name="connsiteX242" fmla="*/ 141923 w 1352550"/>
                <a:gd name="connsiteY242" fmla="*/ 335280 h 762000"/>
                <a:gd name="connsiteX243" fmla="*/ 192405 w 1352550"/>
                <a:gd name="connsiteY243" fmla="*/ 268605 h 762000"/>
                <a:gd name="connsiteX244" fmla="*/ 233363 w 1352550"/>
                <a:gd name="connsiteY244" fmla="*/ 237173 h 762000"/>
                <a:gd name="connsiteX245" fmla="*/ 252413 w 1352550"/>
                <a:gd name="connsiteY245" fmla="*/ 228600 h 762000"/>
                <a:gd name="connsiteX246" fmla="*/ 274320 w 1352550"/>
                <a:gd name="connsiteY246" fmla="*/ 220980 h 762000"/>
                <a:gd name="connsiteX247" fmla="*/ 298133 w 1352550"/>
                <a:gd name="connsiteY247" fmla="*/ 218123 h 762000"/>
                <a:gd name="connsiteX248" fmla="*/ 308610 w 1352550"/>
                <a:gd name="connsiteY248" fmla="*/ 219075 h 762000"/>
                <a:gd name="connsiteX249" fmla="*/ 315278 w 1352550"/>
                <a:gd name="connsiteY249" fmla="*/ 220980 h 762000"/>
                <a:gd name="connsiteX250" fmla="*/ 325755 w 1352550"/>
                <a:gd name="connsiteY250" fmla="*/ 224790 h 762000"/>
                <a:gd name="connsiteX251" fmla="*/ 331470 w 1352550"/>
                <a:gd name="connsiteY251" fmla="*/ 227648 h 762000"/>
                <a:gd name="connsiteX252" fmla="*/ 335280 w 1352550"/>
                <a:gd name="connsiteY252" fmla="*/ 230505 h 762000"/>
                <a:gd name="connsiteX253" fmla="*/ 341948 w 1352550"/>
                <a:gd name="connsiteY253" fmla="*/ 230505 h 762000"/>
                <a:gd name="connsiteX254" fmla="*/ 344805 w 1352550"/>
                <a:gd name="connsiteY254" fmla="*/ 229553 h 762000"/>
                <a:gd name="connsiteX255" fmla="*/ 346710 w 1352550"/>
                <a:gd name="connsiteY255" fmla="*/ 226695 h 762000"/>
                <a:gd name="connsiteX256" fmla="*/ 349567 w 1352550"/>
                <a:gd name="connsiteY256" fmla="*/ 221933 h 762000"/>
                <a:gd name="connsiteX257" fmla="*/ 351473 w 1352550"/>
                <a:gd name="connsiteY257" fmla="*/ 216218 h 762000"/>
                <a:gd name="connsiteX258" fmla="*/ 355283 w 1352550"/>
                <a:gd name="connsiteY258" fmla="*/ 195263 h 762000"/>
                <a:gd name="connsiteX259" fmla="*/ 358140 w 1352550"/>
                <a:gd name="connsiteY259" fmla="*/ 124778 h 762000"/>
                <a:gd name="connsiteX260" fmla="*/ 357188 w 1352550"/>
                <a:gd name="connsiteY260" fmla="*/ 116205 h 762000"/>
                <a:gd name="connsiteX261" fmla="*/ 342900 w 1352550"/>
                <a:gd name="connsiteY261" fmla="*/ 77153 h 762000"/>
                <a:gd name="connsiteX262" fmla="*/ 337185 w 1352550"/>
                <a:gd name="connsiteY262" fmla="*/ 55245 h 762000"/>
                <a:gd name="connsiteX263" fmla="*/ 336233 w 1352550"/>
                <a:gd name="connsiteY263" fmla="*/ 45720 h 762000"/>
                <a:gd name="connsiteX264" fmla="*/ 336233 w 1352550"/>
                <a:gd name="connsiteY264" fmla="*/ 41910 h 762000"/>
                <a:gd name="connsiteX265" fmla="*/ 337185 w 1352550"/>
                <a:gd name="connsiteY265" fmla="*/ 38100 h 762000"/>
                <a:gd name="connsiteX266" fmla="*/ 340042 w 1352550"/>
                <a:gd name="connsiteY266" fmla="*/ 31433 h 762000"/>
                <a:gd name="connsiteX267" fmla="*/ 342900 w 1352550"/>
                <a:gd name="connsiteY267" fmla="*/ 27623 h 762000"/>
                <a:gd name="connsiteX268" fmla="*/ 347663 w 1352550"/>
                <a:gd name="connsiteY268" fmla="*/ 21908 h 762000"/>
                <a:gd name="connsiteX269" fmla="*/ 354330 w 1352550"/>
                <a:gd name="connsiteY269" fmla="*/ 15240 h 762000"/>
                <a:gd name="connsiteX270" fmla="*/ 374333 w 1352550"/>
                <a:gd name="connsiteY270" fmla="*/ 0 h 762000"/>
                <a:gd name="connsiteX271" fmla="*/ 381000 w 1352550"/>
                <a:gd name="connsiteY271" fmla="*/ 4763 h 762000"/>
                <a:gd name="connsiteX272" fmla="*/ 392430 w 1352550"/>
                <a:gd name="connsiteY272" fmla="*/ 8573 h 762000"/>
                <a:gd name="connsiteX273" fmla="*/ 415290 w 1352550"/>
                <a:gd name="connsiteY273" fmla="*/ 10478 h 762000"/>
                <a:gd name="connsiteX274" fmla="*/ 420053 w 1352550"/>
                <a:gd name="connsiteY274" fmla="*/ 15240 h 762000"/>
                <a:gd name="connsiteX275" fmla="*/ 423863 w 1352550"/>
                <a:gd name="connsiteY275" fmla="*/ 34290 h 762000"/>
                <a:gd name="connsiteX276" fmla="*/ 429578 w 1352550"/>
                <a:gd name="connsiteY276" fmla="*/ 38100 h 762000"/>
                <a:gd name="connsiteX277" fmla="*/ 435292 w 1352550"/>
                <a:gd name="connsiteY277" fmla="*/ 36195 h 762000"/>
                <a:gd name="connsiteX278" fmla="*/ 438150 w 1352550"/>
                <a:gd name="connsiteY278" fmla="*/ 30480 h 762000"/>
                <a:gd name="connsiteX279" fmla="*/ 439103 w 1352550"/>
                <a:gd name="connsiteY279" fmla="*/ 22860 h 762000"/>
                <a:gd name="connsiteX280" fmla="*/ 442913 w 1352550"/>
                <a:gd name="connsiteY280" fmla="*/ 16193 h 762000"/>
                <a:gd name="connsiteX281" fmla="*/ 457200 w 1352550"/>
                <a:gd name="connsiteY281" fmla="*/ 6668 h 762000"/>
                <a:gd name="connsiteX282" fmla="*/ 464820 w 1352550"/>
                <a:gd name="connsiteY282" fmla="*/ 13335 h 762000"/>
                <a:gd name="connsiteX283" fmla="*/ 471488 w 1352550"/>
                <a:gd name="connsiteY283" fmla="*/ 25718 h 762000"/>
                <a:gd name="connsiteX284" fmla="*/ 481013 w 1352550"/>
                <a:gd name="connsiteY284" fmla="*/ 33338 h 762000"/>
                <a:gd name="connsiteX285" fmla="*/ 491490 w 1352550"/>
                <a:gd name="connsiteY285" fmla="*/ 47625 h 762000"/>
                <a:gd name="connsiteX286" fmla="*/ 493395 w 1352550"/>
                <a:gd name="connsiteY286" fmla="*/ 52388 h 762000"/>
                <a:gd name="connsiteX287" fmla="*/ 493395 w 1352550"/>
                <a:gd name="connsiteY287" fmla="*/ 59055 h 762000"/>
                <a:gd name="connsiteX288" fmla="*/ 493395 w 1352550"/>
                <a:gd name="connsiteY288" fmla="*/ 61913 h 762000"/>
                <a:gd name="connsiteX289" fmla="*/ 519113 w 1352550"/>
                <a:gd name="connsiteY289" fmla="*/ 71438 h 762000"/>
                <a:gd name="connsiteX290" fmla="*/ 527685 w 1352550"/>
                <a:gd name="connsiteY290" fmla="*/ 72390 h 762000"/>
                <a:gd name="connsiteX291" fmla="*/ 536258 w 1352550"/>
                <a:gd name="connsiteY291" fmla="*/ 71438 h 762000"/>
                <a:gd name="connsiteX292" fmla="*/ 544830 w 1352550"/>
                <a:gd name="connsiteY292" fmla="*/ 64770 h 762000"/>
                <a:gd name="connsiteX293" fmla="*/ 551498 w 1352550"/>
                <a:gd name="connsiteY293" fmla="*/ 49530 h 762000"/>
                <a:gd name="connsiteX294" fmla="*/ 558165 w 1352550"/>
                <a:gd name="connsiteY294" fmla="*/ 43815 h 762000"/>
                <a:gd name="connsiteX295" fmla="*/ 571500 w 1352550"/>
                <a:gd name="connsiteY295" fmla="*/ 49530 h 762000"/>
                <a:gd name="connsiteX296" fmla="*/ 576263 w 1352550"/>
                <a:gd name="connsiteY296" fmla="*/ 49530 h 762000"/>
                <a:gd name="connsiteX297" fmla="*/ 579120 w 1352550"/>
                <a:gd name="connsiteY297" fmla="*/ 44768 h 762000"/>
                <a:gd name="connsiteX298" fmla="*/ 581025 w 1352550"/>
                <a:gd name="connsiteY298" fmla="*/ 32385 h 762000"/>
                <a:gd name="connsiteX299" fmla="*/ 582930 w 1352550"/>
                <a:gd name="connsiteY299" fmla="*/ 27623 h 762000"/>
                <a:gd name="connsiteX300" fmla="*/ 591503 w 1352550"/>
                <a:gd name="connsiteY300" fmla="*/ 23813 h 762000"/>
                <a:gd name="connsiteX301" fmla="*/ 596265 w 1352550"/>
                <a:gd name="connsiteY301" fmla="*/ 28575 h 762000"/>
                <a:gd name="connsiteX302" fmla="*/ 598170 w 1352550"/>
                <a:gd name="connsiteY302" fmla="*/ 40005 h 762000"/>
                <a:gd name="connsiteX303" fmla="*/ 598170 w 1352550"/>
                <a:gd name="connsiteY303" fmla="*/ 49530 h 762000"/>
                <a:gd name="connsiteX304" fmla="*/ 593408 w 1352550"/>
                <a:gd name="connsiteY304" fmla="*/ 75248 h 762000"/>
                <a:gd name="connsiteX305" fmla="*/ 593408 w 1352550"/>
                <a:gd name="connsiteY305" fmla="*/ 84773 h 762000"/>
                <a:gd name="connsiteX306" fmla="*/ 599123 w 1352550"/>
                <a:gd name="connsiteY306" fmla="*/ 96203 h 762000"/>
                <a:gd name="connsiteX307" fmla="*/ 607695 w 1352550"/>
                <a:gd name="connsiteY307" fmla="*/ 103823 h 762000"/>
                <a:gd name="connsiteX308" fmla="*/ 618173 w 1352550"/>
                <a:gd name="connsiteY308" fmla="*/ 109538 h 762000"/>
                <a:gd name="connsiteX309" fmla="*/ 627698 w 1352550"/>
                <a:gd name="connsiteY309" fmla="*/ 108585 h 762000"/>
                <a:gd name="connsiteX310" fmla="*/ 634365 w 1352550"/>
                <a:gd name="connsiteY310" fmla="*/ 98108 h 762000"/>
                <a:gd name="connsiteX311" fmla="*/ 625793 w 1352550"/>
                <a:gd name="connsiteY311" fmla="*/ 85725 h 762000"/>
                <a:gd name="connsiteX312" fmla="*/ 621983 w 1352550"/>
                <a:gd name="connsiteY312" fmla="*/ 77153 h 762000"/>
                <a:gd name="connsiteX313" fmla="*/ 620078 w 1352550"/>
                <a:gd name="connsiteY313" fmla="*/ 68580 h 762000"/>
                <a:gd name="connsiteX314" fmla="*/ 620078 w 1352550"/>
                <a:gd name="connsiteY314" fmla="*/ 57150 h 762000"/>
                <a:gd name="connsiteX315" fmla="*/ 621030 w 1352550"/>
                <a:gd name="connsiteY315" fmla="*/ 53340 h 762000"/>
                <a:gd name="connsiteX316" fmla="*/ 636270 w 1352550"/>
                <a:gd name="connsiteY316" fmla="*/ 55245 h 762000"/>
                <a:gd name="connsiteX317" fmla="*/ 642938 w 1352550"/>
                <a:gd name="connsiteY317" fmla="*/ 64770 h 762000"/>
                <a:gd name="connsiteX318" fmla="*/ 641985 w 1352550"/>
                <a:gd name="connsiteY318" fmla="*/ 87630 h 762000"/>
                <a:gd name="connsiteX319" fmla="*/ 644843 w 1352550"/>
                <a:gd name="connsiteY319" fmla="*/ 110490 h 762000"/>
                <a:gd name="connsiteX320" fmla="*/ 661035 w 1352550"/>
                <a:gd name="connsiteY320" fmla="*/ 120968 h 762000"/>
                <a:gd name="connsiteX321" fmla="*/ 691515 w 1352550"/>
                <a:gd name="connsiteY321" fmla="*/ 114300 h 762000"/>
                <a:gd name="connsiteX322" fmla="*/ 701040 w 1352550"/>
                <a:gd name="connsiteY322" fmla="*/ 115253 h 762000"/>
                <a:gd name="connsiteX323" fmla="*/ 707708 w 1352550"/>
                <a:gd name="connsiteY323" fmla="*/ 118110 h 762000"/>
                <a:gd name="connsiteX324" fmla="*/ 721043 w 1352550"/>
                <a:gd name="connsiteY324" fmla="*/ 125730 h 762000"/>
                <a:gd name="connsiteX325" fmla="*/ 738188 w 1352550"/>
                <a:gd name="connsiteY325" fmla="*/ 132398 h 762000"/>
                <a:gd name="connsiteX326" fmla="*/ 752475 w 1352550"/>
                <a:gd name="connsiteY326" fmla="*/ 133350 h 762000"/>
                <a:gd name="connsiteX327" fmla="*/ 766763 w 1352550"/>
                <a:gd name="connsiteY327" fmla="*/ 128588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</a:cxnLst>
              <a:rect l="l" t="t" r="r" b="b"/>
              <a:pathLst>
                <a:path w="1352550" h="762000">
                  <a:moveTo>
                    <a:pt x="766763" y="128588"/>
                  </a:moveTo>
                  <a:lnTo>
                    <a:pt x="779145" y="114300"/>
                  </a:lnTo>
                  <a:lnTo>
                    <a:pt x="788670" y="118110"/>
                  </a:lnTo>
                  <a:lnTo>
                    <a:pt x="813435" y="111443"/>
                  </a:lnTo>
                  <a:lnTo>
                    <a:pt x="823913" y="117158"/>
                  </a:lnTo>
                  <a:lnTo>
                    <a:pt x="837248" y="130493"/>
                  </a:lnTo>
                  <a:lnTo>
                    <a:pt x="841058" y="136208"/>
                  </a:lnTo>
                  <a:lnTo>
                    <a:pt x="850583" y="159068"/>
                  </a:lnTo>
                  <a:lnTo>
                    <a:pt x="857250" y="169545"/>
                  </a:lnTo>
                  <a:lnTo>
                    <a:pt x="864870" y="176213"/>
                  </a:lnTo>
                  <a:lnTo>
                    <a:pt x="873443" y="179070"/>
                  </a:lnTo>
                  <a:lnTo>
                    <a:pt x="884873" y="180023"/>
                  </a:lnTo>
                  <a:lnTo>
                    <a:pt x="893445" y="175260"/>
                  </a:lnTo>
                  <a:lnTo>
                    <a:pt x="885825" y="147638"/>
                  </a:lnTo>
                  <a:lnTo>
                    <a:pt x="890588" y="136208"/>
                  </a:lnTo>
                  <a:lnTo>
                    <a:pt x="896303" y="135255"/>
                  </a:lnTo>
                  <a:lnTo>
                    <a:pt x="900113" y="139065"/>
                  </a:lnTo>
                  <a:lnTo>
                    <a:pt x="902970" y="144780"/>
                  </a:lnTo>
                  <a:lnTo>
                    <a:pt x="904875" y="147638"/>
                  </a:lnTo>
                  <a:lnTo>
                    <a:pt x="910590" y="148590"/>
                  </a:lnTo>
                  <a:lnTo>
                    <a:pt x="928688" y="147638"/>
                  </a:lnTo>
                  <a:lnTo>
                    <a:pt x="939165" y="144780"/>
                  </a:lnTo>
                  <a:lnTo>
                    <a:pt x="937260" y="136208"/>
                  </a:lnTo>
                  <a:lnTo>
                    <a:pt x="928688" y="127635"/>
                  </a:lnTo>
                  <a:lnTo>
                    <a:pt x="919163" y="120968"/>
                  </a:lnTo>
                  <a:lnTo>
                    <a:pt x="900113" y="115253"/>
                  </a:lnTo>
                  <a:lnTo>
                    <a:pt x="889635" y="109538"/>
                  </a:lnTo>
                  <a:lnTo>
                    <a:pt x="888683" y="100965"/>
                  </a:lnTo>
                  <a:lnTo>
                    <a:pt x="899160" y="92393"/>
                  </a:lnTo>
                  <a:lnTo>
                    <a:pt x="911543" y="95250"/>
                  </a:lnTo>
                  <a:lnTo>
                    <a:pt x="930593" y="109538"/>
                  </a:lnTo>
                  <a:lnTo>
                    <a:pt x="938213" y="113348"/>
                  </a:lnTo>
                  <a:lnTo>
                    <a:pt x="946785" y="114300"/>
                  </a:lnTo>
                  <a:lnTo>
                    <a:pt x="952500" y="109538"/>
                  </a:lnTo>
                  <a:lnTo>
                    <a:pt x="955358" y="96203"/>
                  </a:lnTo>
                  <a:lnTo>
                    <a:pt x="953453" y="91440"/>
                  </a:lnTo>
                  <a:lnTo>
                    <a:pt x="942975" y="80010"/>
                  </a:lnTo>
                  <a:lnTo>
                    <a:pt x="941070" y="74295"/>
                  </a:lnTo>
                  <a:lnTo>
                    <a:pt x="943928" y="66675"/>
                  </a:lnTo>
                  <a:lnTo>
                    <a:pt x="950595" y="65723"/>
                  </a:lnTo>
                  <a:lnTo>
                    <a:pt x="956310" y="71438"/>
                  </a:lnTo>
                  <a:lnTo>
                    <a:pt x="959168" y="79058"/>
                  </a:lnTo>
                  <a:lnTo>
                    <a:pt x="961073" y="92393"/>
                  </a:lnTo>
                  <a:lnTo>
                    <a:pt x="965835" y="101918"/>
                  </a:lnTo>
                  <a:lnTo>
                    <a:pt x="973455" y="100965"/>
                  </a:lnTo>
                  <a:lnTo>
                    <a:pt x="981075" y="87630"/>
                  </a:lnTo>
                  <a:lnTo>
                    <a:pt x="982027" y="79058"/>
                  </a:lnTo>
                  <a:lnTo>
                    <a:pt x="978218" y="67628"/>
                  </a:lnTo>
                  <a:lnTo>
                    <a:pt x="981075" y="60960"/>
                  </a:lnTo>
                  <a:lnTo>
                    <a:pt x="986790" y="56198"/>
                  </a:lnTo>
                  <a:lnTo>
                    <a:pt x="991552" y="55245"/>
                  </a:lnTo>
                  <a:lnTo>
                    <a:pt x="997268" y="57150"/>
                  </a:lnTo>
                  <a:lnTo>
                    <a:pt x="1002983" y="60960"/>
                  </a:lnTo>
                  <a:lnTo>
                    <a:pt x="999173" y="77153"/>
                  </a:lnTo>
                  <a:lnTo>
                    <a:pt x="1002030" y="93345"/>
                  </a:lnTo>
                  <a:lnTo>
                    <a:pt x="1009650" y="104775"/>
                  </a:lnTo>
                  <a:lnTo>
                    <a:pt x="1019175" y="109538"/>
                  </a:lnTo>
                  <a:lnTo>
                    <a:pt x="1032510" y="107633"/>
                  </a:lnTo>
                  <a:lnTo>
                    <a:pt x="1040130" y="100965"/>
                  </a:lnTo>
                  <a:lnTo>
                    <a:pt x="1045845" y="91440"/>
                  </a:lnTo>
                  <a:lnTo>
                    <a:pt x="1053465" y="81915"/>
                  </a:lnTo>
                  <a:lnTo>
                    <a:pt x="1063943" y="77153"/>
                  </a:lnTo>
                  <a:lnTo>
                    <a:pt x="1075373" y="77153"/>
                  </a:lnTo>
                  <a:lnTo>
                    <a:pt x="1095375" y="81915"/>
                  </a:lnTo>
                  <a:lnTo>
                    <a:pt x="1102043" y="90488"/>
                  </a:lnTo>
                  <a:lnTo>
                    <a:pt x="1105852" y="93345"/>
                  </a:lnTo>
                  <a:lnTo>
                    <a:pt x="1107758" y="92393"/>
                  </a:lnTo>
                  <a:lnTo>
                    <a:pt x="1109663" y="89535"/>
                  </a:lnTo>
                  <a:lnTo>
                    <a:pt x="1112520" y="87630"/>
                  </a:lnTo>
                  <a:lnTo>
                    <a:pt x="1119188" y="88583"/>
                  </a:lnTo>
                  <a:lnTo>
                    <a:pt x="1129665" y="92393"/>
                  </a:lnTo>
                  <a:lnTo>
                    <a:pt x="1152525" y="94298"/>
                  </a:lnTo>
                  <a:lnTo>
                    <a:pt x="1158240" y="93345"/>
                  </a:lnTo>
                  <a:lnTo>
                    <a:pt x="1161098" y="89535"/>
                  </a:lnTo>
                  <a:lnTo>
                    <a:pt x="1167765" y="79058"/>
                  </a:lnTo>
                  <a:lnTo>
                    <a:pt x="1170623" y="76200"/>
                  </a:lnTo>
                  <a:lnTo>
                    <a:pt x="1188720" y="76200"/>
                  </a:lnTo>
                  <a:lnTo>
                    <a:pt x="1194435" y="78105"/>
                  </a:lnTo>
                  <a:lnTo>
                    <a:pt x="1205865" y="85725"/>
                  </a:lnTo>
                  <a:lnTo>
                    <a:pt x="1212533" y="87630"/>
                  </a:lnTo>
                  <a:lnTo>
                    <a:pt x="1218248" y="86678"/>
                  </a:lnTo>
                  <a:lnTo>
                    <a:pt x="1223963" y="85725"/>
                  </a:lnTo>
                  <a:lnTo>
                    <a:pt x="1227773" y="82868"/>
                  </a:lnTo>
                  <a:lnTo>
                    <a:pt x="1230630" y="76200"/>
                  </a:lnTo>
                  <a:lnTo>
                    <a:pt x="1230630" y="65723"/>
                  </a:lnTo>
                  <a:lnTo>
                    <a:pt x="1227773" y="61913"/>
                  </a:lnTo>
                  <a:lnTo>
                    <a:pt x="1222058" y="60960"/>
                  </a:lnTo>
                  <a:lnTo>
                    <a:pt x="1217295" y="58103"/>
                  </a:lnTo>
                  <a:lnTo>
                    <a:pt x="1216343" y="47625"/>
                  </a:lnTo>
                  <a:lnTo>
                    <a:pt x="1227773" y="45720"/>
                  </a:lnTo>
                  <a:lnTo>
                    <a:pt x="1248727" y="49530"/>
                  </a:lnTo>
                  <a:lnTo>
                    <a:pt x="1253490" y="53340"/>
                  </a:lnTo>
                  <a:lnTo>
                    <a:pt x="1258252" y="58103"/>
                  </a:lnTo>
                  <a:lnTo>
                    <a:pt x="1263015" y="61913"/>
                  </a:lnTo>
                  <a:lnTo>
                    <a:pt x="1269683" y="60960"/>
                  </a:lnTo>
                  <a:lnTo>
                    <a:pt x="1275398" y="56198"/>
                  </a:lnTo>
                  <a:lnTo>
                    <a:pt x="1282065" y="42863"/>
                  </a:lnTo>
                  <a:lnTo>
                    <a:pt x="1288733" y="38100"/>
                  </a:lnTo>
                  <a:lnTo>
                    <a:pt x="1308735" y="45720"/>
                  </a:lnTo>
                  <a:lnTo>
                    <a:pt x="1323975" y="60008"/>
                  </a:lnTo>
                  <a:lnTo>
                    <a:pt x="1334452" y="80010"/>
                  </a:lnTo>
                  <a:lnTo>
                    <a:pt x="1342073" y="103823"/>
                  </a:lnTo>
                  <a:lnTo>
                    <a:pt x="1353502" y="156210"/>
                  </a:lnTo>
                  <a:lnTo>
                    <a:pt x="1359218" y="163830"/>
                  </a:lnTo>
                  <a:lnTo>
                    <a:pt x="1346835" y="180975"/>
                  </a:lnTo>
                  <a:lnTo>
                    <a:pt x="1314450" y="207645"/>
                  </a:lnTo>
                  <a:lnTo>
                    <a:pt x="1305877" y="212408"/>
                  </a:lnTo>
                  <a:lnTo>
                    <a:pt x="1298258" y="209550"/>
                  </a:lnTo>
                  <a:lnTo>
                    <a:pt x="1283970" y="195263"/>
                  </a:lnTo>
                  <a:lnTo>
                    <a:pt x="1273493" y="192405"/>
                  </a:lnTo>
                  <a:lnTo>
                    <a:pt x="1254443" y="202883"/>
                  </a:lnTo>
                  <a:lnTo>
                    <a:pt x="1223010" y="241935"/>
                  </a:lnTo>
                  <a:lnTo>
                    <a:pt x="1203008" y="252413"/>
                  </a:lnTo>
                  <a:lnTo>
                    <a:pt x="1185863" y="251460"/>
                  </a:lnTo>
                  <a:lnTo>
                    <a:pt x="1129665" y="230505"/>
                  </a:lnTo>
                  <a:lnTo>
                    <a:pt x="1118235" y="222885"/>
                  </a:lnTo>
                  <a:lnTo>
                    <a:pt x="1112520" y="221933"/>
                  </a:lnTo>
                  <a:lnTo>
                    <a:pt x="1106805" y="223838"/>
                  </a:lnTo>
                  <a:lnTo>
                    <a:pt x="1106805" y="229553"/>
                  </a:lnTo>
                  <a:lnTo>
                    <a:pt x="1107758" y="236220"/>
                  </a:lnTo>
                  <a:lnTo>
                    <a:pt x="1107758" y="240983"/>
                  </a:lnTo>
                  <a:lnTo>
                    <a:pt x="1107758" y="244793"/>
                  </a:lnTo>
                  <a:lnTo>
                    <a:pt x="1109663" y="248603"/>
                  </a:lnTo>
                  <a:lnTo>
                    <a:pt x="1110615" y="253365"/>
                  </a:lnTo>
                  <a:lnTo>
                    <a:pt x="1107758" y="255270"/>
                  </a:lnTo>
                  <a:lnTo>
                    <a:pt x="1101090" y="253365"/>
                  </a:lnTo>
                  <a:lnTo>
                    <a:pt x="1095375" y="254318"/>
                  </a:lnTo>
                  <a:lnTo>
                    <a:pt x="1091565" y="252413"/>
                  </a:lnTo>
                  <a:lnTo>
                    <a:pt x="1087755" y="251460"/>
                  </a:lnTo>
                  <a:lnTo>
                    <a:pt x="1082993" y="256223"/>
                  </a:lnTo>
                  <a:lnTo>
                    <a:pt x="1062990" y="260033"/>
                  </a:lnTo>
                  <a:lnTo>
                    <a:pt x="1044893" y="248603"/>
                  </a:lnTo>
                  <a:lnTo>
                    <a:pt x="1027748" y="234315"/>
                  </a:lnTo>
                  <a:lnTo>
                    <a:pt x="1010602" y="226695"/>
                  </a:lnTo>
                  <a:lnTo>
                    <a:pt x="1004888" y="228600"/>
                  </a:lnTo>
                  <a:lnTo>
                    <a:pt x="1002983" y="233363"/>
                  </a:lnTo>
                  <a:lnTo>
                    <a:pt x="1001077" y="239078"/>
                  </a:lnTo>
                  <a:lnTo>
                    <a:pt x="996315" y="243840"/>
                  </a:lnTo>
                  <a:lnTo>
                    <a:pt x="992505" y="243840"/>
                  </a:lnTo>
                  <a:lnTo>
                    <a:pt x="983933" y="240030"/>
                  </a:lnTo>
                  <a:lnTo>
                    <a:pt x="981075" y="240030"/>
                  </a:lnTo>
                  <a:lnTo>
                    <a:pt x="975360" y="248603"/>
                  </a:lnTo>
                  <a:lnTo>
                    <a:pt x="976313" y="255270"/>
                  </a:lnTo>
                  <a:lnTo>
                    <a:pt x="979170" y="264795"/>
                  </a:lnTo>
                  <a:lnTo>
                    <a:pt x="982027" y="280035"/>
                  </a:lnTo>
                  <a:lnTo>
                    <a:pt x="982027" y="295275"/>
                  </a:lnTo>
                  <a:lnTo>
                    <a:pt x="980123" y="305753"/>
                  </a:lnTo>
                  <a:lnTo>
                    <a:pt x="974408" y="310515"/>
                  </a:lnTo>
                  <a:lnTo>
                    <a:pt x="963930" y="311468"/>
                  </a:lnTo>
                  <a:lnTo>
                    <a:pt x="953453" y="307658"/>
                  </a:lnTo>
                  <a:lnTo>
                    <a:pt x="947738" y="299085"/>
                  </a:lnTo>
                  <a:lnTo>
                    <a:pt x="942023" y="288608"/>
                  </a:lnTo>
                  <a:lnTo>
                    <a:pt x="934403" y="280988"/>
                  </a:lnTo>
                  <a:lnTo>
                    <a:pt x="923925" y="277178"/>
                  </a:lnTo>
                  <a:lnTo>
                    <a:pt x="921068" y="283845"/>
                  </a:lnTo>
                  <a:lnTo>
                    <a:pt x="918210" y="293370"/>
                  </a:lnTo>
                  <a:lnTo>
                    <a:pt x="901065" y="304800"/>
                  </a:lnTo>
                  <a:lnTo>
                    <a:pt x="895350" y="314325"/>
                  </a:lnTo>
                  <a:lnTo>
                    <a:pt x="891540" y="326708"/>
                  </a:lnTo>
                  <a:lnTo>
                    <a:pt x="891540" y="333375"/>
                  </a:lnTo>
                  <a:lnTo>
                    <a:pt x="875348" y="340995"/>
                  </a:lnTo>
                  <a:lnTo>
                    <a:pt x="808673" y="356235"/>
                  </a:lnTo>
                  <a:lnTo>
                    <a:pt x="800100" y="358140"/>
                  </a:lnTo>
                  <a:lnTo>
                    <a:pt x="775335" y="359093"/>
                  </a:lnTo>
                  <a:lnTo>
                    <a:pt x="766763" y="361950"/>
                  </a:lnTo>
                  <a:lnTo>
                    <a:pt x="748665" y="370523"/>
                  </a:lnTo>
                  <a:lnTo>
                    <a:pt x="740093" y="373380"/>
                  </a:lnTo>
                  <a:lnTo>
                    <a:pt x="730568" y="372428"/>
                  </a:lnTo>
                  <a:lnTo>
                    <a:pt x="725805" y="370523"/>
                  </a:lnTo>
                  <a:lnTo>
                    <a:pt x="721995" y="396240"/>
                  </a:lnTo>
                  <a:lnTo>
                    <a:pt x="722948" y="414338"/>
                  </a:lnTo>
                  <a:lnTo>
                    <a:pt x="717233" y="439103"/>
                  </a:lnTo>
                  <a:lnTo>
                    <a:pt x="708660" y="463868"/>
                  </a:lnTo>
                  <a:lnTo>
                    <a:pt x="700088" y="481013"/>
                  </a:lnTo>
                  <a:lnTo>
                    <a:pt x="694373" y="488633"/>
                  </a:lnTo>
                  <a:lnTo>
                    <a:pt x="680085" y="500063"/>
                  </a:lnTo>
                  <a:lnTo>
                    <a:pt x="673418" y="508635"/>
                  </a:lnTo>
                  <a:lnTo>
                    <a:pt x="661988" y="535305"/>
                  </a:lnTo>
                  <a:lnTo>
                    <a:pt x="657225" y="543878"/>
                  </a:lnTo>
                  <a:lnTo>
                    <a:pt x="632460" y="555308"/>
                  </a:lnTo>
                  <a:lnTo>
                    <a:pt x="581025" y="555308"/>
                  </a:lnTo>
                  <a:lnTo>
                    <a:pt x="547688" y="565785"/>
                  </a:lnTo>
                  <a:lnTo>
                    <a:pt x="522923" y="562928"/>
                  </a:lnTo>
                  <a:lnTo>
                    <a:pt x="513398" y="564833"/>
                  </a:lnTo>
                  <a:lnTo>
                    <a:pt x="498158" y="571500"/>
                  </a:lnTo>
                  <a:lnTo>
                    <a:pt x="469583" y="575310"/>
                  </a:lnTo>
                  <a:lnTo>
                    <a:pt x="435292" y="589598"/>
                  </a:lnTo>
                  <a:lnTo>
                    <a:pt x="176213" y="618173"/>
                  </a:lnTo>
                  <a:lnTo>
                    <a:pt x="154305" y="633413"/>
                  </a:lnTo>
                  <a:lnTo>
                    <a:pt x="102870" y="719138"/>
                  </a:lnTo>
                  <a:lnTo>
                    <a:pt x="80963" y="740093"/>
                  </a:lnTo>
                  <a:lnTo>
                    <a:pt x="47625" y="754380"/>
                  </a:lnTo>
                  <a:lnTo>
                    <a:pt x="953" y="762953"/>
                  </a:lnTo>
                  <a:lnTo>
                    <a:pt x="953" y="753428"/>
                  </a:lnTo>
                  <a:lnTo>
                    <a:pt x="953" y="749618"/>
                  </a:lnTo>
                  <a:lnTo>
                    <a:pt x="2858" y="731520"/>
                  </a:lnTo>
                  <a:lnTo>
                    <a:pt x="3810" y="728663"/>
                  </a:lnTo>
                  <a:lnTo>
                    <a:pt x="28575" y="673418"/>
                  </a:lnTo>
                  <a:lnTo>
                    <a:pt x="30480" y="666750"/>
                  </a:lnTo>
                  <a:lnTo>
                    <a:pt x="30480" y="660083"/>
                  </a:lnTo>
                  <a:lnTo>
                    <a:pt x="29528" y="654368"/>
                  </a:lnTo>
                  <a:lnTo>
                    <a:pt x="28575" y="652463"/>
                  </a:lnTo>
                  <a:lnTo>
                    <a:pt x="23813" y="641985"/>
                  </a:lnTo>
                  <a:lnTo>
                    <a:pt x="21908" y="634365"/>
                  </a:lnTo>
                  <a:lnTo>
                    <a:pt x="21908" y="617220"/>
                  </a:lnTo>
                  <a:lnTo>
                    <a:pt x="20955" y="611505"/>
                  </a:lnTo>
                  <a:lnTo>
                    <a:pt x="19050" y="606743"/>
                  </a:lnTo>
                  <a:lnTo>
                    <a:pt x="10478" y="597218"/>
                  </a:lnTo>
                  <a:lnTo>
                    <a:pt x="8573" y="592455"/>
                  </a:lnTo>
                  <a:lnTo>
                    <a:pt x="3810" y="579120"/>
                  </a:lnTo>
                  <a:lnTo>
                    <a:pt x="2858" y="573405"/>
                  </a:lnTo>
                  <a:lnTo>
                    <a:pt x="2858" y="561023"/>
                  </a:lnTo>
                  <a:lnTo>
                    <a:pt x="0" y="545783"/>
                  </a:lnTo>
                  <a:lnTo>
                    <a:pt x="953" y="540068"/>
                  </a:lnTo>
                  <a:lnTo>
                    <a:pt x="1905" y="533400"/>
                  </a:lnTo>
                  <a:lnTo>
                    <a:pt x="3810" y="527685"/>
                  </a:lnTo>
                  <a:lnTo>
                    <a:pt x="27623" y="481965"/>
                  </a:lnTo>
                  <a:lnTo>
                    <a:pt x="30480" y="476250"/>
                  </a:lnTo>
                  <a:lnTo>
                    <a:pt x="32385" y="461963"/>
                  </a:lnTo>
                  <a:lnTo>
                    <a:pt x="32385" y="459105"/>
                  </a:lnTo>
                  <a:lnTo>
                    <a:pt x="35242" y="455295"/>
                  </a:lnTo>
                  <a:lnTo>
                    <a:pt x="39053" y="450533"/>
                  </a:lnTo>
                  <a:lnTo>
                    <a:pt x="47625" y="444818"/>
                  </a:lnTo>
                  <a:lnTo>
                    <a:pt x="53340" y="441960"/>
                  </a:lnTo>
                  <a:lnTo>
                    <a:pt x="62865" y="439103"/>
                  </a:lnTo>
                  <a:lnTo>
                    <a:pt x="66675" y="436245"/>
                  </a:lnTo>
                  <a:lnTo>
                    <a:pt x="94298" y="403860"/>
                  </a:lnTo>
                  <a:lnTo>
                    <a:pt x="100013" y="400050"/>
                  </a:lnTo>
                  <a:lnTo>
                    <a:pt x="104775" y="397193"/>
                  </a:lnTo>
                  <a:lnTo>
                    <a:pt x="110490" y="396240"/>
                  </a:lnTo>
                  <a:lnTo>
                    <a:pt x="112395" y="394335"/>
                  </a:lnTo>
                  <a:lnTo>
                    <a:pt x="113348" y="390525"/>
                  </a:lnTo>
                  <a:lnTo>
                    <a:pt x="112395" y="387668"/>
                  </a:lnTo>
                  <a:lnTo>
                    <a:pt x="109538" y="380048"/>
                  </a:lnTo>
                  <a:lnTo>
                    <a:pt x="108585" y="374333"/>
                  </a:lnTo>
                  <a:lnTo>
                    <a:pt x="108585" y="363855"/>
                  </a:lnTo>
                  <a:lnTo>
                    <a:pt x="110490" y="358140"/>
                  </a:lnTo>
                  <a:lnTo>
                    <a:pt x="112395" y="354330"/>
                  </a:lnTo>
                  <a:lnTo>
                    <a:pt x="116205" y="350520"/>
                  </a:lnTo>
                  <a:lnTo>
                    <a:pt x="123825" y="344805"/>
                  </a:lnTo>
                  <a:lnTo>
                    <a:pt x="131445" y="340995"/>
                  </a:lnTo>
                  <a:lnTo>
                    <a:pt x="137160" y="338138"/>
                  </a:lnTo>
                  <a:lnTo>
                    <a:pt x="141923" y="335280"/>
                  </a:lnTo>
                  <a:lnTo>
                    <a:pt x="192405" y="268605"/>
                  </a:lnTo>
                  <a:lnTo>
                    <a:pt x="233363" y="237173"/>
                  </a:lnTo>
                  <a:lnTo>
                    <a:pt x="252413" y="228600"/>
                  </a:lnTo>
                  <a:lnTo>
                    <a:pt x="274320" y="220980"/>
                  </a:lnTo>
                  <a:lnTo>
                    <a:pt x="298133" y="218123"/>
                  </a:lnTo>
                  <a:lnTo>
                    <a:pt x="308610" y="219075"/>
                  </a:lnTo>
                  <a:lnTo>
                    <a:pt x="315278" y="220980"/>
                  </a:lnTo>
                  <a:lnTo>
                    <a:pt x="325755" y="224790"/>
                  </a:lnTo>
                  <a:lnTo>
                    <a:pt x="331470" y="227648"/>
                  </a:lnTo>
                  <a:lnTo>
                    <a:pt x="335280" y="230505"/>
                  </a:lnTo>
                  <a:lnTo>
                    <a:pt x="341948" y="230505"/>
                  </a:lnTo>
                  <a:lnTo>
                    <a:pt x="344805" y="229553"/>
                  </a:lnTo>
                  <a:lnTo>
                    <a:pt x="346710" y="226695"/>
                  </a:lnTo>
                  <a:lnTo>
                    <a:pt x="349567" y="221933"/>
                  </a:lnTo>
                  <a:lnTo>
                    <a:pt x="351473" y="216218"/>
                  </a:lnTo>
                  <a:lnTo>
                    <a:pt x="355283" y="195263"/>
                  </a:lnTo>
                  <a:lnTo>
                    <a:pt x="358140" y="124778"/>
                  </a:lnTo>
                  <a:lnTo>
                    <a:pt x="357188" y="116205"/>
                  </a:lnTo>
                  <a:lnTo>
                    <a:pt x="342900" y="77153"/>
                  </a:lnTo>
                  <a:lnTo>
                    <a:pt x="337185" y="55245"/>
                  </a:lnTo>
                  <a:lnTo>
                    <a:pt x="336233" y="45720"/>
                  </a:lnTo>
                  <a:lnTo>
                    <a:pt x="336233" y="41910"/>
                  </a:lnTo>
                  <a:lnTo>
                    <a:pt x="337185" y="38100"/>
                  </a:lnTo>
                  <a:lnTo>
                    <a:pt x="340042" y="31433"/>
                  </a:lnTo>
                  <a:lnTo>
                    <a:pt x="342900" y="27623"/>
                  </a:lnTo>
                  <a:lnTo>
                    <a:pt x="347663" y="21908"/>
                  </a:lnTo>
                  <a:lnTo>
                    <a:pt x="354330" y="15240"/>
                  </a:lnTo>
                  <a:lnTo>
                    <a:pt x="374333" y="0"/>
                  </a:lnTo>
                  <a:lnTo>
                    <a:pt x="381000" y="4763"/>
                  </a:lnTo>
                  <a:lnTo>
                    <a:pt x="392430" y="8573"/>
                  </a:lnTo>
                  <a:lnTo>
                    <a:pt x="415290" y="10478"/>
                  </a:lnTo>
                  <a:lnTo>
                    <a:pt x="420053" y="15240"/>
                  </a:lnTo>
                  <a:lnTo>
                    <a:pt x="423863" y="34290"/>
                  </a:lnTo>
                  <a:lnTo>
                    <a:pt x="429578" y="38100"/>
                  </a:lnTo>
                  <a:lnTo>
                    <a:pt x="435292" y="36195"/>
                  </a:lnTo>
                  <a:lnTo>
                    <a:pt x="438150" y="30480"/>
                  </a:lnTo>
                  <a:lnTo>
                    <a:pt x="439103" y="22860"/>
                  </a:lnTo>
                  <a:lnTo>
                    <a:pt x="442913" y="16193"/>
                  </a:lnTo>
                  <a:lnTo>
                    <a:pt x="457200" y="6668"/>
                  </a:lnTo>
                  <a:lnTo>
                    <a:pt x="464820" y="13335"/>
                  </a:lnTo>
                  <a:lnTo>
                    <a:pt x="471488" y="25718"/>
                  </a:lnTo>
                  <a:lnTo>
                    <a:pt x="481013" y="33338"/>
                  </a:lnTo>
                  <a:lnTo>
                    <a:pt x="491490" y="47625"/>
                  </a:lnTo>
                  <a:lnTo>
                    <a:pt x="493395" y="52388"/>
                  </a:lnTo>
                  <a:lnTo>
                    <a:pt x="493395" y="59055"/>
                  </a:lnTo>
                  <a:lnTo>
                    <a:pt x="493395" y="61913"/>
                  </a:lnTo>
                  <a:lnTo>
                    <a:pt x="519113" y="71438"/>
                  </a:lnTo>
                  <a:lnTo>
                    <a:pt x="527685" y="72390"/>
                  </a:lnTo>
                  <a:lnTo>
                    <a:pt x="536258" y="71438"/>
                  </a:lnTo>
                  <a:lnTo>
                    <a:pt x="544830" y="64770"/>
                  </a:lnTo>
                  <a:lnTo>
                    <a:pt x="551498" y="49530"/>
                  </a:lnTo>
                  <a:lnTo>
                    <a:pt x="558165" y="43815"/>
                  </a:lnTo>
                  <a:lnTo>
                    <a:pt x="571500" y="49530"/>
                  </a:lnTo>
                  <a:lnTo>
                    <a:pt x="576263" y="49530"/>
                  </a:lnTo>
                  <a:lnTo>
                    <a:pt x="579120" y="44768"/>
                  </a:lnTo>
                  <a:lnTo>
                    <a:pt x="581025" y="32385"/>
                  </a:lnTo>
                  <a:lnTo>
                    <a:pt x="582930" y="27623"/>
                  </a:lnTo>
                  <a:lnTo>
                    <a:pt x="591503" y="23813"/>
                  </a:lnTo>
                  <a:lnTo>
                    <a:pt x="596265" y="28575"/>
                  </a:lnTo>
                  <a:lnTo>
                    <a:pt x="598170" y="40005"/>
                  </a:lnTo>
                  <a:lnTo>
                    <a:pt x="598170" y="49530"/>
                  </a:lnTo>
                  <a:lnTo>
                    <a:pt x="593408" y="75248"/>
                  </a:lnTo>
                  <a:lnTo>
                    <a:pt x="593408" y="84773"/>
                  </a:lnTo>
                  <a:lnTo>
                    <a:pt x="599123" y="96203"/>
                  </a:lnTo>
                  <a:lnTo>
                    <a:pt x="607695" y="103823"/>
                  </a:lnTo>
                  <a:lnTo>
                    <a:pt x="618173" y="109538"/>
                  </a:lnTo>
                  <a:lnTo>
                    <a:pt x="627698" y="108585"/>
                  </a:lnTo>
                  <a:lnTo>
                    <a:pt x="634365" y="98108"/>
                  </a:lnTo>
                  <a:lnTo>
                    <a:pt x="625793" y="85725"/>
                  </a:lnTo>
                  <a:lnTo>
                    <a:pt x="621983" y="77153"/>
                  </a:lnTo>
                  <a:lnTo>
                    <a:pt x="620078" y="68580"/>
                  </a:lnTo>
                  <a:lnTo>
                    <a:pt x="620078" y="57150"/>
                  </a:lnTo>
                  <a:lnTo>
                    <a:pt x="621030" y="53340"/>
                  </a:lnTo>
                  <a:lnTo>
                    <a:pt x="636270" y="55245"/>
                  </a:lnTo>
                  <a:lnTo>
                    <a:pt x="642938" y="64770"/>
                  </a:lnTo>
                  <a:lnTo>
                    <a:pt x="641985" y="87630"/>
                  </a:lnTo>
                  <a:lnTo>
                    <a:pt x="644843" y="110490"/>
                  </a:lnTo>
                  <a:lnTo>
                    <a:pt x="661035" y="120968"/>
                  </a:lnTo>
                  <a:lnTo>
                    <a:pt x="691515" y="114300"/>
                  </a:lnTo>
                  <a:lnTo>
                    <a:pt x="701040" y="115253"/>
                  </a:lnTo>
                  <a:lnTo>
                    <a:pt x="707708" y="118110"/>
                  </a:lnTo>
                  <a:lnTo>
                    <a:pt x="721043" y="125730"/>
                  </a:lnTo>
                  <a:lnTo>
                    <a:pt x="738188" y="132398"/>
                  </a:lnTo>
                  <a:lnTo>
                    <a:pt x="752475" y="133350"/>
                  </a:lnTo>
                  <a:lnTo>
                    <a:pt x="766763" y="128588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6" name="Полилиния: фигура 8">
              <a:extLst>
                <a:ext uri="{FF2B5EF4-FFF2-40B4-BE49-F238E27FC236}">
                  <a16:creationId xmlns:a16="http://schemas.microsoft.com/office/drawing/2014/main" id="{CC030525-CF86-6462-520A-5D4EE6C93C4B}"/>
                </a:ext>
              </a:extLst>
            </p:cNvPr>
            <p:cNvSpPr/>
            <p:nvPr/>
          </p:nvSpPr>
          <p:spPr>
            <a:xfrm>
              <a:off x="2081213" y="2630805"/>
              <a:ext cx="1114425" cy="1447800"/>
            </a:xfrm>
            <a:custGeom>
              <a:avLst/>
              <a:gdLst>
                <a:gd name="connsiteX0" fmla="*/ 619125 w 1114425"/>
                <a:gd name="connsiteY0" fmla="*/ 26670 h 1447800"/>
                <a:gd name="connsiteX1" fmla="*/ 661988 w 1114425"/>
                <a:gd name="connsiteY1" fmla="*/ 93345 h 1447800"/>
                <a:gd name="connsiteX2" fmla="*/ 670560 w 1114425"/>
                <a:gd name="connsiteY2" fmla="*/ 109538 h 1447800"/>
                <a:gd name="connsiteX3" fmla="*/ 680085 w 1114425"/>
                <a:gd name="connsiteY3" fmla="*/ 136208 h 1447800"/>
                <a:gd name="connsiteX4" fmla="*/ 681990 w 1114425"/>
                <a:gd name="connsiteY4" fmla="*/ 141923 h 1447800"/>
                <a:gd name="connsiteX5" fmla="*/ 685800 w 1114425"/>
                <a:gd name="connsiteY5" fmla="*/ 149542 h 1447800"/>
                <a:gd name="connsiteX6" fmla="*/ 685800 w 1114425"/>
                <a:gd name="connsiteY6" fmla="*/ 153352 h 1447800"/>
                <a:gd name="connsiteX7" fmla="*/ 684847 w 1114425"/>
                <a:gd name="connsiteY7" fmla="*/ 156210 h 1447800"/>
                <a:gd name="connsiteX8" fmla="*/ 681990 w 1114425"/>
                <a:gd name="connsiteY8" fmla="*/ 160973 h 1447800"/>
                <a:gd name="connsiteX9" fmla="*/ 681038 w 1114425"/>
                <a:gd name="connsiteY9" fmla="*/ 167640 h 1447800"/>
                <a:gd name="connsiteX10" fmla="*/ 681038 w 1114425"/>
                <a:gd name="connsiteY10" fmla="*/ 170498 h 1447800"/>
                <a:gd name="connsiteX11" fmla="*/ 681990 w 1114425"/>
                <a:gd name="connsiteY11" fmla="*/ 176213 h 1447800"/>
                <a:gd name="connsiteX12" fmla="*/ 682943 w 1114425"/>
                <a:gd name="connsiteY12" fmla="*/ 179070 h 1447800"/>
                <a:gd name="connsiteX13" fmla="*/ 684847 w 1114425"/>
                <a:gd name="connsiteY13" fmla="*/ 184785 h 1447800"/>
                <a:gd name="connsiteX14" fmla="*/ 686753 w 1114425"/>
                <a:gd name="connsiteY14" fmla="*/ 200025 h 1447800"/>
                <a:gd name="connsiteX15" fmla="*/ 687705 w 1114425"/>
                <a:gd name="connsiteY15" fmla="*/ 209550 h 1447800"/>
                <a:gd name="connsiteX16" fmla="*/ 688658 w 1114425"/>
                <a:gd name="connsiteY16" fmla="*/ 212408 h 1447800"/>
                <a:gd name="connsiteX17" fmla="*/ 689610 w 1114425"/>
                <a:gd name="connsiteY17" fmla="*/ 215265 h 1447800"/>
                <a:gd name="connsiteX18" fmla="*/ 692468 w 1114425"/>
                <a:gd name="connsiteY18" fmla="*/ 218123 h 1447800"/>
                <a:gd name="connsiteX19" fmla="*/ 702945 w 1114425"/>
                <a:gd name="connsiteY19" fmla="*/ 221933 h 1447800"/>
                <a:gd name="connsiteX20" fmla="*/ 705803 w 1114425"/>
                <a:gd name="connsiteY20" fmla="*/ 225742 h 1447800"/>
                <a:gd name="connsiteX21" fmla="*/ 707708 w 1114425"/>
                <a:gd name="connsiteY21" fmla="*/ 231458 h 1447800"/>
                <a:gd name="connsiteX22" fmla="*/ 709613 w 1114425"/>
                <a:gd name="connsiteY22" fmla="*/ 239077 h 1447800"/>
                <a:gd name="connsiteX23" fmla="*/ 711518 w 1114425"/>
                <a:gd name="connsiteY23" fmla="*/ 247650 h 1447800"/>
                <a:gd name="connsiteX24" fmla="*/ 711518 w 1114425"/>
                <a:gd name="connsiteY24" fmla="*/ 254317 h 1447800"/>
                <a:gd name="connsiteX25" fmla="*/ 710565 w 1114425"/>
                <a:gd name="connsiteY25" fmla="*/ 260985 h 1447800"/>
                <a:gd name="connsiteX26" fmla="*/ 708660 w 1114425"/>
                <a:gd name="connsiteY26" fmla="*/ 266700 h 1447800"/>
                <a:gd name="connsiteX27" fmla="*/ 706755 w 1114425"/>
                <a:gd name="connsiteY27" fmla="*/ 268605 h 1447800"/>
                <a:gd name="connsiteX28" fmla="*/ 699135 w 1114425"/>
                <a:gd name="connsiteY28" fmla="*/ 275273 h 1447800"/>
                <a:gd name="connsiteX29" fmla="*/ 696278 w 1114425"/>
                <a:gd name="connsiteY29" fmla="*/ 280035 h 1447800"/>
                <a:gd name="connsiteX30" fmla="*/ 695325 w 1114425"/>
                <a:gd name="connsiteY30" fmla="*/ 285750 h 1447800"/>
                <a:gd name="connsiteX31" fmla="*/ 695325 w 1114425"/>
                <a:gd name="connsiteY31" fmla="*/ 287655 h 1447800"/>
                <a:gd name="connsiteX32" fmla="*/ 699135 w 1114425"/>
                <a:gd name="connsiteY32" fmla="*/ 298133 h 1447800"/>
                <a:gd name="connsiteX33" fmla="*/ 700088 w 1114425"/>
                <a:gd name="connsiteY33" fmla="*/ 301942 h 1447800"/>
                <a:gd name="connsiteX34" fmla="*/ 700088 w 1114425"/>
                <a:gd name="connsiteY34" fmla="*/ 308610 h 1447800"/>
                <a:gd name="connsiteX35" fmla="*/ 699135 w 1114425"/>
                <a:gd name="connsiteY35" fmla="*/ 315277 h 1447800"/>
                <a:gd name="connsiteX36" fmla="*/ 698183 w 1114425"/>
                <a:gd name="connsiteY36" fmla="*/ 321945 h 1447800"/>
                <a:gd name="connsiteX37" fmla="*/ 700088 w 1114425"/>
                <a:gd name="connsiteY37" fmla="*/ 327660 h 1447800"/>
                <a:gd name="connsiteX38" fmla="*/ 702945 w 1114425"/>
                <a:gd name="connsiteY38" fmla="*/ 332423 h 1447800"/>
                <a:gd name="connsiteX39" fmla="*/ 705803 w 1114425"/>
                <a:gd name="connsiteY39" fmla="*/ 334327 h 1447800"/>
                <a:gd name="connsiteX40" fmla="*/ 710565 w 1114425"/>
                <a:gd name="connsiteY40" fmla="*/ 334327 h 1447800"/>
                <a:gd name="connsiteX41" fmla="*/ 713422 w 1114425"/>
                <a:gd name="connsiteY41" fmla="*/ 333375 h 1447800"/>
                <a:gd name="connsiteX42" fmla="*/ 721995 w 1114425"/>
                <a:gd name="connsiteY42" fmla="*/ 326708 h 1447800"/>
                <a:gd name="connsiteX43" fmla="*/ 727710 w 1114425"/>
                <a:gd name="connsiteY43" fmla="*/ 324802 h 1447800"/>
                <a:gd name="connsiteX44" fmla="*/ 729615 w 1114425"/>
                <a:gd name="connsiteY44" fmla="*/ 324802 h 1447800"/>
                <a:gd name="connsiteX45" fmla="*/ 740093 w 1114425"/>
                <a:gd name="connsiteY45" fmla="*/ 329565 h 1447800"/>
                <a:gd name="connsiteX46" fmla="*/ 756285 w 1114425"/>
                <a:gd name="connsiteY46" fmla="*/ 332423 h 1447800"/>
                <a:gd name="connsiteX47" fmla="*/ 759143 w 1114425"/>
                <a:gd name="connsiteY47" fmla="*/ 335280 h 1447800"/>
                <a:gd name="connsiteX48" fmla="*/ 761047 w 1114425"/>
                <a:gd name="connsiteY48" fmla="*/ 338138 h 1447800"/>
                <a:gd name="connsiteX49" fmla="*/ 763905 w 1114425"/>
                <a:gd name="connsiteY49" fmla="*/ 343852 h 1447800"/>
                <a:gd name="connsiteX50" fmla="*/ 764858 w 1114425"/>
                <a:gd name="connsiteY50" fmla="*/ 347663 h 1447800"/>
                <a:gd name="connsiteX51" fmla="*/ 765810 w 1114425"/>
                <a:gd name="connsiteY51" fmla="*/ 352425 h 1447800"/>
                <a:gd name="connsiteX52" fmla="*/ 765810 w 1114425"/>
                <a:gd name="connsiteY52" fmla="*/ 359092 h 1447800"/>
                <a:gd name="connsiteX53" fmla="*/ 766763 w 1114425"/>
                <a:gd name="connsiteY53" fmla="*/ 364808 h 1447800"/>
                <a:gd name="connsiteX54" fmla="*/ 769620 w 1114425"/>
                <a:gd name="connsiteY54" fmla="*/ 369570 h 1447800"/>
                <a:gd name="connsiteX55" fmla="*/ 769620 w 1114425"/>
                <a:gd name="connsiteY55" fmla="*/ 375285 h 1447800"/>
                <a:gd name="connsiteX56" fmla="*/ 769620 w 1114425"/>
                <a:gd name="connsiteY56" fmla="*/ 378142 h 1447800"/>
                <a:gd name="connsiteX57" fmla="*/ 765810 w 1114425"/>
                <a:gd name="connsiteY57" fmla="*/ 381952 h 1447800"/>
                <a:gd name="connsiteX58" fmla="*/ 763905 w 1114425"/>
                <a:gd name="connsiteY58" fmla="*/ 383858 h 1447800"/>
                <a:gd name="connsiteX59" fmla="*/ 759143 w 1114425"/>
                <a:gd name="connsiteY59" fmla="*/ 385763 h 1447800"/>
                <a:gd name="connsiteX60" fmla="*/ 756285 w 1114425"/>
                <a:gd name="connsiteY60" fmla="*/ 384810 h 1447800"/>
                <a:gd name="connsiteX61" fmla="*/ 750570 w 1114425"/>
                <a:gd name="connsiteY61" fmla="*/ 383858 h 1447800"/>
                <a:gd name="connsiteX62" fmla="*/ 735330 w 1114425"/>
                <a:gd name="connsiteY62" fmla="*/ 375285 h 1447800"/>
                <a:gd name="connsiteX63" fmla="*/ 728663 w 1114425"/>
                <a:gd name="connsiteY63" fmla="*/ 374333 h 1447800"/>
                <a:gd name="connsiteX64" fmla="*/ 722947 w 1114425"/>
                <a:gd name="connsiteY64" fmla="*/ 374333 h 1447800"/>
                <a:gd name="connsiteX65" fmla="*/ 720090 w 1114425"/>
                <a:gd name="connsiteY65" fmla="*/ 376238 h 1447800"/>
                <a:gd name="connsiteX66" fmla="*/ 719138 w 1114425"/>
                <a:gd name="connsiteY66" fmla="*/ 378142 h 1447800"/>
                <a:gd name="connsiteX67" fmla="*/ 718185 w 1114425"/>
                <a:gd name="connsiteY67" fmla="*/ 381000 h 1447800"/>
                <a:gd name="connsiteX68" fmla="*/ 718185 w 1114425"/>
                <a:gd name="connsiteY68" fmla="*/ 386715 h 1447800"/>
                <a:gd name="connsiteX69" fmla="*/ 720090 w 1114425"/>
                <a:gd name="connsiteY69" fmla="*/ 391477 h 1447800"/>
                <a:gd name="connsiteX70" fmla="*/ 725805 w 1114425"/>
                <a:gd name="connsiteY70" fmla="*/ 396240 h 1447800"/>
                <a:gd name="connsiteX71" fmla="*/ 742950 w 1114425"/>
                <a:gd name="connsiteY71" fmla="*/ 403860 h 1447800"/>
                <a:gd name="connsiteX72" fmla="*/ 747713 w 1114425"/>
                <a:gd name="connsiteY72" fmla="*/ 406717 h 1447800"/>
                <a:gd name="connsiteX73" fmla="*/ 750570 w 1114425"/>
                <a:gd name="connsiteY73" fmla="*/ 412433 h 1447800"/>
                <a:gd name="connsiteX74" fmla="*/ 752475 w 1114425"/>
                <a:gd name="connsiteY74" fmla="*/ 422910 h 1447800"/>
                <a:gd name="connsiteX75" fmla="*/ 754380 w 1114425"/>
                <a:gd name="connsiteY75" fmla="*/ 429577 h 1447800"/>
                <a:gd name="connsiteX76" fmla="*/ 762000 w 1114425"/>
                <a:gd name="connsiteY76" fmla="*/ 441960 h 1447800"/>
                <a:gd name="connsiteX77" fmla="*/ 769620 w 1114425"/>
                <a:gd name="connsiteY77" fmla="*/ 448627 h 1447800"/>
                <a:gd name="connsiteX78" fmla="*/ 779145 w 1114425"/>
                <a:gd name="connsiteY78" fmla="*/ 448627 h 1447800"/>
                <a:gd name="connsiteX79" fmla="*/ 801053 w 1114425"/>
                <a:gd name="connsiteY79" fmla="*/ 444817 h 1447800"/>
                <a:gd name="connsiteX80" fmla="*/ 808672 w 1114425"/>
                <a:gd name="connsiteY80" fmla="*/ 445770 h 1447800"/>
                <a:gd name="connsiteX81" fmla="*/ 837247 w 1114425"/>
                <a:gd name="connsiteY81" fmla="*/ 462915 h 1447800"/>
                <a:gd name="connsiteX82" fmla="*/ 842010 w 1114425"/>
                <a:gd name="connsiteY82" fmla="*/ 468630 h 1447800"/>
                <a:gd name="connsiteX83" fmla="*/ 842010 w 1114425"/>
                <a:gd name="connsiteY83" fmla="*/ 476250 h 1447800"/>
                <a:gd name="connsiteX84" fmla="*/ 838200 w 1114425"/>
                <a:gd name="connsiteY84" fmla="*/ 489585 h 1447800"/>
                <a:gd name="connsiteX85" fmla="*/ 838200 w 1114425"/>
                <a:gd name="connsiteY85" fmla="*/ 498158 h 1447800"/>
                <a:gd name="connsiteX86" fmla="*/ 842010 w 1114425"/>
                <a:gd name="connsiteY86" fmla="*/ 505777 h 1447800"/>
                <a:gd name="connsiteX87" fmla="*/ 854393 w 1114425"/>
                <a:gd name="connsiteY87" fmla="*/ 525780 h 1447800"/>
                <a:gd name="connsiteX88" fmla="*/ 861060 w 1114425"/>
                <a:gd name="connsiteY88" fmla="*/ 531495 h 1447800"/>
                <a:gd name="connsiteX89" fmla="*/ 864870 w 1114425"/>
                <a:gd name="connsiteY89" fmla="*/ 526733 h 1447800"/>
                <a:gd name="connsiteX90" fmla="*/ 867728 w 1114425"/>
                <a:gd name="connsiteY90" fmla="*/ 517208 h 1447800"/>
                <a:gd name="connsiteX91" fmla="*/ 868680 w 1114425"/>
                <a:gd name="connsiteY91" fmla="*/ 507683 h 1447800"/>
                <a:gd name="connsiteX92" fmla="*/ 870585 w 1114425"/>
                <a:gd name="connsiteY92" fmla="*/ 501015 h 1447800"/>
                <a:gd name="connsiteX93" fmla="*/ 873443 w 1114425"/>
                <a:gd name="connsiteY93" fmla="*/ 495300 h 1447800"/>
                <a:gd name="connsiteX94" fmla="*/ 878205 w 1114425"/>
                <a:gd name="connsiteY94" fmla="*/ 489585 h 1447800"/>
                <a:gd name="connsiteX95" fmla="*/ 889635 w 1114425"/>
                <a:gd name="connsiteY95" fmla="*/ 480060 h 1447800"/>
                <a:gd name="connsiteX96" fmla="*/ 895350 w 1114425"/>
                <a:gd name="connsiteY96" fmla="*/ 478155 h 1447800"/>
                <a:gd name="connsiteX97" fmla="*/ 902970 w 1114425"/>
                <a:gd name="connsiteY97" fmla="*/ 479108 h 1447800"/>
                <a:gd name="connsiteX98" fmla="*/ 902970 w 1114425"/>
                <a:gd name="connsiteY98" fmla="*/ 484823 h 1447800"/>
                <a:gd name="connsiteX99" fmla="*/ 898208 w 1114425"/>
                <a:gd name="connsiteY99" fmla="*/ 494348 h 1447800"/>
                <a:gd name="connsiteX100" fmla="*/ 893445 w 1114425"/>
                <a:gd name="connsiteY100" fmla="*/ 514350 h 1447800"/>
                <a:gd name="connsiteX101" fmla="*/ 890588 w 1114425"/>
                <a:gd name="connsiteY101" fmla="*/ 536258 h 1447800"/>
                <a:gd name="connsiteX102" fmla="*/ 892493 w 1114425"/>
                <a:gd name="connsiteY102" fmla="*/ 550545 h 1447800"/>
                <a:gd name="connsiteX103" fmla="*/ 905828 w 1114425"/>
                <a:gd name="connsiteY103" fmla="*/ 536258 h 1447800"/>
                <a:gd name="connsiteX104" fmla="*/ 918210 w 1114425"/>
                <a:gd name="connsiteY104" fmla="*/ 537210 h 1447800"/>
                <a:gd name="connsiteX105" fmla="*/ 946785 w 1114425"/>
                <a:gd name="connsiteY105" fmla="*/ 550545 h 1447800"/>
                <a:gd name="connsiteX106" fmla="*/ 935355 w 1114425"/>
                <a:gd name="connsiteY106" fmla="*/ 561975 h 1447800"/>
                <a:gd name="connsiteX107" fmla="*/ 905828 w 1114425"/>
                <a:gd name="connsiteY107" fmla="*/ 570548 h 1447800"/>
                <a:gd name="connsiteX108" fmla="*/ 900113 w 1114425"/>
                <a:gd name="connsiteY108" fmla="*/ 583883 h 1447800"/>
                <a:gd name="connsiteX109" fmla="*/ 905828 w 1114425"/>
                <a:gd name="connsiteY109" fmla="*/ 603885 h 1447800"/>
                <a:gd name="connsiteX110" fmla="*/ 920115 w 1114425"/>
                <a:gd name="connsiteY110" fmla="*/ 599123 h 1447800"/>
                <a:gd name="connsiteX111" fmla="*/ 946785 w 1114425"/>
                <a:gd name="connsiteY111" fmla="*/ 572452 h 1447800"/>
                <a:gd name="connsiteX112" fmla="*/ 954405 w 1114425"/>
                <a:gd name="connsiteY112" fmla="*/ 571500 h 1447800"/>
                <a:gd name="connsiteX113" fmla="*/ 959168 w 1114425"/>
                <a:gd name="connsiteY113" fmla="*/ 573405 h 1447800"/>
                <a:gd name="connsiteX114" fmla="*/ 960120 w 1114425"/>
                <a:gd name="connsiteY114" fmla="*/ 573405 h 1447800"/>
                <a:gd name="connsiteX115" fmla="*/ 961072 w 1114425"/>
                <a:gd name="connsiteY115" fmla="*/ 561975 h 1447800"/>
                <a:gd name="connsiteX116" fmla="*/ 960120 w 1114425"/>
                <a:gd name="connsiteY116" fmla="*/ 551498 h 1447800"/>
                <a:gd name="connsiteX117" fmla="*/ 959168 w 1114425"/>
                <a:gd name="connsiteY117" fmla="*/ 544830 h 1447800"/>
                <a:gd name="connsiteX118" fmla="*/ 961072 w 1114425"/>
                <a:gd name="connsiteY118" fmla="*/ 540068 h 1447800"/>
                <a:gd name="connsiteX119" fmla="*/ 972503 w 1114425"/>
                <a:gd name="connsiteY119" fmla="*/ 539115 h 1447800"/>
                <a:gd name="connsiteX120" fmla="*/ 979170 w 1114425"/>
                <a:gd name="connsiteY120" fmla="*/ 541020 h 1447800"/>
                <a:gd name="connsiteX121" fmla="*/ 984885 w 1114425"/>
                <a:gd name="connsiteY121" fmla="*/ 544830 h 1447800"/>
                <a:gd name="connsiteX122" fmla="*/ 992505 w 1114425"/>
                <a:gd name="connsiteY122" fmla="*/ 546735 h 1447800"/>
                <a:gd name="connsiteX123" fmla="*/ 1001078 w 1114425"/>
                <a:gd name="connsiteY123" fmla="*/ 544830 h 1447800"/>
                <a:gd name="connsiteX124" fmla="*/ 1002030 w 1114425"/>
                <a:gd name="connsiteY124" fmla="*/ 541020 h 1447800"/>
                <a:gd name="connsiteX125" fmla="*/ 1001078 w 1114425"/>
                <a:gd name="connsiteY125" fmla="*/ 535305 h 1447800"/>
                <a:gd name="connsiteX126" fmla="*/ 1001078 w 1114425"/>
                <a:gd name="connsiteY126" fmla="*/ 530543 h 1447800"/>
                <a:gd name="connsiteX127" fmla="*/ 1005840 w 1114425"/>
                <a:gd name="connsiteY127" fmla="*/ 528638 h 1447800"/>
                <a:gd name="connsiteX128" fmla="*/ 1009650 w 1114425"/>
                <a:gd name="connsiteY128" fmla="*/ 529590 h 1447800"/>
                <a:gd name="connsiteX129" fmla="*/ 1017270 w 1114425"/>
                <a:gd name="connsiteY129" fmla="*/ 533400 h 1447800"/>
                <a:gd name="connsiteX130" fmla="*/ 1022033 w 1114425"/>
                <a:gd name="connsiteY130" fmla="*/ 534352 h 1447800"/>
                <a:gd name="connsiteX131" fmla="*/ 1017270 w 1114425"/>
                <a:gd name="connsiteY131" fmla="*/ 545783 h 1447800"/>
                <a:gd name="connsiteX132" fmla="*/ 1015365 w 1114425"/>
                <a:gd name="connsiteY132" fmla="*/ 550545 h 1447800"/>
                <a:gd name="connsiteX133" fmla="*/ 1010603 w 1114425"/>
                <a:gd name="connsiteY133" fmla="*/ 555308 h 1447800"/>
                <a:gd name="connsiteX134" fmla="*/ 1017270 w 1114425"/>
                <a:gd name="connsiteY134" fmla="*/ 563880 h 1447800"/>
                <a:gd name="connsiteX135" fmla="*/ 1027747 w 1114425"/>
                <a:gd name="connsiteY135" fmla="*/ 573405 h 1447800"/>
                <a:gd name="connsiteX136" fmla="*/ 1040130 w 1114425"/>
                <a:gd name="connsiteY136" fmla="*/ 580073 h 1447800"/>
                <a:gd name="connsiteX137" fmla="*/ 1049655 w 1114425"/>
                <a:gd name="connsiteY137" fmla="*/ 583883 h 1447800"/>
                <a:gd name="connsiteX138" fmla="*/ 1062990 w 1114425"/>
                <a:gd name="connsiteY138" fmla="*/ 584835 h 1447800"/>
                <a:gd name="connsiteX139" fmla="*/ 1071563 w 1114425"/>
                <a:gd name="connsiteY139" fmla="*/ 589598 h 1447800"/>
                <a:gd name="connsiteX140" fmla="*/ 1087755 w 1114425"/>
                <a:gd name="connsiteY140" fmla="*/ 604838 h 1447800"/>
                <a:gd name="connsiteX141" fmla="*/ 1102043 w 1114425"/>
                <a:gd name="connsiteY141" fmla="*/ 613410 h 1447800"/>
                <a:gd name="connsiteX142" fmla="*/ 1105853 w 1114425"/>
                <a:gd name="connsiteY142" fmla="*/ 616268 h 1447800"/>
                <a:gd name="connsiteX143" fmla="*/ 1111568 w 1114425"/>
                <a:gd name="connsiteY143" fmla="*/ 628650 h 1447800"/>
                <a:gd name="connsiteX144" fmla="*/ 1110615 w 1114425"/>
                <a:gd name="connsiteY144" fmla="*/ 633413 h 1447800"/>
                <a:gd name="connsiteX145" fmla="*/ 1107758 w 1114425"/>
                <a:gd name="connsiteY145" fmla="*/ 635318 h 1447800"/>
                <a:gd name="connsiteX146" fmla="*/ 1105853 w 1114425"/>
                <a:gd name="connsiteY146" fmla="*/ 641033 h 1447800"/>
                <a:gd name="connsiteX147" fmla="*/ 1104900 w 1114425"/>
                <a:gd name="connsiteY147" fmla="*/ 647700 h 1447800"/>
                <a:gd name="connsiteX148" fmla="*/ 1104900 w 1114425"/>
                <a:gd name="connsiteY148" fmla="*/ 649605 h 1447800"/>
                <a:gd name="connsiteX149" fmla="*/ 1105853 w 1114425"/>
                <a:gd name="connsiteY149" fmla="*/ 650558 h 1447800"/>
                <a:gd name="connsiteX150" fmla="*/ 1111568 w 1114425"/>
                <a:gd name="connsiteY150" fmla="*/ 657225 h 1447800"/>
                <a:gd name="connsiteX151" fmla="*/ 1114425 w 1114425"/>
                <a:gd name="connsiteY151" fmla="*/ 666750 h 1447800"/>
                <a:gd name="connsiteX152" fmla="*/ 1112520 w 1114425"/>
                <a:gd name="connsiteY152" fmla="*/ 672465 h 1447800"/>
                <a:gd name="connsiteX153" fmla="*/ 1109663 w 1114425"/>
                <a:gd name="connsiteY153" fmla="*/ 677227 h 1447800"/>
                <a:gd name="connsiteX154" fmla="*/ 1109663 w 1114425"/>
                <a:gd name="connsiteY154" fmla="*/ 681990 h 1447800"/>
                <a:gd name="connsiteX155" fmla="*/ 1089660 w 1114425"/>
                <a:gd name="connsiteY155" fmla="*/ 697230 h 1447800"/>
                <a:gd name="connsiteX156" fmla="*/ 1082993 w 1114425"/>
                <a:gd name="connsiteY156" fmla="*/ 703898 h 1447800"/>
                <a:gd name="connsiteX157" fmla="*/ 1078230 w 1114425"/>
                <a:gd name="connsiteY157" fmla="*/ 709613 h 1447800"/>
                <a:gd name="connsiteX158" fmla="*/ 1075373 w 1114425"/>
                <a:gd name="connsiteY158" fmla="*/ 713423 h 1447800"/>
                <a:gd name="connsiteX159" fmla="*/ 1072515 w 1114425"/>
                <a:gd name="connsiteY159" fmla="*/ 720090 h 1447800"/>
                <a:gd name="connsiteX160" fmla="*/ 1071563 w 1114425"/>
                <a:gd name="connsiteY160" fmla="*/ 723900 h 1447800"/>
                <a:gd name="connsiteX161" fmla="*/ 1071563 w 1114425"/>
                <a:gd name="connsiteY161" fmla="*/ 727710 h 1447800"/>
                <a:gd name="connsiteX162" fmla="*/ 1072515 w 1114425"/>
                <a:gd name="connsiteY162" fmla="*/ 737235 h 1447800"/>
                <a:gd name="connsiteX163" fmla="*/ 1078230 w 1114425"/>
                <a:gd name="connsiteY163" fmla="*/ 759143 h 1447800"/>
                <a:gd name="connsiteX164" fmla="*/ 1092518 w 1114425"/>
                <a:gd name="connsiteY164" fmla="*/ 798195 h 1447800"/>
                <a:gd name="connsiteX165" fmla="*/ 1093470 w 1114425"/>
                <a:gd name="connsiteY165" fmla="*/ 806768 h 1447800"/>
                <a:gd name="connsiteX166" fmla="*/ 1090613 w 1114425"/>
                <a:gd name="connsiteY166" fmla="*/ 877252 h 1447800"/>
                <a:gd name="connsiteX167" fmla="*/ 1086803 w 1114425"/>
                <a:gd name="connsiteY167" fmla="*/ 898208 h 1447800"/>
                <a:gd name="connsiteX168" fmla="*/ 1084898 w 1114425"/>
                <a:gd name="connsiteY168" fmla="*/ 903923 h 1447800"/>
                <a:gd name="connsiteX169" fmla="*/ 1082040 w 1114425"/>
                <a:gd name="connsiteY169" fmla="*/ 908685 h 1447800"/>
                <a:gd name="connsiteX170" fmla="*/ 1080135 w 1114425"/>
                <a:gd name="connsiteY170" fmla="*/ 911543 h 1447800"/>
                <a:gd name="connsiteX171" fmla="*/ 1077278 w 1114425"/>
                <a:gd name="connsiteY171" fmla="*/ 912495 h 1447800"/>
                <a:gd name="connsiteX172" fmla="*/ 1070610 w 1114425"/>
                <a:gd name="connsiteY172" fmla="*/ 912495 h 1447800"/>
                <a:gd name="connsiteX173" fmla="*/ 1066800 w 1114425"/>
                <a:gd name="connsiteY173" fmla="*/ 909638 h 1447800"/>
                <a:gd name="connsiteX174" fmla="*/ 1061085 w 1114425"/>
                <a:gd name="connsiteY174" fmla="*/ 906780 h 1447800"/>
                <a:gd name="connsiteX175" fmla="*/ 1050608 w 1114425"/>
                <a:gd name="connsiteY175" fmla="*/ 902970 h 1447800"/>
                <a:gd name="connsiteX176" fmla="*/ 1043940 w 1114425"/>
                <a:gd name="connsiteY176" fmla="*/ 901065 h 1447800"/>
                <a:gd name="connsiteX177" fmla="*/ 1033463 w 1114425"/>
                <a:gd name="connsiteY177" fmla="*/ 900113 h 1447800"/>
                <a:gd name="connsiteX178" fmla="*/ 1009650 w 1114425"/>
                <a:gd name="connsiteY178" fmla="*/ 902970 h 1447800"/>
                <a:gd name="connsiteX179" fmla="*/ 987743 w 1114425"/>
                <a:gd name="connsiteY179" fmla="*/ 910590 h 1447800"/>
                <a:gd name="connsiteX180" fmla="*/ 968693 w 1114425"/>
                <a:gd name="connsiteY180" fmla="*/ 919163 h 1447800"/>
                <a:gd name="connsiteX181" fmla="*/ 927735 w 1114425"/>
                <a:gd name="connsiteY181" fmla="*/ 950595 h 1447800"/>
                <a:gd name="connsiteX182" fmla="*/ 877253 w 1114425"/>
                <a:gd name="connsiteY182" fmla="*/ 1017270 h 1447800"/>
                <a:gd name="connsiteX183" fmla="*/ 872490 w 1114425"/>
                <a:gd name="connsiteY183" fmla="*/ 1020127 h 1447800"/>
                <a:gd name="connsiteX184" fmla="*/ 866775 w 1114425"/>
                <a:gd name="connsiteY184" fmla="*/ 1022985 h 1447800"/>
                <a:gd name="connsiteX185" fmla="*/ 859155 w 1114425"/>
                <a:gd name="connsiteY185" fmla="*/ 1026795 h 1447800"/>
                <a:gd name="connsiteX186" fmla="*/ 851535 w 1114425"/>
                <a:gd name="connsiteY186" fmla="*/ 1032510 h 1447800"/>
                <a:gd name="connsiteX187" fmla="*/ 847725 w 1114425"/>
                <a:gd name="connsiteY187" fmla="*/ 1036320 h 1447800"/>
                <a:gd name="connsiteX188" fmla="*/ 845820 w 1114425"/>
                <a:gd name="connsiteY188" fmla="*/ 1040130 h 1447800"/>
                <a:gd name="connsiteX189" fmla="*/ 843915 w 1114425"/>
                <a:gd name="connsiteY189" fmla="*/ 1045845 h 1447800"/>
                <a:gd name="connsiteX190" fmla="*/ 843915 w 1114425"/>
                <a:gd name="connsiteY190" fmla="*/ 1056323 h 1447800"/>
                <a:gd name="connsiteX191" fmla="*/ 844868 w 1114425"/>
                <a:gd name="connsiteY191" fmla="*/ 1062038 h 1447800"/>
                <a:gd name="connsiteX192" fmla="*/ 847725 w 1114425"/>
                <a:gd name="connsiteY192" fmla="*/ 1069658 h 1447800"/>
                <a:gd name="connsiteX193" fmla="*/ 848678 w 1114425"/>
                <a:gd name="connsiteY193" fmla="*/ 1072515 h 1447800"/>
                <a:gd name="connsiteX194" fmla="*/ 847725 w 1114425"/>
                <a:gd name="connsiteY194" fmla="*/ 1076325 h 1447800"/>
                <a:gd name="connsiteX195" fmla="*/ 845820 w 1114425"/>
                <a:gd name="connsiteY195" fmla="*/ 1078230 h 1447800"/>
                <a:gd name="connsiteX196" fmla="*/ 840105 w 1114425"/>
                <a:gd name="connsiteY196" fmla="*/ 1079183 h 1447800"/>
                <a:gd name="connsiteX197" fmla="*/ 835343 w 1114425"/>
                <a:gd name="connsiteY197" fmla="*/ 1082040 h 1447800"/>
                <a:gd name="connsiteX198" fmla="*/ 829628 w 1114425"/>
                <a:gd name="connsiteY198" fmla="*/ 1085850 h 1447800"/>
                <a:gd name="connsiteX199" fmla="*/ 802005 w 1114425"/>
                <a:gd name="connsiteY199" fmla="*/ 1118235 h 1447800"/>
                <a:gd name="connsiteX200" fmla="*/ 798195 w 1114425"/>
                <a:gd name="connsiteY200" fmla="*/ 1121093 h 1447800"/>
                <a:gd name="connsiteX201" fmla="*/ 788670 w 1114425"/>
                <a:gd name="connsiteY201" fmla="*/ 1123950 h 1447800"/>
                <a:gd name="connsiteX202" fmla="*/ 782955 w 1114425"/>
                <a:gd name="connsiteY202" fmla="*/ 1126808 h 1447800"/>
                <a:gd name="connsiteX203" fmla="*/ 774383 w 1114425"/>
                <a:gd name="connsiteY203" fmla="*/ 1132523 h 1447800"/>
                <a:gd name="connsiteX204" fmla="*/ 770572 w 1114425"/>
                <a:gd name="connsiteY204" fmla="*/ 1137285 h 1447800"/>
                <a:gd name="connsiteX205" fmla="*/ 767715 w 1114425"/>
                <a:gd name="connsiteY205" fmla="*/ 1141095 h 1447800"/>
                <a:gd name="connsiteX206" fmla="*/ 767715 w 1114425"/>
                <a:gd name="connsiteY206" fmla="*/ 1143952 h 1447800"/>
                <a:gd name="connsiteX207" fmla="*/ 765810 w 1114425"/>
                <a:gd name="connsiteY207" fmla="*/ 1158240 h 1447800"/>
                <a:gd name="connsiteX208" fmla="*/ 762953 w 1114425"/>
                <a:gd name="connsiteY208" fmla="*/ 1163955 h 1447800"/>
                <a:gd name="connsiteX209" fmla="*/ 739140 w 1114425"/>
                <a:gd name="connsiteY209" fmla="*/ 1209675 h 1447800"/>
                <a:gd name="connsiteX210" fmla="*/ 737235 w 1114425"/>
                <a:gd name="connsiteY210" fmla="*/ 1215390 h 1447800"/>
                <a:gd name="connsiteX211" fmla="*/ 736283 w 1114425"/>
                <a:gd name="connsiteY211" fmla="*/ 1222058 h 1447800"/>
                <a:gd name="connsiteX212" fmla="*/ 735330 w 1114425"/>
                <a:gd name="connsiteY212" fmla="*/ 1227773 h 1447800"/>
                <a:gd name="connsiteX213" fmla="*/ 738188 w 1114425"/>
                <a:gd name="connsiteY213" fmla="*/ 1243013 h 1447800"/>
                <a:gd name="connsiteX214" fmla="*/ 738188 w 1114425"/>
                <a:gd name="connsiteY214" fmla="*/ 1255395 h 1447800"/>
                <a:gd name="connsiteX215" fmla="*/ 739140 w 1114425"/>
                <a:gd name="connsiteY215" fmla="*/ 1261110 h 1447800"/>
                <a:gd name="connsiteX216" fmla="*/ 743903 w 1114425"/>
                <a:gd name="connsiteY216" fmla="*/ 1274445 h 1447800"/>
                <a:gd name="connsiteX217" fmla="*/ 745808 w 1114425"/>
                <a:gd name="connsiteY217" fmla="*/ 1279208 h 1447800"/>
                <a:gd name="connsiteX218" fmla="*/ 754380 w 1114425"/>
                <a:gd name="connsiteY218" fmla="*/ 1288733 h 1447800"/>
                <a:gd name="connsiteX219" fmla="*/ 756285 w 1114425"/>
                <a:gd name="connsiteY219" fmla="*/ 1293495 h 1447800"/>
                <a:gd name="connsiteX220" fmla="*/ 757238 w 1114425"/>
                <a:gd name="connsiteY220" fmla="*/ 1299210 h 1447800"/>
                <a:gd name="connsiteX221" fmla="*/ 757238 w 1114425"/>
                <a:gd name="connsiteY221" fmla="*/ 1316355 h 1447800"/>
                <a:gd name="connsiteX222" fmla="*/ 759143 w 1114425"/>
                <a:gd name="connsiteY222" fmla="*/ 1323975 h 1447800"/>
                <a:gd name="connsiteX223" fmla="*/ 763905 w 1114425"/>
                <a:gd name="connsiteY223" fmla="*/ 1334452 h 1447800"/>
                <a:gd name="connsiteX224" fmla="*/ 764858 w 1114425"/>
                <a:gd name="connsiteY224" fmla="*/ 1336358 h 1447800"/>
                <a:gd name="connsiteX225" fmla="*/ 765810 w 1114425"/>
                <a:gd name="connsiteY225" fmla="*/ 1342073 h 1447800"/>
                <a:gd name="connsiteX226" fmla="*/ 765810 w 1114425"/>
                <a:gd name="connsiteY226" fmla="*/ 1348740 h 1447800"/>
                <a:gd name="connsiteX227" fmla="*/ 763905 w 1114425"/>
                <a:gd name="connsiteY227" fmla="*/ 1355408 h 1447800"/>
                <a:gd name="connsiteX228" fmla="*/ 739140 w 1114425"/>
                <a:gd name="connsiteY228" fmla="*/ 1410652 h 1447800"/>
                <a:gd name="connsiteX229" fmla="*/ 738188 w 1114425"/>
                <a:gd name="connsiteY229" fmla="*/ 1413510 h 1447800"/>
                <a:gd name="connsiteX230" fmla="*/ 736283 w 1114425"/>
                <a:gd name="connsiteY230" fmla="*/ 1431608 h 1447800"/>
                <a:gd name="connsiteX231" fmla="*/ 736283 w 1114425"/>
                <a:gd name="connsiteY231" fmla="*/ 1435418 h 1447800"/>
                <a:gd name="connsiteX232" fmla="*/ 736283 w 1114425"/>
                <a:gd name="connsiteY232" fmla="*/ 1444943 h 1447800"/>
                <a:gd name="connsiteX233" fmla="*/ 719138 w 1114425"/>
                <a:gd name="connsiteY233" fmla="*/ 1447800 h 1447800"/>
                <a:gd name="connsiteX234" fmla="*/ 709613 w 1114425"/>
                <a:gd name="connsiteY234" fmla="*/ 1441133 h 1447800"/>
                <a:gd name="connsiteX235" fmla="*/ 697230 w 1114425"/>
                <a:gd name="connsiteY235" fmla="*/ 1422083 h 1447800"/>
                <a:gd name="connsiteX236" fmla="*/ 679133 w 1114425"/>
                <a:gd name="connsiteY236" fmla="*/ 1389698 h 1447800"/>
                <a:gd name="connsiteX237" fmla="*/ 672465 w 1114425"/>
                <a:gd name="connsiteY237" fmla="*/ 1381125 h 1447800"/>
                <a:gd name="connsiteX238" fmla="*/ 664845 w 1114425"/>
                <a:gd name="connsiteY238" fmla="*/ 1373505 h 1447800"/>
                <a:gd name="connsiteX239" fmla="*/ 621983 w 1114425"/>
                <a:gd name="connsiteY239" fmla="*/ 1357313 h 1447800"/>
                <a:gd name="connsiteX240" fmla="*/ 604838 w 1114425"/>
                <a:gd name="connsiteY240" fmla="*/ 1345883 h 1447800"/>
                <a:gd name="connsiteX241" fmla="*/ 595313 w 1114425"/>
                <a:gd name="connsiteY241" fmla="*/ 1335405 h 1447800"/>
                <a:gd name="connsiteX242" fmla="*/ 592455 w 1114425"/>
                <a:gd name="connsiteY242" fmla="*/ 1324927 h 1447800"/>
                <a:gd name="connsiteX243" fmla="*/ 592455 w 1114425"/>
                <a:gd name="connsiteY243" fmla="*/ 1315402 h 1447800"/>
                <a:gd name="connsiteX244" fmla="*/ 588645 w 1114425"/>
                <a:gd name="connsiteY244" fmla="*/ 1303020 h 1447800"/>
                <a:gd name="connsiteX245" fmla="*/ 581025 w 1114425"/>
                <a:gd name="connsiteY245" fmla="*/ 1292543 h 1447800"/>
                <a:gd name="connsiteX246" fmla="*/ 567690 w 1114425"/>
                <a:gd name="connsiteY246" fmla="*/ 1281113 h 1447800"/>
                <a:gd name="connsiteX247" fmla="*/ 546735 w 1114425"/>
                <a:gd name="connsiteY247" fmla="*/ 1269683 h 1447800"/>
                <a:gd name="connsiteX248" fmla="*/ 548640 w 1114425"/>
                <a:gd name="connsiteY248" fmla="*/ 1260158 h 1447800"/>
                <a:gd name="connsiteX249" fmla="*/ 553403 w 1114425"/>
                <a:gd name="connsiteY249" fmla="*/ 1232535 h 1447800"/>
                <a:gd name="connsiteX250" fmla="*/ 556260 w 1114425"/>
                <a:gd name="connsiteY250" fmla="*/ 1223010 h 1447800"/>
                <a:gd name="connsiteX251" fmla="*/ 583883 w 1114425"/>
                <a:gd name="connsiteY251" fmla="*/ 1182052 h 1447800"/>
                <a:gd name="connsiteX252" fmla="*/ 584835 w 1114425"/>
                <a:gd name="connsiteY252" fmla="*/ 1178243 h 1447800"/>
                <a:gd name="connsiteX253" fmla="*/ 583883 w 1114425"/>
                <a:gd name="connsiteY253" fmla="*/ 1175385 h 1447800"/>
                <a:gd name="connsiteX254" fmla="*/ 566738 w 1114425"/>
                <a:gd name="connsiteY254" fmla="*/ 1149668 h 1447800"/>
                <a:gd name="connsiteX255" fmla="*/ 530543 w 1114425"/>
                <a:gd name="connsiteY255" fmla="*/ 1113473 h 1447800"/>
                <a:gd name="connsiteX256" fmla="*/ 526733 w 1114425"/>
                <a:gd name="connsiteY256" fmla="*/ 1108710 h 1447800"/>
                <a:gd name="connsiteX257" fmla="*/ 524828 w 1114425"/>
                <a:gd name="connsiteY257" fmla="*/ 1104900 h 1447800"/>
                <a:gd name="connsiteX258" fmla="*/ 521970 w 1114425"/>
                <a:gd name="connsiteY258" fmla="*/ 1097280 h 1447800"/>
                <a:gd name="connsiteX259" fmla="*/ 521017 w 1114425"/>
                <a:gd name="connsiteY259" fmla="*/ 1092518 h 1447800"/>
                <a:gd name="connsiteX260" fmla="*/ 521017 w 1114425"/>
                <a:gd name="connsiteY260" fmla="*/ 1088708 h 1447800"/>
                <a:gd name="connsiteX261" fmla="*/ 521017 w 1114425"/>
                <a:gd name="connsiteY261" fmla="*/ 1084898 h 1447800"/>
                <a:gd name="connsiteX262" fmla="*/ 522922 w 1114425"/>
                <a:gd name="connsiteY262" fmla="*/ 1079183 h 1447800"/>
                <a:gd name="connsiteX263" fmla="*/ 525780 w 1114425"/>
                <a:gd name="connsiteY263" fmla="*/ 1074420 h 1447800"/>
                <a:gd name="connsiteX264" fmla="*/ 528638 w 1114425"/>
                <a:gd name="connsiteY264" fmla="*/ 1069658 h 1447800"/>
                <a:gd name="connsiteX265" fmla="*/ 531495 w 1114425"/>
                <a:gd name="connsiteY265" fmla="*/ 1062990 h 1447800"/>
                <a:gd name="connsiteX266" fmla="*/ 533400 w 1114425"/>
                <a:gd name="connsiteY266" fmla="*/ 1058227 h 1447800"/>
                <a:gd name="connsiteX267" fmla="*/ 532447 w 1114425"/>
                <a:gd name="connsiteY267" fmla="*/ 1054418 h 1447800"/>
                <a:gd name="connsiteX268" fmla="*/ 531495 w 1114425"/>
                <a:gd name="connsiteY268" fmla="*/ 1051560 h 1447800"/>
                <a:gd name="connsiteX269" fmla="*/ 521017 w 1114425"/>
                <a:gd name="connsiteY269" fmla="*/ 1034415 h 1447800"/>
                <a:gd name="connsiteX270" fmla="*/ 511492 w 1114425"/>
                <a:gd name="connsiteY270" fmla="*/ 1014413 h 1447800"/>
                <a:gd name="connsiteX271" fmla="*/ 507683 w 1114425"/>
                <a:gd name="connsiteY271" fmla="*/ 1009650 h 1447800"/>
                <a:gd name="connsiteX272" fmla="*/ 473392 w 1114425"/>
                <a:gd name="connsiteY272" fmla="*/ 977265 h 1447800"/>
                <a:gd name="connsiteX273" fmla="*/ 462915 w 1114425"/>
                <a:gd name="connsiteY273" fmla="*/ 969645 h 1447800"/>
                <a:gd name="connsiteX274" fmla="*/ 457200 w 1114425"/>
                <a:gd name="connsiteY274" fmla="*/ 963930 h 1447800"/>
                <a:gd name="connsiteX275" fmla="*/ 452438 w 1114425"/>
                <a:gd name="connsiteY275" fmla="*/ 958215 h 1447800"/>
                <a:gd name="connsiteX276" fmla="*/ 449580 w 1114425"/>
                <a:gd name="connsiteY276" fmla="*/ 955358 h 1447800"/>
                <a:gd name="connsiteX277" fmla="*/ 445770 w 1114425"/>
                <a:gd name="connsiteY277" fmla="*/ 953452 h 1447800"/>
                <a:gd name="connsiteX278" fmla="*/ 432435 w 1114425"/>
                <a:gd name="connsiteY278" fmla="*/ 953452 h 1447800"/>
                <a:gd name="connsiteX279" fmla="*/ 430530 w 1114425"/>
                <a:gd name="connsiteY279" fmla="*/ 953452 h 1447800"/>
                <a:gd name="connsiteX280" fmla="*/ 428625 w 1114425"/>
                <a:gd name="connsiteY280" fmla="*/ 950595 h 1447800"/>
                <a:gd name="connsiteX281" fmla="*/ 427673 w 1114425"/>
                <a:gd name="connsiteY281" fmla="*/ 941070 h 1447800"/>
                <a:gd name="connsiteX282" fmla="*/ 425767 w 1114425"/>
                <a:gd name="connsiteY282" fmla="*/ 931545 h 1447800"/>
                <a:gd name="connsiteX283" fmla="*/ 423863 w 1114425"/>
                <a:gd name="connsiteY283" fmla="*/ 926783 h 1447800"/>
                <a:gd name="connsiteX284" fmla="*/ 421005 w 1114425"/>
                <a:gd name="connsiteY284" fmla="*/ 922973 h 1447800"/>
                <a:gd name="connsiteX285" fmla="*/ 415290 w 1114425"/>
                <a:gd name="connsiteY285" fmla="*/ 918210 h 1447800"/>
                <a:gd name="connsiteX286" fmla="*/ 411480 w 1114425"/>
                <a:gd name="connsiteY286" fmla="*/ 915352 h 1447800"/>
                <a:gd name="connsiteX287" fmla="*/ 407670 w 1114425"/>
                <a:gd name="connsiteY287" fmla="*/ 912495 h 1447800"/>
                <a:gd name="connsiteX288" fmla="*/ 405765 w 1114425"/>
                <a:gd name="connsiteY288" fmla="*/ 913448 h 1447800"/>
                <a:gd name="connsiteX289" fmla="*/ 403860 w 1114425"/>
                <a:gd name="connsiteY289" fmla="*/ 915352 h 1447800"/>
                <a:gd name="connsiteX290" fmla="*/ 401003 w 1114425"/>
                <a:gd name="connsiteY290" fmla="*/ 922973 h 1447800"/>
                <a:gd name="connsiteX291" fmla="*/ 396240 w 1114425"/>
                <a:gd name="connsiteY291" fmla="*/ 930593 h 1447800"/>
                <a:gd name="connsiteX292" fmla="*/ 393383 w 1114425"/>
                <a:gd name="connsiteY292" fmla="*/ 934402 h 1447800"/>
                <a:gd name="connsiteX293" fmla="*/ 386715 w 1114425"/>
                <a:gd name="connsiteY293" fmla="*/ 939165 h 1447800"/>
                <a:gd name="connsiteX294" fmla="*/ 381953 w 1114425"/>
                <a:gd name="connsiteY294" fmla="*/ 941070 h 1447800"/>
                <a:gd name="connsiteX295" fmla="*/ 369570 w 1114425"/>
                <a:gd name="connsiteY295" fmla="*/ 942975 h 1447800"/>
                <a:gd name="connsiteX296" fmla="*/ 356235 w 1114425"/>
                <a:gd name="connsiteY296" fmla="*/ 942975 h 1447800"/>
                <a:gd name="connsiteX297" fmla="*/ 340042 w 1114425"/>
                <a:gd name="connsiteY297" fmla="*/ 939165 h 1447800"/>
                <a:gd name="connsiteX298" fmla="*/ 336233 w 1114425"/>
                <a:gd name="connsiteY298" fmla="*/ 937260 h 1447800"/>
                <a:gd name="connsiteX299" fmla="*/ 332423 w 1114425"/>
                <a:gd name="connsiteY299" fmla="*/ 934402 h 1447800"/>
                <a:gd name="connsiteX300" fmla="*/ 325755 w 1114425"/>
                <a:gd name="connsiteY300" fmla="*/ 927735 h 1447800"/>
                <a:gd name="connsiteX301" fmla="*/ 322898 w 1114425"/>
                <a:gd name="connsiteY301" fmla="*/ 922973 h 1447800"/>
                <a:gd name="connsiteX302" fmla="*/ 320992 w 1114425"/>
                <a:gd name="connsiteY302" fmla="*/ 919163 h 1447800"/>
                <a:gd name="connsiteX303" fmla="*/ 320040 w 1114425"/>
                <a:gd name="connsiteY303" fmla="*/ 916305 h 1447800"/>
                <a:gd name="connsiteX304" fmla="*/ 316230 w 1114425"/>
                <a:gd name="connsiteY304" fmla="*/ 892493 h 1447800"/>
                <a:gd name="connsiteX305" fmla="*/ 315278 w 1114425"/>
                <a:gd name="connsiteY305" fmla="*/ 882968 h 1447800"/>
                <a:gd name="connsiteX306" fmla="*/ 315278 w 1114425"/>
                <a:gd name="connsiteY306" fmla="*/ 876300 h 1447800"/>
                <a:gd name="connsiteX307" fmla="*/ 319088 w 1114425"/>
                <a:gd name="connsiteY307" fmla="*/ 856298 h 1447800"/>
                <a:gd name="connsiteX308" fmla="*/ 320040 w 1114425"/>
                <a:gd name="connsiteY308" fmla="*/ 853440 h 1447800"/>
                <a:gd name="connsiteX309" fmla="*/ 320992 w 1114425"/>
                <a:gd name="connsiteY309" fmla="*/ 846773 h 1447800"/>
                <a:gd name="connsiteX310" fmla="*/ 320992 w 1114425"/>
                <a:gd name="connsiteY310" fmla="*/ 843915 h 1447800"/>
                <a:gd name="connsiteX311" fmla="*/ 320040 w 1114425"/>
                <a:gd name="connsiteY311" fmla="*/ 838200 h 1447800"/>
                <a:gd name="connsiteX312" fmla="*/ 318135 w 1114425"/>
                <a:gd name="connsiteY312" fmla="*/ 832485 h 1447800"/>
                <a:gd name="connsiteX313" fmla="*/ 317183 w 1114425"/>
                <a:gd name="connsiteY313" fmla="*/ 823913 h 1447800"/>
                <a:gd name="connsiteX314" fmla="*/ 318135 w 1114425"/>
                <a:gd name="connsiteY314" fmla="*/ 819150 h 1447800"/>
                <a:gd name="connsiteX315" fmla="*/ 319088 w 1114425"/>
                <a:gd name="connsiteY315" fmla="*/ 811530 h 1447800"/>
                <a:gd name="connsiteX316" fmla="*/ 319088 w 1114425"/>
                <a:gd name="connsiteY316" fmla="*/ 807720 h 1447800"/>
                <a:gd name="connsiteX317" fmla="*/ 319088 w 1114425"/>
                <a:gd name="connsiteY317" fmla="*/ 802005 h 1447800"/>
                <a:gd name="connsiteX318" fmla="*/ 317183 w 1114425"/>
                <a:gd name="connsiteY318" fmla="*/ 799148 h 1447800"/>
                <a:gd name="connsiteX319" fmla="*/ 314325 w 1114425"/>
                <a:gd name="connsiteY319" fmla="*/ 797243 h 1447800"/>
                <a:gd name="connsiteX320" fmla="*/ 311467 w 1114425"/>
                <a:gd name="connsiteY320" fmla="*/ 797243 h 1447800"/>
                <a:gd name="connsiteX321" fmla="*/ 306705 w 1114425"/>
                <a:gd name="connsiteY321" fmla="*/ 798195 h 1447800"/>
                <a:gd name="connsiteX322" fmla="*/ 280988 w 1114425"/>
                <a:gd name="connsiteY322" fmla="*/ 815340 h 1447800"/>
                <a:gd name="connsiteX323" fmla="*/ 270510 w 1114425"/>
                <a:gd name="connsiteY323" fmla="*/ 820102 h 1447800"/>
                <a:gd name="connsiteX324" fmla="*/ 247650 w 1114425"/>
                <a:gd name="connsiteY324" fmla="*/ 823913 h 1447800"/>
                <a:gd name="connsiteX325" fmla="*/ 236220 w 1114425"/>
                <a:gd name="connsiteY325" fmla="*/ 831533 h 1447800"/>
                <a:gd name="connsiteX326" fmla="*/ 227648 w 1114425"/>
                <a:gd name="connsiteY326" fmla="*/ 841058 h 1447800"/>
                <a:gd name="connsiteX327" fmla="*/ 225742 w 1114425"/>
                <a:gd name="connsiteY327" fmla="*/ 842963 h 1447800"/>
                <a:gd name="connsiteX328" fmla="*/ 220980 w 1114425"/>
                <a:gd name="connsiteY328" fmla="*/ 845820 h 1447800"/>
                <a:gd name="connsiteX329" fmla="*/ 216217 w 1114425"/>
                <a:gd name="connsiteY329" fmla="*/ 847725 h 1447800"/>
                <a:gd name="connsiteX330" fmla="*/ 212408 w 1114425"/>
                <a:gd name="connsiteY330" fmla="*/ 847725 h 1447800"/>
                <a:gd name="connsiteX331" fmla="*/ 208598 w 1114425"/>
                <a:gd name="connsiteY331" fmla="*/ 846773 h 1447800"/>
                <a:gd name="connsiteX332" fmla="*/ 202883 w 1114425"/>
                <a:gd name="connsiteY332" fmla="*/ 843915 h 1447800"/>
                <a:gd name="connsiteX333" fmla="*/ 200025 w 1114425"/>
                <a:gd name="connsiteY333" fmla="*/ 842010 h 1447800"/>
                <a:gd name="connsiteX334" fmla="*/ 198120 w 1114425"/>
                <a:gd name="connsiteY334" fmla="*/ 839152 h 1447800"/>
                <a:gd name="connsiteX335" fmla="*/ 197167 w 1114425"/>
                <a:gd name="connsiteY335" fmla="*/ 836295 h 1447800"/>
                <a:gd name="connsiteX336" fmla="*/ 198120 w 1114425"/>
                <a:gd name="connsiteY336" fmla="*/ 829627 h 1447800"/>
                <a:gd name="connsiteX337" fmla="*/ 199073 w 1114425"/>
                <a:gd name="connsiteY337" fmla="*/ 823913 h 1447800"/>
                <a:gd name="connsiteX338" fmla="*/ 200977 w 1114425"/>
                <a:gd name="connsiteY338" fmla="*/ 818198 h 1447800"/>
                <a:gd name="connsiteX339" fmla="*/ 202883 w 1114425"/>
                <a:gd name="connsiteY339" fmla="*/ 811530 h 1447800"/>
                <a:gd name="connsiteX340" fmla="*/ 201930 w 1114425"/>
                <a:gd name="connsiteY340" fmla="*/ 806768 h 1447800"/>
                <a:gd name="connsiteX341" fmla="*/ 200977 w 1114425"/>
                <a:gd name="connsiteY341" fmla="*/ 802005 h 1447800"/>
                <a:gd name="connsiteX342" fmla="*/ 197167 w 1114425"/>
                <a:gd name="connsiteY342" fmla="*/ 793433 h 1447800"/>
                <a:gd name="connsiteX343" fmla="*/ 195263 w 1114425"/>
                <a:gd name="connsiteY343" fmla="*/ 789623 h 1447800"/>
                <a:gd name="connsiteX344" fmla="*/ 190500 w 1114425"/>
                <a:gd name="connsiteY344" fmla="*/ 783908 h 1447800"/>
                <a:gd name="connsiteX345" fmla="*/ 186690 w 1114425"/>
                <a:gd name="connsiteY345" fmla="*/ 781050 h 1447800"/>
                <a:gd name="connsiteX346" fmla="*/ 181927 w 1114425"/>
                <a:gd name="connsiteY346" fmla="*/ 779145 h 1447800"/>
                <a:gd name="connsiteX347" fmla="*/ 175260 w 1114425"/>
                <a:gd name="connsiteY347" fmla="*/ 778193 h 1447800"/>
                <a:gd name="connsiteX348" fmla="*/ 170498 w 1114425"/>
                <a:gd name="connsiteY348" fmla="*/ 776288 h 1447800"/>
                <a:gd name="connsiteX349" fmla="*/ 165735 w 1114425"/>
                <a:gd name="connsiteY349" fmla="*/ 773430 h 1447800"/>
                <a:gd name="connsiteX350" fmla="*/ 136208 w 1114425"/>
                <a:gd name="connsiteY350" fmla="*/ 748665 h 1447800"/>
                <a:gd name="connsiteX351" fmla="*/ 133350 w 1114425"/>
                <a:gd name="connsiteY351" fmla="*/ 744855 h 1447800"/>
                <a:gd name="connsiteX352" fmla="*/ 131445 w 1114425"/>
                <a:gd name="connsiteY352" fmla="*/ 741045 h 1447800"/>
                <a:gd name="connsiteX353" fmla="*/ 130492 w 1114425"/>
                <a:gd name="connsiteY353" fmla="*/ 735330 h 1447800"/>
                <a:gd name="connsiteX354" fmla="*/ 132398 w 1114425"/>
                <a:gd name="connsiteY354" fmla="*/ 724852 h 1447800"/>
                <a:gd name="connsiteX355" fmla="*/ 132398 w 1114425"/>
                <a:gd name="connsiteY355" fmla="*/ 720090 h 1447800"/>
                <a:gd name="connsiteX356" fmla="*/ 130492 w 1114425"/>
                <a:gd name="connsiteY356" fmla="*/ 713423 h 1447800"/>
                <a:gd name="connsiteX357" fmla="*/ 128588 w 1114425"/>
                <a:gd name="connsiteY357" fmla="*/ 710565 h 1447800"/>
                <a:gd name="connsiteX358" fmla="*/ 125730 w 1114425"/>
                <a:gd name="connsiteY358" fmla="*/ 708660 h 1447800"/>
                <a:gd name="connsiteX359" fmla="*/ 120015 w 1114425"/>
                <a:gd name="connsiteY359" fmla="*/ 706755 h 1447800"/>
                <a:gd name="connsiteX360" fmla="*/ 113348 w 1114425"/>
                <a:gd name="connsiteY360" fmla="*/ 705802 h 1447800"/>
                <a:gd name="connsiteX361" fmla="*/ 106680 w 1114425"/>
                <a:gd name="connsiteY361" fmla="*/ 705802 h 1447800"/>
                <a:gd name="connsiteX362" fmla="*/ 100965 w 1114425"/>
                <a:gd name="connsiteY362" fmla="*/ 706755 h 1447800"/>
                <a:gd name="connsiteX363" fmla="*/ 93345 w 1114425"/>
                <a:gd name="connsiteY363" fmla="*/ 709613 h 1447800"/>
                <a:gd name="connsiteX364" fmla="*/ 88583 w 1114425"/>
                <a:gd name="connsiteY364" fmla="*/ 709613 h 1447800"/>
                <a:gd name="connsiteX365" fmla="*/ 84773 w 1114425"/>
                <a:gd name="connsiteY365" fmla="*/ 708660 h 1447800"/>
                <a:gd name="connsiteX366" fmla="*/ 75248 w 1114425"/>
                <a:gd name="connsiteY366" fmla="*/ 701040 h 1447800"/>
                <a:gd name="connsiteX367" fmla="*/ 41910 w 1114425"/>
                <a:gd name="connsiteY367" fmla="*/ 661035 h 1447800"/>
                <a:gd name="connsiteX368" fmla="*/ 21908 w 1114425"/>
                <a:gd name="connsiteY368" fmla="*/ 651510 h 1447800"/>
                <a:gd name="connsiteX369" fmla="*/ 0 w 1114425"/>
                <a:gd name="connsiteY369" fmla="*/ 645795 h 1447800"/>
                <a:gd name="connsiteX370" fmla="*/ 22860 w 1114425"/>
                <a:gd name="connsiteY370" fmla="*/ 557213 h 1447800"/>
                <a:gd name="connsiteX371" fmla="*/ 21908 w 1114425"/>
                <a:gd name="connsiteY371" fmla="*/ 550545 h 1447800"/>
                <a:gd name="connsiteX372" fmla="*/ 20955 w 1114425"/>
                <a:gd name="connsiteY372" fmla="*/ 541973 h 1447800"/>
                <a:gd name="connsiteX373" fmla="*/ 19050 w 1114425"/>
                <a:gd name="connsiteY373" fmla="*/ 536258 h 1447800"/>
                <a:gd name="connsiteX374" fmla="*/ 16192 w 1114425"/>
                <a:gd name="connsiteY374" fmla="*/ 531495 h 1447800"/>
                <a:gd name="connsiteX375" fmla="*/ 10477 w 1114425"/>
                <a:gd name="connsiteY375" fmla="*/ 523875 h 1447800"/>
                <a:gd name="connsiteX376" fmla="*/ 8573 w 1114425"/>
                <a:gd name="connsiteY376" fmla="*/ 520065 h 1447800"/>
                <a:gd name="connsiteX377" fmla="*/ 8573 w 1114425"/>
                <a:gd name="connsiteY377" fmla="*/ 516255 h 1447800"/>
                <a:gd name="connsiteX378" fmla="*/ 8573 w 1114425"/>
                <a:gd name="connsiteY378" fmla="*/ 513398 h 1447800"/>
                <a:gd name="connsiteX379" fmla="*/ 10477 w 1114425"/>
                <a:gd name="connsiteY379" fmla="*/ 507683 h 1447800"/>
                <a:gd name="connsiteX380" fmla="*/ 22860 w 1114425"/>
                <a:gd name="connsiteY380" fmla="*/ 448627 h 1447800"/>
                <a:gd name="connsiteX381" fmla="*/ 25717 w 1114425"/>
                <a:gd name="connsiteY381" fmla="*/ 441960 h 1447800"/>
                <a:gd name="connsiteX382" fmla="*/ 34290 w 1114425"/>
                <a:gd name="connsiteY382" fmla="*/ 436245 h 1447800"/>
                <a:gd name="connsiteX383" fmla="*/ 45720 w 1114425"/>
                <a:gd name="connsiteY383" fmla="*/ 425767 h 1447800"/>
                <a:gd name="connsiteX384" fmla="*/ 47625 w 1114425"/>
                <a:gd name="connsiteY384" fmla="*/ 423863 h 1447800"/>
                <a:gd name="connsiteX385" fmla="*/ 57150 w 1114425"/>
                <a:gd name="connsiteY385" fmla="*/ 415290 h 1447800"/>
                <a:gd name="connsiteX386" fmla="*/ 60960 w 1114425"/>
                <a:gd name="connsiteY386" fmla="*/ 408623 h 1447800"/>
                <a:gd name="connsiteX387" fmla="*/ 64770 w 1114425"/>
                <a:gd name="connsiteY387" fmla="*/ 399098 h 1447800"/>
                <a:gd name="connsiteX388" fmla="*/ 78105 w 1114425"/>
                <a:gd name="connsiteY388" fmla="*/ 357188 h 1447800"/>
                <a:gd name="connsiteX389" fmla="*/ 80010 w 1114425"/>
                <a:gd name="connsiteY389" fmla="*/ 354330 h 1447800"/>
                <a:gd name="connsiteX390" fmla="*/ 84773 w 1114425"/>
                <a:gd name="connsiteY390" fmla="*/ 347663 h 1447800"/>
                <a:gd name="connsiteX391" fmla="*/ 94298 w 1114425"/>
                <a:gd name="connsiteY391" fmla="*/ 340042 h 1447800"/>
                <a:gd name="connsiteX392" fmla="*/ 102870 w 1114425"/>
                <a:gd name="connsiteY392" fmla="*/ 334327 h 1447800"/>
                <a:gd name="connsiteX393" fmla="*/ 108585 w 1114425"/>
                <a:gd name="connsiteY393" fmla="*/ 332423 h 1447800"/>
                <a:gd name="connsiteX394" fmla="*/ 117158 w 1114425"/>
                <a:gd name="connsiteY394" fmla="*/ 331470 h 1447800"/>
                <a:gd name="connsiteX395" fmla="*/ 169545 w 1114425"/>
                <a:gd name="connsiteY395" fmla="*/ 339090 h 1447800"/>
                <a:gd name="connsiteX396" fmla="*/ 196215 w 1114425"/>
                <a:gd name="connsiteY396" fmla="*/ 337185 h 1447800"/>
                <a:gd name="connsiteX397" fmla="*/ 200025 w 1114425"/>
                <a:gd name="connsiteY397" fmla="*/ 336233 h 1447800"/>
                <a:gd name="connsiteX398" fmla="*/ 204788 w 1114425"/>
                <a:gd name="connsiteY398" fmla="*/ 333375 h 1447800"/>
                <a:gd name="connsiteX399" fmla="*/ 216217 w 1114425"/>
                <a:gd name="connsiteY399" fmla="*/ 322898 h 1447800"/>
                <a:gd name="connsiteX400" fmla="*/ 220027 w 1114425"/>
                <a:gd name="connsiteY400" fmla="*/ 320992 h 1447800"/>
                <a:gd name="connsiteX401" fmla="*/ 222885 w 1114425"/>
                <a:gd name="connsiteY401" fmla="*/ 320992 h 1447800"/>
                <a:gd name="connsiteX402" fmla="*/ 229552 w 1114425"/>
                <a:gd name="connsiteY402" fmla="*/ 321945 h 1447800"/>
                <a:gd name="connsiteX403" fmla="*/ 248602 w 1114425"/>
                <a:gd name="connsiteY403" fmla="*/ 329565 h 1447800"/>
                <a:gd name="connsiteX404" fmla="*/ 252413 w 1114425"/>
                <a:gd name="connsiteY404" fmla="*/ 328613 h 1447800"/>
                <a:gd name="connsiteX405" fmla="*/ 259080 w 1114425"/>
                <a:gd name="connsiteY405" fmla="*/ 325755 h 1447800"/>
                <a:gd name="connsiteX406" fmla="*/ 282892 w 1114425"/>
                <a:gd name="connsiteY406" fmla="*/ 308610 h 1447800"/>
                <a:gd name="connsiteX407" fmla="*/ 287655 w 1114425"/>
                <a:gd name="connsiteY407" fmla="*/ 306705 h 1447800"/>
                <a:gd name="connsiteX408" fmla="*/ 290513 w 1114425"/>
                <a:gd name="connsiteY408" fmla="*/ 306705 h 1447800"/>
                <a:gd name="connsiteX409" fmla="*/ 297180 w 1114425"/>
                <a:gd name="connsiteY409" fmla="*/ 307658 h 1447800"/>
                <a:gd name="connsiteX410" fmla="*/ 320040 w 1114425"/>
                <a:gd name="connsiteY410" fmla="*/ 315277 h 1447800"/>
                <a:gd name="connsiteX411" fmla="*/ 323850 w 1114425"/>
                <a:gd name="connsiteY411" fmla="*/ 315277 h 1447800"/>
                <a:gd name="connsiteX412" fmla="*/ 329565 w 1114425"/>
                <a:gd name="connsiteY412" fmla="*/ 315277 h 1447800"/>
                <a:gd name="connsiteX413" fmla="*/ 354330 w 1114425"/>
                <a:gd name="connsiteY413" fmla="*/ 303848 h 1447800"/>
                <a:gd name="connsiteX414" fmla="*/ 360045 w 1114425"/>
                <a:gd name="connsiteY414" fmla="*/ 302895 h 1447800"/>
                <a:gd name="connsiteX415" fmla="*/ 373380 w 1114425"/>
                <a:gd name="connsiteY415" fmla="*/ 303848 h 1447800"/>
                <a:gd name="connsiteX416" fmla="*/ 385763 w 1114425"/>
                <a:gd name="connsiteY416" fmla="*/ 300990 h 1447800"/>
                <a:gd name="connsiteX417" fmla="*/ 390525 w 1114425"/>
                <a:gd name="connsiteY417" fmla="*/ 299085 h 1447800"/>
                <a:gd name="connsiteX418" fmla="*/ 413385 w 1114425"/>
                <a:gd name="connsiteY418" fmla="*/ 285750 h 1447800"/>
                <a:gd name="connsiteX419" fmla="*/ 434340 w 1114425"/>
                <a:gd name="connsiteY419" fmla="*/ 277177 h 1447800"/>
                <a:gd name="connsiteX420" fmla="*/ 440055 w 1114425"/>
                <a:gd name="connsiteY420" fmla="*/ 276225 h 1447800"/>
                <a:gd name="connsiteX421" fmla="*/ 442913 w 1114425"/>
                <a:gd name="connsiteY421" fmla="*/ 276225 h 1447800"/>
                <a:gd name="connsiteX422" fmla="*/ 449580 w 1114425"/>
                <a:gd name="connsiteY422" fmla="*/ 277177 h 1447800"/>
                <a:gd name="connsiteX423" fmla="*/ 451485 w 1114425"/>
                <a:gd name="connsiteY423" fmla="*/ 278130 h 1447800"/>
                <a:gd name="connsiteX424" fmla="*/ 455295 w 1114425"/>
                <a:gd name="connsiteY424" fmla="*/ 279083 h 1447800"/>
                <a:gd name="connsiteX425" fmla="*/ 460058 w 1114425"/>
                <a:gd name="connsiteY425" fmla="*/ 278130 h 1447800"/>
                <a:gd name="connsiteX426" fmla="*/ 470535 w 1114425"/>
                <a:gd name="connsiteY426" fmla="*/ 274320 h 1447800"/>
                <a:gd name="connsiteX427" fmla="*/ 475297 w 1114425"/>
                <a:gd name="connsiteY427" fmla="*/ 270510 h 1447800"/>
                <a:gd name="connsiteX428" fmla="*/ 479108 w 1114425"/>
                <a:gd name="connsiteY428" fmla="*/ 267652 h 1447800"/>
                <a:gd name="connsiteX429" fmla="*/ 481965 w 1114425"/>
                <a:gd name="connsiteY429" fmla="*/ 261938 h 1447800"/>
                <a:gd name="connsiteX430" fmla="*/ 481965 w 1114425"/>
                <a:gd name="connsiteY430" fmla="*/ 256223 h 1447800"/>
                <a:gd name="connsiteX431" fmla="*/ 481013 w 1114425"/>
                <a:gd name="connsiteY431" fmla="*/ 253365 h 1447800"/>
                <a:gd name="connsiteX432" fmla="*/ 470535 w 1114425"/>
                <a:gd name="connsiteY432" fmla="*/ 240030 h 1447800"/>
                <a:gd name="connsiteX433" fmla="*/ 466725 w 1114425"/>
                <a:gd name="connsiteY433" fmla="*/ 234315 h 1447800"/>
                <a:gd name="connsiteX434" fmla="*/ 460058 w 1114425"/>
                <a:gd name="connsiteY434" fmla="*/ 238125 h 1447800"/>
                <a:gd name="connsiteX435" fmla="*/ 450533 w 1114425"/>
                <a:gd name="connsiteY435" fmla="*/ 237173 h 1447800"/>
                <a:gd name="connsiteX436" fmla="*/ 438150 w 1114425"/>
                <a:gd name="connsiteY436" fmla="*/ 233363 h 1447800"/>
                <a:gd name="connsiteX437" fmla="*/ 434340 w 1114425"/>
                <a:gd name="connsiteY437" fmla="*/ 229552 h 1447800"/>
                <a:gd name="connsiteX438" fmla="*/ 433388 w 1114425"/>
                <a:gd name="connsiteY438" fmla="*/ 210502 h 1447800"/>
                <a:gd name="connsiteX439" fmla="*/ 433388 w 1114425"/>
                <a:gd name="connsiteY439" fmla="*/ 206692 h 1447800"/>
                <a:gd name="connsiteX440" fmla="*/ 434340 w 1114425"/>
                <a:gd name="connsiteY440" fmla="*/ 203835 h 1447800"/>
                <a:gd name="connsiteX441" fmla="*/ 438150 w 1114425"/>
                <a:gd name="connsiteY441" fmla="*/ 195263 h 1447800"/>
                <a:gd name="connsiteX442" fmla="*/ 439103 w 1114425"/>
                <a:gd name="connsiteY442" fmla="*/ 191452 h 1447800"/>
                <a:gd name="connsiteX443" fmla="*/ 440055 w 1114425"/>
                <a:gd name="connsiteY443" fmla="*/ 188595 h 1447800"/>
                <a:gd name="connsiteX444" fmla="*/ 439103 w 1114425"/>
                <a:gd name="connsiteY444" fmla="*/ 185738 h 1447800"/>
                <a:gd name="connsiteX445" fmla="*/ 436245 w 1114425"/>
                <a:gd name="connsiteY445" fmla="*/ 181927 h 1447800"/>
                <a:gd name="connsiteX446" fmla="*/ 431483 w 1114425"/>
                <a:gd name="connsiteY446" fmla="*/ 179070 h 1447800"/>
                <a:gd name="connsiteX447" fmla="*/ 428625 w 1114425"/>
                <a:gd name="connsiteY447" fmla="*/ 178117 h 1447800"/>
                <a:gd name="connsiteX448" fmla="*/ 425767 w 1114425"/>
                <a:gd name="connsiteY448" fmla="*/ 179070 h 1447800"/>
                <a:gd name="connsiteX449" fmla="*/ 422910 w 1114425"/>
                <a:gd name="connsiteY449" fmla="*/ 180023 h 1447800"/>
                <a:gd name="connsiteX450" fmla="*/ 411480 w 1114425"/>
                <a:gd name="connsiteY450" fmla="*/ 190500 h 1447800"/>
                <a:gd name="connsiteX451" fmla="*/ 406717 w 1114425"/>
                <a:gd name="connsiteY451" fmla="*/ 193358 h 1447800"/>
                <a:gd name="connsiteX452" fmla="*/ 404813 w 1114425"/>
                <a:gd name="connsiteY452" fmla="*/ 193358 h 1447800"/>
                <a:gd name="connsiteX453" fmla="*/ 401955 w 1114425"/>
                <a:gd name="connsiteY453" fmla="*/ 193358 h 1447800"/>
                <a:gd name="connsiteX454" fmla="*/ 399098 w 1114425"/>
                <a:gd name="connsiteY454" fmla="*/ 192405 h 1447800"/>
                <a:gd name="connsiteX455" fmla="*/ 396240 w 1114425"/>
                <a:gd name="connsiteY455" fmla="*/ 187642 h 1447800"/>
                <a:gd name="connsiteX456" fmla="*/ 395288 w 1114425"/>
                <a:gd name="connsiteY456" fmla="*/ 184785 h 1447800"/>
                <a:gd name="connsiteX457" fmla="*/ 395288 w 1114425"/>
                <a:gd name="connsiteY457" fmla="*/ 180975 h 1447800"/>
                <a:gd name="connsiteX458" fmla="*/ 396240 w 1114425"/>
                <a:gd name="connsiteY458" fmla="*/ 175260 h 1447800"/>
                <a:gd name="connsiteX459" fmla="*/ 398145 w 1114425"/>
                <a:gd name="connsiteY459" fmla="*/ 172402 h 1447800"/>
                <a:gd name="connsiteX460" fmla="*/ 400050 w 1114425"/>
                <a:gd name="connsiteY460" fmla="*/ 170498 h 1447800"/>
                <a:gd name="connsiteX461" fmla="*/ 410528 w 1114425"/>
                <a:gd name="connsiteY461" fmla="*/ 166688 h 1447800"/>
                <a:gd name="connsiteX462" fmla="*/ 416242 w 1114425"/>
                <a:gd name="connsiteY462" fmla="*/ 165735 h 1447800"/>
                <a:gd name="connsiteX463" fmla="*/ 427673 w 1114425"/>
                <a:gd name="connsiteY463" fmla="*/ 165735 h 1447800"/>
                <a:gd name="connsiteX464" fmla="*/ 435292 w 1114425"/>
                <a:gd name="connsiteY464" fmla="*/ 163830 h 1447800"/>
                <a:gd name="connsiteX465" fmla="*/ 441008 w 1114425"/>
                <a:gd name="connsiteY465" fmla="*/ 160973 h 1447800"/>
                <a:gd name="connsiteX466" fmla="*/ 444817 w 1114425"/>
                <a:gd name="connsiteY466" fmla="*/ 157163 h 1447800"/>
                <a:gd name="connsiteX467" fmla="*/ 449580 w 1114425"/>
                <a:gd name="connsiteY467" fmla="*/ 149542 h 1447800"/>
                <a:gd name="connsiteX468" fmla="*/ 466725 w 1114425"/>
                <a:gd name="connsiteY468" fmla="*/ 131445 h 1447800"/>
                <a:gd name="connsiteX469" fmla="*/ 469583 w 1114425"/>
                <a:gd name="connsiteY469" fmla="*/ 127635 h 1447800"/>
                <a:gd name="connsiteX470" fmla="*/ 470535 w 1114425"/>
                <a:gd name="connsiteY470" fmla="*/ 124777 h 1447800"/>
                <a:gd name="connsiteX471" fmla="*/ 469583 w 1114425"/>
                <a:gd name="connsiteY471" fmla="*/ 121920 h 1447800"/>
                <a:gd name="connsiteX472" fmla="*/ 466725 w 1114425"/>
                <a:gd name="connsiteY472" fmla="*/ 118110 h 1447800"/>
                <a:gd name="connsiteX473" fmla="*/ 450533 w 1114425"/>
                <a:gd name="connsiteY473" fmla="*/ 107633 h 1447800"/>
                <a:gd name="connsiteX474" fmla="*/ 448628 w 1114425"/>
                <a:gd name="connsiteY474" fmla="*/ 105727 h 1447800"/>
                <a:gd name="connsiteX475" fmla="*/ 449580 w 1114425"/>
                <a:gd name="connsiteY475" fmla="*/ 100965 h 1447800"/>
                <a:gd name="connsiteX476" fmla="*/ 452438 w 1114425"/>
                <a:gd name="connsiteY476" fmla="*/ 92392 h 1447800"/>
                <a:gd name="connsiteX477" fmla="*/ 468630 w 1114425"/>
                <a:gd name="connsiteY477" fmla="*/ 66675 h 1447800"/>
                <a:gd name="connsiteX478" fmla="*/ 471488 w 1114425"/>
                <a:gd name="connsiteY478" fmla="*/ 60960 h 1447800"/>
                <a:gd name="connsiteX479" fmla="*/ 472440 w 1114425"/>
                <a:gd name="connsiteY479" fmla="*/ 54292 h 1447800"/>
                <a:gd name="connsiteX480" fmla="*/ 470535 w 1114425"/>
                <a:gd name="connsiteY480" fmla="*/ 48577 h 1447800"/>
                <a:gd name="connsiteX481" fmla="*/ 468630 w 1114425"/>
                <a:gd name="connsiteY481" fmla="*/ 42863 h 1447800"/>
                <a:gd name="connsiteX482" fmla="*/ 464820 w 1114425"/>
                <a:gd name="connsiteY482" fmla="*/ 36195 h 1447800"/>
                <a:gd name="connsiteX483" fmla="*/ 463867 w 1114425"/>
                <a:gd name="connsiteY483" fmla="*/ 33338 h 1447800"/>
                <a:gd name="connsiteX484" fmla="*/ 464820 w 1114425"/>
                <a:gd name="connsiteY484" fmla="*/ 28575 h 1447800"/>
                <a:gd name="connsiteX485" fmla="*/ 466725 w 1114425"/>
                <a:gd name="connsiteY485" fmla="*/ 23813 h 1447800"/>
                <a:gd name="connsiteX486" fmla="*/ 471488 w 1114425"/>
                <a:gd name="connsiteY486" fmla="*/ 14288 h 1447800"/>
                <a:gd name="connsiteX487" fmla="*/ 475297 w 1114425"/>
                <a:gd name="connsiteY487" fmla="*/ 9525 h 1447800"/>
                <a:gd name="connsiteX488" fmla="*/ 478155 w 1114425"/>
                <a:gd name="connsiteY488" fmla="*/ 6667 h 1447800"/>
                <a:gd name="connsiteX489" fmla="*/ 480060 w 1114425"/>
                <a:gd name="connsiteY489" fmla="*/ 5715 h 1447800"/>
                <a:gd name="connsiteX490" fmla="*/ 483870 w 1114425"/>
                <a:gd name="connsiteY490" fmla="*/ 5715 h 1447800"/>
                <a:gd name="connsiteX491" fmla="*/ 501967 w 1114425"/>
                <a:gd name="connsiteY491" fmla="*/ 10478 h 1447800"/>
                <a:gd name="connsiteX492" fmla="*/ 508635 w 1114425"/>
                <a:gd name="connsiteY492" fmla="*/ 10478 h 1447800"/>
                <a:gd name="connsiteX493" fmla="*/ 548640 w 1114425"/>
                <a:gd name="connsiteY493" fmla="*/ 0 h 1447800"/>
                <a:gd name="connsiteX494" fmla="*/ 554355 w 1114425"/>
                <a:gd name="connsiteY494" fmla="*/ 0 h 1447800"/>
                <a:gd name="connsiteX495" fmla="*/ 561022 w 1114425"/>
                <a:gd name="connsiteY495" fmla="*/ 1905 h 1447800"/>
                <a:gd name="connsiteX496" fmla="*/ 565785 w 1114425"/>
                <a:gd name="connsiteY496" fmla="*/ 3810 h 1447800"/>
                <a:gd name="connsiteX497" fmla="*/ 570547 w 1114425"/>
                <a:gd name="connsiteY497" fmla="*/ 6667 h 1447800"/>
                <a:gd name="connsiteX498" fmla="*/ 582930 w 1114425"/>
                <a:gd name="connsiteY498" fmla="*/ 17145 h 1447800"/>
                <a:gd name="connsiteX499" fmla="*/ 584835 w 1114425"/>
                <a:gd name="connsiteY499" fmla="*/ 19050 h 1447800"/>
                <a:gd name="connsiteX500" fmla="*/ 588645 w 1114425"/>
                <a:gd name="connsiteY500" fmla="*/ 21908 h 1447800"/>
                <a:gd name="connsiteX501" fmla="*/ 591503 w 1114425"/>
                <a:gd name="connsiteY501" fmla="*/ 21908 h 1447800"/>
                <a:gd name="connsiteX502" fmla="*/ 596265 w 1114425"/>
                <a:gd name="connsiteY502" fmla="*/ 20955 h 1447800"/>
                <a:gd name="connsiteX503" fmla="*/ 601028 w 1114425"/>
                <a:gd name="connsiteY503" fmla="*/ 22860 h 1447800"/>
                <a:gd name="connsiteX504" fmla="*/ 605790 w 1114425"/>
                <a:gd name="connsiteY504" fmla="*/ 25717 h 1447800"/>
                <a:gd name="connsiteX505" fmla="*/ 611505 w 1114425"/>
                <a:gd name="connsiteY505" fmla="*/ 26670 h 1447800"/>
                <a:gd name="connsiteX506" fmla="*/ 619125 w 1114425"/>
                <a:gd name="connsiteY506" fmla="*/ 26670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</a:cxnLst>
              <a:rect l="l" t="t" r="r" b="b"/>
              <a:pathLst>
                <a:path w="1114425" h="1447800">
                  <a:moveTo>
                    <a:pt x="619125" y="26670"/>
                  </a:moveTo>
                  <a:lnTo>
                    <a:pt x="661988" y="93345"/>
                  </a:lnTo>
                  <a:lnTo>
                    <a:pt x="670560" y="109538"/>
                  </a:lnTo>
                  <a:lnTo>
                    <a:pt x="680085" y="136208"/>
                  </a:lnTo>
                  <a:lnTo>
                    <a:pt x="681990" y="141923"/>
                  </a:lnTo>
                  <a:lnTo>
                    <a:pt x="685800" y="149542"/>
                  </a:lnTo>
                  <a:lnTo>
                    <a:pt x="685800" y="153352"/>
                  </a:lnTo>
                  <a:lnTo>
                    <a:pt x="684847" y="156210"/>
                  </a:lnTo>
                  <a:lnTo>
                    <a:pt x="681990" y="160973"/>
                  </a:lnTo>
                  <a:lnTo>
                    <a:pt x="681038" y="167640"/>
                  </a:lnTo>
                  <a:lnTo>
                    <a:pt x="681038" y="170498"/>
                  </a:lnTo>
                  <a:lnTo>
                    <a:pt x="681990" y="176213"/>
                  </a:lnTo>
                  <a:lnTo>
                    <a:pt x="682943" y="179070"/>
                  </a:lnTo>
                  <a:lnTo>
                    <a:pt x="684847" y="184785"/>
                  </a:lnTo>
                  <a:lnTo>
                    <a:pt x="686753" y="200025"/>
                  </a:lnTo>
                  <a:lnTo>
                    <a:pt x="687705" y="209550"/>
                  </a:lnTo>
                  <a:lnTo>
                    <a:pt x="688658" y="212408"/>
                  </a:lnTo>
                  <a:lnTo>
                    <a:pt x="689610" y="215265"/>
                  </a:lnTo>
                  <a:lnTo>
                    <a:pt x="692468" y="218123"/>
                  </a:lnTo>
                  <a:lnTo>
                    <a:pt x="702945" y="221933"/>
                  </a:lnTo>
                  <a:lnTo>
                    <a:pt x="705803" y="225742"/>
                  </a:lnTo>
                  <a:lnTo>
                    <a:pt x="707708" y="231458"/>
                  </a:lnTo>
                  <a:lnTo>
                    <a:pt x="709613" y="239077"/>
                  </a:lnTo>
                  <a:lnTo>
                    <a:pt x="711518" y="247650"/>
                  </a:lnTo>
                  <a:lnTo>
                    <a:pt x="711518" y="254317"/>
                  </a:lnTo>
                  <a:lnTo>
                    <a:pt x="710565" y="260985"/>
                  </a:lnTo>
                  <a:lnTo>
                    <a:pt x="708660" y="266700"/>
                  </a:lnTo>
                  <a:lnTo>
                    <a:pt x="706755" y="268605"/>
                  </a:lnTo>
                  <a:lnTo>
                    <a:pt x="699135" y="275273"/>
                  </a:lnTo>
                  <a:lnTo>
                    <a:pt x="696278" y="280035"/>
                  </a:lnTo>
                  <a:lnTo>
                    <a:pt x="695325" y="285750"/>
                  </a:lnTo>
                  <a:lnTo>
                    <a:pt x="695325" y="287655"/>
                  </a:lnTo>
                  <a:lnTo>
                    <a:pt x="699135" y="298133"/>
                  </a:lnTo>
                  <a:lnTo>
                    <a:pt x="700088" y="301942"/>
                  </a:lnTo>
                  <a:lnTo>
                    <a:pt x="700088" y="308610"/>
                  </a:lnTo>
                  <a:lnTo>
                    <a:pt x="699135" y="315277"/>
                  </a:lnTo>
                  <a:lnTo>
                    <a:pt x="698183" y="321945"/>
                  </a:lnTo>
                  <a:lnTo>
                    <a:pt x="700088" y="327660"/>
                  </a:lnTo>
                  <a:lnTo>
                    <a:pt x="702945" y="332423"/>
                  </a:lnTo>
                  <a:lnTo>
                    <a:pt x="705803" y="334327"/>
                  </a:lnTo>
                  <a:lnTo>
                    <a:pt x="710565" y="334327"/>
                  </a:lnTo>
                  <a:lnTo>
                    <a:pt x="713422" y="333375"/>
                  </a:lnTo>
                  <a:lnTo>
                    <a:pt x="721995" y="326708"/>
                  </a:lnTo>
                  <a:lnTo>
                    <a:pt x="727710" y="324802"/>
                  </a:lnTo>
                  <a:lnTo>
                    <a:pt x="729615" y="324802"/>
                  </a:lnTo>
                  <a:lnTo>
                    <a:pt x="740093" y="329565"/>
                  </a:lnTo>
                  <a:lnTo>
                    <a:pt x="756285" y="332423"/>
                  </a:lnTo>
                  <a:lnTo>
                    <a:pt x="759143" y="335280"/>
                  </a:lnTo>
                  <a:lnTo>
                    <a:pt x="761047" y="338138"/>
                  </a:lnTo>
                  <a:lnTo>
                    <a:pt x="763905" y="343852"/>
                  </a:lnTo>
                  <a:lnTo>
                    <a:pt x="764858" y="347663"/>
                  </a:lnTo>
                  <a:lnTo>
                    <a:pt x="765810" y="352425"/>
                  </a:lnTo>
                  <a:lnTo>
                    <a:pt x="765810" y="359092"/>
                  </a:lnTo>
                  <a:lnTo>
                    <a:pt x="766763" y="364808"/>
                  </a:lnTo>
                  <a:lnTo>
                    <a:pt x="769620" y="369570"/>
                  </a:lnTo>
                  <a:lnTo>
                    <a:pt x="769620" y="375285"/>
                  </a:lnTo>
                  <a:lnTo>
                    <a:pt x="769620" y="378142"/>
                  </a:lnTo>
                  <a:lnTo>
                    <a:pt x="765810" y="381952"/>
                  </a:lnTo>
                  <a:lnTo>
                    <a:pt x="763905" y="383858"/>
                  </a:lnTo>
                  <a:lnTo>
                    <a:pt x="759143" y="385763"/>
                  </a:lnTo>
                  <a:lnTo>
                    <a:pt x="756285" y="384810"/>
                  </a:lnTo>
                  <a:lnTo>
                    <a:pt x="750570" y="383858"/>
                  </a:lnTo>
                  <a:lnTo>
                    <a:pt x="735330" y="375285"/>
                  </a:lnTo>
                  <a:lnTo>
                    <a:pt x="728663" y="374333"/>
                  </a:lnTo>
                  <a:lnTo>
                    <a:pt x="722947" y="374333"/>
                  </a:lnTo>
                  <a:lnTo>
                    <a:pt x="720090" y="376238"/>
                  </a:lnTo>
                  <a:lnTo>
                    <a:pt x="719138" y="378142"/>
                  </a:lnTo>
                  <a:lnTo>
                    <a:pt x="718185" y="381000"/>
                  </a:lnTo>
                  <a:lnTo>
                    <a:pt x="718185" y="386715"/>
                  </a:lnTo>
                  <a:lnTo>
                    <a:pt x="720090" y="391477"/>
                  </a:lnTo>
                  <a:lnTo>
                    <a:pt x="725805" y="396240"/>
                  </a:lnTo>
                  <a:lnTo>
                    <a:pt x="742950" y="403860"/>
                  </a:lnTo>
                  <a:lnTo>
                    <a:pt x="747713" y="406717"/>
                  </a:lnTo>
                  <a:lnTo>
                    <a:pt x="750570" y="412433"/>
                  </a:lnTo>
                  <a:lnTo>
                    <a:pt x="752475" y="422910"/>
                  </a:lnTo>
                  <a:lnTo>
                    <a:pt x="754380" y="429577"/>
                  </a:lnTo>
                  <a:lnTo>
                    <a:pt x="762000" y="441960"/>
                  </a:lnTo>
                  <a:lnTo>
                    <a:pt x="769620" y="448627"/>
                  </a:lnTo>
                  <a:lnTo>
                    <a:pt x="779145" y="448627"/>
                  </a:lnTo>
                  <a:lnTo>
                    <a:pt x="801053" y="444817"/>
                  </a:lnTo>
                  <a:lnTo>
                    <a:pt x="808672" y="445770"/>
                  </a:lnTo>
                  <a:lnTo>
                    <a:pt x="837247" y="462915"/>
                  </a:lnTo>
                  <a:lnTo>
                    <a:pt x="842010" y="468630"/>
                  </a:lnTo>
                  <a:lnTo>
                    <a:pt x="842010" y="476250"/>
                  </a:lnTo>
                  <a:lnTo>
                    <a:pt x="838200" y="489585"/>
                  </a:lnTo>
                  <a:lnTo>
                    <a:pt x="838200" y="498158"/>
                  </a:lnTo>
                  <a:lnTo>
                    <a:pt x="842010" y="505777"/>
                  </a:lnTo>
                  <a:lnTo>
                    <a:pt x="854393" y="525780"/>
                  </a:lnTo>
                  <a:lnTo>
                    <a:pt x="861060" y="531495"/>
                  </a:lnTo>
                  <a:lnTo>
                    <a:pt x="864870" y="526733"/>
                  </a:lnTo>
                  <a:lnTo>
                    <a:pt x="867728" y="517208"/>
                  </a:lnTo>
                  <a:lnTo>
                    <a:pt x="868680" y="507683"/>
                  </a:lnTo>
                  <a:lnTo>
                    <a:pt x="870585" y="501015"/>
                  </a:lnTo>
                  <a:lnTo>
                    <a:pt x="873443" y="495300"/>
                  </a:lnTo>
                  <a:lnTo>
                    <a:pt x="878205" y="489585"/>
                  </a:lnTo>
                  <a:lnTo>
                    <a:pt x="889635" y="480060"/>
                  </a:lnTo>
                  <a:lnTo>
                    <a:pt x="895350" y="478155"/>
                  </a:lnTo>
                  <a:lnTo>
                    <a:pt x="902970" y="479108"/>
                  </a:lnTo>
                  <a:lnTo>
                    <a:pt x="902970" y="484823"/>
                  </a:lnTo>
                  <a:lnTo>
                    <a:pt x="898208" y="494348"/>
                  </a:lnTo>
                  <a:lnTo>
                    <a:pt x="893445" y="514350"/>
                  </a:lnTo>
                  <a:lnTo>
                    <a:pt x="890588" y="536258"/>
                  </a:lnTo>
                  <a:lnTo>
                    <a:pt x="892493" y="550545"/>
                  </a:lnTo>
                  <a:lnTo>
                    <a:pt x="905828" y="536258"/>
                  </a:lnTo>
                  <a:lnTo>
                    <a:pt x="918210" y="537210"/>
                  </a:lnTo>
                  <a:lnTo>
                    <a:pt x="946785" y="550545"/>
                  </a:lnTo>
                  <a:lnTo>
                    <a:pt x="935355" y="561975"/>
                  </a:lnTo>
                  <a:lnTo>
                    <a:pt x="905828" y="570548"/>
                  </a:lnTo>
                  <a:lnTo>
                    <a:pt x="900113" y="583883"/>
                  </a:lnTo>
                  <a:lnTo>
                    <a:pt x="905828" y="603885"/>
                  </a:lnTo>
                  <a:lnTo>
                    <a:pt x="920115" y="599123"/>
                  </a:lnTo>
                  <a:lnTo>
                    <a:pt x="946785" y="572452"/>
                  </a:lnTo>
                  <a:lnTo>
                    <a:pt x="954405" y="571500"/>
                  </a:lnTo>
                  <a:lnTo>
                    <a:pt x="959168" y="573405"/>
                  </a:lnTo>
                  <a:lnTo>
                    <a:pt x="960120" y="573405"/>
                  </a:lnTo>
                  <a:lnTo>
                    <a:pt x="961072" y="561975"/>
                  </a:lnTo>
                  <a:lnTo>
                    <a:pt x="960120" y="551498"/>
                  </a:lnTo>
                  <a:lnTo>
                    <a:pt x="959168" y="544830"/>
                  </a:lnTo>
                  <a:lnTo>
                    <a:pt x="961072" y="540068"/>
                  </a:lnTo>
                  <a:lnTo>
                    <a:pt x="972503" y="539115"/>
                  </a:lnTo>
                  <a:lnTo>
                    <a:pt x="979170" y="541020"/>
                  </a:lnTo>
                  <a:lnTo>
                    <a:pt x="984885" y="544830"/>
                  </a:lnTo>
                  <a:lnTo>
                    <a:pt x="992505" y="546735"/>
                  </a:lnTo>
                  <a:lnTo>
                    <a:pt x="1001078" y="544830"/>
                  </a:lnTo>
                  <a:lnTo>
                    <a:pt x="1002030" y="541020"/>
                  </a:lnTo>
                  <a:lnTo>
                    <a:pt x="1001078" y="535305"/>
                  </a:lnTo>
                  <a:lnTo>
                    <a:pt x="1001078" y="530543"/>
                  </a:lnTo>
                  <a:lnTo>
                    <a:pt x="1005840" y="528638"/>
                  </a:lnTo>
                  <a:lnTo>
                    <a:pt x="1009650" y="529590"/>
                  </a:lnTo>
                  <a:lnTo>
                    <a:pt x="1017270" y="533400"/>
                  </a:lnTo>
                  <a:lnTo>
                    <a:pt x="1022033" y="534352"/>
                  </a:lnTo>
                  <a:lnTo>
                    <a:pt x="1017270" y="545783"/>
                  </a:lnTo>
                  <a:lnTo>
                    <a:pt x="1015365" y="550545"/>
                  </a:lnTo>
                  <a:lnTo>
                    <a:pt x="1010603" y="555308"/>
                  </a:lnTo>
                  <a:lnTo>
                    <a:pt x="1017270" y="563880"/>
                  </a:lnTo>
                  <a:lnTo>
                    <a:pt x="1027747" y="573405"/>
                  </a:lnTo>
                  <a:lnTo>
                    <a:pt x="1040130" y="580073"/>
                  </a:lnTo>
                  <a:lnTo>
                    <a:pt x="1049655" y="583883"/>
                  </a:lnTo>
                  <a:lnTo>
                    <a:pt x="1062990" y="584835"/>
                  </a:lnTo>
                  <a:lnTo>
                    <a:pt x="1071563" y="589598"/>
                  </a:lnTo>
                  <a:lnTo>
                    <a:pt x="1087755" y="604838"/>
                  </a:lnTo>
                  <a:lnTo>
                    <a:pt x="1102043" y="613410"/>
                  </a:lnTo>
                  <a:lnTo>
                    <a:pt x="1105853" y="616268"/>
                  </a:lnTo>
                  <a:lnTo>
                    <a:pt x="1111568" y="628650"/>
                  </a:lnTo>
                  <a:lnTo>
                    <a:pt x="1110615" y="633413"/>
                  </a:lnTo>
                  <a:lnTo>
                    <a:pt x="1107758" y="635318"/>
                  </a:lnTo>
                  <a:lnTo>
                    <a:pt x="1105853" y="641033"/>
                  </a:lnTo>
                  <a:lnTo>
                    <a:pt x="1104900" y="647700"/>
                  </a:lnTo>
                  <a:lnTo>
                    <a:pt x="1104900" y="649605"/>
                  </a:lnTo>
                  <a:lnTo>
                    <a:pt x="1105853" y="650558"/>
                  </a:lnTo>
                  <a:lnTo>
                    <a:pt x="1111568" y="657225"/>
                  </a:lnTo>
                  <a:lnTo>
                    <a:pt x="1114425" y="666750"/>
                  </a:lnTo>
                  <a:lnTo>
                    <a:pt x="1112520" y="672465"/>
                  </a:lnTo>
                  <a:lnTo>
                    <a:pt x="1109663" y="677227"/>
                  </a:lnTo>
                  <a:lnTo>
                    <a:pt x="1109663" y="681990"/>
                  </a:lnTo>
                  <a:lnTo>
                    <a:pt x="1089660" y="697230"/>
                  </a:lnTo>
                  <a:lnTo>
                    <a:pt x="1082993" y="703898"/>
                  </a:lnTo>
                  <a:lnTo>
                    <a:pt x="1078230" y="709613"/>
                  </a:lnTo>
                  <a:lnTo>
                    <a:pt x="1075373" y="713423"/>
                  </a:lnTo>
                  <a:lnTo>
                    <a:pt x="1072515" y="720090"/>
                  </a:lnTo>
                  <a:lnTo>
                    <a:pt x="1071563" y="723900"/>
                  </a:lnTo>
                  <a:lnTo>
                    <a:pt x="1071563" y="727710"/>
                  </a:lnTo>
                  <a:lnTo>
                    <a:pt x="1072515" y="737235"/>
                  </a:lnTo>
                  <a:lnTo>
                    <a:pt x="1078230" y="759143"/>
                  </a:lnTo>
                  <a:lnTo>
                    <a:pt x="1092518" y="798195"/>
                  </a:lnTo>
                  <a:lnTo>
                    <a:pt x="1093470" y="806768"/>
                  </a:lnTo>
                  <a:lnTo>
                    <a:pt x="1090613" y="877252"/>
                  </a:lnTo>
                  <a:lnTo>
                    <a:pt x="1086803" y="898208"/>
                  </a:lnTo>
                  <a:lnTo>
                    <a:pt x="1084898" y="903923"/>
                  </a:lnTo>
                  <a:lnTo>
                    <a:pt x="1082040" y="908685"/>
                  </a:lnTo>
                  <a:lnTo>
                    <a:pt x="1080135" y="911543"/>
                  </a:lnTo>
                  <a:lnTo>
                    <a:pt x="1077278" y="912495"/>
                  </a:lnTo>
                  <a:lnTo>
                    <a:pt x="1070610" y="912495"/>
                  </a:lnTo>
                  <a:lnTo>
                    <a:pt x="1066800" y="909638"/>
                  </a:lnTo>
                  <a:lnTo>
                    <a:pt x="1061085" y="906780"/>
                  </a:lnTo>
                  <a:lnTo>
                    <a:pt x="1050608" y="902970"/>
                  </a:lnTo>
                  <a:lnTo>
                    <a:pt x="1043940" y="901065"/>
                  </a:lnTo>
                  <a:lnTo>
                    <a:pt x="1033463" y="900113"/>
                  </a:lnTo>
                  <a:lnTo>
                    <a:pt x="1009650" y="902970"/>
                  </a:lnTo>
                  <a:lnTo>
                    <a:pt x="987743" y="910590"/>
                  </a:lnTo>
                  <a:lnTo>
                    <a:pt x="968693" y="919163"/>
                  </a:lnTo>
                  <a:lnTo>
                    <a:pt x="927735" y="950595"/>
                  </a:lnTo>
                  <a:lnTo>
                    <a:pt x="877253" y="1017270"/>
                  </a:lnTo>
                  <a:lnTo>
                    <a:pt x="872490" y="1020127"/>
                  </a:lnTo>
                  <a:lnTo>
                    <a:pt x="866775" y="1022985"/>
                  </a:lnTo>
                  <a:lnTo>
                    <a:pt x="859155" y="1026795"/>
                  </a:lnTo>
                  <a:lnTo>
                    <a:pt x="851535" y="1032510"/>
                  </a:lnTo>
                  <a:lnTo>
                    <a:pt x="847725" y="1036320"/>
                  </a:lnTo>
                  <a:lnTo>
                    <a:pt x="845820" y="1040130"/>
                  </a:lnTo>
                  <a:lnTo>
                    <a:pt x="843915" y="1045845"/>
                  </a:lnTo>
                  <a:lnTo>
                    <a:pt x="843915" y="1056323"/>
                  </a:lnTo>
                  <a:lnTo>
                    <a:pt x="844868" y="1062038"/>
                  </a:lnTo>
                  <a:lnTo>
                    <a:pt x="847725" y="1069658"/>
                  </a:lnTo>
                  <a:lnTo>
                    <a:pt x="848678" y="1072515"/>
                  </a:lnTo>
                  <a:lnTo>
                    <a:pt x="847725" y="1076325"/>
                  </a:lnTo>
                  <a:lnTo>
                    <a:pt x="845820" y="1078230"/>
                  </a:lnTo>
                  <a:lnTo>
                    <a:pt x="840105" y="1079183"/>
                  </a:lnTo>
                  <a:lnTo>
                    <a:pt x="835343" y="1082040"/>
                  </a:lnTo>
                  <a:lnTo>
                    <a:pt x="829628" y="1085850"/>
                  </a:lnTo>
                  <a:lnTo>
                    <a:pt x="802005" y="1118235"/>
                  </a:lnTo>
                  <a:lnTo>
                    <a:pt x="798195" y="1121093"/>
                  </a:lnTo>
                  <a:lnTo>
                    <a:pt x="788670" y="1123950"/>
                  </a:lnTo>
                  <a:lnTo>
                    <a:pt x="782955" y="1126808"/>
                  </a:lnTo>
                  <a:lnTo>
                    <a:pt x="774383" y="1132523"/>
                  </a:lnTo>
                  <a:lnTo>
                    <a:pt x="770572" y="1137285"/>
                  </a:lnTo>
                  <a:lnTo>
                    <a:pt x="767715" y="1141095"/>
                  </a:lnTo>
                  <a:lnTo>
                    <a:pt x="767715" y="1143952"/>
                  </a:lnTo>
                  <a:lnTo>
                    <a:pt x="765810" y="1158240"/>
                  </a:lnTo>
                  <a:lnTo>
                    <a:pt x="762953" y="1163955"/>
                  </a:lnTo>
                  <a:lnTo>
                    <a:pt x="739140" y="1209675"/>
                  </a:lnTo>
                  <a:lnTo>
                    <a:pt x="737235" y="1215390"/>
                  </a:lnTo>
                  <a:lnTo>
                    <a:pt x="736283" y="1222058"/>
                  </a:lnTo>
                  <a:lnTo>
                    <a:pt x="735330" y="1227773"/>
                  </a:lnTo>
                  <a:lnTo>
                    <a:pt x="738188" y="1243013"/>
                  </a:lnTo>
                  <a:lnTo>
                    <a:pt x="738188" y="1255395"/>
                  </a:lnTo>
                  <a:lnTo>
                    <a:pt x="739140" y="1261110"/>
                  </a:lnTo>
                  <a:lnTo>
                    <a:pt x="743903" y="1274445"/>
                  </a:lnTo>
                  <a:lnTo>
                    <a:pt x="745808" y="1279208"/>
                  </a:lnTo>
                  <a:lnTo>
                    <a:pt x="754380" y="1288733"/>
                  </a:lnTo>
                  <a:lnTo>
                    <a:pt x="756285" y="1293495"/>
                  </a:lnTo>
                  <a:lnTo>
                    <a:pt x="757238" y="1299210"/>
                  </a:lnTo>
                  <a:lnTo>
                    <a:pt x="757238" y="1316355"/>
                  </a:lnTo>
                  <a:lnTo>
                    <a:pt x="759143" y="1323975"/>
                  </a:lnTo>
                  <a:lnTo>
                    <a:pt x="763905" y="1334452"/>
                  </a:lnTo>
                  <a:lnTo>
                    <a:pt x="764858" y="1336358"/>
                  </a:lnTo>
                  <a:lnTo>
                    <a:pt x="765810" y="1342073"/>
                  </a:lnTo>
                  <a:lnTo>
                    <a:pt x="765810" y="1348740"/>
                  </a:lnTo>
                  <a:lnTo>
                    <a:pt x="763905" y="1355408"/>
                  </a:lnTo>
                  <a:lnTo>
                    <a:pt x="739140" y="1410652"/>
                  </a:lnTo>
                  <a:lnTo>
                    <a:pt x="738188" y="1413510"/>
                  </a:lnTo>
                  <a:lnTo>
                    <a:pt x="736283" y="1431608"/>
                  </a:lnTo>
                  <a:lnTo>
                    <a:pt x="736283" y="1435418"/>
                  </a:lnTo>
                  <a:lnTo>
                    <a:pt x="736283" y="1444943"/>
                  </a:lnTo>
                  <a:lnTo>
                    <a:pt x="719138" y="1447800"/>
                  </a:lnTo>
                  <a:lnTo>
                    <a:pt x="709613" y="1441133"/>
                  </a:lnTo>
                  <a:lnTo>
                    <a:pt x="697230" y="1422083"/>
                  </a:lnTo>
                  <a:lnTo>
                    <a:pt x="679133" y="1389698"/>
                  </a:lnTo>
                  <a:lnTo>
                    <a:pt x="672465" y="1381125"/>
                  </a:lnTo>
                  <a:lnTo>
                    <a:pt x="664845" y="1373505"/>
                  </a:lnTo>
                  <a:lnTo>
                    <a:pt x="621983" y="1357313"/>
                  </a:lnTo>
                  <a:lnTo>
                    <a:pt x="604838" y="1345883"/>
                  </a:lnTo>
                  <a:lnTo>
                    <a:pt x="595313" y="1335405"/>
                  </a:lnTo>
                  <a:lnTo>
                    <a:pt x="592455" y="1324927"/>
                  </a:lnTo>
                  <a:lnTo>
                    <a:pt x="592455" y="1315402"/>
                  </a:lnTo>
                  <a:lnTo>
                    <a:pt x="588645" y="1303020"/>
                  </a:lnTo>
                  <a:lnTo>
                    <a:pt x="581025" y="1292543"/>
                  </a:lnTo>
                  <a:lnTo>
                    <a:pt x="567690" y="1281113"/>
                  </a:lnTo>
                  <a:lnTo>
                    <a:pt x="546735" y="1269683"/>
                  </a:lnTo>
                  <a:lnTo>
                    <a:pt x="548640" y="1260158"/>
                  </a:lnTo>
                  <a:lnTo>
                    <a:pt x="553403" y="1232535"/>
                  </a:lnTo>
                  <a:lnTo>
                    <a:pt x="556260" y="1223010"/>
                  </a:lnTo>
                  <a:lnTo>
                    <a:pt x="583883" y="1182052"/>
                  </a:lnTo>
                  <a:lnTo>
                    <a:pt x="584835" y="1178243"/>
                  </a:lnTo>
                  <a:lnTo>
                    <a:pt x="583883" y="1175385"/>
                  </a:lnTo>
                  <a:lnTo>
                    <a:pt x="566738" y="1149668"/>
                  </a:lnTo>
                  <a:lnTo>
                    <a:pt x="530543" y="1113473"/>
                  </a:lnTo>
                  <a:lnTo>
                    <a:pt x="526733" y="1108710"/>
                  </a:lnTo>
                  <a:lnTo>
                    <a:pt x="524828" y="1104900"/>
                  </a:lnTo>
                  <a:lnTo>
                    <a:pt x="521970" y="1097280"/>
                  </a:lnTo>
                  <a:lnTo>
                    <a:pt x="521017" y="1092518"/>
                  </a:lnTo>
                  <a:lnTo>
                    <a:pt x="521017" y="1088708"/>
                  </a:lnTo>
                  <a:lnTo>
                    <a:pt x="521017" y="1084898"/>
                  </a:lnTo>
                  <a:lnTo>
                    <a:pt x="522922" y="1079183"/>
                  </a:lnTo>
                  <a:lnTo>
                    <a:pt x="525780" y="1074420"/>
                  </a:lnTo>
                  <a:lnTo>
                    <a:pt x="528638" y="1069658"/>
                  </a:lnTo>
                  <a:lnTo>
                    <a:pt x="531495" y="1062990"/>
                  </a:lnTo>
                  <a:lnTo>
                    <a:pt x="533400" y="1058227"/>
                  </a:lnTo>
                  <a:lnTo>
                    <a:pt x="532447" y="1054418"/>
                  </a:lnTo>
                  <a:lnTo>
                    <a:pt x="531495" y="1051560"/>
                  </a:lnTo>
                  <a:lnTo>
                    <a:pt x="521017" y="1034415"/>
                  </a:lnTo>
                  <a:lnTo>
                    <a:pt x="511492" y="1014413"/>
                  </a:lnTo>
                  <a:lnTo>
                    <a:pt x="507683" y="1009650"/>
                  </a:lnTo>
                  <a:lnTo>
                    <a:pt x="473392" y="977265"/>
                  </a:lnTo>
                  <a:lnTo>
                    <a:pt x="462915" y="969645"/>
                  </a:lnTo>
                  <a:lnTo>
                    <a:pt x="457200" y="963930"/>
                  </a:lnTo>
                  <a:lnTo>
                    <a:pt x="452438" y="958215"/>
                  </a:lnTo>
                  <a:lnTo>
                    <a:pt x="449580" y="955358"/>
                  </a:lnTo>
                  <a:lnTo>
                    <a:pt x="445770" y="953452"/>
                  </a:lnTo>
                  <a:lnTo>
                    <a:pt x="432435" y="953452"/>
                  </a:lnTo>
                  <a:lnTo>
                    <a:pt x="430530" y="953452"/>
                  </a:lnTo>
                  <a:lnTo>
                    <a:pt x="428625" y="950595"/>
                  </a:lnTo>
                  <a:lnTo>
                    <a:pt x="427673" y="941070"/>
                  </a:lnTo>
                  <a:lnTo>
                    <a:pt x="425767" y="931545"/>
                  </a:lnTo>
                  <a:lnTo>
                    <a:pt x="423863" y="926783"/>
                  </a:lnTo>
                  <a:lnTo>
                    <a:pt x="421005" y="922973"/>
                  </a:lnTo>
                  <a:lnTo>
                    <a:pt x="415290" y="918210"/>
                  </a:lnTo>
                  <a:lnTo>
                    <a:pt x="411480" y="915352"/>
                  </a:lnTo>
                  <a:lnTo>
                    <a:pt x="407670" y="912495"/>
                  </a:lnTo>
                  <a:lnTo>
                    <a:pt x="405765" y="913448"/>
                  </a:lnTo>
                  <a:lnTo>
                    <a:pt x="403860" y="915352"/>
                  </a:lnTo>
                  <a:lnTo>
                    <a:pt x="401003" y="922973"/>
                  </a:lnTo>
                  <a:lnTo>
                    <a:pt x="396240" y="930593"/>
                  </a:lnTo>
                  <a:lnTo>
                    <a:pt x="393383" y="934402"/>
                  </a:lnTo>
                  <a:lnTo>
                    <a:pt x="386715" y="939165"/>
                  </a:lnTo>
                  <a:lnTo>
                    <a:pt x="381953" y="941070"/>
                  </a:lnTo>
                  <a:lnTo>
                    <a:pt x="369570" y="942975"/>
                  </a:lnTo>
                  <a:lnTo>
                    <a:pt x="356235" y="942975"/>
                  </a:lnTo>
                  <a:lnTo>
                    <a:pt x="340042" y="939165"/>
                  </a:lnTo>
                  <a:lnTo>
                    <a:pt x="336233" y="937260"/>
                  </a:lnTo>
                  <a:lnTo>
                    <a:pt x="332423" y="934402"/>
                  </a:lnTo>
                  <a:lnTo>
                    <a:pt x="325755" y="927735"/>
                  </a:lnTo>
                  <a:lnTo>
                    <a:pt x="322898" y="922973"/>
                  </a:lnTo>
                  <a:lnTo>
                    <a:pt x="320992" y="919163"/>
                  </a:lnTo>
                  <a:lnTo>
                    <a:pt x="320040" y="916305"/>
                  </a:lnTo>
                  <a:lnTo>
                    <a:pt x="316230" y="892493"/>
                  </a:lnTo>
                  <a:lnTo>
                    <a:pt x="315278" y="882968"/>
                  </a:lnTo>
                  <a:lnTo>
                    <a:pt x="315278" y="876300"/>
                  </a:lnTo>
                  <a:lnTo>
                    <a:pt x="319088" y="856298"/>
                  </a:lnTo>
                  <a:lnTo>
                    <a:pt x="320040" y="853440"/>
                  </a:lnTo>
                  <a:lnTo>
                    <a:pt x="320992" y="846773"/>
                  </a:lnTo>
                  <a:lnTo>
                    <a:pt x="320992" y="843915"/>
                  </a:lnTo>
                  <a:lnTo>
                    <a:pt x="320040" y="838200"/>
                  </a:lnTo>
                  <a:lnTo>
                    <a:pt x="318135" y="832485"/>
                  </a:lnTo>
                  <a:lnTo>
                    <a:pt x="317183" y="823913"/>
                  </a:lnTo>
                  <a:lnTo>
                    <a:pt x="318135" y="819150"/>
                  </a:lnTo>
                  <a:lnTo>
                    <a:pt x="319088" y="811530"/>
                  </a:lnTo>
                  <a:lnTo>
                    <a:pt x="319088" y="807720"/>
                  </a:lnTo>
                  <a:lnTo>
                    <a:pt x="319088" y="802005"/>
                  </a:lnTo>
                  <a:lnTo>
                    <a:pt x="317183" y="799148"/>
                  </a:lnTo>
                  <a:lnTo>
                    <a:pt x="314325" y="797243"/>
                  </a:lnTo>
                  <a:lnTo>
                    <a:pt x="311467" y="797243"/>
                  </a:lnTo>
                  <a:lnTo>
                    <a:pt x="306705" y="798195"/>
                  </a:lnTo>
                  <a:lnTo>
                    <a:pt x="280988" y="815340"/>
                  </a:lnTo>
                  <a:lnTo>
                    <a:pt x="270510" y="820102"/>
                  </a:lnTo>
                  <a:lnTo>
                    <a:pt x="247650" y="823913"/>
                  </a:lnTo>
                  <a:lnTo>
                    <a:pt x="236220" y="831533"/>
                  </a:lnTo>
                  <a:lnTo>
                    <a:pt x="227648" y="841058"/>
                  </a:lnTo>
                  <a:lnTo>
                    <a:pt x="225742" y="842963"/>
                  </a:lnTo>
                  <a:lnTo>
                    <a:pt x="220980" y="845820"/>
                  </a:lnTo>
                  <a:lnTo>
                    <a:pt x="216217" y="847725"/>
                  </a:lnTo>
                  <a:lnTo>
                    <a:pt x="212408" y="847725"/>
                  </a:lnTo>
                  <a:lnTo>
                    <a:pt x="208598" y="846773"/>
                  </a:lnTo>
                  <a:lnTo>
                    <a:pt x="202883" y="843915"/>
                  </a:lnTo>
                  <a:lnTo>
                    <a:pt x="200025" y="842010"/>
                  </a:lnTo>
                  <a:lnTo>
                    <a:pt x="198120" y="839152"/>
                  </a:lnTo>
                  <a:lnTo>
                    <a:pt x="197167" y="836295"/>
                  </a:lnTo>
                  <a:lnTo>
                    <a:pt x="198120" y="829627"/>
                  </a:lnTo>
                  <a:lnTo>
                    <a:pt x="199073" y="823913"/>
                  </a:lnTo>
                  <a:lnTo>
                    <a:pt x="200977" y="818198"/>
                  </a:lnTo>
                  <a:lnTo>
                    <a:pt x="202883" y="811530"/>
                  </a:lnTo>
                  <a:lnTo>
                    <a:pt x="201930" y="806768"/>
                  </a:lnTo>
                  <a:lnTo>
                    <a:pt x="200977" y="802005"/>
                  </a:lnTo>
                  <a:lnTo>
                    <a:pt x="197167" y="793433"/>
                  </a:lnTo>
                  <a:lnTo>
                    <a:pt x="195263" y="789623"/>
                  </a:lnTo>
                  <a:lnTo>
                    <a:pt x="190500" y="783908"/>
                  </a:lnTo>
                  <a:lnTo>
                    <a:pt x="186690" y="781050"/>
                  </a:lnTo>
                  <a:lnTo>
                    <a:pt x="181927" y="779145"/>
                  </a:lnTo>
                  <a:lnTo>
                    <a:pt x="175260" y="778193"/>
                  </a:lnTo>
                  <a:lnTo>
                    <a:pt x="170498" y="776288"/>
                  </a:lnTo>
                  <a:lnTo>
                    <a:pt x="165735" y="773430"/>
                  </a:lnTo>
                  <a:lnTo>
                    <a:pt x="136208" y="748665"/>
                  </a:lnTo>
                  <a:lnTo>
                    <a:pt x="133350" y="744855"/>
                  </a:lnTo>
                  <a:lnTo>
                    <a:pt x="131445" y="741045"/>
                  </a:lnTo>
                  <a:lnTo>
                    <a:pt x="130492" y="735330"/>
                  </a:lnTo>
                  <a:lnTo>
                    <a:pt x="132398" y="724852"/>
                  </a:lnTo>
                  <a:lnTo>
                    <a:pt x="132398" y="720090"/>
                  </a:lnTo>
                  <a:lnTo>
                    <a:pt x="130492" y="713423"/>
                  </a:lnTo>
                  <a:lnTo>
                    <a:pt x="128588" y="710565"/>
                  </a:lnTo>
                  <a:lnTo>
                    <a:pt x="125730" y="708660"/>
                  </a:lnTo>
                  <a:lnTo>
                    <a:pt x="120015" y="706755"/>
                  </a:lnTo>
                  <a:lnTo>
                    <a:pt x="113348" y="705802"/>
                  </a:lnTo>
                  <a:lnTo>
                    <a:pt x="106680" y="705802"/>
                  </a:lnTo>
                  <a:lnTo>
                    <a:pt x="100965" y="706755"/>
                  </a:lnTo>
                  <a:lnTo>
                    <a:pt x="93345" y="709613"/>
                  </a:lnTo>
                  <a:lnTo>
                    <a:pt x="88583" y="709613"/>
                  </a:lnTo>
                  <a:lnTo>
                    <a:pt x="84773" y="708660"/>
                  </a:lnTo>
                  <a:lnTo>
                    <a:pt x="75248" y="701040"/>
                  </a:lnTo>
                  <a:lnTo>
                    <a:pt x="41910" y="661035"/>
                  </a:lnTo>
                  <a:lnTo>
                    <a:pt x="21908" y="651510"/>
                  </a:lnTo>
                  <a:lnTo>
                    <a:pt x="0" y="645795"/>
                  </a:lnTo>
                  <a:lnTo>
                    <a:pt x="22860" y="557213"/>
                  </a:lnTo>
                  <a:lnTo>
                    <a:pt x="21908" y="550545"/>
                  </a:lnTo>
                  <a:lnTo>
                    <a:pt x="20955" y="541973"/>
                  </a:lnTo>
                  <a:lnTo>
                    <a:pt x="19050" y="536258"/>
                  </a:lnTo>
                  <a:lnTo>
                    <a:pt x="16192" y="531495"/>
                  </a:lnTo>
                  <a:lnTo>
                    <a:pt x="10477" y="523875"/>
                  </a:lnTo>
                  <a:lnTo>
                    <a:pt x="8573" y="520065"/>
                  </a:lnTo>
                  <a:lnTo>
                    <a:pt x="8573" y="516255"/>
                  </a:lnTo>
                  <a:lnTo>
                    <a:pt x="8573" y="513398"/>
                  </a:lnTo>
                  <a:lnTo>
                    <a:pt x="10477" y="507683"/>
                  </a:lnTo>
                  <a:lnTo>
                    <a:pt x="22860" y="448627"/>
                  </a:lnTo>
                  <a:lnTo>
                    <a:pt x="25717" y="441960"/>
                  </a:lnTo>
                  <a:lnTo>
                    <a:pt x="34290" y="436245"/>
                  </a:lnTo>
                  <a:lnTo>
                    <a:pt x="45720" y="425767"/>
                  </a:lnTo>
                  <a:lnTo>
                    <a:pt x="47625" y="423863"/>
                  </a:lnTo>
                  <a:lnTo>
                    <a:pt x="57150" y="415290"/>
                  </a:lnTo>
                  <a:lnTo>
                    <a:pt x="60960" y="408623"/>
                  </a:lnTo>
                  <a:lnTo>
                    <a:pt x="64770" y="399098"/>
                  </a:lnTo>
                  <a:lnTo>
                    <a:pt x="78105" y="357188"/>
                  </a:lnTo>
                  <a:lnTo>
                    <a:pt x="80010" y="354330"/>
                  </a:lnTo>
                  <a:lnTo>
                    <a:pt x="84773" y="347663"/>
                  </a:lnTo>
                  <a:lnTo>
                    <a:pt x="94298" y="340042"/>
                  </a:lnTo>
                  <a:lnTo>
                    <a:pt x="102870" y="334327"/>
                  </a:lnTo>
                  <a:lnTo>
                    <a:pt x="108585" y="332423"/>
                  </a:lnTo>
                  <a:lnTo>
                    <a:pt x="117158" y="331470"/>
                  </a:lnTo>
                  <a:lnTo>
                    <a:pt x="169545" y="339090"/>
                  </a:lnTo>
                  <a:lnTo>
                    <a:pt x="196215" y="337185"/>
                  </a:lnTo>
                  <a:lnTo>
                    <a:pt x="200025" y="336233"/>
                  </a:lnTo>
                  <a:lnTo>
                    <a:pt x="204788" y="333375"/>
                  </a:lnTo>
                  <a:lnTo>
                    <a:pt x="216217" y="322898"/>
                  </a:lnTo>
                  <a:lnTo>
                    <a:pt x="220027" y="320992"/>
                  </a:lnTo>
                  <a:lnTo>
                    <a:pt x="222885" y="320992"/>
                  </a:lnTo>
                  <a:lnTo>
                    <a:pt x="229552" y="321945"/>
                  </a:lnTo>
                  <a:lnTo>
                    <a:pt x="248602" y="329565"/>
                  </a:lnTo>
                  <a:lnTo>
                    <a:pt x="252413" y="328613"/>
                  </a:lnTo>
                  <a:lnTo>
                    <a:pt x="259080" y="325755"/>
                  </a:lnTo>
                  <a:lnTo>
                    <a:pt x="282892" y="308610"/>
                  </a:lnTo>
                  <a:lnTo>
                    <a:pt x="287655" y="306705"/>
                  </a:lnTo>
                  <a:lnTo>
                    <a:pt x="290513" y="306705"/>
                  </a:lnTo>
                  <a:lnTo>
                    <a:pt x="297180" y="307658"/>
                  </a:lnTo>
                  <a:lnTo>
                    <a:pt x="320040" y="315277"/>
                  </a:lnTo>
                  <a:lnTo>
                    <a:pt x="323850" y="315277"/>
                  </a:lnTo>
                  <a:lnTo>
                    <a:pt x="329565" y="315277"/>
                  </a:lnTo>
                  <a:lnTo>
                    <a:pt x="354330" y="303848"/>
                  </a:lnTo>
                  <a:lnTo>
                    <a:pt x="360045" y="302895"/>
                  </a:lnTo>
                  <a:lnTo>
                    <a:pt x="373380" y="303848"/>
                  </a:lnTo>
                  <a:lnTo>
                    <a:pt x="385763" y="300990"/>
                  </a:lnTo>
                  <a:lnTo>
                    <a:pt x="390525" y="299085"/>
                  </a:lnTo>
                  <a:lnTo>
                    <a:pt x="413385" y="285750"/>
                  </a:lnTo>
                  <a:lnTo>
                    <a:pt x="434340" y="277177"/>
                  </a:lnTo>
                  <a:lnTo>
                    <a:pt x="440055" y="276225"/>
                  </a:lnTo>
                  <a:lnTo>
                    <a:pt x="442913" y="276225"/>
                  </a:lnTo>
                  <a:lnTo>
                    <a:pt x="449580" y="277177"/>
                  </a:lnTo>
                  <a:lnTo>
                    <a:pt x="451485" y="278130"/>
                  </a:lnTo>
                  <a:lnTo>
                    <a:pt x="455295" y="279083"/>
                  </a:lnTo>
                  <a:lnTo>
                    <a:pt x="460058" y="278130"/>
                  </a:lnTo>
                  <a:lnTo>
                    <a:pt x="470535" y="274320"/>
                  </a:lnTo>
                  <a:lnTo>
                    <a:pt x="475297" y="270510"/>
                  </a:lnTo>
                  <a:lnTo>
                    <a:pt x="479108" y="267652"/>
                  </a:lnTo>
                  <a:lnTo>
                    <a:pt x="481965" y="261938"/>
                  </a:lnTo>
                  <a:lnTo>
                    <a:pt x="481965" y="256223"/>
                  </a:lnTo>
                  <a:lnTo>
                    <a:pt x="481013" y="253365"/>
                  </a:lnTo>
                  <a:lnTo>
                    <a:pt x="470535" y="240030"/>
                  </a:lnTo>
                  <a:lnTo>
                    <a:pt x="466725" y="234315"/>
                  </a:lnTo>
                  <a:lnTo>
                    <a:pt x="460058" y="238125"/>
                  </a:lnTo>
                  <a:lnTo>
                    <a:pt x="450533" y="237173"/>
                  </a:lnTo>
                  <a:lnTo>
                    <a:pt x="438150" y="233363"/>
                  </a:lnTo>
                  <a:lnTo>
                    <a:pt x="434340" y="229552"/>
                  </a:lnTo>
                  <a:lnTo>
                    <a:pt x="433388" y="210502"/>
                  </a:lnTo>
                  <a:lnTo>
                    <a:pt x="433388" y="206692"/>
                  </a:lnTo>
                  <a:lnTo>
                    <a:pt x="434340" y="203835"/>
                  </a:lnTo>
                  <a:lnTo>
                    <a:pt x="438150" y="195263"/>
                  </a:lnTo>
                  <a:lnTo>
                    <a:pt x="439103" y="191452"/>
                  </a:lnTo>
                  <a:lnTo>
                    <a:pt x="440055" y="188595"/>
                  </a:lnTo>
                  <a:lnTo>
                    <a:pt x="439103" y="185738"/>
                  </a:lnTo>
                  <a:lnTo>
                    <a:pt x="436245" y="181927"/>
                  </a:lnTo>
                  <a:lnTo>
                    <a:pt x="431483" y="179070"/>
                  </a:lnTo>
                  <a:lnTo>
                    <a:pt x="428625" y="178117"/>
                  </a:lnTo>
                  <a:lnTo>
                    <a:pt x="425767" y="179070"/>
                  </a:lnTo>
                  <a:lnTo>
                    <a:pt x="422910" y="180023"/>
                  </a:lnTo>
                  <a:lnTo>
                    <a:pt x="411480" y="190500"/>
                  </a:lnTo>
                  <a:lnTo>
                    <a:pt x="406717" y="193358"/>
                  </a:lnTo>
                  <a:lnTo>
                    <a:pt x="404813" y="193358"/>
                  </a:lnTo>
                  <a:lnTo>
                    <a:pt x="401955" y="193358"/>
                  </a:lnTo>
                  <a:lnTo>
                    <a:pt x="399098" y="192405"/>
                  </a:lnTo>
                  <a:lnTo>
                    <a:pt x="396240" y="187642"/>
                  </a:lnTo>
                  <a:lnTo>
                    <a:pt x="395288" y="184785"/>
                  </a:lnTo>
                  <a:lnTo>
                    <a:pt x="395288" y="180975"/>
                  </a:lnTo>
                  <a:lnTo>
                    <a:pt x="396240" y="175260"/>
                  </a:lnTo>
                  <a:lnTo>
                    <a:pt x="398145" y="172402"/>
                  </a:lnTo>
                  <a:lnTo>
                    <a:pt x="400050" y="170498"/>
                  </a:lnTo>
                  <a:lnTo>
                    <a:pt x="410528" y="166688"/>
                  </a:lnTo>
                  <a:lnTo>
                    <a:pt x="416242" y="165735"/>
                  </a:lnTo>
                  <a:lnTo>
                    <a:pt x="427673" y="165735"/>
                  </a:lnTo>
                  <a:lnTo>
                    <a:pt x="435292" y="163830"/>
                  </a:lnTo>
                  <a:lnTo>
                    <a:pt x="441008" y="160973"/>
                  </a:lnTo>
                  <a:lnTo>
                    <a:pt x="444817" y="157163"/>
                  </a:lnTo>
                  <a:lnTo>
                    <a:pt x="449580" y="149542"/>
                  </a:lnTo>
                  <a:lnTo>
                    <a:pt x="466725" y="131445"/>
                  </a:lnTo>
                  <a:lnTo>
                    <a:pt x="469583" y="127635"/>
                  </a:lnTo>
                  <a:lnTo>
                    <a:pt x="470535" y="124777"/>
                  </a:lnTo>
                  <a:lnTo>
                    <a:pt x="469583" y="121920"/>
                  </a:lnTo>
                  <a:lnTo>
                    <a:pt x="466725" y="118110"/>
                  </a:lnTo>
                  <a:lnTo>
                    <a:pt x="450533" y="107633"/>
                  </a:lnTo>
                  <a:lnTo>
                    <a:pt x="448628" y="105727"/>
                  </a:lnTo>
                  <a:lnTo>
                    <a:pt x="449580" y="100965"/>
                  </a:lnTo>
                  <a:lnTo>
                    <a:pt x="452438" y="92392"/>
                  </a:lnTo>
                  <a:lnTo>
                    <a:pt x="468630" y="66675"/>
                  </a:lnTo>
                  <a:lnTo>
                    <a:pt x="471488" y="60960"/>
                  </a:lnTo>
                  <a:lnTo>
                    <a:pt x="472440" y="54292"/>
                  </a:lnTo>
                  <a:lnTo>
                    <a:pt x="470535" y="48577"/>
                  </a:lnTo>
                  <a:lnTo>
                    <a:pt x="468630" y="42863"/>
                  </a:lnTo>
                  <a:lnTo>
                    <a:pt x="464820" y="36195"/>
                  </a:lnTo>
                  <a:lnTo>
                    <a:pt x="463867" y="33338"/>
                  </a:lnTo>
                  <a:lnTo>
                    <a:pt x="464820" y="28575"/>
                  </a:lnTo>
                  <a:lnTo>
                    <a:pt x="466725" y="23813"/>
                  </a:lnTo>
                  <a:lnTo>
                    <a:pt x="471488" y="14288"/>
                  </a:lnTo>
                  <a:lnTo>
                    <a:pt x="475297" y="9525"/>
                  </a:lnTo>
                  <a:lnTo>
                    <a:pt x="478155" y="6667"/>
                  </a:lnTo>
                  <a:lnTo>
                    <a:pt x="480060" y="5715"/>
                  </a:lnTo>
                  <a:lnTo>
                    <a:pt x="483870" y="5715"/>
                  </a:lnTo>
                  <a:lnTo>
                    <a:pt x="501967" y="10478"/>
                  </a:lnTo>
                  <a:lnTo>
                    <a:pt x="508635" y="10478"/>
                  </a:lnTo>
                  <a:lnTo>
                    <a:pt x="548640" y="0"/>
                  </a:lnTo>
                  <a:lnTo>
                    <a:pt x="554355" y="0"/>
                  </a:lnTo>
                  <a:lnTo>
                    <a:pt x="561022" y="1905"/>
                  </a:lnTo>
                  <a:lnTo>
                    <a:pt x="565785" y="3810"/>
                  </a:lnTo>
                  <a:lnTo>
                    <a:pt x="570547" y="6667"/>
                  </a:lnTo>
                  <a:lnTo>
                    <a:pt x="582930" y="17145"/>
                  </a:lnTo>
                  <a:lnTo>
                    <a:pt x="584835" y="19050"/>
                  </a:lnTo>
                  <a:lnTo>
                    <a:pt x="588645" y="21908"/>
                  </a:lnTo>
                  <a:lnTo>
                    <a:pt x="591503" y="21908"/>
                  </a:lnTo>
                  <a:lnTo>
                    <a:pt x="596265" y="20955"/>
                  </a:lnTo>
                  <a:lnTo>
                    <a:pt x="601028" y="22860"/>
                  </a:lnTo>
                  <a:lnTo>
                    <a:pt x="605790" y="25717"/>
                  </a:lnTo>
                  <a:lnTo>
                    <a:pt x="611505" y="26670"/>
                  </a:lnTo>
                  <a:lnTo>
                    <a:pt x="619125" y="2667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7" name="Полилиния: фигура 9">
              <a:extLst>
                <a:ext uri="{FF2B5EF4-FFF2-40B4-BE49-F238E27FC236}">
                  <a16:creationId xmlns:a16="http://schemas.microsoft.com/office/drawing/2014/main" id="{79082B83-F131-ACA1-69CC-A2C4471E20C8}"/>
                </a:ext>
              </a:extLst>
            </p:cNvPr>
            <p:cNvSpPr/>
            <p:nvPr/>
          </p:nvSpPr>
          <p:spPr>
            <a:xfrm>
              <a:off x="3460433" y="1757363"/>
              <a:ext cx="914400" cy="1733550"/>
            </a:xfrm>
            <a:custGeom>
              <a:avLst/>
              <a:gdLst>
                <a:gd name="connsiteX0" fmla="*/ 550545 w 914400"/>
                <a:gd name="connsiteY0" fmla="*/ 38100 h 1733550"/>
                <a:gd name="connsiteX1" fmla="*/ 558165 w 914400"/>
                <a:gd name="connsiteY1" fmla="*/ 41910 h 1733550"/>
                <a:gd name="connsiteX2" fmla="*/ 561023 w 914400"/>
                <a:gd name="connsiteY2" fmla="*/ 44767 h 1733550"/>
                <a:gd name="connsiteX3" fmla="*/ 567690 w 914400"/>
                <a:gd name="connsiteY3" fmla="*/ 55245 h 1733550"/>
                <a:gd name="connsiteX4" fmla="*/ 575310 w 914400"/>
                <a:gd name="connsiteY4" fmla="*/ 60960 h 1733550"/>
                <a:gd name="connsiteX5" fmla="*/ 579120 w 914400"/>
                <a:gd name="connsiteY5" fmla="*/ 63817 h 1733550"/>
                <a:gd name="connsiteX6" fmla="*/ 581977 w 914400"/>
                <a:gd name="connsiteY6" fmla="*/ 71438 h 1733550"/>
                <a:gd name="connsiteX7" fmla="*/ 583883 w 914400"/>
                <a:gd name="connsiteY7" fmla="*/ 76200 h 1733550"/>
                <a:gd name="connsiteX8" fmla="*/ 586740 w 914400"/>
                <a:gd name="connsiteY8" fmla="*/ 80010 h 1733550"/>
                <a:gd name="connsiteX9" fmla="*/ 590550 w 914400"/>
                <a:gd name="connsiteY9" fmla="*/ 83820 h 1733550"/>
                <a:gd name="connsiteX10" fmla="*/ 594360 w 914400"/>
                <a:gd name="connsiteY10" fmla="*/ 84772 h 1733550"/>
                <a:gd name="connsiteX11" fmla="*/ 604837 w 914400"/>
                <a:gd name="connsiteY11" fmla="*/ 87630 h 1733550"/>
                <a:gd name="connsiteX12" fmla="*/ 609600 w 914400"/>
                <a:gd name="connsiteY12" fmla="*/ 90488 h 1733550"/>
                <a:gd name="connsiteX13" fmla="*/ 609600 w 914400"/>
                <a:gd name="connsiteY13" fmla="*/ 93345 h 1733550"/>
                <a:gd name="connsiteX14" fmla="*/ 605790 w 914400"/>
                <a:gd name="connsiteY14" fmla="*/ 97155 h 1733550"/>
                <a:gd name="connsiteX15" fmla="*/ 594360 w 914400"/>
                <a:gd name="connsiteY15" fmla="*/ 103822 h 1733550"/>
                <a:gd name="connsiteX16" fmla="*/ 589598 w 914400"/>
                <a:gd name="connsiteY16" fmla="*/ 106680 h 1733550"/>
                <a:gd name="connsiteX17" fmla="*/ 585787 w 914400"/>
                <a:gd name="connsiteY17" fmla="*/ 110490 h 1733550"/>
                <a:gd name="connsiteX18" fmla="*/ 582930 w 914400"/>
                <a:gd name="connsiteY18" fmla="*/ 115253 h 1733550"/>
                <a:gd name="connsiteX19" fmla="*/ 580073 w 914400"/>
                <a:gd name="connsiteY19" fmla="*/ 120967 h 1733550"/>
                <a:gd name="connsiteX20" fmla="*/ 569595 w 914400"/>
                <a:gd name="connsiteY20" fmla="*/ 159067 h 1733550"/>
                <a:gd name="connsiteX21" fmla="*/ 569595 w 914400"/>
                <a:gd name="connsiteY21" fmla="*/ 165735 h 1733550"/>
                <a:gd name="connsiteX22" fmla="*/ 570548 w 914400"/>
                <a:gd name="connsiteY22" fmla="*/ 169545 h 1733550"/>
                <a:gd name="connsiteX23" fmla="*/ 573405 w 914400"/>
                <a:gd name="connsiteY23" fmla="*/ 171450 h 1733550"/>
                <a:gd name="connsiteX24" fmla="*/ 578168 w 914400"/>
                <a:gd name="connsiteY24" fmla="*/ 175260 h 1733550"/>
                <a:gd name="connsiteX25" fmla="*/ 581977 w 914400"/>
                <a:gd name="connsiteY25" fmla="*/ 176213 h 1733550"/>
                <a:gd name="connsiteX26" fmla="*/ 596265 w 914400"/>
                <a:gd name="connsiteY26" fmla="*/ 179070 h 1733550"/>
                <a:gd name="connsiteX27" fmla="*/ 601027 w 914400"/>
                <a:gd name="connsiteY27" fmla="*/ 181928 h 1733550"/>
                <a:gd name="connsiteX28" fmla="*/ 602933 w 914400"/>
                <a:gd name="connsiteY28" fmla="*/ 183833 h 1733550"/>
                <a:gd name="connsiteX29" fmla="*/ 604837 w 914400"/>
                <a:gd name="connsiteY29" fmla="*/ 187642 h 1733550"/>
                <a:gd name="connsiteX30" fmla="*/ 606743 w 914400"/>
                <a:gd name="connsiteY30" fmla="*/ 197167 h 1733550"/>
                <a:gd name="connsiteX31" fmla="*/ 608648 w 914400"/>
                <a:gd name="connsiteY31" fmla="*/ 200978 h 1733550"/>
                <a:gd name="connsiteX32" fmla="*/ 611505 w 914400"/>
                <a:gd name="connsiteY32" fmla="*/ 204788 h 1733550"/>
                <a:gd name="connsiteX33" fmla="*/ 617220 w 914400"/>
                <a:gd name="connsiteY33" fmla="*/ 209550 h 1733550"/>
                <a:gd name="connsiteX34" fmla="*/ 640080 w 914400"/>
                <a:gd name="connsiteY34" fmla="*/ 222885 h 1733550"/>
                <a:gd name="connsiteX35" fmla="*/ 657225 w 914400"/>
                <a:gd name="connsiteY35" fmla="*/ 236220 h 1733550"/>
                <a:gd name="connsiteX36" fmla="*/ 661987 w 914400"/>
                <a:gd name="connsiteY36" fmla="*/ 239078 h 1733550"/>
                <a:gd name="connsiteX37" fmla="*/ 663893 w 914400"/>
                <a:gd name="connsiteY37" fmla="*/ 240983 h 1733550"/>
                <a:gd name="connsiteX38" fmla="*/ 664845 w 914400"/>
                <a:gd name="connsiteY38" fmla="*/ 243840 h 1733550"/>
                <a:gd name="connsiteX39" fmla="*/ 662940 w 914400"/>
                <a:gd name="connsiteY39" fmla="*/ 246697 h 1733550"/>
                <a:gd name="connsiteX40" fmla="*/ 660083 w 914400"/>
                <a:gd name="connsiteY40" fmla="*/ 251460 h 1733550"/>
                <a:gd name="connsiteX41" fmla="*/ 659130 w 914400"/>
                <a:gd name="connsiteY41" fmla="*/ 254317 h 1733550"/>
                <a:gd name="connsiteX42" fmla="*/ 660083 w 914400"/>
                <a:gd name="connsiteY42" fmla="*/ 257175 h 1733550"/>
                <a:gd name="connsiteX43" fmla="*/ 661987 w 914400"/>
                <a:gd name="connsiteY43" fmla="*/ 259080 h 1733550"/>
                <a:gd name="connsiteX44" fmla="*/ 665798 w 914400"/>
                <a:gd name="connsiteY44" fmla="*/ 259080 h 1733550"/>
                <a:gd name="connsiteX45" fmla="*/ 671512 w 914400"/>
                <a:gd name="connsiteY45" fmla="*/ 258128 h 1733550"/>
                <a:gd name="connsiteX46" fmla="*/ 674370 w 914400"/>
                <a:gd name="connsiteY46" fmla="*/ 259080 h 1733550"/>
                <a:gd name="connsiteX47" fmla="*/ 677227 w 914400"/>
                <a:gd name="connsiteY47" fmla="*/ 260985 h 1733550"/>
                <a:gd name="connsiteX48" fmla="*/ 680085 w 914400"/>
                <a:gd name="connsiteY48" fmla="*/ 267653 h 1733550"/>
                <a:gd name="connsiteX49" fmla="*/ 682943 w 914400"/>
                <a:gd name="connsiteY49" fmla="*/ 271463 h 1733550"/>
                <a:gd name="connsiteX50" fmla="*/ 687705 w 914400"/>
                <a:gd name="connsiteY50" fmla="*/ 274320 h 1733550"/>
                <a:gd name="connsiteX51" fmla="*/ 698183 w 914400"/>
                <a:gd name="connsiteY51" fmla="*/ 277178 h 1733550"/>
                <a:gd name="connsiteX52" fmla="*/ 702945 w 914400"/>
                <a:gd name="connsiteY52" fmla="*/ 280988 h 1733550"/>
                <a:gd name="connsiteX53" fmla="*/ 703898 w 914400"/>
                <a:gd name="connsiteY53" fmla="*/ 283845 h 1733550"/>
                <a:gd name="connsiteX54" fmla="*/ 704850 w 914400"/>
                <a:gd name="connsiteY54" fmla="*/ 286703 h 1733550"/>
                <a:gd name="connsiteX55" fmla="*/ 705802 w 914400"/>
                <a:gd name="connsiteY55" fmla="*/ 297180 h 1733550"/>
                <a:gd name="connsiteX56" fmla="*/ 706755 w 914400"/>
                <a:gd name="connsiteY56" fmla="*/ 300990 h 1733550"/>
                <a:gd name="connsiteX57" fmla="*/ 710565 w 914400"/>
                <a:gd name="connsiteY57" fmla="*/ 302895 h 1733550"/>
                <a:gd name="connsiteX58" fmla="*/ 712470 w 914400"/>
                <a:gd name="connsiteY58" fmla="*/ 302895 h 1733550"/>
                <a:gd name="connsiteX59" fmla="*/ 736283 w 914400"/>
                <a:gd name="connsiteY59" fmla="*/ 305753 h 1733550"/>
                <a:gd name="connsiteX60" fmla="*/ 739140 w 914400"/>
                <a:gd name="connsiteY60" fmla="*/ 304800 h 1733550"/>
                <a:gd name="connsiteX61" fmla="*/ 741045 w 914400"/>
                <a:gd name="connsiteY61" fmla="*/ 303847 h 1733550"/>
                <a:gd name="connsiteX62" fmla="*/ 743902 w 914400"/>
                <a:gd name="connsiteY62" fmla="*/ 299085 h 1733550"/>
                <a:gd name="connsiteX63" fmla="*/ 747712 w 914400"/>
                <a:gd name="connsiteY63" fmla="*/ 289560 h 1733550"/>
                <a:gd name="connsiteX64" fmla="*/ 752475 w 914400"/>
                <a:gd name="connsiteY64" fmla="*/ 282892 h 1733550"/>
                <a:gd name="connsiteX65" fmla="*/ 756285 w 914400"/>
                <a:gd name="connsiteY65" fmla="*/ 275272 h 1733550"/>
                <a:gd name="connsiteX66" fmla="*/ 758190 w 914400"/>
                <a:gd name="connsiteY66" fmla="*/ 273367 h 1733550"/>
                <a:gd name="connsiteX67" fmla="*/ 762000 w 914400"/>
                <a:gd name="connsiteY67" fmla="*/ 273367 h 1733550"/>
                <a:gd name="connsiteX68" fmla="*/ 764858 w 914400"/>
                <a:gd name="connsiteY68" fmla="*/ 273367 h 1733550"/>
                <a:gd name="connsiteX69" fmla="*/ 767715 w 914400"/>
                <a:gd name="connsiteY69" fmla="*/ 276225 h 1733550"/>
                <a:gd name="connsiteX70" fmla="*/ 769620 w 914400"/>
                <a:gd name="connsiteY70" fmla="*/ 280035 h 1733550"/>
                <a:gd name="connsiteX71" fmla="*/ 770573 w 914400"/>
                <a:gd name="connsiteY71" fmla="*/ 286703 h 1733550"/>
                <a:gd name="connsiteX72" fmla="*/ 770573 w 914400"/>
                <a:gd name="connsiteY72" fmla="*/ 292417 h 1733550"/>
                <a:gd name="connsiteX73" fmla="*/ 768668 w 914400"/>
                <a:gd name="connsiteY73" fmla="*/ 311467 h 1733550"/>
                <a:gd name="connsiteX74" fmla="*/ 768668 w 914400"/>
                <a:gd name="connsiteY74" fmla="*/ 315278 h 1733550"/>
                <a:gd name="connsiteX75" fmla="*/ 769620 w 914400"/>
                <a:gd name="connsiteY75" fmla="*/ 318135 h 1733550"/>
                <a:gd name="connsiteX76" fmla="*/ 771525 w 914400"/>
                <a:gd name="connsiteY76" fmla="*/ 321945 h 1733550"/>
                <a:gd name="connsiteX77" fmla="*/ 775335 w 914400"/>
                <a:gd name="connsiteY77" fmla="*/ 327660 h 1733550"/>
                <a:gd name="connsiteX78" fmla="*/ 783908 w 914400"/>
                <a:gd name="connsiteY78" fmla="*/ 337185 h 1733550"/>
                <a:gd name="connsiteX79" fmla="*/ 789623 w 914400"/>
                <a:gd name="connsiteY79" fmla="*/ 345758 h 1733550"/>
                <a:gd name="connsiteX80" fmla="*/ 791527 w 914400"/>
                <a:gd name="connsiteY80" fmla="*/ 352425 h 1733550"/>
                <a:gd name="connsiteX81" fmla="*/ 791527 w 914400"/>
                <a:gd name="connsiteY81" fmla="*/ 359092 h 1733550"/>
                <a:gd name="connsiteX82" fmla="*/ 790575 w 914400"/>
                <a:gd name="connsiteY82" fmla="*/ 362903 h 1733550"/>
                <a:gd name="connsiteX83" fmla="*/ 787718 w 914400"/>
                <a:gd name="connsiteY83" fmla="*/ 364808 h 1733550"/>
                <a:gd name="connsiteX84" fmla="*/ 782955 w 914400"/>
                <a:gd name="connsiteY84" fmla="*/ 367665 h 1733550"/>
                <a:gd name="connsiteX85" fmla="*/ 781050 w 914400"/>
                <a:gd name="connsiteY85" fmla="*/ 368617 h 1733550"/>
                <a:gd name="connsiteX86" fmla="*/ 780098 w 914400"/>
                <a:gd name="connsiteY86" fmla="*/ 371475 h 1733550"/>
                <a:gd name="connsiteX87" fmla="*/ 780098 w 914400"/>
                <a:gd name="connsiteY87" fmla="*/ 374333 h 1733550"/>
                <a:gd name="connsiteX88" fmla="*/ 781050 w 914400"/>
                <a:gd name="connsiteY88" fmla="*/ 378142 h 1733550"/>
                <a:gd name="connsiteX89" fmla="*/ 787718 w 914400"/>
                <a:gd name="connsiteY89" fmla="*/ 383858 h 1733550"/>
                <a:gd name="connsiteX90" fmla="*/ 789623 w 914400"/>
                <a:gd name="connsiteY90" fmla="*/ 386715 h 1733550"/>
                <a:gd name="connsiteX91" fmla="*/ 790575 w 914400"/>
                <a:gd name="connsiteY91" fmla="*/ 388620 h 1733550"/>
                <a:gd name="connsiteX92" fmla="*/ 789623 w 914400"/>
                <a:gd name="connsiteY92" fmla="*/ 392430 h 1733550"/>
                <a:gd name="connsiteX93" fmla="*/ 782955 w 914400"/>
                <a:gd name="connsiteY93" fmla="*/ 401003 h 1733550"/>
                <a:gd name="connsiteX94" fmla="*/ 780098 w 914400"/>
                <a:gd name="connsiteY94" fmla="*/ 406717 h 1733550"/>
                <a:gd name="connsiteX95" fmla="*/ 777240 w 914400"/>
                <a:gd name="connsiteY95" fmla="*/ 415290 h 1733550"/>
                <a:gd name="connsiteX96" fmla="*/ 776287 w 914400"/>
                <a:gd name="connsiteY96" fmla="*/ 420053 h 1733550"/>
                <a:gd name="connsiteX97" fmla="*/ 777240 w 914400"/>
                <a:gd name="connsiteY97" fmla="*/ 422910 h 1733550"/>
                <a:gd name="connsiteX98" fmla="*/ 779145 w 914400"/>
                <a:gd name="connsiteY98" fmla="*/ 425767 h 1733550"/>
                <a:gd name="connsiteX99" fmla="*/ 782955 w 914400"/>
                <a:gd name="connsiteY99" fmla="*/ 428625 h 1733550"/>
                <a:gd name="connsiteX100" fmla="*/ 793433 w 914400"/>
                <a:gd name="connsiteY100" fmla="*/ 433388 h 1733550"/>
                <a:gd name="connsiteX101" fmla="*/ 795337 w 914400"/>
                <a:gd name="connsiteY101" fmla="*/ 434340 h 1733550"/>
                <a:gd name="connsiteX102" fmla="*/ 797243 w 914400"/>
                <a:gd name="connsiteY102" fmla="*/ 437197 h 1733550"/>
                <a:gd name="connsiteX103" fmla="*/ 799148 w 914400"/>
                <a:gd name="connsiteY103" fmla="*/ 441008 h 1733550"/>
                <a:gd name="connsiteX104" fmla="*/ 800100 w 914400"/>
                <a:gd name="connsiteY104" fmla="*/ 448628 h 1733550"/>
                <a:gd name="connsiteX105" fmla="*/ 799148 w 914400"/>
                <a:gd name="connsiteY105" fmla="*/ 458153 h 1733550"/>
                <a:gd name="connsiteX106" fmla="*/ 797243 w 914400"/>
                <a:gd name="connsiteY106" fmla="*/ 464820 h 1733550"/>
                <a:gd name="connsiteX107" fmla="*/ 795337 w 914400"/>
                <a:gd name="connsiteY107" fmla="*/ 466725 h 1733550"/>
                <a:gd name="connsiteX108" fmla="*/ 786765 w 914400"/>
                <a:gd name="connsiteY108" fmla="*/ 467678 h 1733550"/>
                <a:gd name="connsiteX109" fmla="*/ 783908 w 914400"/>
                <a:gd name="connsiteY109" fmla="*/ 469583 h 1733550"/>
                <a:gd name="connsiteX110" fmla="*/ 780098 w 914400"/>
                <a:gd name="connsiteY110" fmla="*/ 473392 h 1733550"/>
                <a:gd name="connsiteX111" fmla="*/ 777240 w 914400"/>
                <a:gd name="connsiteY111" fmla="*/ 477203 h 1733550"/>
                <a:gd name="connsiteX112" fmla="*/ 773430 w 914400"/>
                <a:gd name="connsiteY112" fmla="*/ 481013 h 1733550"/>
                <a:gd name="connsiteX113" fmla="*/ 767715 w 914400"/>
                <a:gd name="connsiteY113" fmla="*/ 481965 h 1733550"/>
                <a:gd name="connsiteX114" fmla="*/ 763905 w 914400"/>
                <a:gd name="connsiteY114" fmla="*/ 482917 h 1733550"/>
                <a:gd name="connsiteX115" fmla="*/ 738187 w 914400"/>
                <a:gd name="connsiteY115" fmla="*/ 478155 h 1733550"/>
                <a:gd name="connsiteX116" fmla="*/ 736283 w 914400"/>
                <a:gd name="connsiteY116" fmla="*/ 479108 h 1733550"/>
                <a:gd name="connsiteX117" fmla="*/ 736283 w 914400"/>
                <a:gd name="connsiteY117" fmla="*/ 481965 h 1733550"/>
                <a:gd name="connsiteX118" fmla="*/ 737235 w 914400"/>
                <a:gd name="connsiteY118" fmla="*/ 486728 h 1733550"/>
                <a:gd name="connsiteX119" fmla="*/ 752475 w 914400"/>
                <a:gd name="connsiteY119" fmla="*/ 513397 h 1733550"/>
                <a:gd name="connsiteX120" fmla="*/ 754380 w 914400"/>
                <a:gd name="connsiteY120" fmla="*/ 519113 h 1733550"/>
                <a:gd name="connsiteX121" fmla="*/ 755333 w 914400"/>
                <a:gd name="connsiteY121" fmla="*/ 524828 h 1733550"/>
                <a:gd name="connsiteX122" fmla="*/ 755333 w 914400"/>
                <a:gd name="connsiteY122" fmla="*/ 526733 h 1733550"/>
                <a:gd name="connsiteX123" fmla="*/ 753427 w 914400"/>
                <a:gd name="connsiteY123" fmla="*/ 528638 h 1733550"/>
                <a:gd name="connsiteX124" fmla="*/ 750570 w 914400"/>
                <a:gd name="connsiteY124" fmla="*/ 529590 h 1733550"/>
                <a:gd name="connsiteX125" fmla="*/ 741045 w 914400"/>
                <a:gd name="connsiteY125" fmla="*/ 530543 h 1733550"/>
                <a:gd name="connsiteX126" fmla="*/ 738187 w 914400"/>
                <a:gd name="connsiteY126" fmla="*/ 531495 h 1733550"/>
                <a:gd name="connsiteX127" fmla="*/ 737235 w 914400"/>
                <a:gd name="connsiteY127" fmla="*/ 533400 h 1733550"/>
                <a:gd name="connsiteX128" fmla="*/ 736283 w 914400"/>
                <a:gd name="connsiteY128" fmla="*/ 536258 h 1733550"/>
                <a:gd name="connsiteX129" fmla="*/ 734377 w 914400"/>
                <a:gd name="connsiteY129" fmla="*/ 554355 h 1733550"/>
                <a:gd name="connsiteX130" fmla="*/ 736283 w 914400"/>
                <a:gd name="connsiteY130" fmla="*/ 558165 h 1733550"/>
                <a:gd name="connsiteX131" fmla="*/ 740093 w 914400"/>
                <a:gd name="connsiteY131" fmla="*/ 561022 h 1733550"/>
                <a:gd name="connsiteX132" fmla="*/ 759143 w 914400"/>
                <a:gd name="connsiteY132" fmla="*/ 568643 h 1733550"/>
                <a:gd name="connsiteX133" fmla="*/ 762000 w 914400"/>
                <a:gd name="connsiteY133" fmla="*/ 570547 h 1733550"/>
                <a:gd name="connsiteX134" fmla="*/ 763905 w 914400"/>
                <a:gd name="connsiteY134" fmla="*/ 572453 h 1733550"/>
                <a:gd name="connsiteX135" fmla="*/ 765810 w 914400"/>
                <a:gd name="connsiteY135" fmla="*/ 577215 h 1733550"/>
                <a:gd name="connsiteX136" fmla="*/ 765810 w 914400"/>
                <a:gd name="connsiteY136" fmla="*/ 580072 h 1733550"/>
                <a:gd name="connsiteX137" fmla="*/ 763905 w 914400"/>
                <a:gd name="connsiteY137" fmla="*/ 588645 h 1733550"/>
                <a:gd name="connsiteX138" fmla="*/ 764858 w 914400"/>
                <a:gd name="connsiteY138" fmla="*/ 594360 h 1733550"/>
                <a:gd name="connsiteX139" fmla="*/ 767715 w 914400"/>
                <a:gd name="connsiteY139" fmla="*/ 599122 h 1733550"/>
                <a:gd name="connsiteX140" fmla="*/ 782002 w 914400"/>
                <a:gd name="connsiteY140" fmla="*/ 618172 h 1733550"/>
                <a:gd name="connsiteX141" fmla="*/ 787718 w 914400"/>
                <a:gd name="connsiteY141" fmla="*/ 626745 h 1733550"/>
                <a:gd name="connsiteX142" fmla="*/ 789623 w 914400"/>
                <a:gd name="connsiteY142" fmla="*/ 632460 h 1733550"/>
                <a:gd name="connsiteX143" fmla="*/ 790575 w 914400"/>
                <a:gd name="connsiteY143" fmla="*/ 638175 h 1733550"/>
                <a:gd name="connsiteX144" fmla="*/ 791527 w 914400"/>
                <a:gd name="connsiteY144" fmla="*/ 641033 h 1733550"/>
                <a:gd name="connsiteX145" fmla="*/ 794385 w 914400"/>
                <a:gd name="connsiteY145" fmla="*/ 645795 h 1733550"/>
                <a:gd name="connsiteX146" fmla="*/ 797243 w 914400"/>
                <a:gd name="connsiteY146" fmla="*/ 649605 h 1733550"/>
                <a:gd name="connsiteX147" fmla="*/ 906780 w 914400"/>
                <a:gd name="connsiteY147" fmla="*/ 681038 h 1733550"/>
                <a:gd name="connsiteX148" fmla="*/ 897255 w 914400"/>
                <a:gd name="connsiteY148" fmla="*/ 693420 h 1733550"/>
                <a:gd name="connsiteX149" fmla="*/ 890587 w 914400"/>
                <a:gd name="connsiteY149" fmla="*/ 695325 h 1733550"/>
                <a:gd name="connsiteX150" fmla="*/ 880110 w 914400"/>
                <a:gd name="connsiteY150" fmla="*/ 696278 h 1733550"/>
                <a:gd name="connsiteX151" fmla="*/ 878205 w 914400"/>
                <a:gd name="connsiteY151" fmla="*/ 697230 h 1733550"/>
                <a:gd name="connsiteX152" fmla="*/ 877252 w 914400"/>
                <a:gd name="connsiteY152" fmla="*/ 698183 h 1733550"/>
                <a:gd name="connsiteX153" fmla="*/ 879158 w 914400"/>
                <a:gd name="connsiteY153" fmla="*/ 700088 h 1733550"/>
                <a:gd name="connsiteX154" fmla="*/ 888683 w 914400"/>
                <a:gd name="connsiteY154" fmla="*/ 706755 h 1733550"/>
                <a:gd name="connsiteX155" fmla="*/ 890587 w 914400"/>
                <a:gd name="connsiteY155" fmla="*/ 709613 h 1733550"/>
                <a:gd name="connsiteX156" fmla="*/ 890587 w 914400"/>
                <a:gd name="connsiteY156" fmla="*/ 712470 h 1733550"/>
                <a:gd name="connsiteX157" fmla="*/ 886777 w 914400"/>
                <a:gd name="connsiteY157" fmla="*/ 718185 h 1733550"/>
                <a:gd name="connsiteX158" fmla="*/ 882968 w 914400"/>
                <a:gd name="connsiteY158" fmla="*/ 722947 h 1733550"/>
                <a:gd name="connsiteX159" fmla="*/ 878205 w 914400"/>
                <a:gd name="connsiteY159" fmla="*/ 726758 h 1733550"/>
                <a:gd name="connsiteX160" fmla="*/ 873443 w 914400"/>
                <a:gd name="connsiteY160" fmla="*/ 729615 h 1733550"/>
                <a:gd name="connsiteX161" fmla="*/ 870585 w 914400"/>
                <a:gd name="connsiteY161" fmla="*/ 729615 h 1733550"/>
                <a:gd name="connsiteX162" fmla="*/ 857250 w 914400"/>
                <a:gd name="connsiteY162" fmla="*/ 726758 h 1733550"/>
                <a:gd name="connsiteX163" fmla="*/ 854393 w 914400"/>
                <a:gd name="connsiteY163" fmla="*/ 726758 h 1733550"/>
                <a:gd name="connsiteX164" fmla="*/ 852487 w 914400"/>
                <a:gd name="connsiteY164" fmla="*/ 727710 h 1733550"/>
                <a:gd name="connsiteX165" fmla="*/ 851535 w 914400"/>
                <a:gd name="connsiteY165" fmla="*/ 730568 h 1733550"/>
                <a:gd name="connsiteX166" fmla="*/ 845820 w 914400"/>
                <a:gd name="connsiteY166" fmla="*/ 741045 h 1733550"/>
                <a:gd name="connsiteX167" fmla="*/ 844868 w 914400"/>
                <a:gd name="connsiteY167" fmla="*/ 743903 h 1733550"/>
                <a:gd name="connsiteX168" fmla="*/ 844868 w 914400"/>
                <a:gd name="connsiteY168" fmla="*/ 747713 h 1733550"/>
                <a:gd name="connsiteX169" fmla="*/ 845820 w 914400"/>
                <a:gd name="connsiteY169" fmla="*/ 751522 h 1733550"/>
                <a:gd name="connsiteX170" fmla="*/ 847725 w 914400"/>
                <a:gd name="connsiteY170" fmla="*/ 754380 h 1733550"/>
                <a:gd name="connsiteX171" fmla="*/ 849630 w 914400"/>
                <a:gd name="connsiteY171" fmla="*/ 756285 h 1733550"/>
                <a:gd name="connsiteX172" fmla="*/ 862965 w 914400"/>
                <a:gd name="connsiteY172" fmla="*/ 762953 h 1733550"/>
                <a:gd name="connsiteX173" fmla="*/ 867727 w 914400"/>
                <a:gd name="connsiteY173" fmla="*/ 765810 h 1733550"/>
                <a:gd name="connsiteX174" fmla="*/ 871537 w 914400"/>
                <a:gd name="connsiteY174" fmla="*/ 769620 h 1733550"/>
                <a:gd name="connsiteX175" fmla="*/ 875348 w 914400"/>
                <a:gd name="connsiteY175" fmla="*/ 773430 h 1733550"/>
                <a:gd name="connsiteX176" fmla="*/ 877252 w 914400"/>
                <a:gd name="connsiteY176" fmla="*/ 778193 h 1733550"/>
                <a:gd name="connsiteX177" fmla="*/ 879158 w 914400"/>
                <a:gd name="connsiteY177" fmla="*/ 783908 h 1733550"/>
                <a:gd name="connsiteX178" fmla="*/ 879158 w 914400"/>
                <a:gd name="connsiteY178" fmla="*/ 786765 h 1733550"/>
                <a:gd name="connsiteX179" fmla="*/ 878205 w 914400"/>
                <a:gd name="connsiteY179" fmla="*/ 791528 h 1733550"/>
                <a:gd name="connsiteX180" fmla="*/ 876300 w 914400"/>
                <a:gd name="connsiteY180" fmla="*/ 797243 h 1733550"/>
                <a:gd name="connsiteX181" fmla="*/ 860108 w 914400"/>
                <a:gd name="connsiteY181" fmla="*/ 829628 h 1733550"/>
                <a:gd name="connsiteX182" fmla="*/ 855345 w 914400"/>
                <a:gd name="connsiteY182" fmla="*/ 836295 h 1733550"/>
                <a:gd name="connsiteX183" fmla="*/ 853440 w 914400"/>
                <a:gd name="connsiteY183" fmla="*/ 839153 h 1733550"/>
                <a:gd name="connsiteX184" fmla="*/ 853440 w 914400"/>
                <a:gd name="connsiteY184" fmla="*/ 842010 h 1733550"/>
                <a:gd name="connsiteX185" fmla="*/ 854393 w 914400"/>
                <a:gd name="connsiteY185" fmla="*/ 844868 h 1733550"/>
                <a:gd name="connsiteX186" fmla="*/ 856298 w 914400"/>
                <a:gd name="connsiteY186" fmla="*/ 847725 h 1733550"/>
                <a:gd name="connsiteX187" fmla="*/ 862012 w 914400"/>
                <a:gd name="connsiteY187" fmla="*/ 853440 h 1733550"/>
                <a:gd name="connsiteX188" fmla="*/ 863918 w 914400"/>
                <a:gd name="connsiteY188" fmla="*/ 855345 h 1733550"/>
                <a:gd name="connsiteX189" fmla="*/ 863918 w 914400"/>
                <a:gd name="connsiteY189" fmla="*/ 859155 h 1733550"/>
                <a:gd name="connsiteX190" fmla="*/ 862965 w 914400"/>
                <a:gd name="connsiteY190" fmla="*/ 863918 h 1733550"/>
                <a:gd name="connsiteX191" fmla="*/ 858202 w 914400"/>
                <a:gd name="connsiteY191" fmla="*/ 870585 h 1733550"/>
                <a:gd name="connsiteX192" fmla="*/ 854393 w 914400"/>
                <a:gd name="connsiteY192" fmla="*/ 873443 h 1733550"/>
                <a:gd name="connsiteX193" fmla="*/ 850583 w 914400"/>
                <a:gd name="connsiteY193" fmla="*/ 873443 h 1733550"/>
                <a:gd name="connsiteX194" fmla="*/ 845820 w 914400"/>
                <a:gd name="connsiteY194" fmla="*/ 870585 h 1733550"/>
                <a:gd name="connsiteX195" fmla="*/ 842962 w 914400"/>
                <a:gd name="connsiteY195" fmla="*/ 869633 h 1733550"/>
                <a:gd name="connsiteX196" fmla="*/ 837248 w 914400"/>
                <a:gd name="connsiteY196" fmla="*/ 870585 h 1733550"/>
                <a:gd name="connsiteX197" fmla="*/ 835343 w 914400"/>
                <a:gd name="connsiteY197" fmla="*/ 871538 h 1733550"/>
                <a:gd name="connsiteX198" fmla="*/ 833437 w 914400"/>
                <a:gd name="connsiteY198" fmla="*/ 875347 h 1733550"/>
                <a:gd name="connsiteX199" fmla="*/ 831533 w 914400"/>
                <a:gd name="connsiteY199" fmla="*/ 881063 h 1733550"/>
                <a:gd name="connsiteX200" fmla="*/ 831533 w 914400"/>
                <a:gd name="connsiteY200" fmla="*/ 893445 h 1733550"/>
                <a:gd name="connsiteX201" fmla="*/ 832485 w 914400"/>
                <a:gd name="connsiteY201" fmla="*/ 898208 h 1733550"/>
                <a:gd name="connsiteX202" fmla="*/ 833437 w 914400"/>
                <a:gd name="connsiteY202" fmla="*/ 902018 h 1733550"/>
                <a:gd name="connsiteX203" fmla="*/ 848677 w 914400"/>
                <a:gd name="connsiteY203" fmla="*/ 913447 h 1733550"/>
                <a:gd name="connsiteX204" fmla="*/ 850583 w 914400"/>
                <a:gd name="connsiteY204" fmla="*/ 915353 h 1733550"/>
                <a:gd name="connsiteX205" fmla="*/ 851535 w 914400"/>
                <a:gd name="connsiteY205" fmla="*/ 918210 h 1733550"/>
                <a:gd name="connsiteX206" fmla="*/ 851535 w 914400"/>
                <a:gd name="connsiteY206" fmla="*/ 920115 h 1733550"/>
                <a:gd name="connsiteX207" fmla="*/ 848677 w 914400"/>
                <a:gd name="connsiteY207" fmla="*/ 922972 h 1733550"/>
                <a:gd name="connsiteX208" fmla="*/ 842010 w 914400"/>
                <a:gd name="connsiteY208" fmla="*/ 927735 h 1733550"/>
                <a:gd name="connsiteX209" fmla="*/ 840105 w 914400"/>
                <a:gd name="connsiteY209" fmla="*/ 929640 h 1733550"/>
                <a:gd name="connsiteX210" fmla="*/ 839152 w 914400"/>
                <a:gd name="connsiteY210" fmla="*/ 932497 h 1733550"/>
                <a:gd name="connsiteX211" fmla="*/ 838200 w 914400"/>
                <a:gd name="connsiteY211" fmla="*/ 936307 h 1733550"/>
                <a:gd name="connsiteX212" fmla="*/ 839152 w 914400"/>
                <a:gd name="connsiteY212" fmla="*/ 942022 h 1733550"/>
                <a:gd name="connsiteX213" fmla="*/ 841058 w 914400"/>
                <a:gd name="connsiteY213" fmla="*/ 944880 h 1733550"/>
                <a:gd name="connsiteX214" fmla="*/ 842962 w 914400"/>
                <a:gd name="connsiteY214" fmla="*/ 946785 h 1733550"/>
                <a:gd name="connsiteX215" fmla="*/ 845820 w 914400"/>
                <a:gd name="connsiteY215" fmla="*/ 948690 h 1733550"/>
                <a:gd name="connsiteX216" fmla="*/ 852487 w 914400"/>
                <a:gd name="connsiteY216" fmla="*/ 949643 h 1733550"/>
                <a:gd name="connsiteX217" fmla="*/ 884873 w 914400"/>
                <a:gd name="connsiteY217" fmla="*/ 949643 h 1733550"/>
                <a:gd name="connsiteX218" fmla="*/ 886777 w 914400"/>
                <a:gd name="connsiteY218" fmla="*/ 951547 h 1733550"/>
                <a:gd name="connsiteX219" fmla="*/ 889635 w 914400"/>
                <a:gd name="connsiteY219" fmla="*/ 956310 h 1733550"/>
                <a:gd name="connsiteX220" fmla="*/ 891540 w 914400"/>
                <a:gd name="connsiteY220" fmla="*/ 961072 h 1733550"/>
                <a:gd name="connsiteX221" fmla="*/ 895350 w 914400"/>
                <a:gd name="connsiteY221" fmla="*/ 971550 h 1733550"/>
                <a:gd name="connsiteX222" fmla="*/ 895350 w 914400"/>
                <a:gd name="connsiteY222" fmla="*/ 974407 h 1733550"/>
                <a:gd name="connsiteX223" fmla="*/ 894398 w 914400"/>
                <a:gd name="connsiteY223" fmla="*/ 977265 h 1733550"/>
                <a:gd name="connsiteX224" fmla="*/ 891540 w 914400"/>
                <a:gd name="connsiteY224" fmla="*/ 979170 h 1733550"/>
                <a:gd name="connsiteX225" fmla="*/ 875348 w 914400"/>
                <a:gd name="connsiteY225" fmla="*/ 984885 h 1733550"/>
                <a:gd name="connsiteX226" fmla="*/ 873443 w 914400"/>
                <a:gd name="connsiteY226" fmla="*/ 987743 h 1733550"/>
                <a:gd name="connsiteX227" fmla="*/ 872490 w 914400"/>
                <a:gd name="connsiteY227" fmla="*/ 991553 h 1733550"/>
                <a:gd name="connsiteX228" fmla="*/ 873443 w 914400"/>
                <a:gd name="connsiteY228" fmla="*/ 996315 h 1733550"/>
                <a:gd name="connsiteX229" fmla="*/ 875348 w 914400"/>
                <a:gd name="connsiteY229" fmla="*/ 999172 h 1733550"/>
                <a:gd name="connsiteX230" fmla="*/ 877252 w 914400"/>
                <a:gd name="connsiteY230" fmla="*/ 1004888 h 1733550"/>
                <a:gd name="connsiteX231" fmla="*/ 878205 w 914400"/>
                <a:gd name="connsiteY231" fmla="*/ 1007745 h 1733550"/>
                <a:gd name="connsiteX232" fmla="*/ 879158 w 914400"/>
                <a:gd name="connsiteY232" fmla="*/ 1016318 h 1733550"/>
                <a:gd name="connsiteX233" fmla="*/ 881062 w 914400"/>
                <a:gd name="connsiteY233" fmla="*/ 1022032 h 1733550"/>
                <a:gd name="connsiteX234" fmla="*/ 885825 w 914400"/>
                <a:gd name="connsiteY234" fmla="*/ 1024890 h 1733550"/>
                <a:gd name="connsiteX235" fmla="*/ 894398 w 914400"/>
                <a:gd name="connsiteY235" fmla="*/ 1026795 h 1733550"/>
                <a:gd name="connsiteX236" fmla="*/ 896302 w 914400"/>
                <a:gd name="connsiteY236" fmla="*/ 1028700 h 1733550"/>
                <a:gd name="connsiteX237" fmla="*/ 898208 w 914400"/>
                <a:gd name="connsiteY237" fmla="*/ 1030605 h 1733550"/>
                <a:gd name="connsiteX238" fmla="*/ 899160 w 914400"/>
                <a:gd name="connsiteY238" fmla="*/ 1032510 h 1733550"/>
                <a:gd name="connsiteX239" fmla="*/ 899160 w 914400"/>
                <a:gd name="connsiteY239" fmla="*/ 1036320 h 1733550"/>
                <a:gd name="connsiteX240" fmla="*/ 898208 w 914400"/>
                <a:gd name="connsiteY240" fmla="*/ 1043940 h 1733550"/>
                <a:gd name="connsiteX241" fmla="*/ 898208 w 914400"/>
                <a:gd name="connsiteY241" fmla="*/ 1051560 h 1733550"/>
                <a:gd name="connsiteX242" fmla="*/ 900112 w 914400"/>
                <a:gd name="connsiteY242" fmla="*/ 1056323 h 1733550"/>
                <a:gd name="connsiteX243" fmla="*/ 902018 w 914400"/>
                <a:gd name="connsiteY243" fmla="*/ 1058228 h 1733550"/>
                <a:gd name="connsiteX244" fmla="*/ 908685 w 914400"/>
                <a:gd name="connsiteY244" fmla="*/ 1066800 h 1733550"/>
                <a:gd name="connsiteX245" fmla="*/ 911543 w 914400"/>
                <a:gd name="connsiteY245" fmla="*/ 1073468 h 1733550"/>
                <a:gd name="connsiteX246" fmla="*/ 911543 w 914400"/>
                <a:gd name="connsiteY246" fmla="*/ 1077278 h 1733550"/>
                <a:gd name="connsiteX247" fmla="*/ 909637 w 914400"/>
                <a:gd name="connsiteY247" fmla="*/ 1081088 h 1733550"/>
                <a:gd name="connsiteX248" fmla="*/ 905827 w 914400"/>
                <a:gd name="connsiteY248" fmla="*/ 1086803 h 1733550"/>
                <a:gd name="connsiteX249" fmla="*/ 902970 w 914400"/>
                <a:gd name="connsiteY249" fmla="*/ 1091565 h 1733550"/>
                <a:gd name="connsiteX250" fmla="*/ 901065 w 914400"/>
                <a:gd name="connsiteY250" fmla="*/ 1096328 h 1733550"/>
                <a:gd name="connsiteX251" fmla="*/ 900112 w 914400"/>
                <a:gd name="connsiteY251" fmla="*/ 1102043 h 1733550"/>
                <a:gd name="connsiteX252" fmla="*/ 901065 w 914400"/>
                <a:gd name="connsiteY252" fmla="*/ 1109663 h 1733550"/>
                <a:gd name="connsiteX253" fmla="*/ 903923 w 914400"/>
                <a:gd name="connsiteY253" fmla="*/ 1114425 h 1733550"/>
                <a:gd name="connsiteX254" fmla="*/ 909637 w 914400"/>
                <a:gd name="connsiteY254" fmla="*/ 1122998 h 1733550"/>
                <a:gd name="connsiteX255" fmla="*/ 912495 w 914400"/>
                <a:gd name="connsiteY255" fmla="*/ 1127760 h 1733550"/>
                <a:gd name="connsiteX256" fmla="*/ 913448 w 914400"/>
                <a:gd name="connsiteY256" fmla="*/ 1133475 h 1733550"/>
                <a:gd name="connsiteX257" fmla="*/ 913448 w 914400"/>
                <a:gd name="connsiteY257" fmla="*/ 1140143 h 1733550"/>
                <a:gd name="connsiteX258" fmla="*/ 913448 w 914400"/>
                <a:gd name="connsiteY258" fmla="*/ 1146810 h 1733550"/>
                <a:gd name="connsiteX259" fmla="*/ 914400 w 914400"/>
                <a:gd name="connsiteY259" fmla="*/ 1152525 h 1733550"/>
                <a:gd name="connsiteX260" fmla="*/ 915352 w 914400"/>
                <a:gd name="connsiteY260" fmla="*/ 1158240 h 1733550"/>
                <a:gd name="connsiteX261" fmla="*/ 917258 w 914400"/>
                <a:gd name="connsiteY261" fmla="*/ 1163955 h 1733550"/>
                <a:gd name="connsiteX262" fmla="*/ 918210 w 914400"/>
                <a:gd name="connsiteY262" fmla="*/ 1165860 h 1733550"/>
                <a:gd name="connsiteX263" fmla="*/ 917258 w 914400"/>
                <a:gd name="connsiteY263" fmla="*/ 1169670 h 1733550"/>
                <a:gd name="connsiteX264" fmla="*/ 915352 w 914400"/>
                <a:gd name="connsiteY264" fmla="*/ 1172528 h 1733550"/>
                <a:gd name="connsiteX265" fmla="*/ 909637 w 914400"/>
                <a:gd name="connsiteY265" fmla="*/ 1175385 h 1733550"/>
                <a:gd name="connsiteX266" fmla="*/ 905827 w 914400"/>
                <a:gd name="connsiteY266" fmla="*/ 1176338 h 1733550"/>
                <a:gd name="connsiteX267" fmla="*/ 888683 w 914400"/>
                <a:gd name="connsiteY267" fmla="*/ 1177290 h 1733550"/>
                <a:gd name="connsiteX268" fmla="*/ 876300 w 914400"/>
                <a:gd name="connsiteY268" fmla="*/ 1183005 h 1733550"/>
                <a:gd name="connsiteX269" fmla="*/ 872490 w 914400"/>
                <a:gd name="connsiteY269" fmla="*/ 1186815 h 1733550"/>
                <a:gd name="connsiteX270" fmla="*/ 862012 w 914400"/>
                <a:gd name="connsiteY270" fmla="*/ 1200150 h 1733550"/>
                <a:gd name="connsiteX271" fmla="*/ 859155 w 914400"/>
                <a:gd name="connsiteY271" fmla="*/ 1203007 h 1733550"/>
                <a:gd name="connsiteX272" fmla="*/ 853440 w 914400"/>
                <a:gd name="connsiteY272" fmla="*/ 1203960 h 1733550"/>
                <a:gd name="connsiteX273" fmla="*/ 847725 w 914400"/>
                <a:gd name="connsiteY273" fmla="*/ 1203007 h 1733550"/>
                <a:gd name="connsiteX274" fmla="*/ 842010 w 914400"/>
                <a:gd name="connsiteY274" fmla="*/ 1200150 h 1733550"/>
                <a:gd name="connsiteX275" fmla="*/ 837248 w 914400"/>
                <a:gd name="connsiteY275" fmla="*/ 1197293 h 1733550"/>
                <a:gd name="connsiteX276" fmla="*/ 826770 w 914400"/>
                <a:gd name="connsiteY276" fmla="*/ 1189673 h 1733550"/>
                <a:gd name="connsiteX277" fmla="*/ 821055 w 914400"/>
                <a:gd name="connsiteY277" fmla="*/ 1186815 h 1733550"/>
                <a:gd name="connsiteX278" fmla="*/ 811530 w 914400"/>
                <a:gd name="connsiteY278" fmla="*/ 1185863 h 1733550"/>
                <a:gd name="connsiteX279" fmla="*/ 808673 w 914400"/>
                <a:gd name="connsiteY279" fmla="*/ 1184910 h 1733550"/>
                <a:gd name="connsiteX280" fmla="*/ 802958 w 914400"/>
                <a:gd name="connsiteY280" fmla="*/ 1181100 h 1733550"/>
                <a:gd name="connsiteX281" fmla="*/ 794385 w 914400"/>
                <a:gd name="connsiteY281" fmla="*/ 1175385 h 1733550"/>
                <a:gd name="connsiteX282" fmla="*/ 786765 w 914400"/>
                <a:gd name="connsiteY282" fmla="*/ 1171575 h 1733550"/>
                <a:gd name="connsiteX283" fmla="*/ 773430 w 914400"/>
                <a:gd name="connsiteY283" fmla="*/ 1168718 h 1733550"/>
                <a:gd name="connsiteX284" fmla="*/ 770573 w 914400"/>
                <a:gd name="connsiteY284" fmla="*/ 1170623 h 1733550"/>
                <a:gd name="connsiteX285" fmla="*/ 766762 w 914400"/>
                <a:gd name="connsiteY285" fmla="*/ 1174432 h 1733550"/>
                <a:gd name="connsiteX286" fmla="*/ 755333 w 914400"/>
                <a:gd name="connsiteY286" fmla="*/ 1195388 h 1733550"/>
                <a:gd name="connsiteX287" fmla="*/ 751523 w 914400"/>
                <a:gd name="connsiteY287" fmla="*/ 1198245 h 1733550"/>
                <a:gd name="connsiteX288" fmla="*/ 748665 w 914400"/>
                <a:gd name="connsiteY288" fmla="*/ 1199198 h 1733550"/>
                <a:gd name="connsiteX289" fmla="*/ 725805 w 914400"/>
                <a:gd name="connsiteY289" fmla="*/ 1195388 h 1733550"/>
                <a:gd name="connsiteX290" fmla="*/ 713423 w 914400"/>
                <a:gd name="connsiteY290" fmla="*/ 1195388 h 1733550"/>
                <a:gd name="connsiteX291" fmla="*/ 710565 w 914400"/>
                <a:gd name="connsiteY291" fmla="*/ 1198245 h 1733550"/>
                <a:gd name="connsiteX292" fmla="*/ 706755 w 914400"/>
                <a:gd name="connsiteY292" fmla="*/ 1202055 h 1733550"/>
                <a:gd name="connsiteX293" fmla="*/ 702945 w 914400"/>
                <a:gd name="connsiteY293" fmla="*/ 1212532 h 1733550"/>
                <a:gd name="connsiteX294" fmla="*/ 701040 w 914400"/>
                <a:gd name="connsiteY294" fmla="*/ 1218248 h 1733550"/>
                <a:gd name="connsiteX295" fmla="*/ 699135 w 914400"/>
                <a:gd name="connsiteY295" fmla="*/ 1223010 h 1733550"/>
                <a:gd name="connsiteX296" fmla="*/ 698183 w 914400"/>
                <a:gd name="connsiteY296" fmla="*/ 1225868 h 1733550"/>
                <a:gd name="connsiteX297" fmla="*/ 698183 w 914400"/>
                <a:gd name="connsiteY297" fmla="*/ 1232535 h 1733550"/>
                <a:gd name="connsiteX298" fmla="*/ 697230 w 914400"/>
                <a:gd name="connsiteY298" fmla="*/ 1236345 h 1733550"/>
                <a:gd name="connsiteX299" fmla="*/ 694373 w 914400"/>
                <a:gd name="connsiteY299" fmla="*/ 1240155 h 1733550"/>
                <a:gd name="connsiteX300" fmla="*/ 685800 w 914400"/>
                <a:gd name="connsiteY300" fmla="*/ 1243965 h 1733550"/>
                <a:gd name="connsiteX301" fmla="*/ 683895 w 914400"/>
                <a:gd name="connsiteY301" fmla="*/ 1245870 h 1733550"/>
                <a:gd name="connsiteX302" fmla="*/ 681037 w 914400"/>
                <a:gd name="connsiteY302" fmla="*/ 1250632 h 1733550"/>
                <a:gd name="connsiteX303" fmla="*/ 679133 w 914400"/>
                <a:gd name="connsiteY303" fmla="*/ 1259205 h 1733550"/>
                <a:gd name="connsiteX304" fmla="*/ 676275 w 914400"/>
                <a:gd name="connsiteY304" fmla="*/ 1265873 h 1733550"/>
                <a:gd name="connsiteX305" fmla="*/ 672465 w 914400"/>
                <a:gd name="connsiteY305" fmla="*/ 1269682 h 1733550"/>
                <a:gd name="connsiteX306" fmla="*/ 668655 w 914400"/>
                <a:gd name="connsiteY306" fmla="*/ 1272540 h 1733550"/>
                <a:gd name="connsiteX307" fmla="*/ 662940 w 914400"/>
                <a:gd name="connsiteY307" fmla="*/ 1278255 h 1733550"/>
                <a:gd name="connsiteX308" fmla="*/ 659130 w 914400"/>
                <a:gd name="connsiteY308" fmla="*/ 1280160 h 1733550"/>
                <a:gd name="connsiteX309" fmla="*/ 657225 w 914400"/>
                <a:gd name="connsiteY309" fmla="*/ 1283018 h 1733550"/>
                <a:gd name="connsiteX310" fmla="*/ 656273 w 914400"/>
                <a:gd name="connsiteY310" fmla="*/ 1286828 h 1733550"/>
                <a:gd name="connsiteX311" fmla="*/ 653415 w 914400"/>
                <a:gd name="connsiteY311" fmla="*/ 1297305 h 1733550"/>
                <a:gd name="connsiteX312" fmla="*/ 650558 w 914400"/>
                <a:gd name="connsiteY312" fmla="*/ 1300163 h 1733550"/>
                <a:gd name="connsiteX313" fmla="*/ 649605 w 914400"/>
                <a:gd name="connsiteY313" fmla="*/ 1303973 h 1733550"/>
                <a:gd name="connsiteX314" fmla="*/ 649605 w 914400"/>
                <a:gd name="connsiteY314" fmla="*/ 1307782 h 1733550"/>
                <a:gd name="connsiteX315" fmla="*/ 651510 w 914400"/>
                <a:gd name="connsiteY315" fmla="*/ 1315403 h 1733550"/>
                <a:gd name="connsiteX316" fmla="*/ 653415 w 914400"/>
                <a:gd name="connsiteY316" fmla="*/ 1319213 h 1733550"/>
                <a:gd name="connsiteX317" fmla="*/ 658177 w 914400"/>
                <a:gd name="connsiteY317" fmla="*/ 1326832 h 1733550"/>
                <a:gd name="connsiteX318" fmla="*/ 659130 w 914400"/>
                <a:gd name="connsiteY318" fmla="*/ 1328738 h 1733550"/>
                <a:gd name="connsiteX319" fmla="*/ 659130 w 914400"/>
                <a:gd name="connsiteY319" fmla="*/ 1331595 h 1733550"/>
                <a:gd name="connsiteX320" fmla="*/ 658177 w 914400"/>
                <a:gd name="connsiteY320" fmla="*/ 1335405 h 1733550"/>
                <a:gd name="connsiteX321" fmla="*/ 655320 w 914400"/>
                <a:gd name="connsiteY321" fmla="*/ 1339215 h 1733550"/>
                <a:gd name="connsiteX322" fmla="*/ 652462 w 914400"/>
                <a:gd name="connsiteY322" fmla="*/ 1341120 h 1733550"/>
                <a:gd name="connsiteX323" fmla="*/ 647700 w 914400"/>
                <a:gd name="connsiteY323" fmla="*/ 1343978 h 1733550"/>
                <a:gd name="connsiteX324" fmla="*/ 645795 w 914400"/>
                <a:gd name="connsiteY324" fmla="*/ 1345882 h 1733550"/>
                <a:gd name="connsiteX325" fmla="*/ 644843 w 914400"/>
                <a:gd name="connsiteY325" fmla="*/ 1349693 h 1733550"/>
                <a:gd name="connsiteX326" fmla="*/ 645795 w 914400"/>
                <a:gd name="connsiteY326" fmla="*/ 1353503 h 1733550"/>
                <a:gd name="connsiteX327" fmla="*/ 647700 w 914400"/>
                <a:gd name="connsiteY327" fmla="*/ 1362075 h 1733550"/>
                <a:gd name="connsiteX328" fmla="*/ 653415 w 914400"/>
                <a:gd name="connsiteY328" fmla="*/ 1371600 h 1733550"/>
                <a:gd name="connsiteX329" fmla="*/ 657225 w 914400"/>
                <a:gd name="connsiteY329" fmla="*/ 1384935 h 1733550"/>
                <a:gd name="connsiteX330" fmla="*/ 659130 w 914400"/>
                <a:gd name="connsiteY330" fmla="*/ 1396365 h 1733550"/>
                <a:gd name="connsiteX331" fmla="*/ 660083 w 914400"/>
                <a:gd name="connsiteY331" fmla="*/ 1402080 h 1733550"/>
                <a:gd name="connsiteX332" fmla="*/ 661987 w 914400"/>
                <a:gd name="connsiteY332" fmla="*/ 1445895 h 1733550"/>
                <a:gd name="connsiteX333" fmla="*/ 663893 w 914400"/>
                <a:gd name="connsiteY333" fmla="*/ 1456373 h 1733550"/>
                <a:gd name="connsiteX334" fmla="*/ 667702 w 914400"/>
                <a:gd name="connsiteY334" fmla="*/ 1466850 h 1733550"/>
                <a:gd name="connsiteX335" fmla="*/ 670560 w 914400"/>
                <a:gd name="connsiteY335" fmla="*/ 1471613 h 1733550"/>
                <a:gd name="connsiteX336" fmla="*/ 673418 w 914400"/>
                <a:gd name="connsiteY336" fmla="*/ 1476375 h 1733550"/>
                <a:gd name="connsiteX337" fmla="*/ 673418 w 914400"/>
                <a:gd name="connsiteY337" fmla="*/ 1479232 h 1733550"/>
                <a:gd name="connsiteX338" fmla="*/ 673418 w 914400"/>
                <a:gd name="connsiteY338" fmla="*/ 1482090 h 1733550"/>
                <a:gd name="connsiteX339" fmla="*/ 670560 w 914400"/>
                <a:gd name="connsiteY339" fmla="*/ 1484948 h 1733550"/>
                <a:gd name="connsiteX340" fmla="*/ 667702 w 914400"/>
                <a:gd name="connsiteY340" fmla="*/ 1484948 h 1733550"/>
                <a:gd name="connsiteX341" fmla="*/ 661987 w 914400"/>
                <a:gd name="connsiteY341" fmla="*/ 1484948 h 1733550"/>
                <a:gd name="connsiteX342" fmla="*/ 659130 w 914400"/>
                <a:gd name="connsiteY342" fmla="*/ 1485900 h 1733550"/>
                <a:gd name="connsiteX343" fmla="*/ 658177 w 914400"/>
                <a:gd name="connsiteY343" fmla="*/ 1488757 h 1733550"/>
                <a:gd name="connsiteX344" fmla="*/ 658177 w 914400"/>
                <a:gd name="connsiteY344" fmla="*/ 1496378 h 1733550"/>
                <a:gd name="connsiteX345" fmla="*/ 659130 w 914400"/>
                <a:gd name="connsiteY345" fmla="*/ 1504950 h 1733550"/>
                <a:gd name="connsiteX346" fmla="*/ 661035 w 914400"/>
                <a:gd name="connsiteY346" fmla="*/ 1508760 h 1733550"/>
                <a:gd name="connsiteX347" fmla="*/ 661035 w 914400"/>
                <a:gd name="connsiteY347" fmla="*/ 1512570 h 1733550"/>
                <a:gd name="connsiteX348" fmla="*/ 660083 w 914400"/>
                <a:gd name="connsiteY348" fmla="*/ 1530668 h 1733550"/>
                <a:gd name="connsiteX349" fmla="*/ 656273 w 914400"/>
                <a:gd name="connsiteY349" fmla="*/ 1550670 h 1733550"/>
                <a:gd name="connsiteX350" fmla="*/ 644843 w 914400"/>
                <a:gd name="connsiteY350" fmla="*/ 1593532 h 1733550"/>
                <a:gd name="connsiteX351" fmla="*/ 638175 w 914400"/>
                <a:gd name="connsiteY351" fmla="*/ 1598295 h 1733550"/>
                <a:gd name="connsiteX352" fmla="*/ 631508 w 914400"/>
                <a:gd name="connsiteY352" fmla="*/ 1611630 h 1733550"/>
                <a:gd name="connsiteX353" fmla="*/ 625793 w 914400"/>
                <a:gd name="connsiteY353" fmla="*/ 1616393 h 1733550"/>
                <a:gd name="connsiteX354" fmla="*/ 619125 w 914400"/>
                <a:gd name="connsiteY354" fmla="*/ 1617345 h 1733550"/>
                <a:gd name="connsiteX355" fmla="*/ 614362 w 914400"/>
                <a:gd name="connsiteY355" fmla="*/ 1613535 h 1733550"/>
                <a:gd name="connsiteX356" fmla="*/ 609600 w 914400"/>
                <a:gd name="connsiteY356" fmla="*/ 1608773 h 1733550"/>
                <a:gd name="connsiteX357" fmla="*/ 604837 w 914400"/>
                <a:gd name="connsiteY357" fmla="*/ 1604963 h 1733550"/>
                <a:gd name="connsiteX358" fmla="*/ 583883 w 914400"/>
                <a:gd name="connsiteY358" fmla="*/ 1601153 h 1733550"/>
                <a:gd name="connsiteX359" fmla="*/ 572452 w 914400"/>
                <a:gd name="connsiteY359" fmla="*/ 1603057 h 1733550"/>
                <a:gd name="connsiteX360" fmla="*/ 573405 w 914400"/>
                <a:gd name="connsiteY360" fmla="*/ 1613535 h 1733550"/>
                <a:gd name="connsiteX361" fmla="*/ 578168 w 914400"/>
                <a:gd name="connsiteY361" fmla="*/ 1616393 h 1733550"/>
                <a:gd name="connsiteX362" fmla="*/ 583883 w 914400"/>
                <a:gd name="connsiteY362" fmla="*/ 1617345 h 1733550"/>
                <a:gd name="connsiteX363" fmla="*/ 586740 w 914400"/>
                <a:gd name="connsiteY363" fmla="*/ 1621155 h 1733550"/>
                <a:gd name="connsiteX364" fmla="*/ 586740 w 914400"/>
                <a:gd name="connsiteY364" fmla="*/ 1631632 h 1733550"/>
                <a:gd name="connsiteX365" fmla="*/ 583883 w 914400"/>
                <a:gd name="connsiteY365" fmla="*/ 1638300 h 1733550"/>
                <a:gd name="connsiteX366" fmla="*/ 580073 w 914400"/>
                <a:gd name="connsiteY366" fmla="*/ 1641157 h 1733550"/>
                <a:gd name="connsiteX367" fmla="*/ 574358 w 914400"/>
                <a:gd name="connsiteY367" fmla="*/ 1642110 h 1733550"/>
                <a:gd name="connsiteX368" fmla="*/ 568643 w 914400"/>
                <a:gd name="connsiteY368" fmla="*/ 1643063 h 1733550"/>
                <a:gd name="connsiteX369" fmla="*/ 561975 w 914400"/>
                <a:gd name="connsiteY369" fmla="*/ 1641157 h 1733550"/>
                <a:gd name="connsiteX370" fmla="*/ 550545 w 914400"/>
                <a:gd name="connsiteY370" fmla="*/ 1633538 h 1733550"/>
                <a:gd name="connsiteX371" fmla="*/ 544830 w 914400"/>
                <a:gd name="connsiteY371" fmla="*/ 1631632 h 1733550"/>
                <a:gd name="connsiteX372" fmla="*/ 526733 w 914400"/>
                <a:gd name="connsiteY372" fmla="*/ 1631632 h 1733550"/>
                <a:gd name="connsiteX373" fmla="*/ 523875 w 914400"/>
                <a:gd name="connsiteY373" fmla="*/ 1634490 h 1733550"/>
                <a:gd name="connsiteX374" fmla="*/ 517208 w 914400"/>
                <a:gd name="connsiteY374" fmla="*/ 1644968 h 1733550"/>
                <a:gd name="connsiteX375" fmla="*/ 514350 w 914400"/>
                <a:gd name="connsiteY375" fmla="*/ 1648778 h 1733550"/>
                <a:gd name="connsiteX376" fmla="*/ 508635 w 914400"/>
                <a:gd name="connsiteY376" fmla="*/ 1649730 h 1733550"/>
                <a:gd name="connsiteX377" fmla="*/ 485775 w 914400"/>
                <a:gd name="connsiteY377" fmla="*/ 1647825 h 1733550"/>
                <a:gd name="connsiteX378" fmla="*/ 475298 w 914400"/>
                <a:gd name="connsiteY378" fmla="*/ 1644015 h 1733550"/>
                <a:gd name="connsiteX379" fmla="*/ 468630 w 914400"/>
                <a:gd name="connsiteY379" fmla="*/ 1643063 h 1733550"/>
                <a:gd name="connsiteX380" fmla="*/ 465773 w 914400"/>
                <a:gd name="connsiteY380" fmla="*/ 1644968 h 1733550"/>
                <a:gd name="connsiteX381" fmla="*/ 463867 w 914400"/>
                <a:gd name="connsiteY381" fmla="*/ 1647825 h 1733550"/>
                <a:gd name="connsiteX382" fmla="*/ 461962 w 914400"/>
                <a:gd name="connsiteY382" fmla="*/ 1648778 h 1733550"/>
                <a:gd name="connsiteX383" fmla="*/ 458152 w 914400"/>
                <a:gd name="connsiteY383" fmla="*/ 1645920 h 1733550"/>
                <a:gd name="connsiteX384" fmla="*/ 451485 w 914400"/>
                <a:gd name="connsiteY384" fmla="*/ 1637348 h 1733550"/>
                <a:gd name="connsiteX385" fmla="*/ 431483 w 914400"/>
                <a:gd name="connsiteY385" fmla="*/ 1632585 h 1733550"/>
                <a:gd name="connsiteX386" fmla="*/ 420052 w 914400"/>
                <a:gd name="connsiteY386" fmla="*/ 1632585 h 1733550"/>
                <a:gd name="connsiteX387" fmla="*/ 409575 w 914400"/>
                <a:gd name="connsiteY387" fmla="*/ 1637348 h 1733550"/>
                <a:gd name="connsiteX388" fmla="*/ 401955 w 914400"/>
                <a:gd name="connsiteY388" fmla="*/ 1646873 h 1733550"/>
                <a:gd name="connsiteX389" fmla="*/ 396240 w 914400"/>
                <a:gd name="connsiteY389" fmla="*/ 1656398 h 1733550"/>
                <a:gd name="connsiteX390" fmla="*/ 388620 w 914400"/>
                <a:gd name="connsiteY390" fmla="*/ 1663065 h 1733550"/>
                <a:gd name="connsiteX391" fmla="*/ 375285 w 914400"/>
                <a:gd name="connsiteY391" fmla="*/ 1664970 h 1733550"/>
                <a:gd name="connsiteX392" fmla="*/ 365760 w 914400"/>
                <a:gd name="connsiteY392" fmla="*/ 1660207 h 1733550"/>
                <a:gd name="connsiteX393" fmla="*/ 358140 w 914400"/>
                <a:gd name="connsiteY393" fmla="*/ 1648778 h 1733550"/>
                <a:gd name="connsiteX394" fmla="*/ 355283 w 914400"/>
                <a:gd name="connsiteY394" fmla="*/ 1632585 h 1733550"/>
                <a:gd name="connsiteX395" fmla="*/ 359092 w 914400"/>
                <a:gd name="connsiteY395" fmla="*/ 1616393 h 1733550"/>
                <a:gd name="connsiteX396" fmla="*/ 353377 w 914400"/>
                <a:gd name="connsiteY396" fmla="*/ 1612582 h 1733550"/>
                <a:gd name="connsiteX397" fmla="*/ 347662 w 914400"/>
                <a:gd name="connsiteY397" fmla="*/ 1610678 h 1733550"/>
                <a:gd name="connsiteX398" fmla="*/ 342900 w 914400"/>
                <a:gd name="connsiteY398" fmla="*/ 1611630 h 1733550"/>
                <a:gd name="connsiteX399" fmla="*/ 337185 w 914400"/>
                <a:gd name="connsiteY399" fmla="*/ 1616393 h 1733550"/>
                <a:gd name="connsiteX400" fmla="*/ 334327 w 914400"/>
                <a:gd name="connsiteY400" fmla="*/ 1623060 h 1733550"/>
                <a:gd name="connsiteX401" fmla="*/ 338137 w 914400"/>
                <a:gd name="connsiteY401" fmla="*/ 1634490 h 1733550"/>
                <a:gd name="connsiteX402" fmla="*/ 337185 w 914400"/>
                <a:gd name="connsiteY402" fmla="*/ 1643063 h 1733550"/>
                <a:gd name="connsiteX403" fmla="*/ 329565 w 914400"/>
                <a:gd name="connsiteY403" fmla="*/ 1656398 h 1733550"/>
                <a:gd name="connsiteX404" fmla="*/ 321945 w 914400"/>
                <a:gd name="connsiteY404" fmla="*/ 1657350 h 1733550"/>
                <a:gd name="connsiteX405" fmla="*/ 317183 w 914400"/>
                <a:gd name="connsiteY405" fmla="*/ 1647825 h 1733550"/>
                <a:gd name="connsiteX406" fmla="*/ 315277 w 914400"/>
                <a:gd name="connsiteY406" fmla="*/ 1634490 h 1733550"/>
                <a:gd name="connsiteX407" fmla="*/ 312420 w 914400"/>
                <a:gd name="connsiteY407" fmla="*/ 1626870 h 1733550"/>
                <a:gd name="connsiteX408" fmla="*/ 306705 w 914400"/>
                <a:gd name="connsiteY408" fmla="*/ 1621155 h 1733550"/>
                <a:gd name="connsiteX409" fmla="*/ 300038 w 914400"/>
                <a:gd name="connsiteY409" fmla="*/ 1622107 h 1733550"/>
                <a:gd name="connsiteX410" fmla="*/ 297180 w 914400"/>
                <a:gd name="connsiteY410" fmla="*/ 1629728 h 1733550"/>
                <a:gd name="connsiteX411" fmla="*/ 299085 w 914400"/>
                <a:gd name="connsiteY411" fmla="*/ 1635443 h 1733550"/>
                <a:gd name="connsiteX412" fmla="*/ 309563 w 914400"/>
                <a:gd name="connsiteY412" fmla="*/ 1646873 h 1733550"/>
                <a:gd name="connsiteX413" fmla="*/ 311467 w 914400"/>
                <a:gd name="connsiteY413" fmla="*/ 1651635 h 1733550"/>
                <a:gd name="connsiteX414" fmla="*/ 308610 w 914400"/>
                <a:gd name="connsiteY414" fmla="*/ 1664970 h 1733550"/>
                <a:gd name="connsiteX415" fmla="*/ 302895 w 914400"/>
                <a:gd name="connsiteY415" fmla="*/ 1669732 h 1733550"/>
                <a:gd name="connsiteX416" fmla="*/ 294322 w 914400"/>
                <a:gd name="connsiteY416" fmla="*/ 1668780 h 1733550"/>
                <a:gd name="connsiteX417" fmla="*/ 286702 w 914400"/>
                <a:gd name="connsiteY417" fmla="*/ 1664970 h 1733550"/>
                <a:gd name="connsiteX418" fmla="*/ 267652 w 914400"/>
                <a:gd name="connsiteY418" fmla="*/ 1650682 h 1733550"/>
                <a:gd name="connsiteX419" fmla="*/ 255270 w 914400"/>
                <a:gd name="connsiteY419" fmla="*/ 1647825 h 1733550"/>
                <a:gd name="connsiteX420" fmla="*/ 244792 w 914400"/>
                <a:gd name="connsiteY420" fmla="*/ 1656398 h 1733550"/>
                <a:gd name="connsiteX421" fmla="*/ 245745 w 914400"/>
                <a:gd name="connsiteY421" fmla="*/ 1664970 h 1733550"/>
                <a:gd name="connsiteX422" fmla="*/ 256222 w 914400"/>
                <a:gd name="connsiteY422" fmla="*/ 1670685 h 1733550"/>
                <a:gd name="connsiteX423" fmla="*/ 275272 w 914400"/>
                <a:gd name="connsiteY423" fmla="*/ 1676400 h 1733550"/>
                <a:gd name="connsiteX424" fmla="*/ 284797 w 914400"/>
                <a:gd name="connsiteY424" fmla="*/ 1683068 h 1733550"/>
                <a:gd name="connsiteX425" fmla="*/ 293370 w 914400"/>
                <a:gd name="connsiteY425" fmla="*/ 1691640 h 1733550"/>
                <a:gd name="connsiteX426" fmla="*/ 295275 w 914400"/>
                <a:gd name="connsiteY426" fmla="*/ 1700213 h 1733550"/>
                <a:gd name="connsiteX427" fmla="*/ 284797 w 914400"/>
                <a:gd name="connsiteY427" fmla="*/ 1703070 h 1733550"/>
                <a:gd name="connsiteX428" fmla="*/ 266700 w 914400"/>
                <a:gd name="connsiteY428" fmla="*/ 1704023 h 1733550"/>
                <a:gd name="connsiteX429" fmla="*/ 260985 w 914400"/>
                <a:gd name="connsiteY429" fmla="*/ 1703070 h 1733550"/>
                <a:gd name="connsiteX430" fmla="*/ 259080 w 914400"/>
                <a:gd name="connsiteY430" fmla="*/ 1700213 h 1733550"/>
                <a:gd name="connsiteX431" fmla="*/ 256222 w 914400"/>
                <a:gd name="connsiteY431" fmla="*/ 1694498 h 1733550"/>
                <a:gd name="connsiteX432" fmla="*/ 252413 w 914400"/>
                <a:gd name="connsiteY432" fmla="*/ 1690688 h 1733550"/>
                <a:gd name="connsiteX433" fmla="*/ 246697 w 914400"/>
                <a:gd name="connsiteY433" fmla="*/ 1691640 h 1733550"/>
                <a:gd name="connsiteX434" fmla="*/ 241935 w 914400"/>
                <a:gd name="connsiteY434" fmla="*/ 1703070 h 1733550"/>
                <a:gd name="connsiteX435" fmla="*/ 249555 w 914400"/>
                <a:gd name="connsiteY435" fmla="*/ 1730693 h 1733550"/>
                <a:gd name="connsiteX436" fmla="*/ 240983 w 914400"/>
                <a:gd name="connsiteY436" fmla="*/ 1735455 h 1733550"/>
                <a:gd name="connsiteX437" fmla="*/ 229552 w 914400"/>
                <a:gd name="connsiteY437" fmla="*/ 1734503 h 1733550"/>
                <a:gd name="connsiteX438" fmla="*/ 220980 w 914400"/>
                <a:gd name="connsiteY438" fmla="*/ 1731645 h 1733550"/>
                <a:gd name="connsiteX439" fmla="*/ 213360 w 914400"/>
                <a:gd name="connsiteY439" fmla="*/ 1724978 h 1733550"/>
                <a:gd name="connsiteX440" fmla="*/ 206692 w 914400"/>
                <a:gd name="connsiteY440" fmla="*/ 1714500 h 1733550"/>
                <a:gd name="connsiteX441" fmla="*/ 197167 w 914400"/>
                <a:gd name="connsiteY441" fmla="*/ 1691640 h 1733550"/>
                <a:gd name="connsiteX442" fmla="*/ 193358 w 914400"/>
                <a:gd name="connsiteY442" fmla="*/ 1685925 h 1733550"/>
                <a:gd name="connsiteX443" fmla="*/ 180022 w 914400"/>
                <a:gd name="connsiteY443" fmla="*/ 1672590 h 1733550"/>
                <a:gd name="connsiteX444" fmla="*/ 169545 w 914400"/>
                <a:gd name="connsiteY444" fmla="*/ 1666875 h 1733550"/>
                <a:gd name="connsiteX445" fmla="*/ 144780 w 914400"/>
                <a:gd name="connsiteY445" fmla="*/ 1673543 h 1733550"/>
                <a:gd name="connsiteX446" fmla="*/ 135255 w 914400"/>
                <a:gd name="connsiteY446" fmla="*/ 1669732 h 1733550"/>
                <a:gd name="connsiteX447" fmla="*/ 122872 w 914400"/>
                <a:gd name="connsiteY447" fmla="*/ 1684020 h 1733550"/>
                <a:gd name="connsiteX448" fmla="*/ 114300 w 914400"/>
                <a:gd name="connsiteY448" fmla="*/ 1664970 h 1733550"/>
                <a:gd name="connsiteX449" fmla="*/ 110490 w 914400"/>
                <a:gd name="connsiteY449" fmla="*/ 1654493 h 1733550"/>
                <a:gd name="connsiteX450" fmla="*/ 108585 w 914400"/>
                <a:gd name="connsiteY450" fmla="*/ 1647825 h 1733550"/>
                <a:gd name="connsiteX451" fmla="*/ 109538 w 914400"/>
                <a:gd name="connsiteY451" fmla="*/ 1644968 h 1733550"/>
                <a:gd name="connsiteX452" fmla="*/ 114300 w 914400"/>
                <a:gd name="connsiteY452" fmla="*/ 1643063 h 1733550"/>
                <a:gd name="connsiteX453" fmla="*/ 116205 w 914400"/>
                <a:gd name="connsiteY453" fmla="*/ 1642110 h 1733550"/>
                <a:gd name="connsiteX454" fmla="*/ 118110 w 914400"/>
                <a:gd name="connsiteY454" fmla="*/ 1638300 h 1733550"/>
                <a:gd name="connsiteX455" fmla="*/ 116205 w 914400"/>
                <a:gd name="connsiteY455" fmla="*/ 1636395 h 1733550"/>
                <a:gd name="connsiteX456" fmla="*/ 109538 w 914400"/>
                <a:gd name="connsiteY456" fmla="*/ 1632585 h 1733550"/>
                <a:gd name="connsiteX457" fmla="*/ 104775 w 914400"/>
                <a:gd name="connsiteY457" fmla="*/ 1627823 h 1733550"/>
                <a:gd name="connsiteX458" fmla="*/ 101917 w 914400"/>
                <a:gd name="connsiteY458" fmla="*/ 1625918 h 1733550"/>
                <a:gd name="connsiteX459" fmla="*/ 91440 w 914400"/>
                <a:gd name="connsiteY459" fmla="*/ 1619250 h 1733550"/>
                <a:gd name="connsiteX460" fmla="*/ 87630 w 914400"/>
                <a:gd name="connsiteY460" fmla="*/ 1617345 h 1733550"/>
                <a:gd name="connsiteX461" fmla="*/ 83820 w 914400"/>
                <a:gd name="connsiteY461" fmla="*/ 1613535 h 1733550"/>
                <a:gd name="connsiteX462" fmla="*/ 82867 w 914400"/>
                <a:gd name="connsiteY462" fmla="*/ 1609725 h 1733550"/>
                <a:gd name="connsiteX463" fmla="*/ 82867 w 914400"/>
                <a:gd name="connsiteY463" fmla="*/ 1606868 h 1733550"/>
                <a:gd name="connsiteX464" fmla="*/ 83820 w 914400"/>
                <a:gd name="connsiteY464" fmla="*/ 1604010 h 1733550"/>
                <a:gd name="connsiteX465" fmla="*/ 87630 w 914400"/>
                <a:gd name="connsiteY465" fmla="*/ 1596390 h 1733550"/>
                <a:gd name="connsiteX466" fmla="*/ 88583 w 914400"/>
                <a:gd name="connsiteY466" fmla="*/ 1591628 h 1733550"/>
                <a:gd name="connsiteX467" fmla="*/ 88583 w 914400"/>
                <a:gd name="connsiteY467" fmla="*/ 1583055 h 1733550"/>
                <a:gd name="connsiteX468" fmla="*/ 86677 w 914400"/>
                <a:gd name="connsiteY468" fmla="*/ 1582103 h 1733550"/>
                <a:gd name="connsiteX469" fmla="*/ 85725 w 914400"/>
                <a:gd name="connsiteY469" fmla="*/ 1583055 h 1733550"/>
                <a:gd name="connsiteX470" fmla="*/ 81915 w 914400"/>
                <a:gd name="connsiteY470" fmla="*/ 1586865 h 1733550"/>
                <a:gd name="connsiteX471" fmla="*/ 80010 w 914400"/>
                <a:gd name="connsiteY471" fmla="*/ 1588770 h 1733550"/>
                <a:gd name="connsiteX472" fmla="*/ 77152 w 914400"/>
                <a:gd name="connsiteY472" fmla="*/ 1587818 h 1733550"/>
                <a:gd name="connsiteX473" fmla="*/ 72390 w 914400"/>
                <a:gd name="connsiteY473" fmla="*/ 1584960 h 1733550"/>
                <a:gd name="connsiteX474" fmla="*/ 70485 w 914400"/>
                <a:gd name="connsiteY474" fmla="*/ 1581150 h 1733550"/>
                <a:gd name="connsiteX475" fmla="*/ 70485 w 914400"/>
                <a:gd name="connsiteY475" fmla="*/ 1578293 h 1733550"/>
                <a:gd name="connsiteX476" fmla="*/ 71438 w 914400"/>
                <a:gd name="connsiteY476" fmla="*/ 1570673 h 1733550"/>
                <a:gd name="connsiteX477" fmla="*/ 70485 w 914400"/>
                <a:gd name="connsiteY477" fmla="*/ 1568768 h 1733550"/>
                <a:gd name="connsiteX478" fmla="*/ 67627 w 914400"/>
                <a:gd name="connsiteY478" fmla="*/ 1567815 h 1733550"/>
                <a:gd name="connsiteX479" fmla="*/ 64770 w 914400"/>
                <a:gd name="connsiteY479" fmla="*/ 1566863 h 1733550"/>
                <a:gd name="connsiteX480" fmla="*/ 60008 w 914400"/>
                <a:gd name="connsiteY480" fmla="*/ 1565910 h 1733550"/>
                <a:gd name="connsiteX481" fmla="*/ 56197 w 914400"/>
                <a:gd name="connsiteY481" fmla="*/ 1564005 h 1733550"/>
                <a:gd name="connsiteX482" fmla="*/ 49530 w 914400"/>
                <a:gd name="connsiteY482" fmla="*/ 1558290 h 1733550"/>
                <a:gd name="connsiteX483" fmla="*/ 46672 w 914400"/>
                <a:gd name="connsiteY483" fmla="*/ 1553528 h 1733550"/>
                <a:gd name="connsiteX484" fmla="*/ 45720 w 914400"/>
                <a:gd name="connsiteY484" fmla="*/ 1549718 h 1733550"/>
                <a:gd name="connsiteX485" fmla="*/ 46672 w 914400"/>
                <a:gd name="connsiteY485" fmla="*/ 1543050 h 1733550"/>
                <a:gd name="connsiteX486" fmla="*/ 49530 w 914400"/>
                <a:gd name="connsiteY486" fmla="*/ 1534478 h 1733550"/>
                <a:gd name="connsiteX487" fmla="*/ 50483 w 914400"/>
                <a:gd name="connsiteY487" fmla="*/ 1527810 h 1733550"/>
                <a:gd name="connsiteX488" fmla="*/ 50483 w 914400"/>
                <a:gd name="connsiteY488" fmla="*/ 1511618 h 1733550"/>
                <a:gd name="connsiteX489" fmla="*/ 51435 w 914400"/>
                <a:gd name="connsiteY489" fmla="*/ 1505903 h 1733550"/>
                <a:gd name="connsiteX490" fmla="*/ 53340 w 914400"/>
                <a:gd name="connsiteY490" fmla="*/ 1500188 h 1733550"/>
                <a:gd name="connsiteX491" fmla="*/ 54292 w 914400"/>
                <a:gd name="connsiteY491" fmla="*/ 1495425 h 1733550"/>
                <a:gd name="connsiteX492" fmla="*/ 53340 w 914400"/>
                <a:gd name="connsiteY492" fmla="*/ 1492568 h 1733550"/>
                <a:gd name="connsiteX493" fmla="*/ 50483 w 914400"/>
                <a:gd name="connsiteY493" fmla="*/ 1488757 h 1733550"/>
                <a:gd name="connsiteX494" fmla="*/ 43815 w 914400"/>
                <a:gd name="connsiteY494" fmla="*/ 1481138 h 1733550"/>
                <a:gd name="connsiteX495" fmla="*/ 42863 w 914400"/>
                <a:gd name="connsiteY495" fmla="*/ 1477328 h 1733550"/>
                <a:gd name="connsiteX496" fmla="*/ 41910 w 914400"/>
                <a:gd name="connsiteY496" fmla="*/ 1474470 h 1733550"/>
                <a:gd name="connsiteX497" fmla="*/ 43815 w 914400"/>
                <a:gd name="connsiteY497" fmla="*/ 1471613 h 1733550"/>
                <a:gd name="connsiteX498" fmla="*/ 47625 w 914400"/>
                <a:gd name="connsiteY498" fmla="*/ 1464945 h 1733550"/>
                <a:gd name="connsiteX499" fmla="*/ 48577 w 914400"/>
                <a:gd name="connsiteY499" fmla="*/ 1459230 h 1733550"/>
                <a:gd name="connsiteX500" fmla="*/ 49530 w 914400"/>
                <a:gd name="connsiteY500" fmla="*/ 1457325 h 1733550"/>
                <a:gd name="connsiteX501" fmla="*/ 51435 w 914400"/>
                <a:gd name="connsiteY501" fmla="*/ 1456373 h 1733550"/>
                <a:gd name="connsiteX502" fmla="*/ 57150 w 914400"/>
                <a:gd name="connsiteY502" fmla="*/ 1455420 h 1733550"/>
                <a:gd name="connsiteX503" fmla="*/ 60008 w 914400"/>
                <a:gd name="connsiteY503" fmla="*/ 1453515 h 1733550"/>
                <a:gd name="connsiteX504" fmla="*/ 60960 w 914400"/>
                <a:gd name="connsiteY504" fmla="*/ 1450657 h 1733550"/>
                <a:gd name="connsiteX505" fmla="*/ 60960 w 914400"/>
                <a:gd name="connsiteY505" fmla="*/ 1448753 h 1733550"/>
                <a:gd name="connsiteX506" fmla="*/ 58102 w 914400"/>
                <a:gd name="connsiteY506" fmla="*/ 1446848 h 1733550"/>
                <a:gd name="connsiteX507" fmla="*/ 47625 w 914400"/>
                <a:gd name="connsiteY507" fmla="*/ 1443038 h 1733550"/>
                <a:gd name="connsiteX508" fmla="*/ 43815 w 914400"/>
                <a:gd name="connsiteY508" fmla="*/ 1439228 h 1733550"/>
                <a:gd name="connsiteX509" fmla="*/ 36195 w 914400"/>
                <a:gd name="connsiteY509" fmla="*/ 1427798 h 1733550"/>
                <a:gd name="connsiteX510" fmla="*/ 35242 w 914400"/>
                <a:gd name="connsiteY510" fmla="*/ 1423988 h 1733550"/>
                <a:gd name="connsiteX511" fmla="*/ 35242 w 914400"/>
                <a:gd name="connsiteY511" fmla="*/ 1420178 h 1733550"/>
                <a:gd name="connsiteX512" fmla="*/ 37147 w 914400"/>
                <a:gd name="connsiteY512" fmla="*/ 1394460 h 1733550"/>
                <a:gd name="connsiteX513" fmla="*/ 39052 w 914400"/>
                <a:gd name="connsiteY513" fmla="*/ 1383982 h 1733550"/>
                <a:gd name="connsiteX514" fmla="*/ 39052 w 914400"/>
                <a:gd name="connsiteY514" fmla="*/ 1380173 h 1733550"/>
                <a:gd name="connsiteX515" fmla="*/ 38100 w 914400"/>
                <a:gd name="connsiteY515" fmla="*/ 1377315 h 1733550"/>
                <a:gd name="connsiteX516" fmla="*/ 36195 w 914400"/>
                <a:gd name="connsiteY516" fmla="*/ 1375410 h 1733550"/>
                <a:gd name="connsiteX517" fmla="*/ 28575 w 914400"/>
                <a:gd name="connsiteY517" fmla="*/ 1377315 h 1733550"/>
                <a:gd name="connsiteX518" fmla="*/ 24765 w 914400"/>
                <a:gd name="connsiteY518" fmla="*/ 1377315 h 1733550"/>
                <a:gd name="connsiteX519" fmla="*/ 23813 w 914400"/>
                <a:gd name="connsiteY519" fmla="*/ 1375410 h 1733550"/>
                <a:gd name="connsiteX520" fmla="*/ 23813 w 914400"/>
                <a:gd name="connsiteY520" fmla="*/ 1372553 h 1733550"/>
                <a:gd name="connsiteX521" fmla="*/ 23813 w 914400"/>
                <a:gd name="connsiteY521" fmla="*/ 1369695 h 1733550"/>
                <a:gd name="connsiteX522" fmla="*/ 27622 w 914400"/>
                <a:gd name="connsiteY522" fmla="*/ 1361123 h 1733550"/>
                <a:gd name="connsiteX523" fmla="*/ 28575 w 914400"/>
                <a:gd name="connsiteY523" fmla="*/ 1356360 h 1733550"/>
                <a:gd name="connsiteX524" fmla="*/ 28575 w 914400"/>
                <a:gd name="connsiteY524" fmla="*/ 1349693 h 1733550"/>
                <a:gd name="connsiteX525" fmla="*/ 27622 w 914400"/>
                <a:gd name="connsiteY525" fmla="*/ 1344930 h 1733550"/>
                <a:gd name="connsiteX526" fmla="*/ 25717 w 914400"/>
                <a:gd name="connsiteY526" fmla="*/ 1342073 h 1733550"/>
                <a:gd name="connsiteX527" fmla="*/ 21908 w 914400"/>
                <a:gd name="connsiteY527" fmla="*/ 1335405 h 1733550"/>
                <a:gd name="connsiteX528" fmla="*/ 20955 w 914400"/>
                <a:gd name="connsiteY528" fmla="*/ 1331595 h 1733550"/>
                <a:gd name="connsiteX529" fmla="*/ 22860 w 914400"/>
                <a:gd name="connsiteY529" fmla="*/ 1329690 h 1733550"/>
                <a:gd name="connsiteX530" fmla="*/ 27622 w 914400"/>
                <a:gd name="connsiteY530" fmla="*/ 1326832 h 1733550"/>
                <a:gd name="connsiteX531" fmla="*/ 29527 w 914400"/>
                <a:gd name="connsiteY531" fmla="*/ 1324928 h 1733550"/>
                <a:gd name="connsiteX532" fmla="*/ 30480 w 914400"/>
                <a:gd name="connsiteY532" fmla="*/ 1321118 h 1733550"/>
                <a:gd name="connsiteX533" fmla="*/ 29527 w 914400"/>
                <a:gd name="connsiteY533" fmla="*/ 1316355 h 1733550"/>
                <a:gd name="connsiteX534" fmla="*/ 26670 w 914400"/>
                <a:gd name="connsiteY534" fmla="*/ 1309688 h 1733550"/>
                <a:gd name="connsiteX535" fmla="*/ 26670 w 914400"/>
                <a:gd name="connsiteY535" fmla="*/ 1306830 h 1733550"/>
                <a:gd name="connsiteX536" fmla="*/ 28575 w 914400"/>
                <a:gd name="connsiteY536" fmla="*/ 1304925 h 1733550"/>
                <a:gd name="connsiteX537" fmla="*/ 35242 w 914400"/>
                <a:gd name="connsiteY537" fmla="*/ 1303020 h 1733550"/>
                <a:gd name="connsiteX538" fmla="*/ 38100 w 914400"/>
                <a:gd name="connsiteY538" fmla="*/ 1297305 h 1733550"/>
                <a:gd name="connsiteX539" fmla="*/ 38100 w 914400"/>
                <a:gd name="connsiteY539" fmla="*/ 1296353 h 1733550"/>
                <a:gd name="connsiteX540" fmla="*/ 37147 w 914400"/>
                <a:gd name="connsiteY540" fmla="*/ 1291590 h 1733550"/>
                <a:gd name="connsiteX541" fmla="*/ 31433 w 914400"/>
                <a:gd name="connsiteY541" fmla="*/ 1282065 h 1733550"/>
                <a:gd name="connsiteX542" fmla="*/ 27622 w 914400"/>
                <a:gd name="connsiteY542" fmla="*/ 1273493 h 1733550"/>
                <a:gd name="connsiteX543" fmla="*/ 26670 w 914400"/>
                <a:gd name="connsiteY543" fmla="*/ 1267778 h 1733550"/>
                <a:gd name="connsiteX544" fmla="*/ 26670 w 914400"/>
                <a:gd name="connsiteY544" fmla="*/ 1263968 h 1733550"/>
                <a:gd name="connsiteX545" fmla="*/ 29527 w 914400"/>
                <a:gd name="connsiteY545" fmla="*/ 1259205 h 1733550"/>
                <a:gd name="connsiteX546" fmla="*/ 33338 w 914400"/>
                <a:gd name="connsiteY546" fmla="*/ 1254443 h 1733550"/>
                <a:gd name="connsiteX547" fmla="*/ 38100 w 914400"/>
                <a:gd name="connsiteY547" fmla="*/ 1249680 h 1733550"/>
                <a:gd name="connsiteX548" fmla="*/ 40958 w 914400"/>
                <a:gd name="connsiteY548" fmla="*/ 1246823 h 1733550"/>
                <a:gd name="connsiteX549" fmla="*/ 41910 w 914400"/>
                <a:gd name="connsiteY549" fmla="*/ 1243013 h 1733550"/>
                <a:gd name="connsiteX550" fmla="*/ 43815 w 914400"/>
                <a:gd name="connsiteY550" fmla="*/ 1237298 h 1733550"/>
                <a:gd name="connsiteX551" fmla="*/ 43815 w 914400"/>
                <a:gd name="connsiteY551" fmla="*/ 1233488 h 1733550"/>
                <a:gd name="connsiteX552" fmla="*/ 42863 w 914400"/>
                <a:gd name="connsiteY552" fmla="*/ 1227773 h 1733550"/>
                <a:gd name="connsiteX553" fmla="*/ 34290 w 914400"/>
                <a:gd name="connsiteY553" fmla="*/ 1209675 h 1733550"/>
                <a:gd name="connsiteX554" fmla="*/ 33338 w 914400"/>
                <a:gd name="connsiteY554" fmla="*/ 1204913 h 1733550"/>
                <a:gd name="connsiteX555" fmla="*/ 33338 w 914400"/>
                <a:gd name="connsiteY555" fmla="*/ 1201103 h 1733550"/>
                <a:gd name="connsiteX556" fmla="*/ 34290 w 914400"/>
                <a:gd name="connsiteY556" fmla="*/ 1194435 h 1733550"/>
                <a:gd name="connsiteX557" fmla="*/ 34290 w 914400"/>
                <a:gd name="connsiteY557" fmla="*/ 1190625 h 1733550"/>
                <a:gd name="connsiteX558" fmla="*/ 38100 w 914400"/>
                <a:gd name="connsiteY558" fmla="*/ 1182053 h 1733550"/>
                <a:gd name="connsiteX559" fmla="*/ 39052 w 914400"/>
                <a:gd name="connsiteY559" fmla="*/ 1178243 h 1733550"/>
                <a:gd name="connsiteX560" fmla="*/ 38100 w 914400"/>
                <a:gd name="connsiteY560" fmla="*/ 1175385 h 1733550"/>
                <a:gd name="connsiteX561" fmla="*/ 37147 w 914400"/>
                <a:gd name="connsiteY561" fmla="*/ 1172528 h 1733550"/>
                <a:gd name="connsiteX562" fmla="*/ 31433 w 914400"/>
                <a:gd name="connsiteY562" fmla="*/ 1165860 h 1733550"/>
                <a:gd name="connsiteX563" fmla="*/ 29527 w 914400"/>
                <a:gd name="connsiteY563" fmla="*/ 1163003 h 1733550"/>
                <a:gd name="connsiteX564" fmla="*/ 26670 w 914400"/>
                <a:gd name="connsiteY564" fmla="*/ 1156335 h 1733550"/>
                <a:gd name="connsiteX565" fmla="*/ 26670 w 914400"/>
                <a:gd name="connsiteY565" fmla="*/ 1152525 h 1733550"/>
                <a:gd name="connsiteX566" fmla="*/ 26670 w 914400"/>
                <a:gd name="connsiteY566" fmla="*/ 1147763 h 1733550"/>
                <a:gd name="connsiteX567" fmla="*/ 29527 w 914400"/>
                <a:gd name="connsiteY567" fmla="*/ 1135380 h 1733550"/>
                <a:gd name="connsiteX568" fmla="*/ 29527 w 914400"/>
                <a:gd name="connsiteY568" fmla="*/ 1127760 h 1733550"/>
                <a:gd name="connsiteX569" fmla="*/ 29527 w 914400"/>
                <a:gd name="connsiteY569" fmla="*/ 1121093 h 1733550"/>
                <a:gd name="connsiteX570" fmla="*/ 30480 w 914400"/>
                <a:gd name="connsiteY570" fmla="*/ 1117282 h 1733550"/>
                <a:gd name="connsiteX571" fmla="*/ 31433 w 914400"/>
                <a:gd name="connsiteY571" fmla="*/ 1114425 h 1733550"/>
                <a:gd name="connsiteX572" fmla="*/ 33338 w 914400"/>
                <a:gd name="connsiteY572" fmla="*/ 1111568 h 1733550"/>
                <a:gd name="connsiteX573" fmla="*/ 37147 w 914400"/>
                <a:gd name="connsiteY573" fmla="*/ 1107757 h 1733550"/>
                <a:gd name="connsiteX574" fmla="*/ 41910 w 914400"/>
                <a:gd name="connsiteY574" fmla="*/ 1105853 h 1733550"/>
                <a:gd name="connsiteX575" fmla="*/ 49530 w 914400"/>
                <a:gd name="connsiteY575" fmla="*/ 1102995 h 1733550"/>
                <a:gd name="connsiteX576" fmla="*/ 51435 w 914400"/>
                <a:gd name="connsiteY576" fmla="*/ 1100138 h 1733550"/>
                <a:gd name="connsiteX577" fmla="*/ 52388 w 914400"/>
                <a:gd name="connsiteY577" fmla="*/ 1096328 h 1733550"/>
                <a:gd name="connsiteX578" fmla="*/ 52388 w 914400"/>
                <a:gd name="connsiteY578" fmla="*/ 1087755 h 1733550"/>
                <a:gd name="connsiteX579" fmla="*/ 52388 w 914400"/>
                <a:gd name="connsiteY579" fmla="*/ 1082993 h 1733550"/>
                <a:gd name="connsiteX580" fmla="*/ 53340 w 914400"/>
                <a:gd name="connsiteY580" fmla="*/ 1079182 h 1733550"/>
                <a:gd name="connsiteX581" fmla="*/ 56197 w 914400"/>
                <a:gd name="connsiteY581" fmla="*/ 1072515 h 1733550"/>
                <a:gd name="connsiteX582" fmla="*/ 58102 w 914400"/>
                <a:gd name="connsiteY582" fmla="*/ 1066800 h 1733550"/>
                <a:gd name="connsiteX583" fmla="*/ 58102 w 914400"/>
                <a:gd name="connsiteY583" fmla="*/ 1062990 h 1733550"/>
                <a:gd name="connsiteX584" fmla="*/ 57150 w 914400"/>
                <a:gd name="connsiteY584" fmla="*/ 1060132 h 1733550"/>
                <a:gd name="connsiteX585" fmla="*/ 51435 w 914400"/>
                <a:gd name="connsiteY585" fmla="*/ 1051560 h 1733550"/>
                <a:gd name="connsiteX586" fmla="*/ 47625 w 914400"/>
                <a:gd name="connsiteY586" fmla="*/ 1044893 h 1733550"/>
                <a:gd name="connsiteX587" fmla="*/ 45720 w 914400"/>
                <a:gd name="connsiteY587" fmla="*/ 1039178 h 1733550"/>
                <a:gd name="connsiteX588" fmla="*/ 44767 w 914400"/>
                <a:gd name="connsiteY588" fmla="*/ 1035368 h 1733550"/>
                <a:gd name="connsiteX589" fmla="*/ 45720 w 914400"/>
                <a:gd name="connsiteY589" fmla="*/ 1030605 h 1733550"/>
                <a:gd name="connsiteX590" fmla="*/ 47625 w 914400"/>
                <a:gd name="connsiteY590" fmla="*/ 1021080 h 1733550"/>
                <a:gd name="connsiteX591" fmla="*/ 47625 w 914400"/>
                <a:gd name="connsiteY591" fmla="*/ 1017270 h 1733550"/>
                <a:gd name="connsiteX592" fmla="*/ 47625 w 914400"/>
                <a:gd name="connsiteY592" fmla="*/ 1012507 h 1733550"/>
                <a:gd name="connsiteX593" fmla="*/ 43815 w 914400"/>
                <a:gd name="connsiteY593" fmla="*/ 997268 h 1733550"/>
                <a:gd name="connsiteX594" fmla="*/ 42863 w 914400"/>
                <a:gd name="connsiteY594" fmla="*/ 989647 h 1733550"/>
                <a:gd name="connsiteX595" fmla="*/ 42863 w 914400"/>
                <a:gd name="connsiteY595" fmla="*/ 981075 h 1733550"/>
                <a:gd name="connsiteX596" fmla="*/ 42863 w 914400"/>
                <a:gd name="connsiteY596" fmla="*/ 976313 h 1733550"/>
                <a:gd name="connsiteX597" fmla="*/ 41910 w 914400"/>
                <a:gd name="connsiteY597" fmla="*/ 973455 h 1733550"/>
                <a:gd name="connsiteX598" fmla="*/ 40005 w 914400"/>
                <a:gd name="connsiteY598" fmla="*/ 971550 h 1733550"/>
                <a:gd name="connsiteX599" fmla="*/ 26670 w 914400"/>
                <a:gd name="connsiteY599" fmla="*/ 962025 h 1733550"/>
                <a:gd name="connsiteX600" fmla="*/ 24765 w 914400"/>
                <a:gd name="connsiteY600" fmla="*/ 959168 h 1733550"/>
                <a:gd name="connsiteX601" fmla="*/ 22860 w 914400"/>
                <a:gd name="connsiteY601" fmla="*/ 954405 h 1733550"/>
                <a:gd name="connsiteX602" fmla="*/ 18097 w 914400"/>
                <a:gd name="connsiteY602" fmla="*/ 932497 h 1733550"/>
                <a:gd name="connsiteX603" fmla="*/ 13335 w 914400"/>
                <a:gd name="connsiteY603" fmla="*/ 918210 h 1733550"/>
                <a:gd name="connsiteX604" fmla="*/ 3810 w 914400"/>
                <a:gd name="connsiteY604" fmla="*/ 898208 h 1733550"/>
                <a:gd name="connsiteX605" fmla="*/ 952 w 914400"/>
                <a:gd name="connsiteY605" fmla="*/ 888683 h 1733550"/>
                <a:gd name="connsiteX606" fmla="*/ 0 w 914400"/>
                <a:gd name="connsiteY606" fmla="*/ 883920 h 1733550"/>
                <a:gd name="connsiteX607" fmla="*/ 0 w 914400"/>
                <a:gd name="connsiteY607" fmla="*/ 880110 h 1733550"/>
                <a:gd name="connsiteX608" fmla="*/ 952 w 914400"/>
                <a:gd name="connsiteY608" fmla="*/ 875347 h 1733550"/>
                <a:gd name="connsiteX609" fmla="*/ 8572 w 914400"/>
                <a:gd name="connsiteY609" fmla="*/ 857250 h 1733550"/>
                <a:gd name="connsiteX610" fmla="*/ 10477 w 914400"/>
                <a:gd name="connsiteY610" fmla="*/ 853440 h 1733550"/>
                <a:gd name="connsiteX611" fmla="*/ 14288 w 914400"/>
                <a:gd name="connsiteY611" fmla="*/ 850583 h 1733550"/>
                <a:gd name="connsiteX612" fmla="*/ 28575 w 914400"/>
                <a:gd name="connsiteY612" fmla="*/ 842963 h 1733550"/>
                <a:gd name="connsiteX613" fmla="*/ 31433 w 914400"/>
                <a:gd name="connsiteY613" fmla="*/ 838200 h 1733550"/>
                <a:gd name="connsiteX614" fmla="*/ 33338 w 914400"/>
                <a:gd name="connsiteY614" fmla="*/ 835343 h 1733550"/>
                <a:gd name="connsiteX615" fmla="*/ 35242 w 914400"/>
                <a:gd name="connsiteY615" fmla="*/ 825818 h 1733550"/>
                <a:gd name="connsiteX616" fmla="*/ 37147 w 914400"/>
                <a:gd name="connsiteY616" fmla="*/ 804863 h 1733550"/>
                <a:gd name="connsiteX617" fmla="*/ 38100 w 914400"/>
                <a:gd name="connsiteY617" fmla="*/ 798195 h 1733550"/>
                <a:gd name="connsiteX618" fmla="*/ 40005 w 914400"/>
                <a:gd name="connsiteY618" fmla="*/ 792480 h 1733550"/>
                <a:gd name="connsiteX619" fmla="*/ 43815 w 914400"/>
                <a:gd name="connsiteY619" fmla="*/ 788670 h 1733550"/>
                <a:gd name="connsiteX620" fmla="*/ 49530 w 914400"/>
                <a:gd name="connsiteY620" fmla="*/ 782955 h 1733550"/>
                <a:gd name="connsiteX621" fmla="*/ 51435 w 914400"/>
                <a:gd name="connsiteY621" fmla="*/ 780097 h 1733550"/>
                <a:gd name="connsiteX622" fmla="*/ 53340 w 914400"/>
                <a:gd name="connsiteY622" fmla="*/ 776288 h 1733550"/>
                <a:gd name="connsiteX623" fmla="*/ 55245 w 914400"/>
                <a:gd name="connsiteY623" fmla="*/ 769620 h 1733550"/>
                <a:gd name="connsiteX624" fmla="*/ 55245 w 914400"/>
                <a:gd name="connsiteY624" fmla="*/ 764858 h 1733550"/>
                <a:gd name="connsiteX625" fmla="*/ 55245 w 914400"/>
                <a:gd name="connsiteY625" fmla="*/ 761047 h 1733550"/>
                <a:gd name="connsiteX626" fmla="*/ 51435 w 914400"/>
                <a:gd name="connsiteY626" fmla="*/ 757238 h 1733550"/>
                <a:gd name="connsiteX627" fmla="*/ 37147 w 914400"/>
                <a:gd name="connsiteY627" fmla="*/ 744855 h 1733550"/>
                <a:gd name="connsiteX628" fmla="*/ 33338 w 914400"/>
                <a:gd name="connsiteY628" fmla="*/ 739140 h 1733550"/>
                <a:gd name="connsiteX629" fmla="*/ 30480 w 914400"/>
                <a:gd name="connsiteY629" fmla="*/ 733425 h 1733550"/>
                <a:gd name="connsiteX630" fmla="*/ 29527 w 914400"/>
                <a:gd name="connsiteY630" fmla="*/ 728663 h 1733550"/>
                <a:gd name="connsiteX631" fmla="*/ 29527 w 914400"/>
                <a:gd name="connsiteY631" fmla="*/ 724853 h 1733550"/>
                <a:gd name="connsiteX632" fmla="*/ 30480 w 914400"/>
                <a:gd name="connsiteY632" fmla="*/ 721995 h 1733550"/>
                <a:gd name="connsiteX633" fmla="*/ 32385 w 914400"/>
                <a:gd name="connsiteY633" fmla="*/ 717233 h 1733550"/>
                <a:gd name="connsiteX634" fmla="*/ 36195 w 914400"/>
                <a:gd name="connsiteY634" fmla="*/ 712470 h 1733550"/>
                <a:gd name="connsiteX635" fmla="*/ 41910 w 914400"/>
                <a:gd name="connsiteY635" fmla="*/ 706755 h 1733550"/>
                <a:gd name="connsiteX636" fmla="*/ 43815 w 914400"/>
                <a:gd name="connsiteY636" fmla="*/ 701993 h 1733550"/>
                <a:gd name="connsiteX637" fmla="*/ 44767 w 914400"/>
                <a:gd name="connsiteY637" fmla="*/ 695325 h 1733550"/>
                <a:gd name="connsiteX638" fmla="*/ 45720 w 914400"/>
                <a:gd name="connsiteY638" fmla="*/ 679133 h 1733550"/>
                <a:gd name="connsiteX639" fmla="*/ 45720 w 914400"/>
                <a:gd name="connsiteY639" fmla="*/ 671513 h 1733550"/>
                <a:gd name="connsiteX640" fmla="*/ 44767 w 914400"/>
                <a:gd name="connsiteY640" fmla="*/ 665797 h 1733550"/>
                <a:gd name="connsiteX641" fmla="*/ 43815 w 914400"/>
                <a:gd name="connsiteY641" fmla="*/ 662940 h 1733550"/>
                <a:gd name="connsiteX642" fmla="*/ 41910 w 914400"/>
                <a:gd name="connsiteY642" fmla="*/ 658178 h 1733550"/>
                <a:gd name="connsiteX643" fmla="*/ 39052 w 914400"/>
                <a:gd name="connsiteY643" fmla="*/ 653415 h 1733550"/>
                <a:gd name="connsiteX644" fmla="*/ 26670 w 914400"/>
                <a:gd name="connsiteY644" fmla="*/ 643890 h 1733550"/>
                <a:gd name="connsiteX645" fmla="*/ 22860 w 914400"/>
                <a:gd name="connsiteY645" fmla="*/ 637222 h 1733550"/>
                <a:gd name="connsiteX646" fmla="*/ 20002 w 914400"/>
                <a:gd name="connsiteY646" fmla="*/ 630555 h 1733550"/>
                <a:gd name="connsiteX647" fmla="*/ 20002 w 914400"/>
                <a:gd name="connsiteY647" fmla="*/ 626745 h 1733550"/>
                <a:gd name="connsiteX648" fmla="*/ 20955 w 914400"/>
                <a:gd name="connsiteY648" fmla="*/ 622935 h 1733550"/>
                <a:gd name="connsiteX649" fmla="*/ 22860 w 914400"/>
                <a:gd name="connsiteY649" fmla="*/ 613410 h 1733550"/>
                <a:gd name="connsiteX650" fmla="*/ 23813 w 914400"/>
                <a:gd name="connsiteY650" fmla="*/ 603885 h 1733550"/>
                <a:gd name="connsiteX651" fmla="*/ 23813 w 914400"/>
                <a:gd name="connsiteY651" fmla="*/ 599122 h 1733550"/>
                <a:gd name="connsiteX652" fmla="*/ 23813 w 914400"/>
                <a:gd name="connsiteY652" fmla="*/ 594360 h 1733550"/>
                <a:gd name="connsiteX653" fmla="*/ 20955 w 914400"/>
                <a:gd name="connsiteY653" fmla="*/ 589597 h 1733550"/>
                <a:gd name="connsiteX654" fmla="*/ 17145 w 914400"/>
                <a:gd name="connsiteY654" fmla="*/ 585788 h 1733550"/>
                <a:gd name="connsiteX655" fmla="*/ 10477 w 914400"/>
                <a:gd name="connsiteY655" fmla="*/ 580072 h 1733550"/>
                <a:gd name="connsiteX656" fmla="*/ 7620 w 914400"/>
                <a:gd name="connsiteY656" fmla="*/ 577215 h 1733550"/>
                <a:gd name="connsiteX657" fmla="*/ 4763 w 914400"/>
                <a:gd name="connsiteY657" fmla="*/ 571500 h 1733550"/>
                <a:gd name="connsiteX658" fmla="*/ 3810 w 914400"/>
                <a:gd name="connsiteY658" fmla="*/ 567690 h 1733550"/>
                <a:gd name="connsiteX659" fmla="*/ 3810 w 914400"/>
                <a:gd name="connsiteY659" fmla="*/ 563880 h 1733550"/>
                <a:gd name="connsiteX660" fmla="*/ 7620 w 914400"/>
                <a:gd name="connsiteY660" fmla="*/ 554355 h 1733550"/>
                <a:gd name="connsiteX661" fmla="*/ 9525 w 914400"/>
                <a:gd name="connsiteY661" fmla="*/ 548640 h 1733550"/>
                <a:gd name="connsiteX662" fmla="*/ 8572 w 914400"/>
                <a:gd name="connsiteY662" fmla="*/ 541972 h 1733550"/>
                <a:gd name="connsiteX663" fmla="*/ 6667 w 914400"/>
                <a:gd name="connsiteY663" fmla="*/ 533400 h 1733550"/>
                <a:gd name="connsiteX664" fmla="*/ 1905 w 914400"/>
                <a:gd name="connsiteY664" fmla="*/ 520065 h 1733550"/>
                <a:gd name="connsiteX665" fmla="*/ 952 w 914400"/>
                <a:gd name="connsiteY665" fmla="*/ 513397 h 1733550"/>
                <a:gd name="connsiteX666" fmla="*/ 3810 w 914400"/>
                <a:gd name="connsiteY666" fmla="*/ 509588 h 1733550"/>
                <a:gd name="connsiteX667" fmla="*/ 7620 w 914400"/>
                <a:gd name="connsiteY667" fmla="*/ 505778 h 1733550"/>
                <a:gd name="connsiteX668" fmla="*/ 11430 w 914400"/>
                <a:gd name="connsiteY668" fmla="*/ 501967 h 1733550"/>
                <a:gd name="connsiteX669" fmla="*/ 41910 w 914400"/>
                <a:gd name="connsiteY669" fmla="*/ 492442 h 1733550"/>
                <a:gd name="connsiteX670" fmla="*/ 43815 w 914400"/>
                <a:gd name="connsiteY670" fmla="*/ 489585 h 1733550"/>
                <a:gd name="connsiteX671" fmla="*/ 44767 w 914400"/>
                <a:gd name="connsiteY671" fmla="*/ 485775 h 1733550"/>
                <a:gd name="connsiteX672" fmla="*/ 45720 w 914400"/>
                <a:gd name="connsiteY672" fmla="*/ 479108 h 1733550"/>
                <a:gd name="connsiteX673" fmla="*/ 44767 w 914400"/>
                <a:gd name="connsiteY673" fmla="*/ 475297 h 1733550"/>
                <a:gd name="connsiteX674" fmla="*/ 41910 w 914400"/>
                <a:gd name="connsiteY674" fmla="*/ 473392 h 1733550"/>
                <a:gd name="connsiteX675" fmla="*/ 35242 w 914400"/>
                <a:gd name="connsiteY675" fmla="*/ 473392 h 1733550"/>
                <a:gd name="connsiteX676" fmla="*/ 31433 w 914400"/>
                <a:gd name="connsiteY676" fmla="*/ 471488 h 1733550"/>
                <a:gd name="connsiteX677" fmla="*/ 28575 w 914400"/>
                <a:gd name="connsiteY677" fmla="*/ 469583 h 1733550"/>
                <a:gd name="connsiteX678" fmla="*/ 25717 w 914400"/>
                <a:gd name="connsiteY678" fmla="*/ 465772 h 1733550"/>
                <a:gd name="connsiteX679" fmla="*/ 24765 w 914400"/>
                <a:gd name="connsiteY679" fmla="*/ 462915 h 1733550"/>
                <a:gd name="connsiteX680" fmla="*/ 25717 w 914400"/>
                <a:gd name="connsiteY680" fmla="*/ 460058 h 1733550"/>
                <a:gd name="connsiteX681" fmla="*/ 27622 w 914400"/>
                <a:gd name="connsiteY681" fmla="*/ 459105 h 1733550"/>
                <a:gd name="connsiteX682" fmla="*/ 37147 w 914400"/>
                <a:gd name="connsiteY682" fmla="*/ 453390 h 1733550"/>
                <a:gd name="connsiteX683" fmla="*/ 39052 w 914400"/>
                <a:gd name="connsiteY683" fmla="*/ 451485 h 1733550"/>
                <a:gd name="connsiteX684" fmla="*/ 41910 w 914400"/>
                <a:gd name="connsiteY684" fmla="*/ 445770 h 1733550"/>
                <a:gd name="connsiteX685" fmla="*/ 43815 w 914400"/>
                <a:gd name="connsiteY685" fmla="*/ 436245 h 1733550"/>
                <a:gd name="connsiteX686" fmla="*/ 43815 w 914400"/>
                <a:gd name="connsiteY686" fmla="*/ 432435 h 1733550"/>
                <a:gd name="connsiteX687" fmla="*/ 41910 w 914400"/>
                <a:gd name="connsiteY687" fmla="*/ 430530 h 1733550"/>
                <a:gd name="connsiteX688" fmla="*/ 35242 w 914400"/>
                <a:gd name="connsiteY688" fmla="*/ 424815 h 1733550"/>
                <a:gd name="connsiteX689" fmla="*/ 31433 w 914400"/>
                <a:gd name="connsiteY689" fmla="*/ 420053 h 1733550"/>
                <a:gd name="connsiteX690" fmla="*/ 29527 w 914400"/>
                <a:gd name="connsiteY690" fmla="*/ 417195 h 1733550"/>
                <a:gd name="connsiteX691" fmla="*/ 30480 w 914400"/>
                <a:gd name="connsiteY691" fmla="*/ 414338 h 1733550"/>
                <a:gd name="connsiteX692" fmla="*/ 31433 w 914400"/>
                <a:gd name="connsiteY692" fmla="*/ 411480 h 1733550"/>
                <a:gd name="connsiteX693" fmla="*/ 33338 w 914400"/>
                <a:gd name="connsiteY693" fmla="*/ 410528 h 1733550"/>
                <a:gd name="connsiteX694" fmla="*/ 53340 w 914400"/>
                <a:gd name="connsiteY694" fmla="*/ 408622 h 1733550"/>
                <a:gd name="connsiteX695" fmla="*/ 59055 w 914400"/>
                <a:gd name="connsiteY695" fmla="*/ 407670 h 1733550"/>
                <a:gd name="connsiteX696" fmla="*/ 61913 w 914400"/>
                <a:gd name="connsiteY696" fmla="*/ 405765 h 1733550"/>
                <a:gd name="connsiteX697" fmla="*/ 63817 w 914400"/>
                <a:gd name="connsiteY697" fmla="*/ 401955 h 1733550"/>
                <a:gd name="connsiteX698" fmla="*/ 65722 w 914400"/>
                <a:gd name="connsiteY698" fmla="*/ 395288 h 1733550"/>
                <a:gd name="connsiteX699" fmla="*/ 65722 w 914400"/>
                <a:gd name="connsiteY699" fmla="*/ 391478 h 1733550"/>
                <a:gd name="connsiteX700" fmla="*/ 64770 w 914400"/>
                <a:gd name="connsiteY700" fmla="*/ 388620 h 1733550"/>
                <a:gd name="connsiteX701" fmla="*/ 61913 w 914400"/>
                <a:gd name="connsiteY701" fmla="*/ 383858 h 1733550"/>
                <a:gd name="connsiteX702" fmla="*/ 58102 w 914400"/>
                <a:gd name="connsiteY702" fmla="*/ 380047 h 1733550"/>
                <a:gd name="connsiteX703" fmla="*/ 53340 w 914400"/>
                <a:gd name="connsiteY703" fmla="*/ 377190 h 1733550"/>
                <a:gd name="connsiteX704" fmla="*/ 35242 w 914400"/>
                <a:gd name="connsiteY704" fmla="*/ 371475 h 1733550"/>
                <a:gd name="connsiteX705" fmla="*/ 32385 w 914400"/>
                <a:gd name="connsiteY705" fmla="*/ 370522 h 1733550"/>
                <a:gd name="connsiteX706" fmla="*/ 30480 w 914400"/>
                <a:gd name="connsiteY706" fmla="*/ 368617 h 1733550"/>
                <a:gd name="connsiteX707" fmla="*/ 33338 w 914400"/>
                <a:gd name="connsiteY707" fmla="*/ 365760 h 1733550"/>
                <a:gd name="connsiteX708" fmla="*/ 44767 w 914400"/>
                <a:gd name="connsiteY708" fmla="*/ 360045 h 1733550"/>
                <a:gd name="connsiteX709" fmla="*/ 70485 w 914400"/>
                <a:gd name="connsiteY709" fmla="*/ 347663 h 1733550"/>
                <a:gd name="connsiteX710" fmla="*/ 81915 w 914400"/>
                <a:gd name="connsiteY710" fmla="*/ 340042 h 1733550"/>
                <a:gd name="connsiteX711" fmla="*/ 90488 w 914400"/>
                <a:gd name="connsiteY711" fmla="*/ 329565 h 1733550"/>
                <a:gd name="connsiteX712" fmla="*/ 112395 w 914400"/>
                <a:gd name="connsiteY712" fmla="*/ 295275 h 1733550"/>
                <a:gd name="connsiteX713" fmla="*/ 116205 w 914400"/>
                <a:gd name="connsiteY713" fmla="*/ 291465 h 1733550"/>
                <a:gd name="connsiteX714" fmla="*/ 123825 w 914400"/>
                <a:gd name="connsiteY714" fmla="*/ 283845 h 1733550"/>
                <a:gd name="connsiteX715" fmla="*/ 127635 w 914400"/>
                <a:gd name="connsiteY715" fmla="*/ 281940 h 1733550"/>
                <a:gd name="connsiteX716" fmla="*/ 132397 w 914400"/>
                <a:gd name="connsiteY716" fmla="*/ 280035 h 1733550"/>
                <a:gd name="connsiteX717" fmla="*/ 139065 w 914400"/>
                <a:gd name="connsiteY717" fmla="*/ 279083 h 1733550"/>
                <a:gd name="connsiteX718" fmla="*/ 143827 w 914400"/>
                <a:gd name="connsiteY718" fmla="*/ 279083 h 1733550"/>
                <a:gd name="connsiteX719" fmla="*/ 150495 w 914400"/>
                <a:gd name="connsiteY719" fmla="*/ 280988 h 1733550"/>
                <a:gd name="connsiteX720" fmla="*/ 154305 w 914400"/>
                <a:gd name="connsiteY720" fmla="*/ 281940 h 1733550"/>
                <a:gd name="connsiteX721" fmla="*/ 166688 w 914400"/>
                <a:gd name="connsiteY721" fmla="*/ 280035 h 1733550"/>
                <a:gd name="connsiteX722" fmla="*/ 170497 w 914400"/>
                <a:gd name="connsiteY722" fmla="*/ 279083 h 1733550"/>
                <a:gd name="connsiteX723" fmla="*/ 175260 w 914400"/>
                <a:gd name="connsiteY723" fmla="*/ 276225 h 1733550"/>
                <a:gd name="connsiteX724" fmla="*/ 183833 w 914400"/>
                <a:gd name="connsiteY724" fmla="*/ 266700 h 1733550"/>
                <a:gd name="connsiteX725" fmla="*/ 187642 w 914400"/>
                <a:gd name="connsiteY725" fmla="*/ 262890 h 1733550"/>
                <a:gd name="connsiteX726" fmla="*/ 193358 w 914400"/>
                <a:gd name="connsiteY726" fmla="*/ 253365 h 1733550"/>
                <a:gd name="connsiteX727" fmla="*/ 195263 w 914400"/>
                <a:gd name="connsiteY727" fmla="*/ 251460 h 1733550"/>
                <a:gd name="connsiteX728" fmla="*/ 214313 w 914400"/>
                <a:gd name="connsiteY728" fmla="*/ 237172 h 1733550"/>
                <a:gd name="connsiteX729" fmla="*/ 219075 w 914400"/>
                <a:gd name="connsiteY729" fmla="*/ 233363 h 1733550"/>
                <a:gd name="connsiteX730" fmla="*/ 221933 w 914400"/>
                <a:gd name="connsiteY730" fmla="*/ 229553 h 1733550"/>
                <a:gd name="connsiteX731" fmla="*/ 225742 w 914400"/>
                <a:gd name="connsiteY731" fmla="*/ 220980 h 1733550"/>
                <a:gd name="connsiteX732" fmla="*/ 230505 w 914400"/>
                <a:gd name="connsiteY732" fmla="*/ 213360 h 1733550"/>
                <a:gd name="connsiteX733" fmla="*/ 233363 w 914400"/>
                <a:gd name="connsiteY733" fmla="*/ 209550 h 1733550"/>
                <a:gd name="connsiteX734" fmla="*/ 258127 w 914400"/>
                <a:gd name="connsiteY734" fmla="*/ 191453 h 1733550"/>
                <a:gd name="connsiteX735" fmla="*/ 260985 w 914400"/>
                <a:gd name="connsiteY735" fmla="*/ 188595 h 1733550"/>
                <a:gd name="connsiteX736" fmla="*/ 262890 w 914400"/>
                <a:gd name="connsiteY736" fmla="*/ 183833 h 1733550"/>
                <a:gd name="connsiteX737" fmla="*/ 263842 w 914400"/>
                <a:gd name="connsiteY737" fmla="*/ 179070 h 1733550"/>
                <a:gd name="connsiteX738" fmla="*/ 263842 w 914400"/>
                <a:gd name="connsiteY738" fmla="*/ 173355 h 1733550"/>
                <a:gd name="connsiteX739" fmla="*/ 263842 w 914400"/>
                <a:gd name="connsiteY739" fmla="*/ 170497 h 1733550"/>
                <a:gd name="connsiteX740" fmla="*/ 264795 w 914400"/>
                <a:gd name="connsiteY740" fmla="*/ 167640 h 1733550"/>
                <a:gd name="connsiteX741" fmla="*/ 287655 w 914400"/>
                <a:gd name="connsiteY741" fmla="*/ 149542 h 1733550"/>
                <a:gd name="connsiteX742" fmla="*/ 292417 w 914400"/>
                <a:gd name="connsiteY742" fmla="*/ 143828 h 1733550"/>
                <a:gd name="connsiteX743" fmla="*/ 295275 w 914400"/>
                <a:gd name="connsiteY743" fmla="*/ 138113 h 1733550"/>
                <a:gd name="connsiteX744" fmla="*/ 295275 w 914400"/>
                <a:gd name="connsiteY744" fmla="*/ 135255 h 1733550"/>
                <a:gd name="connsiteX745" fmla="*/ 297180 w 914400"/>
                <a:gd name="connsiteY745" fmla="*/ 131445 h 1733550"/>
                <a:gd name="connsiteX746" fmla="*/ 300038 w 914400"/>
                <a:gd name="connsiteY746" fmla="*/ 127635 h 1733550"/>
                <a:gd name="connsiteX747" fmla="*/ 305752 w 914400"/>
                <a:gd name="connsiteY747" fmla="*/ 122872 h 1733550"/>
                <a:gd name="connsiteX748" fmla="*/ 307658 w 914400"/>
                <a:gd name="connsiteY748" fmla="*/ 119063 h 1733550"/>
                <a:gd name="connsiteX749" fmla="*/ 309563 w 914400"/>
                <a:gd name="connsiteY749" fmla="*/ 114300 h 1733550"/>
                <a:gd name="connsiteX750" fmla="*/ 309563 w 914400"/>
                <a:gd name="connsiteY750" fmla="*/ 107633 h 1733550"/>
                <a:gd name="connsiteX751" fmla="*/ 310515 w 914400"/>
                <a:gd name="connsiteY751" fmla="*/ 103822 h 1733550"/>
                <a:gd name="connsiteX752" fmla="*/ 312420 w 914400"/>
                <a:gd name="connsiteY752" fmla="*/ 100965 h 1733550"/>
                <a:gd name="connsiteX753" fmla="*/ 315277 w 914400"/>
                <a:gd name="connsiteY753" fmla="*/ 100013 h 1733550"/>
                <a:gd name="connsiteX754" fmla="*/ 320992 w 914400"/>
                <a:gd name="connsiteY754" fmla="*/ 100965 h 1733550"/>
                <a:gd name="connsiteX755" fmla="*/ 333375 w 914400"/>
                <a:gd name="connsiteY755" fmla="*/ 105728 h 1733550"/>
                <a:gd name="connsiteX756" fmla="*/ 336233 w 914400"/>
                <a:gd name="connsiteY756" fmla="*/ 106680 h 1733550"/>
                <a:gd name="connsiteX757" fmla="*/ 339090 w 914400"/>
                <a:gd name="connsiteY757" fmla="*/ 105728 h 1733550"/>
                <a:gd name="connsiteX758" fmla="*/ 341948 w 914400"/>
                <a:gd name="connsiteY758" fmla="*/ 103822 h 1733550"/>
                <a:gd name="connsiteX759" fmla="*/ 343852 w 914400"/>
                <a:gd name="connsiteY759" fmla="*/ 100965 h 1733550"/>
                <a:gd name="connsiteX760" fmla="*/ 343852 w 914400"/>
                <a:gd name="connsiteY760" fmla="*/ 97155 h 1733550"/>
                <a:gd name="connsiteX761" fmla="*/ 342900 w 914400"/>
                <a:gd name="connsiteY761" fmla="*/ 87630 h 1733550"/>
                <a:gd name="connsiteX762" fmla="*/ 342900 w 914400"/>
                <a:gd name="connsiteY762" fmla="*/ 80963 h 1733550"/>
                <a:gd name="connsiteX763" fmla="*/ 344805 w 914400"/>
                <a:gd name="connsiteY763" fmla="*/ 75247 h 1733550"/>
                <a:gd name="connsiteX764" fmla="*/ 347662 w 914400"/>
                <a:gd name="connsiteY764" fmla="*/ 71438 h 1733550"/>
                <a:gd name="connsiteX765" fmla="*/ 383858 w 914400"/>
                <a:gd name="connsiteY765" fmla="*/ 56197 h 1733550"/>
                <a:gd name="connsiteX766" fmla="*/ 394335 w 914400"/>
                <a:gd name="connsiteY766" fmla="*/ 46672 h 1733550"/>
                <a:gd name="connsiteX767" fmla="*/ 397192 w 914400"/>
                <a:gd name="connsiteY767" fmla="*/ 45720 h 1733550"/>
                <a:gd name="connsiteX768" fmla="*/ 401002 w 914400"/>
                <a:gd name="connsiteY768" fmla="*/ 45720 h 1733550"/>
                <a:gd name="connsiteX769" fmla="*/ 411480 w 914400"/>
                <a:gd name="connsiteY769" fmla="*/ 50483 h 1733550"/>
                <a:gd name="connsiteX770" fmla="*/ 421958 w 914400"/>
                <a:gd name="connsiteY770" fmla="*/ 56197 h 1733550"/>
                <a:gd name="connsiteX771" fmla="*/ 428625 w 914400"/>
                <a:gd name="connsiteY771" fmla="*/ 58103 h 1733550"/>
                <a:gd name="connsiteX772" fmla="*/ 432435 w 914400"/>
                <a:gd name="connsiteY772" fmla="*/ 58103 h 1733550"/>
                <a:gd name="connsiteX773" fmla="*/ 437198 w 914400"/>
                <a:gd name="connsiteY773" fmla="*/ 56197 h 1733550"/>
                <a:gd name="connsiteX774" fmla="*/ 441960 w 914400"/>
                <a:gd name="connsiteY774" fmla="*/ 52388 h 1733550"/>
                <a:gd name="connsiteX775" fmla="*/ 444817 w 914400"/>
                <a:gd name="connsiteY775" fmla="*/ 49530 h 1733550"/>
                <a:gd name="connsiteX776" fmla="*/ 448627 w 914400"/>
                <a:gd name="connsiteY776" fmla="*/ 44767 h 1733550"/>
                <a:gd name="connsiteX777" fmla="*/ 457200 w 914400"/>
                <a:gd name="connsiteY777" fmla="*/ 37147 h 1733550"/>
                <a:gd name="connsiteX778" fmla="*/ 461010 w 914400"/>
                <a:gd name="connsiteY778" fmla="*/ 34290 h 1733550"/>
                <a:gd name="connsiteX779" fmla="*/ 471487 w 914400"/>
                <a:gd name="connsiteY779" fmla="*/ 29528 h 1733550"/>
                <a:gd name="connsiteX780" fmla="*/ 482917 w 914400"/>
                <a:gd name="connsiteY780" fmla="*/ 26670 h 1733550"/>
                <a:gd name="connsiteX781" fmla="*/ 487680 w 914400"/>
                <a:gd name="connsiteY781" fmla="*/ 23813 h 1733550"/>
                <a:gd name="connsiteX782" fmla="*/ 488633 w 914400"/>
                <a:gd name="connsiteY782" fmla="*/ 20955 h 1733550"/>
                <a:gd name="connsiteX783" fmla="*/ 491490 w 914400"/>
                <a:gd name="connsiteY783" fmla="*/ 11430 h 1733550"/>
                <a:gd name="connsiteX784" fmla="*/ 493395 w 914400"/>
                <a:gd name="connsiteY784" fmla="*/ 5715 h 1733550"/>
                <a:gd name="connsiteX785" fmla="*/ 497205 w 914400"/>
                <a:gd name="connsiteY785" fmla="*/ 1905 h 1733550"/>
                <a:gd name="connsiteX786" fmla="*/ 501015 w 914400"/>
                <a:gd name="connsiteY786" fmla="*/ 0 h 1733550"/>
                <a:gd name="connsiteX787" fmla="*/ 508635 w 914400"/>
                <a:gd name="connsiteY787" fmla="*/ 0 h 1733550"/>
                <a:gd name="connsiteX788" fmla="*/ 512445 w 914400"/>
                <a:gd name="connsiteY788" fmla="*/ 1905 h 1733550"/>
                <a:gd name="connsiteX789" fmla="*/ 515302 w 914400"/>
                <a:gd name="connsiteY789" fmla="*/ 3810 h 1733550"/>
                <a:gd name="connsiteX790" fmla="*/ 518160 w 914400"/>
                <a:gd name="connsiteY790" fmla="*/ 10478 h 1733550"/>
                <a:gd name="connsiteX791" fmla="*/ 519112 w 914400"/>
                <a:gd name="connsiteY791" fmla="*/ 15240 h 1733550"/>
                <a:gd name="connsiteX792" fmla="*/ 519112 w 914400"/>
                <a:gd name="connsiteY792" fmla="*/ 19050 h 1733550"/>
                <a:gd name="connsiteX793" fmla="*/ 519112 w 914400"/>
                <a:gd name="connsiteY793" fmla="*/ 26670 h 1733550"/>
                <a:gd name="connsiteX794" fmla="*/ 521970 w 914400"/>
                <a:gd name="connsiteY794" fmla="*/ 29528 h 1733550"/>
                <a:gd name="connsiteX795" fmla="*/ 524827 w 914400"/>
                <a:gd name="connsiteY795" fmla="*/ 32385 h 1733550"/>
                <a:gd name="connsiteX796" fmla="*/ 550545 w 914400"/>
                <a:gd name="connsiteY796" fmla="*/ 38100 h 17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</a:cxnLst>
              <a:rect l="l" t="t" r="r" b="b"/>
              <a:pathLst>
                <a:path w="914400" h="1733550">
                  <a:moveTo>
                    <a:pt x="550545" y="38100"/>
                  </a:moveTo>
                  <a:lnTo>
                    <a:pt x="558165" y="41910"/>
                  </a:lnTo>
                  <a:lnTo>
                    <a:pt x="561023" y="44767"/>
                  </a:lnTo>
                  <a:lnTo>
                    <a:pt x="567690" y="55245"/>
                  </a:lnTo>
                  <a:lnTo>
                    <a:pt x="575310" y="60960"/>
                  </a:lnTo>
                  <a:lnTo>
                    <a:pt x="579120" y="63817"/>
                  </a:lnTo>
                  <a:lnTo>
                    <a:pt x="581977" y="71438"/>
                  </a:lnTo>
                  <a:lnTo>
                    <a:pt x="583883" y="76200"/>
                  </a:lnTo>
                  <a:lnTo>
                    <a:pt x="586740" y="80010"/>
                  </a:lnTo>
                  <a:lnTo>
                    <a:pt x="590550" y="83820"/>
                  </a:lnTo>
                  <a:lnTo>
                    <a:pt x="594360" y="84772"/>
                  </a:lnTo>
                  <a:lnTo>
                    <a:pt x="604837" y="87630"/>
                  </a:lnTo>
                  <a:lnTo>
                    <a:pt x="609600" y="90488"/>
                  </a:lnTo>
                  <a:lnTo>
                    <a:pt x="609600" y="93345"/>
                  </a:lnTo>
                  <a:lnTo>
                    <a:pt x="605790" y="97155"/>
                  </a:lnTo>
                  <a:lnTo>
                    <a:pt x="594360" y="103822"/>
                  </a:lnTo>
                  <a:lnTo>
                    <a:pt x="589598" y="106680"/>
                  </a:lnTo>
                  <a:lnTo>
                    <a:pt x="585787" y="110490"/>
                  </a:lnTo>
                  <a:lnTo>
                    <a:pt x="582930" y="115253"/>
                  </a:lnTo>
                  <a:lnTo>
                    <a:pt x="580073" y="120967"/>
                  </a:lnTo>
                  <a:lnTo>
                    <a:pt x="569595" y="159067"/>
                  </a:lnTo>
                  <a:lnTo>
                    <a:pt x="569595" y="165735"/>
                  </a:lnTo>
                  <a:lnTo>
                    <a:pt x="570548" y="169545"/>
                  </a:lnTo>
                  <a:lnTo>
                    <a:pt x="573405" y="171450"/>
                  </a:lnTo>
                  <a:lnTo>
                    <a:pt x="578168" y="175260"/>
                  </a:lnTo>
                  <a:lnTo>
                    <a:pt x="581977" y="176213"/>
                  </a:lnTo>
                  <a:lnTo>
                    <a:pt x="596265" y="179070"/>
                  </a:lnTo>
                  <a:lnTo>
                    <a:pt x="601027" y="181928"/>
                  </a:lnTo>
                  <a:lnTo>
                    <a:pt x="602933" y="183833"/>
                  </a:lnTo>
                  <a:lnTo>
                    <a:pt x="604837" y="187642"/>
                  </a:lnTo>
                  <a:lnTo>
                    <a:pt x="606743" y="197167"/>
                  </a:lnTo>
                  <a:lnTo>
                    <a:pt x="608648" y="200978"/>
                  </a:lnTo>
                  <a:lnTo>
                    <a:pt x="611505" y="204788"/>
                  </a:lnTo>
                  <a:lnTo>
                    <a:pt x="617220" y="209550"/>
                  </a:lnTo>
                  <a:lnTo>
                    <a:pt x="640080" y="222885"/>
                  </a:lnTo>
                  <a:lnTo>
                    <a:pt x="657225" y="236220"/>
                  </a:lnTo>
                  <a:lnTo>
                    <a:pt x="661987" y="239078"/>
                  </a:lnTo>
                  <a:lnTo>
                    <a:pt x="663893" y="240983"/>
                  </a:lnTo>
                  <a:lnTo>
                    <a:pt x="664845" y="243840"/>
                  </a:lnTo>
                  <a:lnTo>
                    <a:pt x="662940" y="246697"/>
                  </a:lnTo>
                  <a:lnTo>
                    <a:pt x="660083" y="251460"/>
                  </a:lnTo>
                  <a:lnTo>
                    <a:pt x="659130" y="254317"/>
                  </a:lnTo>
                  <a:lnTo>
                    <a:pt x="660083" y="257175"/>
                  </a:lnTo>
                  <a:lnTo>
                    <a:pt x="661987" y="259080"/>
                  </a:lnTo>
                  <a:lnTo>
                    <a:pt x="665798" y="259080"/>
                  </a:lnTo>
                  <a:lnTo>
                    <a:pt x="671512" y="258128"/>
                  </a:lnTo>
                  <a:lnTo>
                    <a:pt x="674370" y="259080"/>
                  </a:lnTo>
                  <a:lnTo>
                    <a:pt x="677227" y="260985"/>
                  </a:lnTo>
                  <a:lnTo>
                    <a:pt x="680085" y="267653"/>
                  </a:lnTo>
                  <a:lnTo>
                    <a:pt x="682943" y="271463"/>
                  </a:lnTo>
                  <a:lnTo>
                    <a:pt x="687705" y="274320"/>
                  </a:lnTo>
                  <a:lnTo>
                    <a:pt x="698183" y="277178"/>
                  </a:lnTo>
                  <a:lnTo>
                    <a:pt x="702945" y="280988"/>
                  </a:lnTo>
                  <a:lnTo>
                    <a:pt x="703898" y="283845"/>
                  </a:lnTo>
                  <a:lnTo>
                    <a:pt x="704850" y="286703"/>
                  </a:lnTo>
                  <a:lnTo>
                    <a:pt x="705802" y="297180"/>
                  </a:lnTo>
                  <a:lnTo>
                    <a:pt x="706755" y="300990"/>
                  </a:lnTo>
                  <a:lnTo>
                    <a:pt x="710565" y="302895"/>
                  </a:lnTo>
                  <a:lnTo>
                    <a:pt x="712470" y="302895"/>
                  </a:lnTo>
                  <a:lnTo>
                    <a:pt x="736283" y="305753"/>
                  </a:lnTo>
                  <a:lnTo>
                    <a:pt x="739140" y="304800"/>
                  </a:lnTo>
                  <a:lnTo>
                    <a:pt x="741045" y="303847"/>
                  </a:lnTo>
                  <a:lnTo>
                    <a:pt x="743902" y="299085"/>
                  </a:lnTo>
                  <a:lnTo>
                    <a:pt x="747712" y="289560"/>
                  </a:lnTo>
                  <a:lnTo>
                    <a:pt x="752475" y="282892"/>
                  </a:lnTo>
                  <a:lnTo>
                    <a:pt x="756285" y="275272"/>
                  </a:lnTo>
                  <a:lnTo>
                    <a:pt x="758190" y="273367"/>
                  </a:lnTo>
                  <a:lnTo>
                    <a:pt x="762000" y="273367"/>
                  </a:lnTo>
                  <a:lnTo>
                    <a:pt x="764858" y="273367"/>
                  </a:lnTo>
                  <a:lnTo>
                    <a:pt x="767715" y="276225"/>
                  </a:lnTo>
                  <a:lnTo>
                    <a:pt x="769620" y="280035"/>
                  </a:lnTo>
                  <a:lnTo>
                    <a:pt x="770573" y="286703"/>
                  </a:lnTo>
                  <a:lnTo>
                    <a:pt x="770573" y="292417"/>
                  </a:lnTo>
                  <a:lnTo>
                    <a:pt x="768668" y="311467"/>
                  </a:lnTo>
                  <a:lnTo>
                    <a:pt x="768668" y="315278"/>
                  </a:lnTo>
                  <a:lnTo>
                    <a:pt x="769620" y="318135"/>
                  </a:lnTo>
                  <a:lnTo>
                    <a:pt x="771525" y="321945"/>
                  </a:lnTo>
                  <a:lnTo>
                    <a:pt x="775335" y="327660"/>
                  </a:lnTo>
                  <a:lnTo>
                    <a:pt x="783908" y="337185"/>
                  </a:lnTo>
                  <a:lnTo>
                    <a:pt x="789623" y="345758"/>
                  </a:lnTo>
                  <a:lnTo>
                    <a:pt x="791527" y="352425"/>
                  </a:lnTo>
                  <a:lnTo>
                    <a:pt x="791527" y="359092"/>
                  </a:lnTo>
                  <a:lnTo>
                    <a:pt x="790575" y="362903"/>
                  </a:lnTo>
                  <a:lnTo>
                    <a:pt x="787718" y="364808"/>
                  </a:lnTo>
                  <a:lnTo>
                    <a:pt x="782955" y="367665"/>
                  </a:lnTo>
                  <a:lnTo>
                    <a:pt x="781050" y="368617"/>
                  </a:lnTo>
                  <a:lnTo>
                    <a:pt x="780098" y="371475"/>
                  </a:lnTo>
                  <a:lnTo>
                    <a:pt x="780098" y="374333"/>
                  </a:lnTo>
                  <a:lnTo>
                    <a:pt x="781050" y="378142"/>
                  </a:lnTo>
                  <a:lnTo>
                    <a:pt x="787718" y="383858"/>
                  </a:lnTo>
                  <a:lnTo>
                    <a:pt x="789623" y="386715"/>
                  </a:lnTo>
                  <a:lnTo>
                    <a:pt x="790575" y="388620"/>
                  </a:lnTo>
                  <a:lnTo>
                    <a:pt x="789623" y="392430"/>
                  </a:lnTo>
                  <a:lnTo>
                    <a:pt x="782955" y="401003"/>
                  </a:lnTo>
                  <a:lnTo>
                    <a:pt x="780098" y="406717"/>
                  </a:lnTo>
                  <a:lnTo>
                    <a:pt x="777240" y="415290"/>
                  </a:lnTo>
                  <a:lnTo>
                    <a:pt x="776287" y="420053"/>
                  </a:lnTo>
                  <a:lnTo>
                    <a:pt x="777240" y="422910"/>
                  </a:lnTo>
                  <a:lnTo>
                    <a:pt x="779145" y="425767"/>
                  </a:lnTo>
                  <a:lnTo>
                    <a:pt x="782955" y="428625"/>
                  </a:lnTo>
                  <a:lnTo>
                    <a:pt x="793433" y="433388"/>
                  </a:lnTo>
                  <a:lnTo>
                    <a:pt x="795337" y="434340"/>
                  </a:lnTo>
                  <a:lnTo>
                    <a:pt x="797243" y="437197"/>
                  </a:lnTo>
                  <a:lnTo>
                    <a:pt x="799148" y="441008"/>
                  </a:lnTo>
                  <a:lnTo>
                    <a:pt x="800100" y="448628"/>
                  </a:lnTo>
                  <a:lnTo>
                    <a:pt x="799148" y="458153"/>
                  </a:lnTo>
                  <a:lnTo>
                    <a:pt x="797243" y="464820"/>
                  </a:lnTo>
                  <a:lnTo>
                    <a:pt x="795337" y="466725"/>
                  </a:lnTo>
                  <a:lnTo>
                    <a:pt x="786765" y="467678"/>
                  </a:lnTo>
                  <a:lnTo>
                    <a:pt x="783908" y="469583"/>
                  </a:lnTo>
                  <a:lnTo>
                    <a:pt x="780098" y="473392"/>
                  </a:lnTo>
                  <a:lnTo>
                    <a:pt x="777240" y="477203"/>
                  </a:lnTo>
                  <a:lnTo>
                    <a:pt x="773430" y="481013"/>
                  </a:lnTo>
                  <a:lnTo>
                    <a:pt x="767715" y="481965"/>
                  </a:lnTo>
                  <a:lnTo>
                    <a:pt x="763905" y="482917"/>
                  </a:lnTo>
                  <a:lnTo>
                    <a:pt x="738187" y="478155"/>
                  </a:lnTo>
                  <a:lnTo>
                    <a:pt x="736283" y="479108"/>
                  </a:lnTo>
                  <a:lnTo>
                    <a:pt x="736283" y="481965"/>
                  </a:lnTo>
                  <a:lnTo>
                    <a:pt x="737235" y="486728"/>
                  </a:lnTo>
                  <a:lnTo>
                    <a:pt x="752475" y="513397"/>
                  </a:lnTo>
                  <a:lnTo>
                    <a:pt x="754380" y="519113"/>
                  </a:lnTo>
                  <a:lnTo>
                    <a:pt x="755333" y="524828"/>
                  </a:lnTo>
                  <a:lnTo>
                    <a:pt x="755333" y="526733"/>
                  </a:lnTo>
                  <a:lnTo>
                    <a:pt x="753427" y="528638"/>
                  </a:lnTo>
                  <a:lnTo>
                    <a:pt x="750570" y="529590"/>
                  </a:lnTo>
                  <a:lnTo>
                    <a:pt x="741045" y="530543"/>
                  </a:lnTo>
                  <a:lnTo>
                    <a:pt x="738187" y="531495"/>
                  </a:lnTo>
                  <a:lnTo>
                    <a:pt x="737235" y="533400"/>
                  </a:lnTo>
                  <a:lnTo>
                    <a:pt x="736283" y="536258"/>
                  </a:lnTo>
                  <a:lnTo>
                    <a:pt x="734377" y="554355"/>
                  </a:lnTo>
                  <a:lnTo>
                    <a:pt x="736283" y="558165"/>
                  </a:lnTo>
                  <a:lnTo>
                    <a:pt x="740093" y="561022"/>
                  </a:lnTo>
                  <a:lnTo>
                    <a:pt x="759143" y="568643"/>
                  </a:lnTo>
                  <a:lnTo>
                    <a:pt x="762000" y="570547"/>
                  </a:lnTo>
                  <a:lnTo>
                    <a:pt x="763905" y="572453"/>
                  </a:lnTo>
                  <a:lnTo>
                    <a:pt x="765810" y="577215"/>
                  </a:lnTo>
                  <a:lnTo>
                    <a:pt x="765810" y="580072"/>
                  </a:lnTo>
                  <a:lnTo>
                    <a:pt x="763905" y="588645"/>
                  </a:lnTo>
                  <a:lnTo>
                    <a:pt x="764858" y="594360"/>
                  </a:lnTo>
                  <a:lnTo>
                    <a:pt x="767715" y="599122"/>
                  </a:lnTo>
                  <a:lnTo>
                    <a:pt x="782002" y="618172"/>
                  </a:lnTo>
                  <a:lnTo>
                    <a:pt x="787718" y="626745"/>
                  </a:lnTo>
                  <a:lnTo>
                    <a:pt x="789623" y="632460"/>
                  </a:lnTo>
                  <a:lnTo>
                    <a:pt x="790575" y="638175"/>
                  </a:lnTo>
                  <a:lnTo>
                    <a:pt x="791527" y="641033"/>
                  </a:lnTo>
                  <a:lnTo>
                    <a:pt x="794385" y="645795"/>
                  </a:lnTo>
                  <a:lnTo>
                    <a:pt x="797243" y="649605"/>
                  </a:lnTo>
                  <a:lnTo>
                    <a:pt x="906780" y="681038"/>
                  </a:lnTo>
                  <a:lnTo>
                    <a:pt x="897255" y="693420"/>
                  </a:lnTo>
                  <a:lnTo>
                    <a:pt x="890587" y="695325"/>
                  </a:lnTo>
                  <a:lnTo>
                    <a:pt x="880110" y="696278"/>
                  </a:lnTo>
                  <a:lnTo>
                    <a:pt x="878205" y="697230"/>
                  </a:lnTo>
                  <a:lnTo>
                    <a:pt x="877252" y="698183"/>
                  </a:lnTo>
                  <a:lnTo>
                    <a:pt x="879158" y="700088"/>
                  </a:lnTo>
                  <a:lnTo>
                    <a:pt x="888683" y="706755"/>
                  </a:lnTo>
                  <a:lnTo>
                    <a:pt x="890587" y="709613"/>
                  </a:lnTo>
                  <a:lnTo>
                    <a:pt x="890587" y="712470"/>
                  </a:lnTo>
                  <a:lnTo>
                    <a:pt x="886777" y="718185"/>
                  </a:lnTo>
                  <a:lnTo>
                    <a:pt x="882968" y="722947"/>
                  </a:lnTo>
                  <a:lnTo>
                    <a:pt x="878205" y="726758"/>
                  </a:lnTo>
                  <a:lnTo>
                    <a:pt x="873443" y="729615"/>
                  </a:lnTo>
                  <a:lnTo>
                    <a:pt x="870585" y="729615"/>
                  </a:lnTo>
                  <a:lnTo>
                    <a:pt x="857250" y="726758"/>
                  </a:lnTo>
                  <a:lnTo>
                    <a:pt x="854393" y="726758"/>
                  </a:lnTo>
                  <a:lnTo>
                    <a:pt x="852487" y="727710"/>
                  </a:lnTo>
                  <a:lnTo>
                    <a:pt x="851535" y="730568"/>
                  </a:lnTo>
                  <a:lnTo>
                    <a:pt x="845820" y="741045"/>
                  </a:lnTo>
                  <a:lnTo>
                    <a:pt x="844868" y="743903"/>
                  </a:lnTo>
                  <a:lnTo>
                    <a:pt x="844868" y="747713"/>
                  </a:lnTo>
                  <a:lnTo>
                    <a:pt x="845820" y="751522"/>
                  </a:lnTo>
                  <a:lnTo>
                    <a:pt x="847725" y="754380"/>
                  </a:lnTo>
                  <a:lnTo>
                    <a:pt x="849630" y="756285"/>
                  </a:lnTo>
                  <a:lnTo>
                    <a:pt x="862965" y="762953"/>
                  </a:lnTo>
                  <a:lnTo>
                    <a:pt x="867727" y="765810"/>
                  </a:lnTo>
                  <a:lnTo>
                    <a:pt x="871537" y="769620"/>
                  </a:lnTo>
                  <a:lnTo>
                    <a:pt x="875348" y="773430"/>
                  </a:lnTo>
                  <a:lnTo>
                    <a:pt x="877252" y="778193"/>
                  </a:lnTo>
                  <a:lnTo>
                    <a:pt x="879158" y="783908"/>
                  </a:lnTo>
                  <a:lnTo>
                    <a:pt x="879158" y="786765"/>
                  </a:lnTo>
                  <a:lnTo>
                    <a:pt x="878205" y="791528"/>
                  </a:lnTo>
                  <a:lnTo>
                    <a:pt x="876300" y="797243"/>
                  </a:lnTo>
                  <a:lnTo>
                    <a:pt x="860108" y="829628"/>
                  </a:lnTo>
                  <a:lnTo>
                    <a:pt x="855345" y="836295"/>
                  </a:lnTo>
                  <a:lnTo>
                    <a:pt x="853440" y="839153"/>
                  </a:lnTo>
                  <a:lnTo>
                    <a:pt x="853440" y="842010"/>
                  </a:lnTo>
                  <a:lnTo>
                    <a:pt x="854393" y="844868"/>
                  </a:lnTo>
                  <a:lnTo>
                    <a:pt x="856298" y="847725"/>
                  </a:lnTo>
                  <a:lnTo>
                    <a:pt x="862012" y="853440"/>
                  </a:lnTo>
                  <a:lnTo>
                    <a:pt x="863918" y="855345"/>
                  </a:lnTo>
                  <a:lnTo>
                    <a:pt x="863918" y="859155"/>
                  </a:lnTo>
                  <a:lnTo>
                    <a:pt x="862965" y="863918"/>
                  </a:lnTo>
                  <a:lnTo>
                    <a:pt x="858202" y="870585"/>
                  </a:lnTo>
                  <a:lnTo>
                    <a:pt x="854393" y="873443"/>
                  </a:lnTo>
                  <a:lnTo>
                    <a:pt x="850583" y="873443"/>
                  </a:lnTo>
                  <a:lnTo>
                    <a:pt x="845820" y="870585"/>
                  </a:lnTo>
                  <a:lnTo>
                    <a:pt x="842962" y="869633"/>
                  </a:lnTo>
                  <a:lnTo>
                    <a:pt x="837248" y="870585"/>
                  </a:lnTo>
                  <a:lnTo>
                    <a:pt x="835343" y="871538"/>
                  </a:lnTo>
                  <a:lnTo>
                    <a:pt x="833437" y="875347"/>
                  </a:lnTo>
                  <a:lnTo>
                    <a:pt x="831533" y="881063"/>
                  </a:lnTo>
                  <a:lnTo>
                    <a:pt x="831533" y="893445"/>
                  </a:lnTo>
                  <a:lnTo>
                    <a:pt x="832485" y="898208"/>
                  </a:lnTo>
                  <a:lnTo>
                    <a:pt x="833437" y="902018"/>
                  </a:lnTo>
                  <a:lnTo>
                    <a:pt x="848677" y="913447"/>
                  </a:lnTo>
                  <a:lnTo>
                    <a:pt x="850583" y="915353"/>
                  </a:lnTo>
                  <a:lnTo>
                    <a:pt x="851535" y="918210"/>
                  </a:lnTo>
                  <a:lnTo>
                    <a:pt x="851535" y="920115"/>
                  </a:lnTo>
                  <a:lnTo>
                    <a:pt x="848677" y="922972"/>
                  </a:lnTo>
                  <a:lnTo>
                    <a:pt x="842010" y="927735"/>
                  </a:lnTo>
                  <a:lnTo>
                    <a:pt x="840105" y="929640"/>
                  </a:lnTo>
                  <a:lnTo>
                    <a:pt x="839152" y="932497"/>
                  </a:lnTo>
                  <a:lnTo>
                    <a:pt x="838200" y="936307"/>
                  </a:lnTo>
                  <a:lnTo>
                    <a:pt x="839152" y="942022"/>
                  </a:lnTo>
                  <a:lnTo>
                    <a:pt x="841058" y="944880"/>
                  </a:lnTo>
                  <a:lnTo>
                    <a:pt x="842962" y="946785"/>
                  </a:lnTo>
                  <a:lnTo>
                    <a:pt x="845820" y="948690"/>
                  </a:lnTo>
                  <a:lnTo>
                    <a:pt x="852487" y="949643"/>
                  </a:lnTo>
                  <a:lnTo>
                    <a:pt x="884873" y="949643"/>
                  </a:lnTo>
                  <a:lnTo>
                    <a:pt x="886777" y="951547"/>
                  </a:lnTo>
                  <a:lnTo>
                    <a:pt x="889635" y="956310"/>
                  </a:lnTo>
                  <a:lnTo>
                    <a:pt x="891540" y="961072"/>
                  </a:lnTo>
                  <a:lnTo>
                    <a:pt x="895350" y="971550"/>
                  </a:lnTo>
                  <a:lnTo>
                    <a:pt x="895350" y="974407"/>
                  </a:lnTo>
                  <a:lnTo>
                    <a:pt x="894398" y="977265"/>
                  </a:lnTo>
                  <a:lnTo>
                    <a:pt x="891540" y="979170"/>
                  </a:lnTo>
                  <a:lnTo>
                    <a:pt x="875348" y="984885"/>
                  </a:lnTo>
                  <a:lnTo>
                    <a:pt x="873443" y="987743"/>
                  </a:lnTo>
                  <a:lnTo>
                    <a:pt x="872490" y="991553"/>
                  </a:lnTo>
                  <a:lnTo>
                    <a:pt x="873443" y="996315"/>
                  </a:lnTo>
                  <a:lnTo>
                    <a:pt x="875348" y="999172"/>
                  </a:lnTo>
                  <a:lnTo>
                    <a:pt x="877252" y="1004888"/>
                  </a:lnTo>
                  <a:lnTo>
                    <a:pt x="878205" y="1007745"/>
                  </a:lnTo>
                  <a:lnTo>
                    <a:pt x="879158" y="1016318"/>
                  </a:lnTo>
                  <a:lnTo>
                    <a:pt x="881062" y="1022032"/>
                  </a:lnTo>
                  <a:lnTo>
                    <a:pt x="885825" y="1024890"/>
                  </a:lnTo>
                  <a:lnTo>
                    <a:pt x="894398" y="1026795"/>
                  </a:lnTo>
                  <a:lnTo>
                    <a:pt x="896302" y="1028700"/>
                  </a:lnTo>
                  <a:lnTo>
                    <a:pt x="898208" y="1030605"/>
                  </a:lnTo>
                  <a:lnTo>
                    <a:pt x="899160" y="1032510"/>
                  </a:lnTo>
                  <a:lnTo>
                    <a:pt x="899160" y="1036320"/>
                  </a:lnTo>
                  <a:lnTo>
                    <a:pt x="898208" y="1043940"/>
                  </a:lnTo>
                  <a:lnTo>
                    <a:pt x="898208" y="1051560"/>
                  </a:lnTo>
                  <a:lnTo>
                    <a:pt x="900112" y="1056323"/>
                  </a:lnTo>
                  <a:lnTo>
                    <a:pt x="902018" y="1058228"/>
                  </a:lnTo>
                  <a:lnTo>
                    <a:pt x="908685" y="1066800"/>
                  </a:lnTo>
                  <a:lnTo>
                    <a:pt x="911543" y="1073468"/>
                  </a:lnTo>
                  <a:lnTo>
                    <a:pt x="911543" y="1077278"/>
                  </a:lnTo>
                  <a:lnTo>
                    <a:pt x="909637" y="1081088"/>
                  </a:lnTo>
                  <a:lnTo>
                    <a:pt x="905827" y="1086803"/>
                  </a:lnTo>
                  <a:lnTo>
                    <a:pt x="902970" y="1091565"/>
                  </a:lnTo>
                  <a:lnTo>
                    <a:pt x="901065" y="1096328"/>
                  </a:lnTo>
                  <a:lnTo>
                    <a:pt x="900112" y="1102043"/>
                  </a:lnTo>
                  <a:lnTo>
                    <a:pt x="901065" y="1109663"/>
                  </a:lnTo>
                  <a:lnTo>
                    <a:pt x="903923" y="1114425"/>
                  </a:lnTo>
                  <a:lnTo>
                    <a:pt x="909637" y="1122998"/>
                  </a:lnTo>
                  <a:lnTo>
                    <a:pt x="912495" y="1127760"/>
                  </a:lnTo>
                  <a:lnTo>
                    <a:pt x="913448" y="1133475"/>
                  </a:lnTo>
                  <a:lnTo>
                    <a:pt x="913448" y="1140143"/>
                  </a:lnTo>
                  <a:lnTo>
                    <a:pt x="913448" y="1146810"/>
                  </a:lnTo>
                  <a:lnTo>
                    <a:pt x="914400" y="1152525"/>
                  </a:lnTo>
                  <a:lnTo>
                    <a:pt x="915352" y="1158240"/>
                  </a:lnTo>
                  <a:lnTo>
                    <a:pt x="917258" y="1163955"/>
                  </a:lnTo>
                  <a:lnTo>
                    <a:pt x="918210" y="1165860"/>
                  </a:lnTo>
                  <a:lnTo>
                    <a:pt x="917258" y="1169670"/>
                  </a:lnTo>
                  <a:lnTo>
                    <a:pt x="915352" y="1172528"/>
                  </a:lnTo>
                  <a:lnTo>
                    <a:pt x="909637" y="1175385"/>
                  </a:lnTo>
                  <a:lnTo>
                    <a:pt x="905827" y="1176338"/>
                  </a:lnTo>
                  <a:lnTo>
                    <a:pt x="888683" y="1177290"/>
                  </a:lnTo>
                  <a:lnTo>
                    <a:pt x="876300" y="1183005"/>
                  </a:lnTo>
                  <a:lnTo>
                    <a:pt x="872490" y="1186815"/>
                  </a:lnTo>
                  <a:lnTo>
                    <a:pt x="862012" y="1200150"/>
                  </a:lnTo>
                  <a:lnTo>
                    <a:pt x="859155" y="1203007"/>
                  </a:lnTo>
                  <a:lnTo>
                    <a:pt x="853440" y="1203960"/>
                  </a:lnTo>
                  <a:lnTo>
                    <a:pt x="847725" y="1203007"/>
                  </a:lnTo>
                  <a:lnTo>
                    <a:pt x="842010" y="1200150"/>
                  </a:lnTo>
                  <a:lnTo>
                    <a:pt x="837248" y="1197293"/>
                  </a:lnTo>
                  <a:lnTo>
                    <a:pt x="826770" y="1189673"/>
                  </a:lnTo>
                  <a:lnTo>
                    <a:pt x="821055" y="1186815"/>
                  </a:lnTo>
                  <a:lnTo>
                    <a:pt x="811530" y="1185863"/>
                  </a:lnTo>
                  <a:lnTo>
                    <a:pt x="808673" y="1184910"/>
                  </a:lnTo>
                  <a:lnTo>
                    <a:pt x="802958" y="1181100"/>
                  </a:lnTo>
                  <a:lnTo>
                    <a:pt x="794385" y="1175385"/>
                  </a:lnTo>
                  <a:lnTo>
                    <a:pt x="786765" y="1171575"/>
                  </a:lnTo>
                  <a:lnTo>
                    <a:pt x="773430" y="1168718"/>
                  </a:lnTo>
                  <a:lnTo>
                    <a:pt x="770573" y="1170623"/>
                  </a:lnTo>
                  <a:lnTo>
                    <a:pt x="766762" y="1174432"/>
                  </a:lnTo>
                  <a:lnTo>
                    <a:pt x="755333" y="1195388"/>
                  </a:lnTo>
                  <a:lnTo>
                    <a:pt x="751523" y="1198245"/>
                  </a:lnTo>
                  <a:lnTo>
                    <a:pt x="748665" y="1199198"/>
                  </a:lnTo>
                  <a:lnTo>
                    <a:pt x="725805" y="1195388"/>
                  </a:lnTo>
                  <a:lnTo>
                    <a:pt x="713423" y="1195388"/>
                  </a:lnTo>
                  <a:lnTo>
                    <a:pt x="710565" y="1198245"/>
                  </a:lnTo>
                  <a:lnTo>
                    <a:pt x="706755" y="1202055"/>
                  </a:lnTo>
                  <a:lnTo>
                    <a:pt x="702945" y="1212532"/>
                  </a:lnTo>
                  <a:lnTo>
                    <a:pt x="701040" y="1218248"/>
                  </a:lnTo>
                  <a:lnTo>
                    <a:pt x="699135" y="1223010"/>
                  </a:lnTo>
                  <a:lnTo>
                    <a:pt x="698183" y="1225868"/>
                  </a:lnTo>
                  <a:lnTo>
                    <a:pt x="698183" y="1232535"/>
                  </a:lnTo>
                  <a:lnTo>
                    <a:pt x="697230" y="1236345"/>
                  </a:lnTo>
                  <a:lnTo>
                    <a:pt x="694373" y="1240155"/>
                  </a:lnTo>
                  <a:lnTo>
                    <a:pt x="685800" y="1243965"/>
                  </a:lnTo>
                  <a:lnTo>
                    <a:pt x="683895" y="1245870"/>
                  </a:lnTo>
                  <a:lnTo>
                    <a:pt x="681037" y="1250632"/>
                  </a:lnTo>
                  <a:lnTo>
                    <a:pt x="679133" y="1259205"/>
                  </a:lnTo>
                  <a:lnTo>
                    <a:pt x="676275" y="1265873"/>
                  </a:lnTo>
                  <a:lnTo>
                    <a:pt x="672465" y="1269682"/>
                  </a:lnTo>
                  <a:lnTo>
                    <a:pt x="668655" y="1272540"/>
                  </a:lnTo>
                  <a:lnTo>
                    <a:pt x="662940" y="1278255"/>
                  </a:lnTo>
                  <a:lnTo>
                    <a:pt x="659130" y="1280160"/>
                  </a:lnTo>
                  <a:lnTo>
                    <a:pt x="657225" y="1283018"/>
                  </a:lnTo>
                  <a:lnTo>
                    <a:pt x="656273" y="1286828"/>
                  </a:lnTo>
                  <a:lnTo>
                    <a:pt x="653415" y="1297305"/>
                  </a:lnTo>
                  <a:lnTo>
                    <a:pt x="650558" y="1300163"/>
                  </a:lnTo>
                  <a:lnTo>
                    <a:pt x="649605" y="1303973"/>
                  </a:lnTo>
                  <a:lnTo>
                    <a:pt x="649605" y="1307782"/>
                  </a:lnTo>
                  <a:lnTo>
                    <a:pt x="651510" y="1315403"/>
                  </a:lnTo>
                  <a:lnTo>
                    <a:pt x="653415" y="1319213"/>
                  </a:lnTo>
                  <a:lnTo>
                    <a:pt x="658177" y="1326832"/>
                  </a:lnTo>
                  <a:lnTo>
                    <a:pt x="659130" y="1328738"/>
                  </a:lnTo>
                  <a:lnTo>
                    <a:pt x="659130" y="1331595"/>
                  </a:lnTo>
                  <a:lnTo>
                    <a:pt x="658177" y="1335405"/>
                  </a:lnTo>
                  <a:lnTo>
                    <a:pt x="655320" y="1339215"/>
                  </a:lnTo>
                  <a:lnTo>
                    <a:pt x="652462" y="1341120"/>
                  </a:lnTo>
                  <a:lnTo>
                    <a:pt x="647700" y="1343978"/>
                  </a:lnTo>
                  <a:lnTo>
                    <a:pt x="645795" y="1345882"/>
                  </a:lnTo>
                  <a:lnTo>
                    <a:pt x="644843" y="1349693"/>
                  </a:lnTo>
                  <a:lnTo>
                    <a:pt x="645795" y="1353503"/>
                  </a:lnTo>
                  <a:lnTo>
                    <a:pt x="647700" y="1362075"/>
                  </a:lnTo>
                  <a:lnTo>
                    <a:pt x="653415" y="1371600"/>
                  </a:lnTo>
                  <a:lnTo>
                    <a:pt x="657225" y="1384935"/>
                  </a:lnTo>
                  <a:lnTo>
                    <a:pt x="659130" y="1396365"/>
                  </a:lnTo>
                  <a:lnTo>
                    <a:pt x="660083" y="1402080"/>
                  </a:lnTo>
                  <a:lnTo>
                    <a:pt x="661987" y="1445895"/>
                  </a:lnTo>
                  <a:lnTo>
                    <a:pt x="663893" y="1456373"/>
                  </a:lnTo>
                  <a:lnTo>
                    <a:pt x="667702" y="1466850"/>
                  </a:lnTo>
                  <a:lnTo>
                    <a:pt x="670560" y="1471613"/>
                  </a:lnTo>
                  <a:lnTo>
                    <a:pt x="673418" y="1476375"/>
                  </a:lnTo>
                  <a:lnTo>
                    <a:pt x="673418" y="1479232"/>
                  </a:lnTo>
                  <a:lnTo>
                    <a:pt x="673418" y="1482090"/>
                  </a:lnTo>
                  <a:lnTo>
                    <a:pt x="670560" y="1484948"/>
                  </a:lnTo>
                  <a:lnTo>
                    <a:pt x="667702" y="1484948"/>
                  </a:lnTo>
                  <a:lnTo>
                    <a:pt x="661987" y="1484948"/>
                  </a:lnTo>
                  <a:lnTo>
                    <a:pt x="659130" y="1485900"/>
                  </a:lnTo>
                  <a:lnTo>
                    <a:pt x="658177" y="1488757"/>
                  </a:lnTo>
                  <a:lnTo>
                    <a:pt x="658177" y="1496378"/>
                  </a:lnTo>
                  <a:lnTo>
                    <a:pt x="659130" y="1504950"/>
                  </a:lnTo>
                  <a:lnTo>
                    <a:pt x="661035" y="1508760"/>
                  </a:lnTo>
                  <a:lnTo>
                    <a:pt x="661035" y="1512570"/>
                  </a:lnTo>
                  <a:lnTo>
                    <a:pt x="660083" y="1530668"/>
                  </a:lnTo>
                  <a:lnTo>
                    <a:pt x="656273" y="1550670"/>
                  </a:lnTo>
                  <a:lnTo>
                    <a:pt x="644843" y="1593532"/>
                  </a:lnTo>
                  <a:lnTo>
                    <a:pt x="638175" y="1598295"/>
                  </a:lnTo>
                  <a:lnTo>
                    <a:pt x="631508" y="1611630"/>
                  </a:lnTo>
                  <a:lnTo>
                    <a:pt x="625793" y="1616393"/>
                  </a:lnTo>
                  <a:lnTo>
                    <a:pt x="619125" y="1617345"/>
                  </a:lnTo>
                  <a:lnTo>
                    <a:pt x="614362" y="1613535"/>
                  </a:lnTo>
                  <a:lnTo>
                    <a:pt x="609600" y="1608773"/>
                  </a:lnTo>
                  <a:lnTo>
                    <a:pt x="604837" y="1604963"/>
                  </a:lnTo>
                  <a:lnTo>
                    <a:pt x="583883" y="1601153"/>
                  </a:lnTo>
                  <a:lnTo>
                    <a:pt x="572452" y="1603057"/>
                  </a:lnTo>
                  <a:lnTo>
                    <a:pt x="573405" y="1613535"/>
                  </a:lnTo>
                  <a:lnTo>
                    <a:pt x="578168" y="1616393"/>
                  </a:lnTo>
                  <a:lnTo>
                    <a:pt x="583883" y="1617345"/>
                  </a:lnTo>
                  <a:lnTo>
                    <a:pt x="586740" y="1621155"/>
                  </a:lnTo>
                  <a:lnTo>
                    <a:pt x="586740" y="1631632"/>
                  </a:lnTo>
                  <a:lnTo>
                    <a:pt x="583883" y="1638300"/>
                  </a:lnTo>
                  <a:lnTo>
                    <a:pt x="580073" y="1641157"/>
                  </a:lnTo>
                  <a:lnTo>
                    <a:pt x="574358" y="1642110"/>
                  </a:lnTo>
                  <a:lnTo>
                    <a:pt x="568643" y="1643063"/>
                  </a:lnTo>
                  <a:lnTo>
                    <a:pt x="561975" y="1641157"/>
                  </a:lnTo>
                  <a:lnTo>
                    <a:pt x="550545" y="1633538"/>
                  </a:lnTo>
                  <a:lnTo>
                    <a:pt x="544830" y="1631632"/>
                  </a:lnTo>
                  <a:lnTo>
                    <a:pt x="526733" y="1631632"/>
                  </a:lnTo>
                  <a:lnTo>
                    <a:pt x="523875" y="1634490"/>
                  </a:lnTo>
                  <a:lnTo>
                    <a:pt x="517208" y="1644968"/>
                  </a:lnTo>
                  <a:lnTo>
                    <a:pt x="514350" y="1648778"/>
                  </a:lnTo>
                  <a:lnTo>
                    <a:pt x="508635" y="1649730"/>
                  </a:lnTo>
                  <a:lnTo>
                    <a:pt x="485775" y="1647825"/>
                  </a:lnTo>
                  <a:lnTo>
                    <a:pt x="475298" y="1644015"/>
                  </a:lnTo>
                  <a:lnTo>
                    <a:pt x="468630" y="1643063"/>
                  </a:lnTo>
                  <a:lnTo>
                    <a:pt x="465773" y="1644968"/>
                  </a:lnTo>
                  <a:lnTo>
                    <a:pt x="463867" y="1647825"/>
                  </a:lnTo>
                  <a:lnTo>
                    <a:pt x="461962" y="1648778"/>
                  </a:lnTo>
                  <a:lnTo>
                    <a:pt x="458152" y="1645920"/>
                  </a:lnTo>
                  <a:lnTo>
                    <a:pt x="451485" y="1637348"/>
                  </a:lnTo>
                  <a:lnTo>
                    <a:pt x="431483" y="1632585"/>
                  </a:lnTo>
                  <a:lnTo>
                    <a:pt x="420052" y="1632585"/>
                  </a:lnTo>
                  <a:lnTo>
                    <a:pt x="409575" y="1637348"/>
                  </a:lnTo>
                  <a:lnTo>
                    <a:pt x="401955" y="1646873"/>
                  </a:lnTo>
                  <a:lnTo>
                    <a:pt x="396240" y="1656398"/>
                  </a:lnTo>
                  <a:lnTo>
                    <a:pt x="388620" y="1663065"/>
                  </a:lnTo>
                  <a:lnTo>
                    <a:pt x="375285" y="1664970"/>
                  </a:lnTo>
                  <a:lnTo>
                    <a:pt x="365760" y="1660207"/>
                  </a:lnTo>
                  <a:lnTo>
                    <a:pt x="358140" y="1648778"/>
                  </a:lnTo>
                  <a:lnTo>
                    <a:pt x="355283" y="1632585"/>
                  </a:lnTo>
                  <a:lnTo>
                    <a:pt x="359092" y="1616393"/>
                  </a:lnTo>
                  <a:lnTo>
                    <a:pt x="353377" y="1612582"/>
                  </a:lnTo>
                  <a:lnTo>
                    <a:pt x="347662" y="1610678"/>
                  </a:lnTo>
                  <a:lnTo>
                    <a:pt x="342900" y="1611630"/>
                  </a:lnTo>
                  <a:lnTo>
                    <a:pt x="337185" y="1616393"/>
                  </a:lnTo>
                  <a:lnTo>
                    <a:pt x="334327" y="1623060"/>
                  </a:lnTo>
                  <a:lnTo>
                    <a:pt x="338137" y="1634490"/>
                  </a:lnTo>
                  <a:lnTo>
                    <a:pt x="337185" y="1643063"/>
                  </a:lnTo>
                  <a:lnTo>
                    <a:pt x="329565" y="1656398"/>
                  </a:lnTo>
                  <a:lnTo>
                    <a:pt x="321945" y="1657350"/>
                  </a:lnTo>
                  <a:lnTo>
                    <a:pt x="317183" y="1647825"/>
                  </a:lnTo>
                  <a:lnTo>
                    <a:pt x="315277" y="1634490"/>
                  </a:lnTo>
                  <a:lnTo>
                    <a:pt x="312420" y="1626870"/>
                  </a:lnTo>
                  <a:lnTo>
                    <a:pt x="306705" y="1621155"/>
                  </a:lnTo>
                  <a:lnTo>
                    <a:pt x="300038" y="1622107"/>
                  </a:lnTo>
                  <a:lnTo>
                    <a:pt x="297180" y="1629728"/>
                  </a:lnTo>
                  <a:lnTo>
                    <a:pt x="299085" y="1635443"/>
                  </a:lnTo>
                  <a:lnTo>
                    <a:pt x="309563" y="1646873"/>
                  </a:lnTo>
                  <a:lnTo>
                    <a:pt x="311467" y="1651635"/>
                  </a:lnTo>
                  <a:lnTo>
                    <a:pt x="308610" y="1664970"/>
                  </a:lnTo>
                  <a:lnTo>
                    <a:pt x="302895" y="1669732"/>
                  </a:lnTo>
                  <a:lnTo>
                    <a:pt x="294322" y="1668780"/>
                  </a:lnTo>
                  <a:lnTo>
                    <a:pt x="286702" y="1664970"/>
                  </a:lnTo>
                  <a:lnTo>
                    <a:pt x="267652" y="1650682"/>
                  </a:lnTo>
                  <a:lnTo>
                    <a:pt x="255270" y="1647825"/>
                  </a:lnTo>
                  <a:lnTo>
                    <a:pt x="244792" y="1656398"/>
                  </a:lnTo>
                  <a:lnTo>
                    <a:pt x="245745" y="1664970"/>
                  </a:lnTo>
                  <a:lnTo>
                    <a:pt x="256222" y="1670685"/>
                  </a:lnTo>
                  <a:lnTo>
                    <a:pt x="275272" y="1676400"/>
                  </a:lnTo>
                  <a:lnTo>
                    <a:pt x="284797" y="1683068"/>
                  </a:lnTo>
                  <a:lnTo>
                    <a:pt x="293370" y="1691640"/>
                  </a:lnTo>
                  <a:lnTo>
                    <a:pt x="295275" y="1700213"/>
                  </a:lnTo>
                  <a:lnTo>
                    <a:pt x="284797" y="1703070"/>
                  </a:lnTo>
                  <a:lnTo>
                    <a:pt x="266700" y="1704023"/>
                  </a:lnTo>
                  <a:lnTo>
                    <a:pt x="260985" y="1703070"/>
                  </a:lnTo>
                  <a:lnTo>
                    <a:pt x="259080" y="1700213"/>
                  </a:lnTo>
                  <a:lnTo>
                    <a:pt x="256222" y="1694498"/>
                  </a:lnTo>
                  <a:lnTo>
                    <a:pt x="252413" y="1690688"/>
                  </a:lnTo>
                  <a:lnTo>
                    <a:pt x="246697" y="1691640"/>
                  </a:lnTo>
                  <a:lnTo>
                    <a:pt x="241935" y="1703070"/>
                  </a:lnTo>
                  <a:lnTo>
                    <a:pt x="249555" y="1730693"/>
                  </a:lnTo>
                  <a:lnTo>
                    <a:pt x="240983" y="1735455"/>
                  </a:lnTo>
                  <a:lnTo>
                    <a:pt x="229552" y="1734503"/>
                  </a:lnTo>
                  <a:lnTo>
                    <a:pt x="220980" y="1731645"/>
                  </a:lnTo>
                  <a:lnTo>
                    <a:pt x="213360" y="1724978"/>
                  </a:lnTo>
                  <a:lnTo>
                    <a:pt x="206692" y="1714500"/>
                  </a:lnTo>
                  <a:lnTo>
                    <a:pt x="197167" y="1691640"/>
                  </a:lnTo>
                  <a:lnTo>
                    <a:pt x="193358" y="1685925"/>
                  </a:lnTo>
                  <a:lnTo>
                    <a:pt x="180022" y="1672590"/>
                  </a:lnTo>
                  <a:lnTo>
                    <a:pt x="169545" y="1666875"/>
                  </a:lnTo>
                  <a:lnTo>
                    <a:pt x="144780" y="1673543"/>
                  </a:lnTo>
                  <a:lnTo>
                    <a:pt x="135255" y="1669732"/>
                  </a:lnTo>
                  <a:lnTo>
                    <a:pt x="122872" y="1684020"/>
                  </a:lnTo>
                  <a:lnTo>
                    <a:pt x="114300" y="1664970"/>
                  </a:lnTo>
                  <a:lnTo>
                    <a:pt x="110490" y="1654493"/>
                  </a:lnTo>
                  <a:lnTo>
                    <a:pt x="108585" y="1647825"/>
                  </a:lnTo>
                  <a:lnTo>
                    <a:pt x="109538" y="1644968"/>
                  </a:lnTo>
                  <a:lnTo>
                    <a:pt x="114300" y="1643063"/>
                  </a:lnTo>
                  <a:lnTo>
                    <a:pt x="116205" y="1642110"/>
                  </a:lnTo>
                  <a:lnTo>
                    <a:pt x="118110" y="1638300"/>
                  </a:lnTo>
                  <a:lnTo>
                    <a:pt x="116205" y="1636395"/>
                  </a:lnTo>
                  <a:lnTo>
                    <a:pt x="109538" y="1632585"/>
                  </a:lnTo>
                  <a:lnTo>
                    <a:pt x="104775" y="1627823"/>
                  </a:lnTo>
                  <a:lnTo>
                    <a:pt x="101917" y="1625918"/>
                  </a:lnTo>
                  <a:lnTo>
                    <a:pt x="91440" y="1619250"/>
                  </a:lnTo>
                  <a:lnTo>
                    <a:pt x="87630" y="1617345"/>
                  </a:lnTo>
                  <a:lnTo>
                    <a:pt x="83820" y="1613535"/>
                  </a:lnTo>
                  <a:lnTo>
                    <a:pt x="82867" y="1609725"/>
                  </a:lnTo>
                  <a:lnTo>
                    <a:pt x="82867" y="1606868"/>
                  </a:lnTo>
                  <a:lnTo>
                    <a:pt x="83820" y="1604010"/>
                  </a:lnTo>
                  <a:lnTo>
                    <a:pt x="87630" y="1596390"/>
                  </a:lnTo>
                  <a:lnTo>
                    <a:pt x="88583" y="1591628"/>
                  </a:lnTo>
                  <a:lnTo>
                    <a:pt x="88583" y="1583055"/>
                  </a:lnTo>
                  <a:lnTo>
                    <a:pt x="86677" y="1582103"/>
                  </a:lnTo>
                  <a:lnTo>
                    <a:pt x="85725" y="1583055"/>
                  </a:lnTo>
                  <a:lnTo>
                    <a:pt x="81915" y="1586865"/>
                  </a:lnTo>
                  <a:lnTo>
                    <a:pt x="80010" y="1588770"/>
                  </a:lnTo>
                  <a:lnTo>
                    <a:pt x="77152" y="1587818"/>
                  </a:lnTo>
                  <a:lnTo>
                    <a:pt x="72390" y="1584960"/>
                  </a:lnTo>
                  <a:lnTo>
                    <a:pt x="70485" y="1581150"/>
                  </a:lnTo>
                  <a:lnTo>
                    <a:pt x="70485" y="1578293"/>
                  </a:lnTo>
                  <a:lnTo>
                    <a:pt x="71438" y="1570673"/>
                  </a:lnTo>
                  <a:lnTo>
                    <a:pt x="70485" y="1568768"/>
                  </a:lnTo>
                  <a:lnTo>
                    <a:pt x="67627" y="1567815"/>
                  </a:lnTo>
                  <a:lnTo>
                    <a:pt x="64770" y="1566863"/>
                  </a:lnTo>
                  <a:lnTo>
                    <a:pt x="60008" y="1565910"/>
                  </a:lnTo>
                  <a:lnTo>
                    <a:pt x="56197" y="1564005"/>
                  </a:lnTo>
                  <a:lnTo>
                    <a:pt x="49530" y="1558290"/>
                  </a:lnTo>
                  <a:lnTo>
                    <a:pt x="46672" y="1553528"/>
                  </a:lnTo>
                  <a:lnTo>
                    <a:pt x="45720" y="1549718"/>
                  </a:lnTo>
                  <a:lnTo>
                    <a:pt x="46672" y="1543050"/>
                  </a:lnTo>
                  <a:lnTo>
                    <a:pt x="49530" y="1534478"/>
                  </a:lnTo>
                  <a:lnTo>
                    <a:pt x="50483" y="1527810"/>
                  </a:lnTo>
                  <a:lnTo>
                    <a:pt x="50483" y="1511618"/>
                  </a:lnTo>
                  <a:lnTo>
                    <a:pt x="51435" y="1505903"/>
                  </a:lnTo>
                  <a:lnTo>
                    <a:pt x="53340" y="1500188"/>
                  </a:lnTo>
                  <a:lnTo>
                    <a:pt x="54292" y="1495425"/>
                  </a:lnTo>
                  <a:lnTo>
                    <a:pt x="53340" y="1492568"/>
                  </a:lnTo>
                  <a:lnTo>
                    <a:pt x="50483" y="1488757"/>
                  </a:lnTo>
                  <a:lnTo>
                    <a:pt x="43815" y="1481138"/>
                  </a:lnTo>
                  <a:lnTo>
                    <a:pt x="42863" y="1477328"/>
                  </a:lnTo>
                  <a:lnTo>
                    <a:pt x="41910" y="1474470"/>
                  </a:lnTo>
                  <a:lnTo>
                    <a:pt x="43815" y="1471613"/>
                  </a:lnTo>
                  <a:lnTo>
                    <a:pt x="47625" y="1464945"/>
                  </a:lnTo>
                  <a:lnTo>
                    <a:pt x="48577" y="1459230"/>
                  </a:lnTo>
                  <a:lnTo>
                    <a:pt x="49530" y="1457325"/>
                  </a:lnTo>
                  <a:lnTo>
                    <a:pt x="51435" y="1456373"/>
                  </a:lnTo>
                  <a:lnTo>
                    <a:pt x="57150" y="1455420"/>
                  </a:lnTo>
                  <a:lnTo>
                    <a:pt x="60008" y="1453515"/>
                  </a:lnTo>
                  <a:lnTo>
                    <a:pt x="60960" y="1450657"/>
                  </a:lnTo>
                  <a:lnTo>
                    <a:pt x="60960" y="1448753"/>
                  </a:lnTo>
                  <a:lnTo>
                    <a:pt x="58102" y="1446848"/>
                  </a:lnTo>
                  <a:lnTo>
                    <a:pt x="47625" y="1443038"/>
                  </a:lnTo>
                  <a:lnTo>
                    <a:pt x="43815" y="1439228"/>
                  </a:lnTo>
                  <a:lnTo>
                    <a:pt x="36195" y="1427798"/>
                  </a:lnTo>
                  <a:lnTo>
                    <a:pt x="35242" y="1423988"/>
                  </a:lnTo>
                  <a:lnTo>
                    <a:pt x="35242" y="1420178"/>
                  </a:lnTo>
                  <a:lnTo>
                    <a:pt x="37147" y="1394460"/>
                  </a:lnTo>
                  <a:lnTo>
                    <a:pt x="39052" y="1383982"/>
                  </a:lnTo>
                  <a:lnTo>
                    <a:pt x="39052" y="1380173"/>
                  </a:lnTo>
                  <a:lnTo>
                    <a:pt x="38100" y="1377315"/>
                  </a:lnTo>
                  <a:lnTo>
                    <a:pt x="36195" y="1375410"/>
                  </a:lnTo>
                  <a:lnTo>
                    <a:pt x="28575" y="1377315"/>
                  </a:lnTo>
                  <a:lnTo>
                    <a:pt x="24765" y="1377315"/>
                  </a:lnTo>
                  <a:lnTo>
                    <a:pt x="23813" y="1375410"/>
                  </a:lnTo>
                  <a:lnTo>
                    <a:pt x="23813" y="1372553"/>
                  </a:lnTo>
                  <a:lnTo>
                    <a:pt x="23813" y="1369695"/>
                  </a:lnTo>
                  <a:lnTo>
                    <a:pt x="27622" y="1361123"/>
                  </a:lnTo>
                  <a:lnTo>
                    <a:pt x="28575" y="1356360"/>
                  </a:lnTo>
                  <a:lnTo>
                    <a:pt x="28575" y="1349693"/>
                  </a:lnTo>
                  <a:lnTo>
                    <a:pt x="27622" y="1344930"/>
                  </a:lnTo>
                  <a:lnTo>
                    <a:pt x="25717" y="1342073"/>
                  </a:lnTo>
                  <a:lnTo>
                    <a:pt x="21908" y="1335405"/>
                  </a:lnTo>
                  <a:lnTo>
                    <a:pt x="20955" y="1331595"/>
                  </a:lnTo>
                  <a:lnTo>
                    <a:pt x="22860" y="1329690"/>
                  </a:lnTo>
                  <a:lnTo>
                    <a:pt x="27622" y="1326832"/>
                  </a:lnTo>
                  <a:lnTo>
                    <a:pt x="29527" y="1324928"/>
                  </a:lnTo>
                  <a:lnTo>
                    <a:pt x="30480" y="1321118"/>
                  </a:lnTo>
                  <a:lnTo>
                    <a:pt x="29527" y="1316355"/>
                  </a:lnTo>
                  <a:lnTo>
                    <a:pt x="26670" y="1309688"/>
                  </a:lnTo>
                  <a:lnTo>
                    <a:pt x="26670" y="1306830"/>
                  </a:lnTo>
                  <a:lnTo>
                    <a:pt x="28575" y="1304925"/>
                  </a:lnTo>
                  <a:lnTo>
                    <a:pt x="35242" y="1303020"/>
                  </a:lnTo>
                  <a:lnTo>
                    <a:pt x="38100" y="1297305"/>
                  </a:lnTo>
                  <a:lnTo>
                    <a:pt x="38100" y="1296353"/>
                  </a:lnTo>
                  <a:lnTo>
                    <a:pt x="37147" y="1291590"/>
                  </a:lnTo>
                  <a:lnTo>
                    <a:pt x="31433" y="1282065"/>
                  </a:lnTo>
                  <a:lnTo>
                    <a:pt x="27622" y="1273493"/>
                  </a:lnTo>
                  <a:lnTo>
                    <a:pt x="26670" y="1267778"/>
                  </a:lnTo>
                  <a:lnTo>
                    <a:pt x="26670" y="1263968"/>
                  </a:lnTo>
                  <a:lnTo>
                    <a:pt x="29527" y="1259205"/>
                  </a:lnTo>
                  <a:lnTo>
                    <a:pt x="33338" y="1254443"/>
                  </a:lnTo>
                  <a:lnTo>
                    <a:pt x="38100" y="1249680"/>
                  </a:lnTo>
                  <a:lnTo>
                    <a:pt x="40958" y="1246823"/>
                  </a:lnTo>
                  <a:lnTo>
                    <a:pt x="41910" y="1243013"/>
                  </a:lnTo>
                  <a:lnTo>
                    <a:pt x="43815" y="1237298"/>
                  </a:lnTo>
                  <a:lnTo>
                    <a:pt x="43815" y="1233488"/>
                  </a:lnTo>
                  <a:lnTo>
                    <a:pt x="42863" y="1227773"/>
                  </a:lnTo>
                  <a:lnTo>
                    <a:pt x="34290" y="1209675"/>
                  </a:lnTo>
                  <a:lnTo>
                    <a:pt x="33338" y="1204913"/>
                  </a:lnTo>
                  <a:lnTo>
                    <a:pt x="33338" y="1201103"/>
                  </a:lnTo>
                  <a:lnTo>
                    <a:pt x="34290" y="1194435"/>
                  </a:lnTo>
                  <a:lnTo>
                    <a:pt x="34290" y="1190625"/>
                  </a:lnTo>
                  <a:lnTo>
                    <a:pt x="38100" y="1182053"/>
                  </a:lnTo>
                  <a:lnTo>
                    <a:pt x="39052" y="1178243"/>
                  </a:lnTo>
                  <a:lnTo>
                    <a:pt x="38100" y="1175385"/>
                  </a:lnTo>
                  <a:lnTo>
                    <a:pt x="37147" y="1172528"/>
                  </a:lnTo>
                  <a:lnTo>
                    <a:pt x="31433" y="1165860"/>
                  </a:lnTo>
                  <a:lnTo>
                    <a:pt x="29527" y="1163003"/>
                  </a:lnTo>
                  <a:lnTo>
                    <a:pt x="26670" y="1156335"/>
                  </a:lnTo>
                  <a:lnTo>
                    <a:pt x="26670" y="1152525"/>
                  </a:lnTo>
                  <a:lnTo>
                    <a:pt x="26670" y="1147763"/>
                  </a:lnTo>
                  <a:lnTo>
                    <a:pt x="29527" y="1135380"/>
                  </a:lnTo>
                  <a:lnTo>
                    <a:pt x="29527" y="1127760"/>
                  </a:lnTo>
                  <a:lnTo>
                    <a:pt x="29527" y="1121093"/>
                  </a:lnTo>
                  <a:lnTo>
                    <a:pt x="30480" y="1117282"/>
                  </a:lnTo>
                  <a:lnTo>
                    <a:pt x="31433" y="1114425"/>
                  </a:lnTo>
                  <a:lnTo>
                    <a:pt x="33338" y="1111568"/>
                  </a:lnTo>
                  <a:lnTo>
                    <a:pt x="37147" y="1107757"/>
                  </a:lnTo>
                  <a:lnTo>
                    <a:pt x="41910" y="1105853"/>
                  </a:lnTo>
                  <a:lnTo>
                    <a:pt x="49530" y="1102995"/>
                  </a:lnTo>
                  <a:lnTo>
                    <a:pt x="51435" y="1100138"/>
                  </a:lnTo>
                  <a:lnTo>
                    <a:pt x="52388" y="1096328"/>
                  </a:lnTo>
                  <a:lnTo>
                    <a:pt x="52388" y="1087755"/>
                  </a:lnTo>
                  <a:lnTo>
                    <a:pt x="52388" y="1082993"/>
                  </a:lnTo>
                  <a:lnTo>
                    <a:pt x="53340" y="1079182"/>
                  </a:lnTo>
                  <a:lnTo>
                    <a:pt x="56197" y="1072515"/>
                  </a:lnTo>
                  <a:lnTo>
                    <a:pt x="58102" y="1066800"/>
                  </a:lnTo>
                  <a:lnTo>
                    <a:pt x="58102" y="1062990"/>
                  </a:lnTo>
                  <a:lnTo>
                    <a:pt x="57150" y="1060132"/>
                  </a:lnTo>
                  <a:lnTo>
                    <a:pt x="51435" y="1051560"/>
                  </a:lnTo>
                  <a:lnTo>
                    <a:pt x="47625" y="1044893"/>
                  </a:lnTo>
                  <a:lnTo>
                    <a:pt x="45720" y="1039178"/>
                  </a:lnTo>
                  <a:lnTo>
                    <a:pt x="44767" y="1035368"/>
                  </a:lnTo>
                  <a:lnTo>
                    <a:pt x="45720" y="1030605"/>
                  </a:lnTo>
                  <a:lnTo>
                    <a:pt x="47625" y="1021080"/>
                  </a:lnTo>
                  <a:lnTo>
                    <a:pt x="47625" y="1017270"/>
                  </a:lnTo>
                  <a:lnTo>
                    <a:pt x="47625" y="1012507"/>
                  </a:lnTo>
                  <a:lnTo>
                    <a:pt x="43815" y="997268"/>
                  </a:lnTo>
                  <a:lnTo>
                    <a:pt x="42863" y="989647"/>
                  </a:lnTo>
                  <a:lnTo>
                    <a:pt x="42863" y="981075"/>
                  </a:lnTo>
                  <a:lnTo>
                    <a:pt x="42863" y="976313"/>
                  </a:lnTo>
                  <a:lnTo>
                    <a:pt x="41910" y="973455"/>
                  </a:lnTo>
                  <a:lnTo>
                    <a:pt x="40005" y="971550"/>
                  </a:lnTo>
                  <a:lnTo>
                    <a:pt x="26670" y="962025"/>
                  </a:lnTo>
                  <a:lnTo>
                    <a:pt x="24765" y="959168"/>
                  </a:lnTo>
                  <a:lnTo>
                    <a:pt x="22860" y="954405"/>
                  </a:lnTo>
                  <a:lnTo>
                    <a:pt x="18097" y="932497"/>
                  </a:lnTo>
                  <a:lnTo>
                    <a:pt x="13335" y="918210"/>
                  </a:lnTo>
                  <a:lnTo>
                    <a:pt x="3810" y="898208"/>
                  </a:lnTo>
                  <a:lnTo>
                    <a:pt x="952" y="888683"/>
                  </a:lnTo>
                  <a:lnTo>
                    <a:pt x="0" y="883920"/>
                  </a:lnTo>
                  <a:lnTo>
                    <a:pt x="0" y="880110"/>
                  </a:lnTo>
                  <a:lnTo>
                    <a:pt x="952" y="875347"/>
                  </a:lnTo>
                  <a:lnTo>
                    <a:pt x="8572" y="857250"/>
                  </a:lnTo>
                  <a:lnTo>
                    <a:pt x="10477" y="853440"/>
                  </a:lnTo>
                  <a:lnTo>
                    <a:pt x="14288" y="850583"/>
                  </a:lnTo>
                  <a:lnTo>
                    <a:pt x="28575" y="842963"/>
                  </a:lnTo>
                  <a:lnTo>
                    <a:pt x="31433" y="838200"/>
                  </a:lnTo>
                  <a:lnTo>
                    <a:pt x="33338" y="835343"/>
                  </a:lnTo>
                  <a:lnTo>
                    <a:pt x="35242" y="825818"/>
                  </a:lnTo>
                  <a:lnTo>
                    <a:pt x="37147" y="804863"/>
                  </a:lnTo>
                  <a:lnTo>
                    <a:pt x="38100" y="798195"/>
                  </a:lnTo>
                  <a:lnTo>
                    <a:pt x="40005" y="792480"/>
                  </a:lnTo>
                  <a:lnTo>
                    <a:pt x="43815" y="788670"/>
                  </a:lnTo>
                  <a:lnTo>
                    <a:pt x="49530" y="782955"/>
                  </a:lnTo>
                  <a:lnTo>
                    <a:pt x="51435" y="780097"/>
                  </a:lnTo>
                  <a:lnTo>
                    <a:pt x="53340" y="776288"/>
                  </a:lnTo>
                  <a:lnTo>
                    <a:pt x="55245" y="769620"/>
                  </a:lnTo>
                  <a:lnTo>
                    <a:pt x="55245" y="764858"/>
                  </a:lnTo>
                  <a:lnTo>
                    <a:pt x="55245" y="761047"/>
                  </a:lnTo>
                  <a:lnTo>
                    <a:pt x="51435" y="757238"/>
                  </a:lnTo>
                  <a:lnTo>
                    <a:pt x="37147" y="744855"/>
                  </a:lnTo>
                  <a:lnTo>
                    <a:pt x="33338" y="739140"/>
                  </a:lnTo>
                  <a:lnTo>
                    <a:pt x="30480" y="733425"/>
                  </a:lnTo>
                  <a:lnTo>
                    <a:pt x="29527" y="728663"/>
                  </a:lnTo>
                  <a:lnTo>
                    <a:pt x="29527" y="724853"/>
                  </a:lnTo>
                  <a:lnTo>
                    <a:pt x="30480" y="721995"/>
                  </a:lnTo>
                  <a:lnTo>
                    <a:pt x="32385" y="717233"/>
                  </a:lnTo>
                  <a:lnTo>
                    <a:pt x="36195" y="712470"/>
                  </a:lnTo>
                  <a:lnTo>
                    <a:pt x="41910" y="706755"/>
                  </a:lnTo>
                  <a:lnTo>
                    <a:pt x="43815" y="701993"/>
                  </a:lnTo>
                  <a:lnTo>
                    <a:pt x="44767" y="695325"/>
                  </a:lnTo>
                  <a:lnTo>
                    <a:pt x="45720" y="679133"/>
                  </a:lnTo>
                  <a:lnTo>
                    <a:pt x="45720" y="671513"/>
                  </a:lnTo>
                  <a:lnTo>
                    <a:pt x="44767" y="665797"/>
                  </a:lnTo>
                  <a:lnTo>
                    <a:pt x="43815" y="662940"/>
                  </a:lnTo>
                  <a:lnTo>
                    <a:pt x="41910" y="658178"/>
                  </a:lnTo>
                  <a:lnTo>
                    <a:pt x="39052" y="653415"/>
                  </a:lnTo>
                  <a:lnTo>
                    <a:pt x="26670" y="643890"/>
                  </a:lnTo>
                  <a:lnTo>
                    <a:pt x="22860" y="637222"/>
                  </a:lnTo>
                  <a:lnTo>
                    <a:pt x="20002" y="630555"/>
                  </a:lnTo>
                  <a:lnTo>
                    <a:pt x="20002" y="626745"/>
                  </a:lnTo>
                  <a:lnTo>
                    <a:pt x="20955" y="622935"/>
                  </a:lnTo>
                  <a:lnTo>
                    <a:pt x="22860" y="613410"/>
                  </a:lnTo>
                  <a:lnTo>
                    <a:pt x="23813" y="603885"/>
                  </a:lnTo>
                  <a:lnTo>
                    <a:pt x="23813" y="599122"/>
                  </a:lnTo>
                  <a:lnTo>
                    <a:pt x="23813" y="594360"/>
                  </a:lnTo>
                  <a:lnTo>
                    <a:pt x="20955" y="589597"/>
                  </a:lnTo>
                  <a:lnTo>
                    <a:pt x="17145" y="585788"/>
                  </a:lnTo>
                  <a:lnTo>
                    <a:pt x="10477" y="580072"/>
                  </a:lnTo>
                  <a:lnTo>
                    <a:pt x="7620" y="577215"/>
                  </a:lnTo>
                  <a:lnTo>
                    <a:pt x="4763" y="571500"/>
                  </a:lnTo>
                  <a:lnTo>
                    <a:pt x="3810" y="567690"/>
                  </a:lnTo>
                  <a:lnTo>
                    <a:pt x="3810" y="563880"/>
                  </a:lnTo>
                  <a:lnTo>
                    <a:pt x="7620" y="554355"/>
                  </a:lnTo>
                  <a:lnTo>
                    <a:pt x="9525" y="548640"/>
                  </a:lnTo>
                  <a:lnTo>
                    <a:pt x="8572" y="541972"/>
                  </a:lnTo>
                  <a:lnTo>
                    <a:pt x="6667" y="533400"/>
                  </a:lnTo>
                  <a:lnTo>
                    <a:pt x="1905" y="520065"/>
                  </a:lnTo>
                  <a:lnTo>
                    <a:pt x="952" y="513397"/>
                  </a:lnTo>
                  <a:lnTo>
                    <a:pt x="3810" y="509588"/>
                  </a:lnTo>
                  <a:lnTo>
                    <a:pt x="7620" y="505778"/>
                  </a:lnTo>
                  <a:lnTo>
                    <a:pt x="11430" y="501967"/>
                  </a:lnTo>
                  <a:lnTo>
                    <a:pt x="41910" y="492442"/>
                  </a:lnTo>
                  <a:lnTo>
                    <a:pt x="43815" y="489585"/>
                  </a:lnTo>
                  <a:lnTo>
                    <a:pt x="44767" y="485775"/>
                  </a:lnTo>
                  <a:lnTo>
                    <a:pt x="45720" y="479108"/>
                  </a:lnTo>
                  <a:lnTo>
                    <a:pt x="44767" y="475297"/>
                  </a:lnTo>
                  <a:lnTo>
                    <a:pt x="41910" y="473392"/>
                  </a:lnTo>
                  <a:lnTo>
                    <a:pt x="35242" y="473392"/>
                  </a:lnTo>
                  <a:lnTo>
                    <a:pt x="31433" y="471488"/>
                  </a:lnTo>
                  <a:lnTo>
                    <a:pt x="28575" y="469583"/>
                  </a:lnTo>
                  <a:lnTo>
                    <a:pt x="25717" y="465772"/>
                  </a:lnTo>
                  <a:lnTo>
                    <a:pt x="24765" y="462915"/>
                  </a:lnTo>
                  <a:lnTo>
                    <a:pt x="25717" y="460058"/>
                  </a:lnTo>
                  <a:lnTo>
                    <a:pt x="27622" y="459105"/>
                  </a:lnTo>
                  <a:lnTo>
                    <a:pt x="37147" y="453390"/>
                  </a:lnTo>
                  <a:lnTo>
                    <a:pt x="39052" y="451485"/>
                  </a:lnTo>
                  <a:lnTo>
                    <a:pt x="41910" y="445770"/>
                  </a:lnTo>
                  <a:lnTo>
                    <a:pt x="43815" y="436245"/>
                  </a:lnTo>
                  <a:lnTo>
                    <a:pt x="43815" y="432435"/>
                  </a:lnTo>
                  <a:lnTo>
                    <a:pt x="41910" y="430530"/>
                  </a:lnTo>
                  <a:lnTo>
                    <a:pt x="35242" y="424815"/>
                  </a:lnTo>
                  <a:lnTo>
                    <a:pt x="31433" y="420053"/>
                  </a:lnTo>
                  <a:lnTo>
                    <a:pt x="29527" y="417195"/>
                  </a:lnTo>
                  <a:lnTo>
                    <a:pt x="30480" y="414338"/>
                  </a:lnTo>
                  <a:lnTo>
                    <a:pt x="31433" y="411480"/>
                  </a:lnTo>
                  <a:lnTo>
                    <a:pt x="33338" y="410528"/>
                  </a:lnTo>
                  <a:lnTo>
                    <a:pt x="53340" y="408622"/>
                  </a:lnTo>
                  <a:lnTo>
                    <a:pt x="59055" y="407670"/>
                  </a:lnTo>
                  <a:lnTo>
                    <a:pt x="61913" y="405765"/>
                  </a:lnTo>
                  <a:lnTo>
                    <a:pt x="63817" y="401955"/>
                  </a:lnTo>
                  <a:lnTo>
                    <a:pt x="65722" y="395288"/>
                  </a:lnTo>
                  <a:lnTo>
                    <a:pt x="65722" y="391478"/>
                  </a:lnTo>
                  <a:lnTo>
                    <a:pt x="64770" y="388620"/>
                  </a:lnTo>
                  <a:lnTo>
                    <a:pt x="61913" y="383858"/>
                  </a:lnTo>
                  <a:lnTo>
                    <a:pt x="58102" y="380047"/>
                  </a:lnTo>
                  <a:lnTo>
                    <a:pt x="53340" y="377190"/>
                  </a:lnTo>
                  <a:lnTo>
                    <a:pt x="35242" y="371475"/>
                  </a:lnTo>
                  <a:lnTo>
                    <a:pt x="32385" y="370522"/>
                  </a:lnTo>
                  <a:lnTo>
                    <a:pt x="30480" y="368617"/>
                  </a:lnTo>
                  <a:lnTo>
                    <a:pt x="33338" y="365760"/>
                  </a:lnTo>
                  <a:lnTo>
                    <a:pt x="44767" y="360045"/>
                  </a:lnTo>
                  <a:lnTo>
                    <a:pt x="70485" y="347663"/>
                  </a:lnTo>
                  <a:lnTo>
                    <a:pt x="81915" y="340042"/>
                  </a:lnTo>
                  <a:lnTo>
                    <a:pt x="90488" y="329565"/>
                  </a:lnTo>
                  <a:lnTo>
                    <a:pt x="112395" y="295275"/>
                  </a:lnTo>
                  <a:lnTo>
                    <a:pt x="116205" y="291465"/>
                  </a:lnTo>
                  <a:lnTo>
                    <a:pt x="123825" y="283845"/>
                  </a:lnTo>
                  <a:lnTo>
                    <a:pt x="127635" y="281940"/>
                  </a:lnTo>
                  <a:lnTo>
                    <a:pt x="132397" y="280035"/>
                  </a:lnTo>
                  <a:lnTo>
                    <a:pt x="139065" y="279083"/>
                  </a:lnTo>
                  <a:lnTo>
                    <a:pt x="143827" y="279083"/>
                  </a:lnTo>
                  <a:lnTo>
                    <a:pt x="150495" y="280988"/>
                  </a:lnTo>
                  <a:lnTo>
                    <a:pt x="154305" y="281940"/>
                  </a:lnTo>
                  <a:lnTo>
                    <a:pt x="166688" y="280035"/>
                  </a:lnTo>
                  <a:lnTo>
                    <a:pt x="170497" y="279083"/>
                  </a:lnTo>
                  <a:lnTo>
                    <a:pt x="175260" y="276225"/>
                  </a:lnTo>
                  <a:lnTo>
                    <a:pt x="183833" y="266700"/>
                  </a:lnTo>
                  <a:lnTo>
                    <a:pt x="187642" y="262890"/>
                  </a:lnTo>
                  <a:lnTo>
                    <a:pt x="193358" y="253365"/>
                  </a:lnTo>
                  <a:lnTo>
                    <a:pt x="195263" y="251460"/>
                  </a:lnTo>
                  <a:lnTo>
                    <a:pt x="214313" y="237172"/>
                  </a:lnTo>
                  <a:lnTo>
                    <a:pt x="219075" y="233363"/>
                  </a:lnTo>
                  <a:lnTo>
                    <a:pt x="221933" y="229553"/>
                  </a:lnTo>
                  <a:lnTo>
                    <a:pt x="225742" y="220980"/>
                  </a:lnTo>
                  <a:lnTo>
                    <a:pt x="230505" y="213360"/>
                  </a:lnTo>
                  <a:lnTo>
                    <a:pt x="233363" y="209550"/>
                  </a:lnTo>
                  <a:lnTo>
                    <a:pt x="258127" y="191453"/>
                  </a:lnTo>
                  <a:lnTo>
                    <a:pt x="260985" y="188595"/>
                  </a:lnTo>
                  <a:lnTo>
                    <a:pt x="262890" y="183833"/>
                  </a:lnTo>
                  <a:lnTo>
                    <a:pt x="263842" y="179070"/>
                  </a:lnTo>
                  <a:lnTo>
                    <a:pt x="263842" y="173355"/>
                  </a:lnTo>
                  <a:lnTo>
                    <a:pt x="263842" y="170497"/>
                  </a:lnTo>
                  <a:lnTo>
                    <a:pt x="264795" y="167640"/>
                  </a:lnTo>
                  <a:lnTo>
                    <a:pt x="287655" y="149542"/>
                  </a:lnTo>
                  <a:lnTo>
                    <a:pt x="292417" y="143828"/>
                  </a:lnTo>
                  <a:lnTo>
                    <a:pt x="295275" y="138113"/>
                  </a:lnTo>
                  <a:lnTo>
                    <a:pt x="295275" y="135255"/>
                  </a:lnTo>
                  <a:lnTo>
                    <a:pt x="297180" y="131445"/>
                  </a:lnTo>
                  <a:lnTo>
                    <a:pt x="300038" y="127635"/>
                  </a:lnTo>
                  <a:lnTo>
                    <a:pt x="305752" y="122872"/>
                  </a:lnTo>
                  <a:lnTo>
                    <a:pt x="307658" y="119063"/>
                  </a:lnTo>
                  <a:lnTo>
                    <a:pt x="309563" y="114300"/>
                  </a:lnTo>
                  <a:lnTo>
                    <a:pt x="309563" y="107633"/>
                  </a:lnTo>
                  <a:lnTo>
                    <a:pt x="310515" y="103822"/>
                  </a:lnTo>
                  <a:lnTo>
                    <a:pt x="312420" y="100965"/>
                  </a:lnTo>
                  <a:lnTo>
                    <a:pt x="315277" y="100013"/>
                  </a:lnTo>
                  <a:lnTo>
                    <a:pt x="320992" y="100965"/>
                  </a:lnTo>
                  <a:lnTo>
                    <a:pt x="333375" y="105728"/>
                  </a:lnTo>
                  <a:lnTo>
                    <a:pt x="336233" y="106680"/>
                  </a:lnTo>
                  <a:lnTo>
                    <a:pt x="339090" y="105728"/>
                  </a:lnTo>
                  <a:lnTo>
                    <a:pt x="341948" y="103822"/>
                  </a:lnTo>
                  <a:lnTo>
                    <a:pt x="343852" y="100965"/>
                  </a:lnTo>
                  <a:lnTo>
                    <a:pt x="343852" y="97155"/>
                  </a:lnTo>
                  <a:lnTo>
                    <a:pt x="342900" y="87630"/>
                  </a:lnTo>
                  <a:lnTo>
                    <a:pt x="342900" y="80963"/>
                  </a:lnTo>
                  <a:lnTo>
                    <a:pt x="344805" y="75247"/>
                  </a:lnTo>
                  <a:lnTo>
                    <a:pt x="347662" y="71438"/>
                  </a:lnTo>
                  <a:lnTo>
                    <a:pt x="383858" y="56197"/>
                  </a:lnTo>
                  <a:lnTo>
                    <a:pt x="394335" y="46672"/>
                  </a:lnTo>
                  <a:lnTo>
                    <a:pt x="397192" y="45720"/>
                  </a:lnTo>
                  <a:lnTo>
                    <a:pt x="401002" y="45720"/>
                  </a:lnTo>
                  <a:lnTo>
                    <a:pt x="411480" y="50483"/>
                  </a:lnTo>
                  <a:lnTo>
                    <a:pt x="421958" y="56197"/>
                  </a:lnTo>
                  <a:lnTo>
                    <a:pt x="428625" y="58103"/>
                  </a:lnTo>
                  <a:lnTo>
                    <a:pt x="432435" y="58103"/>
                  </a:lnTo>
                  <a:lnTo>
                    <a:pt x="437198" y="56197"/>
                  </a:lnTo>
                  <a:lnTo>
                    <a:pt x="441960" y="52388"/>
                  </a:lnTo>
                  <a:lnTo>
                    <a:pt x="444817" y="49530"/>
                  </a:lnTo>
                  <a:lnTo>
                    <a:pt x="448627" y="44767"/>
                  </a:lnTo>
                  <a:lnTo>
                    <a:pt x="457200" y="37147"/>
                  </a:lnTo>
                  <a:lnTo>
                    <a:pt x="461010" y="34290"/>
                  </a:lnTo>
                  <a:lnTo>
                    <a:pt x="471487" y="29528"/>
                  </a:lnTo>
                  <a:lnTo>
                    <a:pt x="482917" y="26670"/>
                  </a:lnTo>
                  <a:lnTo>
                    <a:pt x="487680" y="23813"/>
                  </a:lnTo>
                  <a:lnTo>
                    <a:pt x="488633" y="20955"/>
                  </a:lnTo>
                  <a:lnTo>
                    <a:pt x="491490" y="11430"/>
                  </a:lnTo>
                  <a:lnTo>
                    <a:pt x="493395" y="5715"/>
                  </a:lnTo>
                  <a:lnTo>
                    <a:pt x="497205" y="1905"/>
                  </a:lnTo>
                  <a:lnTo>
                    <a:pt x="501015" y="0"/>
                  </a:lnTo>
                  <a:lnTo>
                    <a:pt x="508635" y="0"/>
                  </a:lnTo>
                  <a:lnTo>
                    <a:pt x="512445" y="1905"/>
                  </a:lnTo>
                  <a:lnTo>
                    <a:pt x="515302" y="3810"/>
                  </a:lnTo>
                  <a:lnTo>
                    <a:pt x="518160" y="10478"/>
                  </a:lnTo>
                  <a:lnTo>
                    <a:pt x="519112" y="15240"/>
                  </a:lnTo>
                  <a:lnTo>
                    <a:pt x="519112" y="19050"/>
                  </a:lnTo>
                  <a:lnTo>
                    <a:pt x="519112" y="26670"/>
                  </a:lnTo>
                  <a:lnTo>
                    <a:pt x="521970" y="29528"/>
                  </a:lnTo>
                  <a:lnTo>
                    <a:pt x="524827" y="32385"/>
                  </a:lnTo>
                  <a:lnTo>
                    <a:pt x="550545" y="3810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8" name="Полилиния: фигура 10">
              <a:extLst>
                <a:ext uri="{FF2B5EF4-FFF2-40B4-BE49-F238E27FC236}">
                  <a16:creationId xmlns:a16="http://schemas.microsoft.com/office/drawing/2014/main" id="{DA0EDE5B-2853-2E6F-4DD9-F53FAF4538BC}"/>
                </a:ext>
              </a:extLst>
            </p:cNvPr>
            <p:cNvSpPr/>
            <p:nvPr/>
          </p:nvSpPr>
          <p:spPr>
            <a:xfrm>
              <a:off x="1610678" y="1709738"/>
              <a:ext cx="1466850" cy="1562100"/>
            </a:xfrm>
            <a:custGeom>
              <a:avLst/>
              <a:gdLst>
                <a:gd name="connsiteX0" fmla="*/ 1277303 w 1466850"/>
                <a:gd name="connsiteY0" fmla="*/ 289560 h 1562100"/>
                <a:gd name="connsiteX1" fmla="*/ 1281113 w 1466850"/>
                <a:gd name="connsiteY1" fmla="*/ 298133 h 1562100"/>
                <a:gd name="connsiteX2" fmla="*/ 1288733 w 1466850"/>
                <a:gd name="connsiteY2" fmla="*/ 301942 h 1562100"/>
                <a:gd name="connsiteX3" fmla="*/ 1299210 w 1466850"/>
                <a:gd name="connsiteY3" fmla="*/ 302895 h 1562100"/>
                <a:gd name="connsiteX4" fmla="*/ 1305878 w 1466850"/>
                <a:gd name="connsiteY4" fmla="*/ 301942 h 1562100"/>
                <a:gd name="connsiteX5" fmla="*/ 1310640 w 1466850"/>
                <a:gd name="connsiteY5" fmla="*/ 300038 h 1562100"/>
                <a:gd name="connsiteX6" fmla="*/ 1324928 w 1466850"/>
                <a:gd name="connsiteY6" fmla="*/ 291465 h 1562100"/>
                <a:gd name="connsiteX7" fmla="*/ 1330643 w 1466850"/>
                <a:gd name="connsiteY7" fmla="*/ 290513 h 1562100"/>
                <a:gd name="connsiteX8" fmla="*/ 1333500 w 1466850"/>
                <a:gd name="connsiteY8" fmla="*/ 289560 h 1562100"/>
                <a:gd name="connsiteX9" fmla="*/ 1337310 w 1466850"/>
                <a:gd name="connsiteY9" fmla="*/ 290513 h 1562100"/>
                <a:gd name="connsiteX10" fmla="*/ 1343025 w 1466850"/>
                <a:gd name="connsiteY10" fmla="*/ 292417 h 1562100"/>
                <a:gd name="connsiteX11" fmla="*/ 1347788 w 1466850"/>
                <a:gd name="connsiteY11" fmla="*/ 295275 h 1562100"/>
                <a:gd name="connsiteX12" fmla="*/ 1349693 w 1466850"/>
                <a:gd name="connsiteY12" fmla="*/ 299085 h 1562100"/>
                <a:gd name="connsiteX13" fmla="*/ 1351598 w 1466850"/>
                <a:gd name="connsiteY13" fmla="*/ 304800 h 1562100"/>
                <a:gd name="connsiteX14" fmla="*/ 1353503 w 1466850"/>
                <a:gd name="connsiteY14" fmla="*/ 315278 h 1562100"/>
                <a:gd name="connsiteX15" fmla="*/ 1354455 w 1466850"/>
                <a:gd name="connsiteY15" fmla="*/ 321945 h 1562100"/>
                <a:gd name="connsiteX16" fmla="*/ 1353503 w 1466850"/>
                <a:gd name="connsiteY16" fmla="*/ 326708 h 1562100"/>
                <a:gd name="connsiteX17" fmla="*/ 1351598 w 1466850"/>
                <a:gd name="connsiteY17" fmla="*/ 331470 h 1562100"/>
                <a:gd name="connsiteX18" fmla="*/ 1347788 w 1466850"/>
                <a:gd name="connsiteY18" fmla="*/ 336233 h 1562100"/>
                <a:gd name="connsiteX19" fmla="*/ 1332548 w 1466850"/>
                <a:gd name="connsiteY19" fmla="*/ 351472 h 1562100"/>
                <a:gd name="connsiteX20" fmla="*/ 1331595 w 1466850"/>
                <a:gd name="connsiteY20" fmla="*/ 353378 h 1562100"/>
                <a:gd name="connsiteX21" fmla="*/ 1331595 w 1466850"/>
                <a:gd name="connsiteY21" fmla="*/ 357188 h 1562100"/>
                <a:gd name="connsiteX22" fmla="*/ 1333500 w 1466850"/>
                <a:gd name="connsiteY22" fmla="*/ 362903 h 1562100"/>
                <a:gd name="connsiteX23" fmla="*/ 1343978 w 1466850"/>
                <a:gd name="connsiteY23" fmla="*/ 374333 h 1562100"/>
                <a:gd name="connsiteX24" fmla="*/ 1345883 w 1466850"/>
                <a:gd name="connsiteY24" fmla="*/ 379095 h 1562100"/>
                <a:gd name="connsiteX25" fmla="*/ 1345883 w 1466850"/>
                <a:gd name="connsiteY25" fmla="*/ 382905 h 1562100"/>
                <a:gd name="connsiteX26" fmla="*/ 1342073 w 1466850"/>
                <a:gd name="connsiteY26" fmla="*/ 402908 h 1562100"/>
                <a:gd name="connsiteX27" fmla="*/ 1341120 w 1466850"/>
                <a:gd name="connsiteY27" fmla="*/ 417195 h 1562100"/>
                <a:gd name="connsiteX28" fmla="*/ 1342073 w 1466850"/>
                <a:gd name="connsiteY28" fmla="*/ 427672 h 1562100"/>
                <a:gd name="connsiteX29" fmla="*/ 1345883 w 1466850"/>
                <a:gd name="connsiteY29" fmla="*/ 447675 h 1562100"/>
                <a:gd name="connsiteX30" fmla="*/ 1350645 w 1466850"/>
                <a:gd name="connsiteY30" fmla="*/ 454342 h 1562100"/>
                <a:gd name="connsiteX31" fmla="*/ 1400175 w 1466850"/>
                <a:gd name="connsiteY31" fmla="*/ 498158 h 1562100"/>
                <a:gd name="connsiteX32" fmla="*/ 1438275 w 1466850"/>
                <a:gd name="connsiteY32" fmla="*/ 521970 h 1562100"/>
                <a:gd name="connsiteX33" fmla="*/ 1438275 w 1466850"/>
                <a:gd name="connsiteY33" fmla="*/ 527685 h 1562100"/>
                <a:gd name="connsiteX34" fmla="*/ 1439228 w 1466850"/>
                <a:gd name="connsiteY34" fmla="*/ 532447 h 1562100"/>
                <a:gd name="connsiteX35" fmla="*/ 1441133 w 1466850"/>
                <a:gd name="connsiteY35" fmla="*/ 535305 h 1562100"/>
                <a:gd name="connsiteX36" fmla="*/ 1443990 w 1466850"/>
                <a:gd name="connsiteY36" fmla="*/ 539115 h 1562100"/>
                <a:gd name="connsiteX37" fmla="*/ 1445895 w 1466850"/>
                <a:gd name="connsiteY37" fmla="*/ 541020 h 1562100"/>
                <a:gd name="connsiteX38" fmla="*/ 1457325 w 1466850"/>
                <a:gd name="connsiteY38" fmla="*/ 548640 h 1562100"/>
                <a:gd name="connsiteX39" fmla="*/ 1460183 w 1466850"/>
                <a:gd name="connsiteY39" fmla="*/ 553403 h 1562100"/>
                <a:gd name="connsiteX40" fmla="*/ 1462088 w 1466850"/>
                <a:gd name="connsiteY40" fmla="*/ 558165 h 1562100"/>
                <a:gd name="connsiteX41" fmla="*/ 1463993 w 1466850"/>
                <a:gd name="connsiteY41" fmla="*/ 561022 h 1562100"/>
                <a:gd name="connsiteX42" fmla="*/ 1469708 w 1466850"/>
                <a:gd name="connsiteY42" fmla="*/ 569595 h 1562100"/>
                <a:gd name="connsiteX43" fmla="*/ 1472565 w 1466850"/>
                <a:gd name="connsiteY43" fmla="*/ 574358 h 1562100"/>
                <a:gd name="connsiteX44" fmla="*/ 1473518 w 1466850"/>
                <a:gd name="connsiteY44" fmla="*/ 580072 h 1562100"/>
                <a:gd name="connsiteX45" fmla="*/ 1472565 w 1466850"/>
                <a:gd name="connsiteY45" fmla="*/ 582930 h 1562100"/>
                <a:gd name="connsiteX46" fmla="*/ 1469708 w 1466850"/>
                <a:gd name="connsiteY46" fmla="*/ 585788 h 1562100"/>
                <a:gd name="connsiteX47" fmla="*/ 1464945 w 1466850"/>
                <a:gd name="connsiteY47" fmla="*/ 586740 h 1562100"/>
                <a:gd name="connsiteX48" fmla="*/ 1457325 w 1466850"/>
                <a:gd name="connsiteY48" fmla="*/ 587693 h 1562100"/>
                <a:gd name="connsiteX49" fmla="*/ 1454468 w 1466850"/>
                <a:gd name="connsiteY49" fmla="*/ 589597 h 1562100"/>
                <a:gd name="connsiteX50" fmla="*/ 1451610 w 1466850"/>
                <a:gd name="connsiteY50" fmla="*/ 592455 h 1562100"/>
                <a:gd name="connsiteX51" fmla="*/ 1448753 w 1466850"/>
                <a:gd name="connsiteY51" fmla="*/ 599122 h 1562100"/>
                <a:gd name="connsiteX52" fmla="*/ 1448753 w 1466850"/>
                <a:gd name="connsiteY52" fmla="*/ 602933 h 1562100"/>
                <a:gd name="connsiteX53" fmla="*/ 1448753 w 1466850"/>
                <a:gd name="connsiteY53" fmla="*/ 606743 h 1562100"/>
                <a:gd name="connsiteX54" fmla="*/ 1451610 w 1466850"/>
                <a:gd name="connsiteY54" fmla="*/ 611505 h 1562100"/>
                <a:gd name="connsiteX55" fmla="*/ 1452563 w 1466850"/>
                <a:gd name="connsiteY55" fmla="*/ 617220 h 1562100"/>
                <a:gd name="connsiteX56" fmla="*/ 1453515 w 1466850"/>
                <a:gd name="connsiteY56" fmla="*/ 622935 h 1562100"/>
                <a:gd name="connsiteX57" fmla="*/ 1452563 w 1466850"/>
                <a:gd name="connsiteY57" fmla="*/ 625793 h 1562100"/>
                <a:gd name="connsiteX58" fmla="*/ 1449705 w 1466850"/>
                <a:gd name="connsiteY58" fmla="*/ 630555 h 1562100"/>
                <a:gd name="connsiteX59" fmla="*/ 1446848 w 1466850"/>
                <a:gd name="connsiteY59" fmla="*/ 633413 h 1562100"/>
                <a:gd name="connsiteX60" fmla="*/ 1442085 w 1466850"/>
                <a:gd name="connsiteY60" fmla="*/ 637222 h 1562100"/>
                <a:gd name="connsiteX61" fmla="*/ 1433513 w 1466850"/>
                <a:gd name="connsiteY61" fmla="*/ 641985 h 1562100"/>
                <a:gd name="connsiteX62" fmla="*/ 1427798 w 1466850"/>
                <a:gd name="connsiteY62" fmla="*/ 642938 h 1562100"/>
                <a:gd name="connsiteX63" fmla="*/ 1420178 w 1466850"/>
                <a:gd name="connsiteY63" fmla="*/ 643890 h 1562100"/>
                <a:gd name="connsiteX64" fmla="*/ 1417320 w 1466850"/>
                <a:gd name="connsiteY64" fmla="*/ 644843 h 1562100"/>
                <a:gd name="connsiteX65" fmla="*/ 1406843 w 1466850"/>
                <a:gd name="connsiteY65" fmla="*/ 651510 h 1562100"/>
                <a:gd name="connsiteX66" fmla="*/ 1403985 w 1466850"/>
                <a:gd name="connsiteY66" fmla="*/ 653415 h 1562100"/>
                <a:gd name="connsiteX67" fmla="*/ 1392555 w 1466850"/>
                <a:gd name="connsiteY67" fmla="*/ 656272 h 1562100"/>
                <a:gd name="connsiteX68" fmla="*/ 1373505 w 1466850"/>
                <a:gd name="connsiteY68" fmla="*/ 666750 h 1562100"/>
                <a:gd name="connsiteX69" fmla="*/ 1370648 w 1466850"/>
                <a:gd name="connsiteY69" fmla="*/ 667703 h 1562100"/>
                <a:gd name="connsiteX70" fmla="*/ 1331595 w 1466850"/>
                <a:gd name="connsiteY70" fmla="*/ 675322 h 1562100"/>
                <a:gd name="connsiteX71" fmla="*/ 1326833 w 1466850"/>
                <a:gd name="connsiteY71" fmla="*/ 677228 h 1562100"/>
                <a:gd name="connsiteX72" fmla="*/ 1321118 w 1466850"/>
                <a:gd name="connsiteY72" fmla="*/ 679133 h 1562100"/>
                <a:gd name="connsiteX73" fmla="*/ 1296353 w 1466850"/>
                <a:gd name="connsiteY73" fmla="*/ 681990 h 1562100"/>
                <a:gd name="connsiteX74" fmla="*/ 1293495 w 1466850"/>
                <a:gd name="connsiteY74" fmla="*/ 682943 h 1562100"/>
                <a:gd name="connsiteX75" fmla="*/ 1290638 w 1466850"/>
                <a:gd name="connsiteY75" fmla="*/ 685800 h 1562100"/>
                <a:gd name="connsiteX76" fmla="*/ 1288733 w 1466850"/>
                <a:gd name="connsiteY76" fmla="*/ 691515 h 1562100"/>
                <a:gd name="connsiteX77" fmla="*/ 1285875 w 1466850"/>
                <a:gd name="connsiteY77" fmla="*/ 705803 h 1562100"/>
                <a:gd name="connsiteX78" fmla="*/ 1285875 w 1466850"/>
                <a:gd name="connsiteY78" fmla="*/ 712470 h 1562100"/>
                <a:gd name="connsiteX79" fmla="*/ 1285875 w 1466850"/>
                <a:gd name="connsiteY79" fmla="*/ 715328 h 1562100"/>
                <a:gd name="connsiteX80" fmla="*/ 1289685 w 1466850"/>
                <a:gd name="connsiteY80" fmla="*/ 722947 h 1562100"/>
                <a:gd name="connsiteX81" fmla="*/ 1298258 w 1466850"/>
                <a:gd name="connsiteY81" fmla="*/ 736283 h 1562100"/>
                <a:gd name="connsiteX82" fmla="*/ 1300163 w 1466850"/>
                <a:gd name="connsiteY82" fmla="*/ 739140 h 1562100"/>
                <a:gd name="connsiteX83" fmla="*/ 1301115 w 1466850"/>
                <a:gd name="connsiteY83" fmla="*/ 744855 h 1562100"/>
                <a:gd name="connsiteX84" fmla="*/ 1301115 w 1466850"/>
                <a:gd name="connsiteY84" fmla="*/ 747713 h 1562100"/>
                <a:gd name="connsiteX85" fmla="*/ 1300163 w 1466850"/>
                <a:gd name="connsiteY85" fmla="*/ 754380 h 1562100"/>
                <a:gd name="connsiteX86" fmla="*/ 1297305 w 1466850"/>
                <a:gd name="connsiteY86" fmla="*/ 757238 h 1562100"/>
                <a:gd name="connsiteX87" fmla="*/ 1294448 w 1466850"/>
                <a:gd name="connsiteY87" fmla="*/ 761047 h 1562100"/>
                <a:gd name="connsiteX88" fmla="*/ 1283018 w 1466850"/>
                <a:gd name="connsiteY88" fmla="*/ 767715 h 1562100"/>
                <a:gd name="connsiteX89" fmla="*/ 1279208 w 1466850"/>
                <a:gd name="connsiteY89" fmla="*/ 768668 h 1562100"/>
                <a:gd name="connsiteX90" fmla="*/ 1274445 w 1466850"/>
                <a:gd name="connsiteY90" fmla="*/ 769620 h 1562100"/>
                <a:gd name="connsiteX91" fmla="*/ 1268730 w 1466850"/>
                <a:gd name="connsiteY91" fmla="*/ 768668 h 1562100"/>
                <a:gd name="connsiteX92" fmla="*/ 1265873 w 1466850"/>
                <a:gd name="connsiteY92" fmla="*/ 767715 h 1562100"/>
                <a:gd name="connsiteX93" fmla="*/ 1261110 w 1466850"/>
                <a:gd name="connsiteY93" fmla="*/ 762000 h 1562100"/>
                <a:gd name="connsiteX94" fmla="*/ 1258253 w 1466850"/>
                <a:gd name="connsiteY94" fmla="*/ 762000 h 1562100"/>
                <a:gd name="connsiteX95" fmla="*/ 1255395 w 1466850"/>
                <a:gd name="connsiteY95" fmla="*/ 763905 h 1562100"/>
                <a:gd name="connsiteX96" fmla="*/ 1252538 w 1466850"/>
                <a:gd name="connsiteY96" fmla="*/ 766763 h 1562100"/>
                <a:gd name="connsiteX97" fmla="*/ 1241108 w 1466850"/>
                <a:gd name="connsiteY97" fmla="*/ 789622 h 1562100"/>
                <a:gd name="connsiteX98" fmla="*/ 1238250 w 1466850"/>
                <a:gd name="connsiteY98" fmla="*/ 798195 h 1562100"/>
                <a:gd name="connsiteX99" fmla="*/ 1234440 w 1466850"/>
                <a:gd name="connsiteY99" fmla="*/ 806768 h 1562100"/>
                <a:gd name="connsiteX100" fmla="*/ 1220153 w 1466850"/>
                <a:gd name="connsiteY100" fmla="*/ 834390 h 1562100"/>
                <a:gd name="connsiteX101" fmla="*/ 1217295 w 1466850"/>
                <a:gd name="connsiteY101" fmla="*/ 837247 h 1562100"/>
                <a:gd name="connsiteX102" fmla="*/ 1125855 w 1466850"/>
                <a:gd name="connsiteY102" fmla="*/ 888683 h 1562100"/>
                <a:gd name="connsiteX103" fmla="*/ 1121093 w 1466850"/>
                <a:gd name="connsiteY103" fmla="*/ 890588 h 1562100"/>
                <a:gd name="connsiteX104" fmla="*/ 1116330 w 1466850"/>
                <a:gd name="connsiteY104" fmla="*/ 890588 h 1562100"/>
                <a:gd name="connsiteX105" fmla="*/ 1113473 w 1466850"/>
                <a:gd name="connsiteY105" fmla="*/ 889635 h 1562100"/>
                <a:gd name="connsiteX106" fmla="*/ 1106805 w 1466850"/>
                <a:gd name="connsiteY106" fmla="*/ 889635 h 1562100"/>
                <a:gd name="connsiteX107" fmla="*/ 1103948 w 1466850"/>
                <a:gd name="connsiteY107" fmla="*/ 891540 h 1562100"/>
                <a:gd name="connsiteX108" fmla="*/ 1101090 w 1466850"/>
                <a:gd name="connsiteY108" fmla="*/ 896303 h 1562100"/>
                <a:gd name="connsiteX109" fmla="*/ 1098233 w 1466850"/>
                <a:gd name="connsiteY109" fmla="*/ 922020 h 1562100"/>
                <a:gd name="connsiteX110" fmla="*/ 1096328 w 1466850"/>
                <a:gd name="connsiteY110" fmla="*/ 932497 h 1562100"/>
                <a:gd name="connsiteX111" fmla="*/ 1089660 w 1466850"/>
                <a:gd name="connsiteY111" fmla="*/ 947738 h 1562100"/>
                <a:gd name="connsiteX112" fmla="*/ 1082040 w 1466850"/>
                <a:gd name="connsiteY112" fmla="*/ 947738 h 1562100"/>
                <a:gd name="connsiteX113" fmla="*/ 1076325 w 1466850"/>
                <a:gd name="connsiteY113" fmla="*/ 946785 h 1562100"/>
                <a:gd name="connsiteX114" fmla="*/ 1071563 w 1466850"/>
                <a:gd name="connsiteY114" fmla="*/ 943928 h 1562100"/>
                <a:gd name="connsiteX115" fmla="*/ 1066800 w 1466850"/>
                <a:gd name="connsiteY115" fmla="*/ 942022 h 1562100"/>
                <a:gd name="connsiteX116" fmla="*/ 1062038 w 1466850"/>
                <a:gd name="connsiteY116" fmla="*/ 942975 h 1562100"/>
                <a:gd name="connsiteX117" fmla="*/ 1059180 w 1466850"/>
                <a:gd name="connsiteY117" fmla="*/ 942975 h 1562100"/>
                <a:gd name="connsiteX118" fmla="*/ 1055370 w 1466850"/>
                <a:gd name="connsiteY118" fmla="*/ 940118 h 1562100"/>
                <a:gd name="connsiteX119" fmla="*/ 1053465 w 1466850"/>
                <a:gd name="connsiteY119" fmla="*/ 938213 h 1562100"/>
                <a:gd name="connsiteX120" fmla="*/ 1041082 w 1466850"/>
                <a:gd name="connsiteY120" fmla="*/ 927735 h 1562100"/>
                <a:gd name="connsiteX121" fmla="*/ 1036320 w 1466850"/>
                <a:gd name="connsiteY121" fmla="*/ 924878 h 1562100"/>
                <a:gd name="connsiteX122" fmla="*/ 1031557 w 1466850"/>
                <a:gd name="connsiteY122" fmla="*/ 922972 h 1562100"/>
                <a:gd name="connsiteX123" fmla="*/ 1024890 w 1466850"/>
                <a:gd name="connsiteY123" fmla="*/ 921068 h 1562100"/>
                <a:gd name="connsiteX124" fmla="*/ 1019175 w 1466850"/>
                <a:gd name="connsiteY124" fmla="*/ 921068 h 1562100"/>
                <a:gd name="connsiteX125" fmla="*/ 979170 w 1466850"/>
                <a:gd name="connsiteY125" fmla="*/ 931545 h 1562100"/>
                <a:gd name="connsiteX126" fmla="*/ 972502 w 1466850"/>
                <a:gd name="connsiteY126" fmla="*/ 931545 h 1562100"/>
                <a:gd name="connsiteX127" fmla="*/ 954405 w 1466850"/>
                <a:gd name="connsiteY127" fmla="*/ 926783 h 1562100"/>
                <a:gd name="connsiteX128" fmla="*/ 950595 w 1466850"/>
                <a:gd name="connsiteY128" fmla="*/ 926783 h 1562100"/>
                <a:gd name="connsiteX129" fmla="*/ 948690 w 1466850"/>
                <a:gd name="connsiteY129" fmla="*/ 927735 h 1562100"/>
                <a:gd name="connsiteX130" fmla="*/ 945832 w 1466850"/>
                <a:gd name="connsiteY130" fmla="*/ 930593 h 1562100"/>
                <a:gd name="connsiteX131" fmla="*/ 942023 w 1466850"/>
                <a:gd name="connsiteY131" fmla="*/ 935355 h 1562100"/>
                <a:gd name="connsiteX132" fmla="*/ 937260 w 1466850"/>
                <a:gd name="connsiteY132" fmla="*/ 944880 h 1562100"/>
                <a:gd name="connsiteX133" fmla="*/ 935355 w 1466850"/>
                <a:gd name="connsiteY133" fmla="*/ 949643 h 1562100"/>
                <a:gd name="connsiteX134" fmla="*/ 934402 w 1466850"/>
                <a:gd name="connsiteY134" fmla="*/ 954405 h 1562100"/>
                <a:gd name="connsiteX135" fmla="*/ 935355 w 1466850"/>
                <a:gd name="connsiteY135" fmla="*/ 957263 h 1562100"/>
                <a:gd name="connsiteX136" fmla="*/ 939165 w 1466850"/>
                <a:gd name="connsiteY136" fmla="*/ 963930 h 1562100"/>
                <a:gd name="connsiteX137" fmla="*/ 941070 w 1466850"/>
                <a:gd name="connsiteY137" fmla="*/ 969645 h 1562100"/>
                <a:gd name="connsiteX138" fmla="*/ 942975 w 1466850"/>
                <a:gd name="connsiteY138" fmla="*/ 975360 h 1562100"/>
                <a:gd name="connsiteX139" fmla="*/ 942023 w 1466850"/>
                <a:gd name="connsiteY139" fmla="*/ 982028 h 1562100"/>
                <a:gd name="connsiteX140" fmla="*/ 939165 w 1466850"/>
                <a:gd name="connsiteY140" fmla="*/ 987743 h 1562100"/>
                <a:gd name="connsiteX141" fmla="*/ 922973 w 1466850"/>
                <a:gd name="connsiteY141" fmla="*/ 1013460 h 1562100"/>
                <a:gd name="connsiteX142" fmla="*/ 920115 w 1466850"/>
                <a:gd name="connsiteY142" fmla="*/ 1022032 h 1562100"/>
                <a:gd name="connsiteX143" fmla="*/ 919163 w 1466850"/>
                <a:gd name="connsiteY143" fmla="*/ 1026795 h 1562100"/>
                <a:gd name="connsiteX144" fmla="*/ 921068 w 1466850"/>
                <a:gd name="connsiteY144" fmla="*/ 1028700 h 1562100"/>
                <a:gd name="connsiteX145" fmla="*/ 937260 w 1466850"/>
                <a:gd name="connsiteY145" fmla="*/ 1039178 h 1562100"/>
                <a:gd name="connsiteX146" fmla="*/ 940118 w 1466850"/>
                <a:gd name="connsiteY146" fmla="*/ 1042988 h 1562100"/>
                <a:gd name="connsiteX147" fmla="*/ 941070 w 1466850"/>
                <a:gd name="connsiteY147" fmla="*/ 1045845 h 1562100"/>
                <a:gd name="connsiteX148" fmla="*/ 940118 w 1466850"/>
                <a:gd name="connsiteY148" fmla="*/ 1048703 h 1562100"/>
                <a:gd name="connsiteX149" fmla="*/ 937260 w 1466850"/>
                <a:gd name="connsiteY149" fmla="*/ 1052513 h 1562100"/>
                <a:gd name="connsiteX150" fmla="*/ 920115 w 1466850"/>
                <a:gd name="connsiteY150" fmla="*/ 1070610 h 1562100"/>
                <a:gd name="connsiteX151" fmla="*/ 915352 w 1466850"/>
                <a:gd name="connsiteY151" fmla="*/ 1078230 h 1562100"/>
                <a:gd name="connsiteX152" fmla="*/ 911543 w 1466850"/>
                <a:gd name="connsiteY152" fmla="*/ 1082040 h 1562100"/>
                <a:gd name="connsiteX153" fmla="*/ 905827 w 1466850"/>
                <a:gd name="connsiteY153" fmla="*/ 1084898 h 1562100"/>
                <a:gd name="connsiteX154" fmla="*/ 898208 w 1466850"/>
                <a:gd name="connsiteY154" fmla="*/ 1086803 h 1562100"/>
                <a:gd name="connsiteX155" fmla="*/ 886777 w 1466850"/>
                <a:gd name="connsiteY155" fmla="*/ 1086803 h 1562100"/>
                <a:gd name="connsiteX156" fmla="*/ 881063 w 1466850"/>
                <a:gd name="connsiteY156" fmla="*/ 1087755 h 1562100"/>
                <a:gd name="connsiteX157" fmla="*/ 870585 w 1466850"/>
                <a:gd name="connsiteY157" fmla="*/ 1091565 h 1562100"/>
                <a:gd name="connsiteX158" fmla="*/ 868680 w 1466850"/>
                <a:gd name="connsiteY158" fmla="*/ 1093470 h 1562100"/>
                <a:gd name="connsiteX159" fmla="*/ 866775 w 1466850"/>
                <a:gd name="connsiteY159" fmla="*/ 1096328 h 1562100"/>
                <a:gd name="connsiteX160" fmla="*/ 865823 w 1466850"/>
                <a:gd name="connsiteY160" fmla="*/ 1102043 h 1562100"/>
                <a:gd name="connsiteX161" fmla="*/ 865823 w 1466850"/>
                <a:gd name="connsiteY161" fmla="*/ 1105853 h 1562100"/>
                <a:gd name="connsiteX162" fmla="*/ 866775 w 1466850"/>
                <a:gd name="connsiteY162" fmla="*/ 1108710 h 1562100"/>
                <a:gd name="connsiteX163" fmla="*/ 869633 w 1466850"/>
                <a:gd name="connsiteY163" fmla="*/ 1113473 h 1562100"/>
                <a:gd name="connsiteX164" fmla="*/ 872490 w 1466850"/>
                <a:gd name="connsiteY164" fmla="*/ 1114425 h 1562100"/>
                <a:gd name="connsiteX165" fmla="*/ 875348 w 1466850"/>
                <a:gd name="connsiteY165" fmla="*/ 1114425 h 1562100"/>
                <a:gd name="connsiteX166" fmla="*/ 877252 w 1466850"/>
                <a:gd name="connsiteY166" fmla="*/ 1114425 h 1562100"/>
                <a:gd name="connsiteX167" fmla="*/ 882015 w 1466850"/>
                <a:gd name="connsiteY167" fmla="*/ 1111568 h 1562100"/>
                <a:gd name="connsiteX168" fmla="*/ 893445 w 1466850"/>
                <a:gd name="connsiteY168" fmla="*/ 1101090 h 1562100"/>
                <a:gd name="connsiteX169" fmla="*/ 896302 w 1466850"/>
                <a:gd name="connsiteY169" fmla="*/ 1100138 h 1562100"/>
                <a:gd name="connsiteX170" fmla="*/ 899160 w 1466850"/>
                <a:gd name="connsiteY170" fmla="*/ 1099185 h 1562100"/>
                <a:gd name="connsiteX171" fmla="*/ 902018 w 1466850"/>
                <a:gd name="connsiteY171" fmla="*/ 1100138 h 1562100"/>
                <a:gd name="connsiteX172" fmla="*/ 906780 w 1466850"/>
                <a:gd name="connsiteY172" fmla="*/ 1102995 h 1562100"/>
                <a:gd name="connsiteX173" fmla="*/ 909638 w 1466850"/>
                <a:gd name="connsiteY173" fmla="*/ 1106805 h 1562100"/>
                <a:gd name="connsiteX174" fmla="*/ 910590 w 1466850"/>
                <a:gd name="connsiteY174" fmla="*/ 1109663 h 1562100"/>
                <a:gd name="connsiteX175" fmla="*/ 909638 w 1466850"/>
                <a:gd name="connsiteY175" fmla="*/ 1112520 h 1562100"/>
                <a:gd name="connsiteX176" fmla="*/ 908685 w 1466850"/>
                <a:gd name="connsiteY176" fmla="*/ 1116330 h 1562100"/>
                <a:gd name="connsiteX177" fmla="*/ 904875 w 1466850"/>
                <a:gd name="connsiteY177" fmla="*/ 1124903 h 1562100"/>
                <a:gd name="connsiteX178" fmla="*/ 903923 w 1466850"/>
                <a:gd name="connsiteY178" fmla="*/ 1127760 h 1562100"/>
                <a:gd name="connsiteX179" fmla="*/ 903923 w 1466850"/>
                <a:gd name="connsiteY179" fmla="*/ 1131570 h 1562100"/>
                <a:gd name="connsiteX180" fmla="*/ 904875 w 1466850"/>
                <a:gd name="connsiteY180" fmla="*/ 1150620 h 1562100"/>
                <a:gd name="connsiteX181" fmla="*/ 908685 w 1466850"/>
                <a:gd name="connsiteY181" fmla="*/ 1154430 h 1562100"/>
                <a:gd name="connsiteX182" fmla="*/ 921068 w 1466850"/>
                <a:gd name="connsiteY182" fmla="*/ 1158240 h 1562100"/>
                <a:gd name="connsiteX183" fmla="*/ 930593 w 1466850"/>
                <a:gd name="connsiteY183" fmla="*/ 1159193 h 1562100"/>
                <a:gd name="connsiteX184" fmla="*/ 937260 w 1466850"/>
                <a:gd name="connsiteY184" fmla="*/ 1155382 h 1562100"/>
                <a:gd name="connsiteX185" fmla="*/ 941070 w 1466850"/>
                <a:gd name="connsiteY185" fmla="*/ 1161098 h 1562100"/>
                <a:gd name="connsiteX186" fmla="*/ 951548 w 1466850"/>
                <a:gd name="connsiteY186" fmla="*/ 1174432 h 1562100"/>
                <a:gd name="connsiteX187" fmla="*/ 952500 w 1466850"/>
                <a:gd name="connsiteY187" fmla="*/ 1177290 h 1562100"/>
                <a:gd name="connsiteX188" fmla="*/ 952500 w 1466850"/>
                <a:gd name="connsiteY188" fmla="*/ 1183005 h 1562100"/>
                <a:gd name="connsiteX189" fmla="*/ 949643 w 1466850"/>
                <a:gd name="connsiteY189" fmla="*/ 1188720 h 1562100"/>
                <a:gd name="connsiteX190" fmla="*/ 945832 w 1466850"/>
                <a:gd name="connsiteY190" fmla="*/ 1191578 h 1562100"/>
                <a:gd name="connsiteX191" fmla="*/ 941070 w 1466850"/>
                <a:gd name="connsiteY191" fmla="*/ 1195388 h 1562100"/>
                <a:gd name="connsiteX192" fmla="*/ 930593 w 1466850"/>
                <a:gd name="connsiteY192" fmla="*/ 1199198 h 1562100"/>
                <a:gd name="connsiteX193" fmla="*/ 925830 w 1466850"/>
                <a:gd name="connsiteY193" fmla="*/ 1200150 h 1562100"/>
                <a:gd name="connsiteX194" fmla="*/ 922020 w 1466850"/>
                <a:gd name="connsiteY194" fmla="*/ 1199198 h 1562100"/>
                <a:gd name="connsiteX195" fmla="*/ 920115 w 1466850"/>
                <a:gd name="connsiteY195" fmla="*/ 1198245 h 1562100"/>
                <a:gd name="connsiteX196" fmla="*/ 913448 w 1466850"/>
                <a:gd name="connsiteY196" fmla="*/ 1197293 h 1562100"/>
                <a:gd name="connsiteX197" fmla="*/ 910590 w 1466850"/>
                <a:gd name="connsiteY197" fmla="*/ 1197293 h 1562100"/>
                <a:gd name="connsiteX198" fmla="*/ 904875 w 1466850"/>
                <a:gd name="connsiteY198" fmla="*/ 1198245 h 1562100"/>
                <a:gd name="connsiteX199" fmla="*/ 883920 w 1466850"/>
                <a:gd name="connsiteY199" fmla="*/ 1206818 h 1562100"/>
                <a:gd name="connsiteX200" fmla="*/ 861060 w 1466850"/>
                <a:gd name="connsiteY200" fmla="*/ 1220153 h 1562100"/>
                <a:gd name="connsiteX201" fmla="*/ 856298 w 1466850"/>
                <a:gd name="connsiteY201" fmla="*/ 1222057 h 1562100"/>
                <a:gd name="connsiteX202" fmla="*/ 843915 w 1466850"/>
                <a:gd name="connsiteY202" fmla="*/ 1224915 h 1562100"/>
                <a:gd name="connsiteX203" fmla="*/ 830580 w 1466850"/>
                <a:gd name="connsiteY203" fmla="*/ 1223963 h 1562100"/>
                <a:gd name="connsiteX204" fmla="*/ 824865 w 1466850"/>
                <a:gd name="connsiteY204" fmla="*/ 1224915 h 1562100"/>
                <a:gd name="connsiteX205" fmla="*/ 800100 w 1466850"/>
                <a:gd name="connsiteY205" fmla="*/ 1236345 h 1562100"/>
                <a:gd name="connsiteX206" fmla="*/ 794385 w 1466850"/>
                <a:gd name="connsiteY206" fmla="*/ 1236345 h 1562100"/>
                <a:gd name="connsiteX207" fmla="*/ 790575 w 1466850"/>
                <a:gd name="connsiteY207" fmla="*/ 1236345 h 1562100"/>
                <a:gd name="connsiteX208" fmla="*/ 767715 w 1466850"/>
                <a:gd name="connsiteY208" fmla="*/ 1228725 h 1562100"/>
                <a:gd name="connsiteX209" fmla="*/ 761048 w 1466850"/>
                <a:gd name="connsiteY209" fmla="*/ 1227773 h 1562100"/>
                <a:gd name="connsiteX210" fmla="*/ 758190 w 1466850"/>
                <a:gd name="connsiteY210" fmla="*/ 1227773 h 1562100"/>
                <a:gd name="connsiteX211" fmla="*/ 753427 w 1466850"/>
                <a:gd name="connsiteY211" fmla="*/ 1229678 h 1562100"/>
                <a:gd name="connsiteX212" fmla="*/ 729615 w 1466850"/>
                <a:gd name="connsiteY212" fmla="*/ 1246823 h 1562100"/>
                <a:gd name="connsiteX213" fmla="*/ 722948 w 1466850"/>
                <a:gd name="connsiteY213" fmla="*/ 1249680 h 1562100"/>
                <a:gd name="connsiteX214" fmla="*/ 719138 w 1466850"/>
                <a:gd name="connsiteY214" fmla="*/ 1250632 h 1562100"/>
                <a:gd name="connsiteX215" fmla="*/ 700088 w 1466850"/>
                <a:gd name="connsiteY215" fmla="*/ 1243013 h 1562100"/>
                <a:gd name="connsiteX216" fmla="*/ 693420 w 1466850"/>
                <a:gd name="connsiteY216" fmla="*/ 1242060 h 1562100"/>
                <a:gd name="connsiteX217" fmla="*/ 690563 w 1466850"/>
                <a:gd name="connsiteY217" fmla="*/ 1242060 h 1562100"/>
                <a:gd name="connsiteX218" fmla="*/ 686752 w 1466850"/>
                <a:gd name="connsiteY218" fmla="*/ 1243965 h 1562100"/>
                <a:gd name="connsiteX219" fmla="*/ 675323 w 1466850"/>
                <a:gd name="connsiteY219" fmla="*/ 1254443 h 1562100"/>
                <a:gd name="connsiteX220" fmla="*/ 670560 w 1466850"/>
                <a:gd name="connsiteY220" fmla="*/ 1257300 h 1562100"/>
                <a:gd name="connsiteX221" fmla="*/ 666750 w 1466850"/>
                <a:gd name="connsiteY221" fmla="*/ 1258253 h 1562100"/>
                <a:gd name="connsiteX222" fmla="*/ 640080 w 1466850"/>
                <a:gd name="connsiteY222" fmla="*/ 1260157 h 1562100"/>
                <a:gd name="connsiteX223" fmla="*/ 587693 w 1466850"/>
                <a:gd name="connsiteY223" fmla="*/ 1252538 h 1562100"/>
                <a:gd name="connsiteX224" fmla="*/ 579120 w 1466850"/>
                <a:gd name="connsiteY224" fmla="*/ 1253490 h 1562100"/>
                <a:gd name="connsiteX225" fmla="*/ 573405 w 1466850"/>
                <a:gd name="connsiteY225" fmla="*/ 1255395 h 1562100"/>
                <a:gd name="connsiteX226" fmla="*/ 564833 w 1466850"/>
                <a:gd name="connsiteY226" fmla="*/ 1261110 h 1562100"/>
                <a:gd name="connsiteX227" fmla="*/ 555308 w 1466850"/>
                <a:gd name="connsiteY227" fmla="*/ 1268730 h 1562100"/>
                <a:gd name="connsiteX228" fmla="*/ 550545 w 1466850"/>
                <a:gd name="connsiteY228" fmla="*/ 1275398 h 1562100"/>
                <a:gd name="connsiteX229" fmla="*/ 548640 w 1466850"/>
                <a:gd name="connsiteY229" fmla="*/ 1278255 h 1562100"/>
                <a:gd name="connsiteX230" fmla="*/ 535305 w 1466850"/>
                <a:gd name="connsiteY230" fmla="*/ 1320165 h 1562100"/>
                <a:gd name="connsiteX231" fmla="*/ 531495 w 1466850"/>
                <a:gd name="connsiteY231" fmla="*/ 1329690 h 1562100"/>
                <a:gd name="connsiteX232" fmla="*/ 527685 w 1466850"/>
                <a:gd name="connsiteY232" fmla="*/ 1336357 h 1562100"/>
                <a:gd name="connsiteX233" fmla="*/ 518160 w 1466850"/>
                <a:gd name="connsiteY233" fmla="*/ 1344930 h 1562100"/>
                <a:gd name="connsiteX234" fmla="*/ 516255 w 1466850"/>
                <a:gd name="connsiteY234" fmla="*/ 1346835 h 1562100"/>
                <a:gd name="connsiteX235" fmla="*/ 504825 w 1466850"/>
                <a:gd name="connsiteY235" fmla="*/ 1357313 h 1562100"/>
                <a:gd name="connsiteX236" fmla="*/ 496252 w 1466850"/>
                <a:gd name="connsiteY236" fmla="*/ 1363028 h 1562100"/>
                <a:gd name="connsiteX237" fmla="*/ 493395 w 1466850"/>
                <a:gd name="connsiteY237" fmla="*/ 1369695 h 1562100"/>
                <a:gd name="connsiteX238" fmla="*/ 481012 w 1466850"/>
                <a:gd name="connsiteY238" fmla="*/ 1428750 h 1562100"/>
                <a:gd name="connsiteX239" fmla="*/ 479108 w 1466850"/>
                <a:gd name="connsiteY239" fmla="*/ 1434465 h 1562100"/>
                <a:gd name="connsiteX240" fmla="*/ 479108 w 1466850"/>
                <a:gd name="connsiteY240" fmla="*/ 1437323 h 1562100"/>
                <a:gd name="connsiteX241" fmla="*/ 479108 w 1466850"/>
                <a:gd name="connsiteY241" fmla="*/ 1441132 h 1562100"/>
                <a:gd name="connsiteX242" fmla="*/ 481012 w 1466850"/>
                <a:gd name="connsiteY242" fmla="*/ 1444943 h 1562100"/>
                <a:gd name="connsiteX243" fmla="*/ 486727 w 1466850"/>
                <a:gd name="connsiteY243" fmla="*/ 1452563 h 1562100"/>
                <a:gd name="connsiteX244" fmla="*/ 489585 w 1466850"/>
                <a:gd name="connsiteY244" fmla="*/ 1457325 h 1562100"/>
                <a:gd name="connsiteX245" fmla="*/ 491490 w 1466850"/>
                <a:gd name="connsiteY245" fmla="*/ 1463040 h 1562100"/>
                <a:gd name="connsiteX246" fmla="*/ 492443 w 1466850"/>
                <a:gd name="connsiteY246" fmla="*/ 1471613 h 1562100"/>
                <a:gd name="connsiteX247" fmla="*/ 493395 w 1466850"/>
                <a:gd name="connsiteY247" fmla="*/ 1478280 h 1562100"/>
                <a:gd name="connsiteX248" fmla="*/ 470535 w 1466850"/>
                <a:gd name="connsiteY248" fmla="*/ 1566863 h 1562100"/>
                <a:gd name="connsiteX249" fmla="*/ 458152 w 1466850"/>
                <a:gd name="connsiteY249" fmla="*/ 1561148 h 1562100"/>
                <a:gd name="connsiteX250" fmla="*/ 452437 w 1466850"/>
                <a:gd name="connsiteY250" fmla="*/ 1560195 h 1562100"/>
                <a:gd name="connsiteX251" fmla="*/ 424815 w 1466850"/>
                <a:gd name="connsiteY251" fmla="*/ 1564005 h 1562100"/>
                <a:gd name="connsiteX252" fmla="*/ 414337 w 1466850"/>
                <a:gd name="connsiteY252" fmla="*/ 1563053 h 1562100"/>
                <a:gd name="connsiteX253" fmla="*/ 399098 w 1466850"/>
                <a:gd name="connsiteY253" fmla="*/ 1560195 h 1562100"/>
                <a:gd name="connsiteX254" fmla="*/ 393383 w 1466850"/>
                <a:gd name="connsiteY254" fmla="*/ 1558290 h 1562100"/>
                <a:gd name="connsiteX255" fmla="*/ 388620 w 1466850"/>
                <a:gd name="connsiteY255" fmla="*/ 1555432 h 1562100"/>
                <a:gd name="connsiteX256" fmla="*/ 387668 w 1466850"/>
                <a:gd name="connsiteY256" fmla="*/ 1553528 h 1562100"/>
                <a:gd name="connsiteX257" fmla="*/ 385762 w 1466850"/>
                <a:gd name="connsiteY257" fmla="*/ 1548765 h 1562100"/>
                <a:gd name="connsiteX258" fmla="*/ 384810 w 1466850"/>
                <a:gd name="connsiteY258" fmla="*/ 1545907 h 1562100"/>
                <a:gd name="connsiteX259" fmla="*/ 384810 w 1466850"/>
                <a:gd name="connsiteY259" fmla="*/ 1541145 h 1562100"/>
                <a:gd name="connsiteX260" fmla="*/ 384810 w 1466850"/>
                <a:gd name="connsiteY260" fmla="*/ 1537335 h 1562100"/>
                <a:gd name="connsiteX261" fmla="*/ 382905 w 1466850"/>
                <a:gd name="connsiteY261" fmla="*/ 1533525 h 1562100"/>
                <a:gd name="connsiteX262" fmla="*/ 378143 w 1466850"/>
                <a:gd name="connsiteY262" fmla="*/ 1528763 h 1562100"/>
                <a:gd name="connsiteX263" fmla="*/ 374333 w 1466850"/>
                <a:gd name="connsiteY263" fmla="*/ 1527810 h 1562100"/>
                <a:gd name="connsiteX264" fmla="*/ 371475 w 1466850"/>
                <a:gd name="connsiteY264" fmla="*/ 1528763 h 1562100"/>
                <a:gd name="connsiteX265" fmla="*/ 369570 w 1466850"/>
                <a:gd name="connsiteY265" fmla="*/ 1530668 h 1562100"/>
                <a:gd name="connsiteX266" fmla="*/ 361950 w 1466850"/>
                <a:gd name="connsiteY266" fmla="*/ 1541145 h 1562100"/>
                <a:gd name="connsiteX267" fmla="*/ 359093 w 1466850"/>
                <a:gd name="connsiteY267" fmla="*/ 1543050 h 1562100"/>
                <a:gd name="connsiteX268" fmla="*/ 355283 w 1466850"/>
                <a:gd name="connsiteY268" fmla="*/ 1544955 h 1562100"/>
                <a:gd name="connsiteX269" fmla="*/ 352425 w 1466850"/>
                <a:gd name="connsiteY269" fmla="*/ 1544955 h 1562100"/>
                <a:gd name="connsiteX270" fmla="*/ 349568 w 1466850"/>
                <a:gd name="connsiteY270" fmla="*/ 1541145 h 1562100"/>
                <a:gd name="connsiteX271" fmla="*/ 348615 w 1466850"/>
                <a:gd name="connsiteY271" fmla="*/ 1536382 h 1562100"/>
                <a:gd name="connsiteX272" fmla="*/ 348615 w 1466850"/>
                <a:gd name="connsiteY272" fmla="*/ 1526857 h 1562100"/>
                <a:gd name="connsiteX273" fmla="*/ 346710 w 1466850"/>
                <a:gd name="connsiteY273" fmla="*/ 1520190 h 1562100"/>
                <a:gd name="connsiteX274" fmla="*/ 344805 w 1466850"/>
                <a:gd name="connsiteY274" fmla="*/ 1520190 h 1562100"/>
                <a:gd name="connsiteX275" fmla="*/ 342900 w 1466850"/>
                <a:gd name="connsiteY275" fmla="*/ 1520190 h 1562100"/>
                <a:gd name="connsiteX276" fmla="*/ 338137 w 1466850"/>
                <a:gd name="connsiteY276" fmla="*/ 1525905 h 1562100"/>
                <a:gd name="connsiteX277" fmla="*/ 332423 w 1466850"/>
                <a:gd name="connsiteY277" fmla="*/ 1526857 h 1562100"/>
                <a:gd name="connsiteX278" fmla="*/ 325755 w 1466850"/>
                <a:gd name="connsiteY278" fmla="*/ 1527810 h 1562100"/>
                <a:gd name="connsiteX279" fmla="*/ 300990 w 1466850"/>
                <a:gd name="connsiteY279" fmla="*/ 1524953 h 1562100"/>
                <a:gd name="connsiteX280" fmla="*/ 296228 w 1466850"/>
                <a:gd name="connsiteY280" fmla="*/ 1524000 h 1562100"/>
                <a:gd name="connsiteX281" fmla="*/ 291465 w 1466850"/>
                <a:gd name="connsiteY281" fmla="*/ 1520190 h 1562100"/>
                <a:gd name="connsiteX282" fmla="*/ 287655 w 1466850"/>
                <a:gd name="connsiteY282" fmla="*/ 1517332 h 1562100"/>
                <a:gd name="connsiteX283" fmla="*/ 284798 w 1466850"/>
                <a:gd name="connsiteY283" fmla="*/ 1513523 h 1562100"/>
                <a:gd name="connsiteX284" fmla="*/ 274320 w 1466850"/>
                <a:gd name="connsiteY284" fmla="*/ 1494473 h 1562100"/>
                <a:gd name="connsiteX285" fmla="*/ 261937 w 1466850"/>
                <a:gd name="connsiteY285" fmla="*/ 1463040 h 1562100"/>
                <a:gd name="connsiteX286" fmla="*/ 258128 w 1466850"/>
                <a:gd name="connsiteY286" fmla="*/ 1456373 h 1562100"/>
                <a:gd name="connsiteX287" fmla="*/ 252412 w 1466850"/>
                <a:gd name="connsiteY287" fmla="*/ 1451610 h 1562100"/>
                <a:gd name="connsiteX288" fmla="*/ 248603 w 1466850"/>
                <a:gd name="connsiteY288" fmla="*/ 1448753 h 1562100"/>
                <a:gd name="connsiteX289" fmla="*/ 244792 w 1466850"/>
                <a:gd name="connsiteY289" fmla="*/ 1447800 h 1562100"/>
                <a:gd name="connsiteX290" fmla="*/ 230505 w 1466850"/>
                <a:gd name="connsiteY290" fmla="*/ 1450657 h 1562100"/>
                <a:gd name="connsiteX291" fmla="*/ 208598 w 1466850"/>
                <a:gd name="connsiteY291" fmla="*/ 1457325 h 1562100"/>
                <a:gd name="connsiteX292" fmla="*/ 203835 w 1466850"/>
                <a:gd name="connsiteY292" fmla="*/ 1460182 h 1562100"/>
                <a:gd name="connsiteX293" fmla="*/ 200025 w 1466850"/>
                <a:gd name="connsiteY293" fmla="*/ 1461135 h 1562100"/>
                <a:gd name="connsiteX294" fmla="*/ 196215 w 1466850"/>
                <a:gd name="connsiteY294" fmla="*/ 1461135 h 1562100"/>
                <a:gd name="connsiteX295" fmla="*/ 187642 w 1466850"/>
                <a:gd name="connsiteY295" fmla="*/ 1461135 h 1562100"/>
                <a:gd name="connsiteX296" fmla="*/ 183833 w 1466850"/>
                <a:gd name="connsiteY296" fmla="*/ 1460182 h 1562100"/>
                <a:gd name="connsiteX297" fmla="*/ 180023 w 1466850"/>
                <a:gd name="connsiteY297" fmla="*/ 1458278 h 1562100"/>
                <a:gd name="connsiteX298" fmla="*/ 176212 w 1466850"/>
                <a:gd name="connsiteY298" fmla="*/ 1451610 h 1562100"/>
                <a:gd name="connsiteX299" fmla="*/ 174308 w 1466850"/>
                <a:gd name="connsiteY299" fmla="*/ 1445895 h 1562100"/>
                <a:gd name="connsiteX300" fmla="*/ 172403 w 1466850"/>
                <a:gd name="connsiteY300" fmla="*/ 1442085 h 1562100"/>
                <a:gd name="connsiteX301" fmla="*/ 169545 w 1466850"/>
                <a:gd name="connsiteY301" fmla="*/ 1437323 h 1562100"/>
                <a:gd name="connsiteX302" fmla="*/ 150495 w 1466850"/>
                <a:gd name="connsiteY302" fmla="*/ 1422082 h 1562100"/>
                <a:gd name="connsiteX303" fmla="*/ 137160 w 1466850"/>
                <a:gd name="connsiteY303" fmla="*/ 1405890 h 1562100"/>
                <a:gd name="connsiteX304" fmla="*/ 134303 w 1466850"/>
                <a:gd name="connsiteY304" fmla="*/ 1402080 h 1562100"/>
                <a:gd name="connsiteX305" fmla="*/ 132398 w 1466850"/>
                <a:gd name="connsiteY305" fmla="*/ 1396365 h 1562100"/>
                <a:gd name="connsiteX306" fmla="*/ 131445 w 1466850"/>
                <a:gd name="connsiteY306" fmla="*/ 1387793 h 1562100"/>
                <a:gd name="connsiteX307" fmla="*/ 131445 w 1466850"/>
                <a:gd name="connsiteY307" fmla="*/ 1384935 h 1562100"/>
                <a:gd name="connsiteX308" fmla="*/ 131445 w 1466850"/>
                <a:gd name="connsiteY308" fmla="*/ 1374457 h 1562100"/>
                <a:gd name="connsiteX309" fmla="*/ 133350 w 1466850"/>
                <a:gd name="connsiteY309" fmla="*/ 1368743 h 1562100"/>
                <a:gd name="connsiteX310" fmla="*/ 138112 w 1466850"/>
                <a:gd name="connsiteY310" fmla="*/ 1358265 h 1562100"/>
                <a:gd name="connsiteX311" fmla="*/ 137160 w 1466850"/>
                <a:gd name="connsiteY311" fmla="*/ 1351598 h 1562100"/>
                <a:gd name="connsiteX312" fmla="*/ 127635 w 1466850"/>
                <a:gd name="connsiteY312" fmla="*/ 1340168 h 1562100"/>
                <a:gd name="connsiteX313" fmla="*/ 118110 w 1466850"/>
                <a:gd name="connsiteY313" fmla="*/ 1334453 h 1562100"/>
                <a:gd name="connsiteX314" fmla="*/ 118110 w 1466850"/>
                <a:gd name="connsiteY314" fmla="*/ 1332548 h 1562100"/>
                <a:gd name="connsiteX315" fmla="*/ 109537 w 1466850"/>
                <a:gd name="connsiteY315" fmla="*/ 1317307 h 1562100"/>
                <a:gd name="connsiteX316" fmla="*/ 106680 w 1466850"/>
                <a:gd name="connsiteY316" fmla="*/ 1309688 h 1562100"/>
                <a:gd name="connsiteX317" fmla="*/ 107633 w 1466850"/>
                <a:gd name="connsiteY317" fmla="*/ 1299210 h 1562100"/>
                <a:gd name="connsiteX318" fmla="*/ 112395 w 1466850"/>
                <a:gd name="connsiteY318" fmla="*/ 1283018 h 1562100"/>
                <a:gd name="connsiteX319" fmla="*/ 112395 w 1466850"/>
                <a:gd name="connsiteY319" fmla="*/ 1276350 h 1562100"/>
                <a:gd name="connsiteX320" fmla="*/ 105728 w 1466850"/>
                <a:gd name="connsiteY320" fmla="*/ 1268730 h 1562100"/>
                <a:gd name="connsiteX321" fmla="*/ 81915 w 1466850"/>
                <a:gd name="connsiteY321" fmla="*/ 1255395 h 1562100"/>
                <a:gd name="connsiteX322" fmla="*/ 72390 w 1466850"/>
                <a:gd name="connsiteY322" fmla="*/ 1247775 h 1562100"/>
                <a:gd name="connsiteX323" fmla="*/ 57150 w 1466850"/>
                <a:gd name="connsiteY323" fmla="*/ 1227773 h 1562100"/>
                <a:gd name="connsiteX324" fmla="*/ 40005 w 1466850"/>
                <a:gd name="connsiteY324" fmla="*/ 1215390 h 1562100"/>
                <a:gd name="connsiteX325" fmla="*/ 42862 w 1466850"/>
                <a:gd name="connsiteY325" fmla="*/ 1214438 h 1562100"/>
                <a:gd name="connsiteX326" fmla="*/ 34290 w 1466850"/>
                <a:gd name="connsiteY326" fmla="*/ 1208723 h 1562100"/>
                <a:gd name="connsiteX327" fmla="*/ 27622 w 1466850"/>
                <a:gd name="connsiteY327" fmla="*/ 1217295 h 1562100"/>
                <a:gd name="connsiteX328" fmla="*/ 24765 w 1466850"/>
                <a:gd name="connsiteY328" fmla="*/ 1219200 h 1562100"/>
                <a:gd name="connsiteX329" fmla="*/ 21907 w 1466850"/>
                <a:gd name="connsiteY329" fmla="*/ 1215390 h 1562100"/>
                <a:gd name="connsiteX330" fmla="*/ 24765 w 1466850"/>
                <a:gd name="connsiteY330" fmla="*/ 1204913 h 1562100"/>
                <a:gd name="connsiteX331" fmla="*/ 33337 w 1466850"/>
                <a:gd name="connsiteY331" fmla="*/ 1187768 h 1562100"/>
                <a:gd name="connsiteX332" fmla="*/ 40005 w 1466850"/>
                <a:gd name="connsiteY332" fmla="*/ 1159193 h 1562100"/>
                <a:gd name="connsiteX333" fmla="*/ 49530 w 1466850"/>
                <a:gd name="connsiteY333" fmla="*/ 1134428 h 1562100"/>
                <a:gd name="connsiteX334" fmla="*/ 51435 w 1466850"/>
                <a:gd name="connsiteY334" fmla="*/ 1122998 h 1562100"/>
                <a:gd name="connsiteX335" fmla="*/ 43815 w 1466850"/>
                <a:gd name="connsiteY335" fmla="*/ 1048703 h 1562100"/>
                <a:gd name="connsiteX336" fmla="*/ 41910 w 1466850"/>
                <a:gd name="connsiteY336" fmla="*/ 1035368 h 1562100"/>
                <a:gd name="connsiteX337" fmla="*/ 39053 w 1466850"/>
                <a:gd name="connsiteY337" fmla="*/ 1029653 h 1562100"/>
                <a:gd name="connsiteX338" fmla="*/ 27622 w 1466850"/>
                <a:gd name="connsiteY338" fmla="*/ 1017270 h 1562100"/>
                <a:gd name="connsiteX339" fmla="*/ 20955 w 1466850"/>
                <a:gd name="connsiteY339" fmla="*/ 1006793 h 1562100"/>
                <a:gd name="connsiteX340" fmla="*/ 19050 w 1466850"/>
                <a:gd name="connsiteY340" fmla="*/ 1002030 h 1562100"/>
                <a:gd name="connsiteX341" fmla="*/ 17145 w 1466850"/>
                <a:gd name="connsiteY341" fmla="*/ 992505 h 1562100"/>
                <a:gd name="connsiteX342" fmla="*/ 14288 w 1466850"/>
                <a:gd name="connsiteY342" fmla="*/ 958215 h 1562100"/>
                <a:gd name="connsiteX343" fmla="*/ 10478 w 1466850"/>
                <a:gd name="connsiteY343" fmla="*/ 946785 h 1562100"/>
                <a:gd name="connsiteX344" fmla="*/ 0 w 1466850"/>
                <a:gd name="connsiteY344" fmla="*/ 917258 h 1562100"/>
                <a:gd name="connsiteX345" fmla="*/ 13335 w 1466850"/>
                <a:gd name="connsiteY345" fmla="*/ 885825 h 1562100"/>
                <a:gd name="connsiteX346" fmla="*/ 53340 w 1466850"/>
                <a:gd name="connsiteY346" fmla="*/ 831533 h 1562100"/>
                <a:gd name="connsiteX347" fmla="*/ 62865 w 1466850"/>
                <a:gd name="connsiteY347" fmla="*/ 805815 h 1562100"/>
                <a:gd name="connsiteX348" fmla="*/ 66675 w 1466850"/>
                <a:gd name="connsiteY348" fmla="*/ 799147 h 1562100"/>
                <a:gd name="connsiteX349" fmla="*/ 72390 w 1466850"/>
                <a:gd name="connsiteY349" fmla="*/ 793433 h 1562100"/>
                <a:gd name="connsiteX350" fmla="*/ 83820 w 1466850"/>
                <a:gd name="connsiteY350" fmla="*/ 791528 h 1562100"/>
                <a:gd name="connsiteX351" fmla="*/ 89535 w 1466850"/>
                <a:gd name="connsiteY351" fmla="*/ 788670 h 1562100"/>
                <a:gd name="connsiteX352" fmla="*/ 98108 w 1466850"/>
                <a:gd name="connsiteY352" fmla="*/ 780097 h 1562100"/>
                <a:gd name="connsiteX353" fmla="*/ 130492 w 1466850"/>
                <a:gd name="connsiteY353" fmla="*/ 721043 h 1562100"/>
                <a:gd name="connsiteX354" fmla="*/ 136208 w 1466850"/>
                <a:gd name="connsiteY354" fmla="*/ 714375 h 1562100"/>
                <a:gd name="connsiteX355" fmla="*/ 140017 w 1466850"/>
                <a:gd name="connsiteY355" fmla="*/ 711518 h 1562100"/>
                <a:gd name="connsiteX356" fmla="*/ 149542 w 1466850"/>
                <a:gd name="connsiteY356" fmla="*/ 707708 h 1562100"/>
                <a:gd name="connsiteX357" fmla="*/ 154305 w 1466850"/>
                <a:gd name="connsiteY357" fmla="*/ 703897 h 1562100"/>
                <a:gd name="connsiteX358" fmla="*/ 157162 w 1466850"/>
                <a:gd name="connsiteY358" fmla="*/ 698183 h 1562100"/>
                <a:gd name="connsiteX359" fmla="*/ 160973 w 1466850"/>
                <a:gd name="connsiteY359" fmla="*/ 681038 h 1562100"/>
                <a:gd name="connsiteX360" fmla="*/ 163830 w 1466850"/>
                <a:gd name="connsiteY360" fmla="*/ 674370 h 1562100"/>
                <a:gd name="connsiteX361" fmla="*/ 185737 w 1466850"/>
                <a:gd name="connsiteY361" fmla="*/ 651510 h 1562100"/>
                <a:gd name="connsiteX362" fmla="*/ 242887 w 1466850"/>
                <a:gd name="connsiteY362" fmla="*/ 567690 h 1562100"/>
                <a:gd name="connsiteX363" fmla="*/ 263843 w 1466850"/>
                <a:gd name="connsiteY363" fmla="*/ 543878 h 1562100"/>
                <a:gd name="connsiteX364" fmla="*/ 283845 w 1466850"/>
                <a:gd name="connsiteY364" fmla="*/ 529590 h 1562100"/>
                <a:gd name="connsiteX365" fmla="*/ 299085 w 1466850"/>
                <a:gd name="connsiteY365" fmla="*/ 504825 h 1562100"/>
                <a:gd name="connsiteX366" fmla="*/ 420052 w 1466850"/>
                <a:gd name="connsiteY366" fmla="*/ 373380 h 1562100"/>
                <a:gd name="connsiteX367" fmla="*/ 443865 w 1466850"/>
                <a:gd name="connsiteY367" fmla="*/ 354330 h 1562100"/>
                <a:gd name="connsiteX368" fmla="*/ 472440 w 1466850"/>
                <a:gd name="connsiteY368" fmla="*/ 332422 h 1562100"/>
                <a:gd name="connsiteX369" fmla="*/ 487680 w 1466850"/>
                <a:gd name="connsiteY369" fmla="*/ 320040 h 1562100"/>
                <a:gd name="connsiteX370" fmla="*/ 529590 w 1466850"/>
                <a:gd name="connsiteY370" fmla="*/ 275272 h 1562100"/>
                <a:gd name="connsiteX371" fmla="*/ 536258 w 1466850"/>
                <a:gd name="connsiteY371" fmla="*/ 263842 h 1562100"/>
                <a:gd name="connsiteX372" fmla="*/ 543877 w 1466850"/>
                <a:gd name="connsiteY372" fmla="*/ 240983 h 1562100"/>
                <a:gd name="connsiteX373" fmla="*/ 549593 w 1466850"/>
                <a:gd name="connsiteY373" fmla="*/ 228600 h 1562100"/>
                <a:gd name="connsiteX374" fmla="*/ 556260 w 1466850"/>
                <a:gd name="connsiteY374" fmla="*/ 221933 h 1562100"/>
                <a:gd name="connsiteX375" fmla="*/ 565785 w 1466850"/>
                <a:gd name="connsiteY375" fmla="*/ 217170 h 1562100"/>
                <a:gd name="connsiteX376" fmla="*/ 583883 w 1466850"/>
                <a:gd name="connsiteY376" fmla="*/ 211455 h 1562100"/>
                <a:gd name="connsiteX377" fmla="*/ 679133 w 1466850"/>
                <a:gd name="connsiteY377" fmla="*/ 210503 h 1562100"/>
                <a:gd name="connsiteX378" fmla="*/ 706755 w 1466850"/>
                <a:gd name="connsiteY378" fmla="*/ 199072 h 1562100"/>
                <a:gd name="connsiteX379" fmla="*/ 718185 w 1466850"/>
                <a:gd name="connsiteY379" fmla="*/ 171450 h 1562100"/>
                <a:gd name="connsiteX380" fmla="*/ 721043 w 1466850"/>
                <a:gd name="connsiteY380" fmla="*/ 162878 h 1562100"/>
                <a:gd name="connsiteX381" fmla="*/ 721995 w 1466850"/>
                <a:gd name="connsiteY381" fmla="*/ 151447 h 1562100"/>
                <a:gd name="connsiteX382" fmla="*/ 721043 w 1466850"/>
                <a:gd name="connsiteY382" fmla="*/ 136208 h 1562100"/>
                <a:gd name="connsiteX383" fmla="*/ 722948 w 1466850"/>
                <a:gd name="connsiteY383" fmla="*/ 125730 h 1562100"/>
                <a:gd name="connsiteX384" fmla="*/ 756285 w 1466850"/>
                <a:gd name="connsiteY384" fmla="*/ 107633 h 1562100"/>
                <a:gd name="connsiteX385" fmla="*/ 766763 w 1466850"/>
                <a:gd name="connsiteY385" fmla="*/ 97155 h 1562100"/>
                <a:gd name="connsiteX386" fmla="*/ 773430 w 1466850"/>
                <a:gd name="connsiteY386" fmla="*/ 87630 h 1562100"/>
                <a:gd name="connsiteX387" fmla="*/ 773430 w 1466850"/>
                <a:gd name="connsiteY387" fmla="*/ 85725 h 1562100"/>
                <a:gd name="connsiteX388" fmla="*/ 770573 w 1466850"/>
                <a:gd name="connsiteY388" fmla="*/ 83820 h 1562100"/>
                <a:gd name="connsiteX389" fmla="*/ 767715 w 1466850"/>
                <a:gd name="connsiteY389" fmla="*/ 72390 h 1562100"/>
                <a:gd name="connsiteX390" fmla="*/ 762000 w 1466850"/>
                <a:gd name="connsiteY390" fmla="*/ 33338 h 1562100"/>
                <a:gd name="connsiteX391" fmla="*/ 774383 w 1466850"/>
                <a:gd name="connsiteY391" fmla="*/ 12383 h 1562100"/>
                <a:gd name="connsiteX392" fmla="*/ 774383 w 1466850"/>
                <a:gd name="connsiteY392" fmla="*/ 11430 h 1562100"/>
                <a:gd name="connsiteX393" fmla="*/ 778193 w 1466850"/>
                <a:gd name="connsiteY393" fmla="*/ 5715 h 1562100"/>
                <a:gd name="connsiteX394" fmla="*/ 782955 w 1466850"/>
                <a:gd name="connsiteY394" fmla="*/ 1905 h 1562100"/>
                <a:gd name="connsiteX395" fmla="*/ 789623 w 1466850"/>
                <a:gd name="connsiteY395" fmla="*/ 0 h 1562100"/>
                <a:gd name="connsiteX396" fmla="*/ 797243 w 1466850"/>
                <a:gd name="connsiteY396" fmla="*/ 0 h 1562100"/>
                <a:gd name="connsiteX397" fmla="*/ 803910 w 1466850"/>
                <a:gd name="connsiteY397" fmla="*/ 3810 h 1562100"/>
                <a:gd name="connsiteX398" fmla="*/ 806768 w 1466850"/>
                <a:gd name="connsiteY398" fmla="*/ 19050 h 1562100"/>
                <a:gd name="connsiteX399" fmla="*/ 811530 w 1466850"/>
                <a:gd name="connsiteY399" fmla="*/ 22860 h 1562100"/>
                <a:gd name="connsiteX400" fmla="*/ 819150 w 1466850"/>
                <a:gd name="connsiteY400" fmla="*/ 25717 h 1562100"/>
                <a:gd name="connsiteX401" fmla="*/ 823913 w 1466850"/>
                <a:gd name="connsiteY401" fmla="*/ 31433 h 1562100"/>
                <a:gd name="connsiteX402" fmla="*/ 826770 w 1466850"/>
                <a:gd name="connsiteY402" fmla="*/ 40005 h 1562100"/>
                <a:gd name="connsiteX403" fmla="*/ 831533 w 1466850"/>
                <a:gd name="connsiteY403" fmla="*/ 45720 h 1562100"/>
                <a:gd name="connsiteX404" fmla="*/ 838200 w 1466850"/>
                <a:gd name="connsiteY404" fmla="*/ 48578 h 1562100"/>
                <a:gd name="connsiteX405" fmla="*/ 847725 w 1466850"/>
                <a:gd name="connsiteY405" fmla="*/ 52388 h 1562100"/>
                <a:gd name="connsiteX406" fmla="*/ 853440 w 1466850"/>
                <a:gd name="connsiteY406" fmla="*/ 57150 h 1562100"/>
                <a:gd name="connsiteX407" fmla="*/ 853440 w 1466850"/>
                <a:gd name="connsiteY407" fmla="*/ 51435 h 1562100"/>
                <a:gd name="connsiteX408" fmla="*/ 862965 w 1466850"/>
                <a:gd name="connsiteY408" fmla="*/ 49530 h 1562100"/>
                <a:gd name="connsiteX409" fmla="*/ 867727 w 1466850"/>
                <a:gd name="connsiteY409" fmla="*/ 46672 h 1562100"/>
                <a:gd name="connsiteX410" fmla="*/ 873443 w 1466850"/>
                <a:gd name="connsiteY410" fmla="*/ 44767 h 1562100"/>
                <a:gd name="connsiteX411" fmla="*/ 886777 w 1466850"/>
                <a:gd name="connsiteY411" fmla="*/ 42863 h 1562100"/>
                <a:gd name="connsiteX412" fmla="*/ 888683 w 1466850"/>
                <a:gd name="connsiteY412" fmla="*/ 41910 h 1562100"/>
                <a:gd name="connsiteX413" fmla="*/ 893445 w 1466850"/>
                <a:gd name="connsiteY413" fmla="*/ 38100 h 1562100"/>
                <a:gd name="connsiteX414" fmla="*/ 896302 w 1466850"/>
                <a:gd name="connsiteY414" fmla="*/ 33338 h 1562100"/>
                <a:gd name="connsiteX415" fmla="*/ 899160 w 1466850"/>
                <a:gd name="connsiteY415" fmla="*/ 29528 h 1562100"/>
                <a:gd name="connsiteX416" fmla="*/ 901065 w 1466850"/>
                <a:gd name="connsiteY416" fmla="*/ 28575 h 1562100"/>
                <a:gd name="connsiteX417" fmla="*/ 905827 w 1466850"/>
                <a:gd name="connsiteY417" fmla="*/ 28575 h 1562100"/>
                <a:gd name="connsiteX418" fmla="*/ 910590 w 1466850"/>
                <a:gd name="connsiteY418" fmla="*/ 31433 h 1562100"/>
                <a:gd name="connsiteX419" fmla="*/ 917258 w 1466850"/>
                <a:gd name="connsiteY419" fmla="*/ 36195 h 1562100"/>
                <a:gd name="connsiteX420" fmla="*/ 926783 w 1466850"/>
                <a:gd name="connsiteY420" fmla="*/ 45720 h 1562100"/>
                <a:gd name="connsiteX421" fmla="*/ 929640 w 1466850"/>
                <a:gd name="connsiteY421" fmla="*/ 51435 h 1562100"/>
                <a:gd name="connsiteX422" fmla="*/ 929640 w 1466850"/>
                <a:gd name="connsiteY422" fmla="*/ 55245 h 1562100"/>
                <a:gd name="connsiteX423" fmla="*/ 929640 w 1466850"/>
                <a:gd name="connsiteY423" fmla="*/ 58103 h 1562100"/>
                <a:gd name="connsiteX424" fmla="*/ 929640 w 1466850"/>
                <a:gd name="connsiteY424" fmla="*/ 61913 h 1562100"/>
                <a:gd name="connsiteX425" fmla="*/ 930593 w 1466850"/>
                <a:gd name="connsiteY425" fmla="*/ 63817 h 1562100"/>
                <a:gd name="connsiteX426" fmla="*/ 945832 w 1466850"/>
                <a:gd name="connsiteY426" fmla="*/ 79058 h 1562100"/>
                <a:gd name="connsiteX427" fmla="*/ 948690 w 1466850"/>
                <a:gd name="connsiteY427" fmla="*/ 80963 h 1562100"/>
                <a:gd name="connsiteX428" fmla="*/ 952500 w 1466850"/>
                <a:gd name="connsiteY428" fmla="*/ 81915 h 1562100"/>
                <a:gd name="connsiteX429" fmla="*/ 958215 w 1466850"/>
                <a:gd name="connsiteY429" fmla="*/ 80963 h 1562100"/>
                <a:gd name="connsiteX430" fmla="*/ 967740 w 1466850"/>
                <a:gd name="connsiteY430" fmla="*/ 78105 h 1562100"/>
                <a:gd name="connsiteX431" fmla="*/ 970598 w 1466850"/>
                <a:gd name="connsiteY431" fmla="*/ 77153 h 1562100"/>
                <a:gd name="connsiteX432" fmla="*/ 976313 w 1466850"/>
                <a:gd name="connsiteY432" fmla="*/ 79058 h 1562100"/>
                <a:gd name="connsiteX433" fmla="*/ 981075 w 1466850"/>
                <a:gd name="connsiteY433" fmla="*/ 81915 h 1562100"/>
                <a:gd name="connsiteX434" fmla="*/ 996315 w 1466850"/>
                <a:gd name="connsiteY434" fmla="*/ 100013 h 1562100"/>
                <a:gd name="connsiteX435" fmla="*/ 999173 w 1466850"/>
                <a:gd name="connsiteY435" fmla="*/ 104775 h 1562100"/>
                <a:gd name="connsiteX436" fmla="*/ 1001077 w 1466850"/>
                <a:gd name="connsiteY436" fmla="*/ 110490 h 1562100"/>
                <a:gd name="connsiteX437" fmla="*/ 1000125 w 1466850"/>
                <a:gd name="connsiteY437" fmla="*/ 117158 h 1562100"/>
                <a:gd name="connsiteX438" fmla="*/ 999173 w 1466850"/>
                <a:gd name="connsiteY438" fmla="*/ 120015 h 1562100"/>
                <a:gd name="connsiteX439" fmla="*/ 996315 w 1466850"/>
                <a:gd name="connsiteY439" fmla="*/ 124778 h 1562100"/>
                <a:gd name="connsiteX440" fmla="*/ 992505 w 1466850"/>
                <a:gd name="connsiteY440" fmla="*/ 128588 h 1562100"/>
                <a:gd name="connsiteX441" fmla="*/ 987743 w 1466850"/>
                <a:gd name="connsiteY441" fmla="*/ 130492 h 1562100"/>
                <a:gd name="connsiteX442" fmla="*/ 961073 w 1466850"/>
                <a:gd name="connsiteY442" fmla="*/ 137160 h 1562100"/>
                <a:gd name="connsiteX443" fmla="*/ 956310 w 1466850"/>
                <a:gd name="connsiteY443" fmla="*/ 140017 h 1562100"/>
                <a:gd name="connsiteX444" fmla="*/ 955357 w 1466850"/>
                <a:gd name="connsiteY444" fmla="*/ 141922 h 1562100"/>
                <a:gd name="connsiteX445" fmla="*/ 954405 w 1466850"/>
                <a:gd name="connsiteY445" fmla="*/ 144780 h 1562100"/>
                <a:gd name="connsiteX446" fmla="*/ 955357 w 1466850"/>
                <a:gd name="connsiteY446" fmla="*/ 147638 h 1562100"/>
                <a:gd name="connsiteX447" fmla="*/ 958215 w 1466850"/>
                <a:gd name="connsiteY447" fmla="*/ 151447 h 1562100"/>
                <a:gd name="connsiteX448" fmla="*/ 980123 w 1466850"/>
                <a:gd name="connsiteY448" fmla="*/ 169545 h 1562100"/>
                <a:gd name="connsiteX449" fmla="*/ 982980 w 1466850"/>
                <a:gd name="connsiteY449" fmla="*/ 173355 h 1562100"/>
                <a:gd name="connsiteX450" fmla="*/ 983932 w 1466850"/>
                <a:gd name="connsiteY450" fmla="*/ 178117 h 1562100"/>
                <a:gd name="connsiteX451" fmla="*/ 983932 w 1466850"/>
                <a:gd name="connsiteY451" fmla="*/ 181928 h 1562100"/>
                <a:gd name="connsiteX452" fmla="*/ 982980 w 1466850"/>
                <a:gd name="connsiteY452" fmla="*/ 187642 h 1562100"/>
                <a:gd name="connsiteX453" fmla="*/ 982027 w 1466850"/>
                <a:gd name="connsiteY453" fmla="*/ 191453 h 1562100"/>
                <a:gd name="connsiteX454" fmla="*/ 982980 w 1466850"/>
                <a:gd name="connsiteY454" fmla="*/ 194310 h 1562100"/>
                <a:gd name="connsiteX455" fmla="*/ 984885 w 1466850"/>
                <a:gd name="connsiteY455" fmla="*/ 196215 h 1562100"/>
                <a:gd name="connsiteX456" fmla="*/ 988695 w 1466850"/>
                <a:gd name="connsiteY456" fmla="*/ 198120 h 1562100"/>
                <a:gd name="connsiteX457" fmla="*/ 996315 w 1466850"/>
                <a:gd name="connsiteY457" fmla="*/ 197167 h 1562100"/>
                <a:gd name="connsiteX458" fmla="*/ 1000125 w 1466850"/>
                <a:gd name="connsiteY458" fmla="*/ 196215 h 1562100"/>
                <a:gd name="connsiteX459" fmla="*/ 1002982 w 1466850"/>
                <a:gd name="connsiteY459" fmla="*/ 193358 h 1562100"/>
                <a:gd name="connsiteX460" fmla="*/ 1004888 w 1466850"/>
                <a:gd name="connsiteY460" fmla="*/ 188595 h 1562100"/>
                <a:gd name="connsiteX461" fmla="*/ 1004888 w 1466850"/>
                <a:gd name="connsiteY461" fmla="*/ 179070 h 1562100"/>
                <a:gd name="connsiteX462" fmla="*/ 1004888 w 1466850"/>
                <a:gd name="connsiteY462" fmla="*/ 175260 h 1562100"/>
                <a:gd name="connsiteX463" fmla="*/ 1006793 w 1466850"/>
                <a:gd name="connsiteY463" fmla="*/ 172403 h 1562100"/>
                <a:gd name="connsiteX464" fmla="*/ 1008698 w 1466850"/>
                <a:gd name="connsiteY464" fmla="*/ 170497 h 1562100"/>
                <a:gd name="connsiteX465" fmla="*/ 1011555 w 1466850"/>
                <a:gd name="connsiteY465" fmla="*/ 170497 h 1562100"/>
                <a:gd name="connsiteX466" fmla="*/ 1014413 w 1466850"/>
                <a:gd name="connsiteY466" fmla="*/ 172403 h 1562100"/>
                <a:gd name="connsiteX467" fmla="*/ 1017270 w 1466850"/>
                <a:gd name="connsiteY467" fmla="*/ 176213 h 1562100"/>
                <a:gd name="connsiteX468" fmla="*/ 1019175 w 1466850"/>
                <a:gd name="connsiteY468" fmla="*/ 179070 h 1562100"/>
                <a:gd name="connsiteX469" fmla="*/ 1022032 w 1466850"/>
                <a:gd name="connsiteY469" fmla="*/ 184785 h 1562100"/>
                <a:gd name="connsiteX470" fmla="*/ 1024890 w 1466850"/>
                <a:gd name="connsiteY470" fmla="*/ 187642 h 1562100"/>
                <a:gd name="connsiteX471" fmla="*/ 1028700 w 1466850"/>
                <a:gd name="connsiteY471" fmla="*/ 188595 h 1562100"/>
                <a:gd name="connsiteX472" fmla="*/ 1045845 w 1466850"/>
                <a:gd name="connsiteY472" fmla="*/ 189547 h 1562100"/>
                <a:gd name="connsiteX473" fmla="*/ 1048703 w 1466850"/>
                <a:gd name="connsiteY473" fmla="*/ 190500 h 1562100"/>
                <a:gd name="connsiteX474" fmla="*/ 1051560 w 1466850"/>
                <a:gd name="connsiteY474" fmla="*/ 191453 h 1562100"/>
                <a:gd name="connsiteX475" fmla="*/ 1053465 w 1466850"/>
                <a:gd name="connsiteY475" fmla="*/ 195263 h 1562100"/>
                <a:gd name="connsiteX476" fmla="*/ 1053465 w 1466850"/>
                <a:gd name="connsiteY476" fmla="*/ 199072 h 1562100"/>
                <a:gd name="connsiteX477" fmla="*/ 1054418 w 1466850"/>
                <a:gd name="connsiteY477" fmla="*/ 204788 h 1562100"/>
                <a:gd name="connsiteX478" fmla="*/ 1058228 w 1466850"/>
                <a:gd name="connsiteY478" fmla="*/ 208597 h 1562100"/>
                <a:gd name="connsiteX479" fmla="*/ 1080135 w 1466850"/>
                <a:gd name="connsiteY479" fmla="*/ 221933 h 1562100"/>
                <a:gd name="connsiteX480" fmla="*/ 1084898 w 1466850"/>
                <a:gd name="connsiteY480" fmla="*/ 227647 h 1562100"/>
                <a:gd name="connsiteX481" fmla="*/ 1087755 w 1466850"/>
                <a:gd name="connsiteY481" fmla="*/ 232410 h 1562100"/>
                <a:gd name="connsiteX482" fmla="*/ 1086803 w 1466850"/>
                <a:gd name="connsiteY482" fmla="*/ 239078 h 1562100"/>
                <a:gd name="connsiteX483" fmla="*/ 1087755 w 1466850"/>
                <a:gd name="connsiteY483" fmla="*/ 241935 h 1562100"/>
                <a:gd name="connsiteX484" fmla="*/ 1088708 w 1466850"/>
                <a:gd name="connsiteY484" fmla="*/ 244792 h 1562100"/>
                <a:gd name="connsiteX485" fmla="*/ 1092518 w 1466850"/>
                <a:gd name="connsiteY485" fmla="*/ 247650 h 1562100"/>
                <a:gd name="connsiteX486" fmla="*/ 1098233 w 1466850"/>
                <a:gd name="connsiteY486" fmla="*/ 249555 h 1562100"/>
                <a:gd name="connsiteX487" fmla="*/ 1124903 w 1466850"/>
                <a:gd name="connsiteY487" fmla="*/ 251460 h 1562100"/>
                <a:gd name="connsiteX488" fmla="*/ 1132523 w 1466850"/>
                <a:gd name="connsiteY488" fmla="*/ 251460 h 1562100"/>
                <a:gd name="connsiteX489" fmla="*/ 1137285 w 1466850"/>
                <a:gd name="connsiteY489" fmla="*/ 249555 h 1562100"/>
                <a:gd name="connsiteX490" fmla="*/ 1142048 w 1466850"/>
                <a:gd name="connsiteY490" fmla="*/ 246697 h 1562100"/>
                <a:gd name="connsiteX491" fmla="*/ 1146810 w 1466850"/>
                <a:gd name="connsiteY491" fmla="*/ 244792 h 1562100"/>
                <a:gd name="connsiteX492" fmla="*/ 1152525 w 1466850"/>
                <a:gd name="connsiteY492" fmla="*/ 242888 h 1562100"/>
                <a:gd name="connsiteX493" fmla="*/ 1163955 w 1466850"/>
                <a:gd name="connsiteY493" fmla="*/ 240030 h 1562100"/>
                <a:gd name="connsiteX494" fmla="*/ 1197293 w 1466850"/>
                <a:gd name="connsiteY494" fmla="*/ 245745 h 1562100"/>
                <a:gd name="connsiteX495" fmla="*/ 1203960 w 1466850"/>
                <a:gd name="connsiteY495" fmla="*/ 244792 h 1562100"/>
                <a:gd name="connsiteX496" fmla="*/ 1207770 w 1466850"/>
                <a:gd name="connsiteY496" fmla="*/ 241935 h 1562100"/>
                <a:gd name="connsiteX497" fmla="*/ 1206818 w 1466850"/>
                <a:gd name="connsiteY497" fmla="*/ 232410 h 1562100"/>
                <a:gd name="connsiteX498" fmla="*/ 1206818 w 1466850"/>
                <a:gd name="connsiteY498" fmla="*/ 229553 h 1562100"/>
                <a:gd name="connsiteX499" fmla="*/ 1208723 w 1466850"/>
                <a:gd name="connsiteY499" fmla="*/ 227647 h 1562100"/>
                <a:gd name="connsiteX500" fmla="*/ 1213485 w 1466850"/>
                <a:gd name="connsiteY500" fmla="*/ 228600 h 1562100"/>
                <a:gd name="connsiteX501" fmla="*/ 1220153 w 1466850"/>
                <a:gd name="connsiteY501" fmla="*/ 232410 h 1562100"/>
                <a:gd name="connsiteX502" fmla="*/ 1235393 w 1466850"/>
                <a:gd name="connsiteY502" fmla="*/ 241935 h 1562100"/>
                <a:gd name="connsiteX503" fmla="*/ 1245870 w 1466850"/>
                <a:gd name="connsiteY503" fmla="*/ 247650 h 1562100"/>
                <a:gd name="connsiteX504" fmla="*/ 1262063 w 1466850"/>
                <a:gd name="connsiteY504" fmla="*/ 244792 h 1562100"/>
                <a:gd name="connsiteX505" fmla="*/ 1267778 w 1466850"/>
                <a:gd name="connsiteY505" fmla="*/ 244792 h 1562100"/>
                <a:gd name="connsiteX506" fmla="*/ 1269683 w 1466850"/>
                <a:gd name="connsiteY506" fmla="*/ 246697 h 1562100"/>
                <a:gd name="connsiteX507" fmla="*/ 1272540 w 1466850"/>
                <a:gd name="connsiteY507" fmla="*/ 248603 h 1562100"/>
                <a:gd name="connsiteX508" fmla="*/ 1275398 w 1466850"/>
                <a:gd name="connsiteY508" fmla="*/ 251460 h 1562100"/>
                <a:gd name="connsiteX509" fmla="*/ 1278255 w 1466850"/>
                <a:gd name="connsiteY509" fmla="*/ 257175 h 1562100"/>
                <a:gd name="connsiteX510" fmla="*/ 1279208 w 1466850"/>
                <a:gd name="connsiteY510" fmla="*/ 265747 h 1562100"/>
                <a:gd name="connsiteX511" fmla="*/ 1277303 w 1466850"/>
                <a:gd name="connsiteY511" fmla="*/ 289560 h 15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</a:cxnLst>
              <a:rect l="l" t="t" r="r" b="b"/>
              <a:pathLst>
                <a:path w="1466850" h="1562100">
                  <a:moveTo>
                    <a:pt x="1277303" y="289560"/>
                  </a:moveTo>
                  <a:lnTo>
                    <a:pt x="1281113" y="298133"/>
                  </a:lnTo>
                  <a:lnTo>
                    <a:pt x="1288733" y="301942"/>
                  </a:lnTo>
                  <a:lnTo>
                    <a:pt x="1299210" y="302895"/>
                  </a:lnTo>
                  <a:lnTo>
                    <a:pt x="1305878" y="301942"/>
                  </a:lnTo>
                  <a:lnTo>
                    <a:pt x="1310640" y="300038"/>
                  </a:lnTo>
                  <a:lnTo>
                    <a:pt x="1324928" y="291465"/>
                  </a:lnTo>
                  <a:lnTo>
                    <a:pt x="1330643" y="290513"/>
                  </a:lnTo>
                  <a:lnTo>
                    <a:pt x="1333500" y="289560"/>
                  </a:lnTo>
                  <a:lnTo>
                    <a:pt x="1337310" y="290513"/>
                  </a:lnTo>
                  <a:lnTo>
                    <a:pt x="1343025" y="292417"/>
                  </a:lnTo>
                  <a:lnTo>
                    <a:pt x="1347788" y="295275"/>
                  </a:lnTo>
                  <a:lnTo>
                    <a:pt x="1349693" y="299085"/>
                  </a:lnTo>
                  <a:lnTo>
                    <a:pt x="1351598" y="304800"/>
                  </a:lnTo>
                  <a:lnTo>
                    <a:pt x="1353503" y="315278"/>
                  </a:lnTo>
                  <a:lnTo>
                    <a:pt x="1354455" y="321945"/>
                  </a:lnTo>
                  <a:lnTo>
                    <a:pt x="1353503" y="326708"/>
                  </a:lnTo>
                  <a:lnTo>
                    <a:pt x="1351598" y="331470"/>
                  </a:lnTo>
                  <a:lnTo>
                    <a:pt x="1347788" y="336233"/>
                  </a:lnTo>
                  <a:lnTo>
                    <a:pt x="1332548" y="351472"/>
                  </a:lnTo>
                  <a:lnTo>
                    <a:pt x="1331595" y="353378"/>
                  </a:lnTo>
                  <a:lnTo>
                    <a:pt x="1331595" y="357188"/>
                  </a:lnTo>
                  <a:lnTo>
                    <a:pt x="1333500" y="362903"/>
                  </a:lnTo>
                  <a:lnTo>
                    <a:pt x="1343978" y="374333"/>
                  </a:lnTo>
                  <a:lnTo>
                    <a:pt x="1345883" y="379095"/>
                  </a:lnTo>
                  <a:lnTo>
                    <a:pt x="1345883" y="382905"/>
                  </a:lnTo>
                  <a:lnTo>
                    <a:pt x="1342073" y="402908"/>
                  </a:lnTo>
                  <a:lnTo>
                    <a:pt x="1341120" y="417195"/>
                  </a:lnTo>
                  <a:lnTo>
                    <a:pt x="1342073" y="427672"/>
                  </a:lnTo>
                  <a:lnTo>
                    <a:pt x="1345883" y="447675"/>
                  </a:lnTo>
                  <a:lnTo>
                    <a:pt x="1350645" y="454342"/>
                  </a:lnTo>
                  <a:lnTo>
                    <a:pt x="1400175" y="498158"/>
                  </a:lnTo>
                  <a:lnTo>
                    <a:pt x="1438275" y="521970"/>
                  </a:lnTo>
                  <a:lnTo>
                    <a:pt x="1438275" y="527685"/>
                  </a:lnTo>
                  <a:lnTo>
                    <a:pt x="1439228" y="532447"/>
                  </a:lnTo>
                  <a:lnTo>
                    <a:pt x="1441133" y="535305"/>
                  </a:lnTo>
                  <a:lnTo>
                    <a:pt x="1443990" y="539115"/>
                  </a:lnTo>
                  <a:lnTo>
                    <a:pt x="1445895" y="541020"/>
                  </a:lnTo>
                  <a:lnTo>
                    <a:pt x="1457325" y="548640"/>
                  </a:lnTo>
                  <a:lnTo>
                    <a:pt x="1460183" y="553403"/>
                  </a:lnTo>
                  <a:lnTo>
                    <a:pt x="1462088" y="558165"/>
                  </a:lnTo>
                  <a:lnTo>
                    <a:pt x="1463993" y="561022"/>
                  </a:lnTo>
                  <a:lnTo>
                    <a:pt x="1469708" y="569595"/>
                  </a:lnTo>
                  <a:lnTo>
                    <a:pt x="1472565" y="574358"/>
                  </a:lnTo>
                  <a:lnTo>
                    <a:pt x="1473518" y="580072"/>
                  </a:lnTo>
                  <a:lnTo>
                    <a:pt x="1472565" y="582930"/>
                  </a:lnTo>
                  <a:lnTo>
                    <a:pt x="1469708" y="585788"/>
                  </a:lnTo>
                  <a:lnTo>
                    <a:pt x="1464945" y="586740"/>
                  </a:lnTo>
                  <a:lnTo>
                    <a:pt x="1457325" y="587693"/>
                  </a:lnTo>
                  <a:lnTo>
                    <a:pt x="1454468" y="589597"/>
                  </a:lnTo>
                  <a:lnTo>
                    <a:pt x="1451610" y="592455"/>
                  </a:lnTo>
                  <a:lnTo>
                    <a:pt x="1448753" y="599122"/>
                  </a:lnTo>
                  <a:lnTo>
                    <a:pt x="1448753" y="602933"/>
                  </a:lnTo>
                  <a:lnTo>
                    <a:pt x="1448753" y="606743"/>
                  </a:lnTo>
                  <a:lnTo>
                    <a:pt x="1451610" y="611505"/>
                  </a:lnTo>
                  <a:lnTo>
                    <a:pt x="1452563" y="617220"/>
                  </a:lnTo>
                  <a:lnTo>
                    <a:pt x="1453515" y="622935"/>
                  </a:lnTo>
                  <a:lnTo>
                    <a:pt x="1452563" y="625793"/>
                  </a:lnTo>
                  <a:lnTo>
                    <a:pt x="1449705" y="630555"/>
                  </a:lnTo>
                  <a:lnTo>
                    <a:pt x="1446848" y="633413"/>
                  </a:lnTo>
                  <a:lnTo>
                    <a:pt x="1442085" y="637222"/>
                  </a:lnTo>
                  <a:lnTo>
                    <a:pt x="1433513" y="641985"/>
                  </a:lnTo>
                  <a:lnTo>
                    <a:pt x="1427798" y="642938"/>
                  </a:lnTo>
                  <a:lnTo>
                    <a:pt x="1420178" y="643890"/>
                  </a:lnTo>
                  <a:lnTo>
                    <a:pt x="1417320" y="644843"/>
                  </a:lnTo>
                  <a:lnTo>
                    <a:pt x="1406843" y="651510"/>
                  </a:lnTo>
                  <a:lnTo>
                    <a:pt x="1403985" y="653415"/>
                  </a:lnTo>
                  <a:lnTo>
                    <a:pt x="1392555" y="656272"/>
                  </a:lnTo>
                  <a:lnTo>
                    <a:pt x="1373505" y="666750"/>
                  </a:lnTo>
                  <a:lnTo>
                    <a:pt x="1370648" y="667703"/>
                  </a:lnTo>
                  <a:lnTo>
                    <a:pt x="1331595" y="675322"/>
                  </a:lnTo>
                  <a:lnTo>
                    <a:pt x="1326833" y="677228"/>
                  </a:lnTo>
                  <a:lnTo>
                    <a:pt x="1321118" y="679133"/>
                  </a:lnTo>
                  <a:lnTo>
                    <a:pt x="1296353" y="681990"/>
                  </a:lnTo>
                  <a:lnTo>
                    <a:pt x="1293495" y="682943"/>
                  </a:lnTo>
                  <a:lnTo>
                    <a:pt x="1290638" y="685800"/>
                  </a:lnTo>
                  <a:lnTo>
                    <a:pt x="1288733" y="691515"/>
                  </a:lnTo>
                  <a:lnTo>
                    <a:pt x="1285875" y="705803"/>
                  </a:lnTo>
                  <a:lnTo>
                    <a:pt x="1285875" y="712470"/>
                  </a:lnTo>
                  <a:lnTo>
                    <a:pt x="1285875" y="715328"/>
                  </a:lnTo>
                  <a:lnTo>
                    <a:pt x="1289685" y="722947"/>
                  </a:lnTo>
                  <a:lnTo>
                    <a:pt x="1298258" y="736283"/>
                  </a:lnTo>
                  <a:lnTo>
                    <a:pt x="1300163" y="739140"/>
                  </a:lnTo>
                  <a:lnTo>
                    <a:pt x="1301115" y="744855"/>
                  </a:lnTo>
                  <a:lnTo>
                    <a:pt x="1301115" y="747713"/>
                  </a:lnTo>
                  <a:lnTo>
                    <a:pt x="1300163" y="754380"/>
                  </a:lnTo>
                  <a:lnTo>
                    <a:pt x="1297305" y="757238"/>
                  </a:lnTo>
                  <a:lnTo>
                    <a:pt x="1294448" y="761047"/>
                  </a:lnTo>
                  <a:lnTo>
                    <a:pt x="1283018" y="767715"/>
                  </a:lnTo>
                  <a:lnTo>
                    <a:pt x="1279208" y="768668"/>
                  </a:lnTo>
                  <a:lnTo>
                    <a:pt x="1274445" y="769620"/>
                  </a:lnTo>
                  <a:lnTo>
                    <a:pt x="1268730" y="768668"/>
                  </a:lnTo>
                  <a:lnTo>
                    <a:pt x="1265873" y="767715"/>
                  </a:lnTo>
                  <a:lnTo>
                    <a:pt x="1261110" y="762000"/>
                  </a:lnTo>
                  <a:lnTo>
                    <a:pt x="1258253" y="762000"/>
                  </a:lnTo>
                  <a:lnTo>
                    <a:pt x="1255395" y="763905"/>
                  </a:lnTo>
                  <a:lnTo>
                    <a:pt x="1252538" y="766763"/>
                  </a:lnTo>
                  <a:lnTo>
                    <a:pt x="1241108" y="789622"/>
                  </a:lnTo>
                  <a:lnTo>
                    <a:pt x="1238250" y="798195"/>
                  </a:lnTo>
                  <a:lnTo>
                    <a:pt x="1234440" y="806768"/>
                  </a:lnTo>
                  <a:lnTo>
                    <a:pt x="1220153" y="834390"/>
                  </a:lnTo>
                  <a:lnTo>
                    <a:pt x="1217295" y="837247"/>
                  </a:lnTo>
                  <a:lnTo>
                    <a:pt x="1125855" y="888683"/>
                  </a:lnTo>
                  <a:lnTo>
                    <a:pt x="1121093" y="890588"/>
                  </a:lnTo>
                  <a:lnTo>
                    <a:pt x="1116330" y="890588"/>
                  </a:lnTo>
                  <a:lnTo>
                    <a:pt x="1113473" y="889635"/>
                  </a:lnTo>
                  <a:lnTo>
                    <a:pt x="1106805" y="889635"/>
                  </a:lnTo>
                  <a:lnTo>
                    <a:pt x="1103948" y="891540"/>
                  </a:lnTo>
                  <a:lnTo>
                    <a:pt x="1101090" y="896303"/>
                  </a:lnTo>
                  <a:lnTo>
                    <a:pt x="1098233" y="922020"/>
                  </a:lnTo>
                  <a:lnTo>
                    <a:pt x="1096328" y="932497"/>
                  </a:lnTo>
                  <a:lnTo>
                    <a:pt x="1089660" y="947738"/>
                  </a:lnTo>
                  <a:lnTo>
                    <a:pt x="1082040" y="947738"/>
                  </a:lnTo>
                  <a:lnTo>
                    <a:pt x="1076325" y="946785"/>
                  </a:lnTo>
                  <a:lnTo>
                    <a:pt x="1071563" y="943928"/>
                  </a:lnTo>
                  <a:lnTo>
                    <a:pt x="1066800" y="942022"/>
                  </a:lnTo>
                  <a:lnTo>
                    <a:pt x="1062038" y="942975"/>
                  </a:lnTo>
                  <a:lnTo>
                    <a:pt x="1059180" y="942975"/>
                  </a:lnTo>
                  <a:lnTo>
                    <a:pt x="1055370" y="940118"/>
                  </a:lnTo>
                  <a:lnTo>
                    <a:pt x="1053465" y="938213"/>
                  </a:lnTo>
                  <a:lnTo>
                    <a:pt x="1041082" y="927735"/>
                  </a:lnTo>
                  <a:lnTo>
                    <a:pt x="1036320" y="924878"/>
                  </a:lnTo>
                  <a:lnTo>
                    <a:pt x="1031557" y="922972"/>
                  </a:lnTo>
                  <a:lnTo>
                    <a:pt x="1024890" y="921068"/>
                  </a:lnTo>
                  <a:lnTo>
                    <a:pt x="1019175" y="921068"/>
                  </a:lnTo>
                  <a:lnTo>
                    <a:pt x="979170" y="931545"/>
                  </a:lnTo>
                  <a:lnTo>
                    <a:pt x="972502" y="931545"/>
                  </a:lnTo>
                  <a:lnTo>
                    <a:pt x="954405" y="926783"/>
                  </a:lnTo>
                  <a:lnTo>
                    <a:pt x="950595" y="926783"/>
                  </a:lnTo>
                  <a:lnTo>
                    <a:pt x="948690" y="927735"/>
                  </a:lnTo>
                  <a:lnTo>
                    <a:pt x="945832" y="930593"/>
                  </a:lnTo>
                  <a:lnTo>
                    <a:pt x="942023" y="935355"/>
                  </a:lnTo>
                  <a:lnTo>
                    <a:pt x="937260" y="944880"/>
                  </a:lnTo>
                  <a:lnTo>
                    <a:pt x="935355" y="949643"/>
                  </a:lnTo>
                  <a:lnTo>
                    <a:pt x="934402" y="954405"/>
                  </a:lnTo>
                  <a:lnTo>
                    <a:pt x="935355" y="957263"/>
                  </a:lnTo>
                  <a:lnTo>
                    <a:pt x="939165" y="963930"/>
                  </a:lnTo>
                  <a:lnTo>
                    <a:pt x="941070" y="969645"/>
                  </a:lnTo>
                  <a:lnTo>
                    <a:pt x="942975" y="975360"/>
                  </a:lnTo>
                  <a:lnTo>
                    <a:pt x="942023" y="982028"/>
                  </a:lnTo>
                  <a:lnTo>
                    <a:pt x="939165" y="987743"/>
                  </a:lnTo>
                  <a:lnTo>
                    <a:pt x="922973" y="1013460"/>
                  </a:lnTo>
                  <a:lnTo>
                    <a:pt x="920115" y="1022032"/>
                  </a:lnTo>
                  <a:lnTo>
                    <a:pt x="919163" y="1026795"/>
                  </a:lnTo>
                  <a:lnTo>
                    <a:pt x="921068" y="1028700"/>
                  </a:lnTo>
                  <a:lnTo>
                    <a:pt x="937260" y="1039178"/>
                  </a:lnTo>
                  <a:lnTo>
                    <a:pt x="940118" y="1042988"/>
                  </a:lnTo>
                  <a:lnTo>
                    <a:pt x="941070" y="1045845"/>
                  </a:lnTo>
                  <a:lnTo>
                    <a:pt x="940118" y="1048703"/>
                  </a:lnTo>
                  <a:lnTo>
                    <a:pt x="937260" y="1052513"/>
                  </a:lnTo>
                  <a:lnTo>
                    <a:pt x="920115" y="1070610"/>
                  </a:lnTo>
                  <a:lnTo>
                    <a:pt x="915352" y="1078230"/>
                  </a:lnTo>
                  <a:lnTo>
                    <a:pt x="911543" y="1082040"/>
                  </a:lnTo>
                  <a:lnTo>
                    <a:pt x="905827" y="1084898"/>
                  </a:lnTo>
                  <a:lnTo>
                    <a:pt x="898208" y="1086803"/>
                  </a:lnTo>
                  <a:lnTo>
                    <a:pt x="886777" y="1086803"/>
                  </a:lnTo>
                  <a:lnTo>
                    <a:pt x="881063" y="1087755"/>
                  </a:lnTo>
                  <a:lnTo>
                    <a:pt x="870585" y="1091565"/>
                  </a:lnTo>
                  <a:lnTo>
                    <a:pt x="868680" y="1093470"/>
                  </a:lnTo>
                  <a:lnTo>
                    <a:pt x="866775" y="1096328"/>
                  </a:lnTo>
                  <a:lnTo>
                    <a:pt x="865823" y="1102043"/>
                  </a:lnTo>
                  <a:lnTo>
                    <a:pt x="865823" y="1105853"/>
                  </a:lnTo>
                  <a:lnTo>
                    <a:pt x="866775" y="1108710"/>
                  </a:lnTo>
                  <a:lnTo>
                    <a:pt x="869633" y="1113473"/>
                  </a:lnTo>
                  <a:lnTo>
                    <a:pt x="872490" y="1114425"/>
                  </a:lnTo>
                  <a:lnTo>
                    <a:pt x="875348" y="1114425"/>
                  </a:lnTo>
                  <a:lnTo>
                    <a:pt x="877252" y="1114425"/>
                  </a:lnTo>
                  <a:lnTo>
                    <a:pt x="882015" y="1111568"/>
                  </a:lnTo>
                  <a:lnTo>
                    <a:pt x="893445" y="1101090"/>
                  </a:lnTo>
                  <a:lnTo>
                    <a:pt x="896302" y="1100138"/>
                  </a:lnTo>
                  <a:lnTo>
                    <a:pt x="899160" y="1099185"/>
                  </a:lnTo>
                  <a:lnTo>
                    <a:pt x="902018" y="1100138"/>
                  </a:lnTo>
                  <a:lnTo>
                    <a:pt x="906780" y="1102995"/>
                  </a:lnTo>
                  <a:lnTo>
                    <a:pt x="909638" y="1106805"/>
                  </a:lnTo>
                  <a:lnTo>
                    <a:pt x="910590" y="1109663"/>
                  </a:lnTo>
                  <a:lnTo>
                    <a:pt x="909638" y="1112520"/>
                  </a:lnTo>
                  <a:lnTo>
                    <a:pt x="908685" y="1116330"/>
                  </a:lnTo>
                  <a:lnTo>
                    <a:pt x="904875" y="1124903"/>
                  </a:lnTo>
                  <a:lnTo>
                    <a:pt x="903923" y="1127760"/>
                  </a:lnTo>
                  <a:lnTo>
                    <a:pt x="903923" y="1131570"/>
                  </a:lnTo>
                  <a:lnTo>
                    <a:pt x="904875" y="1150620"/>
                  </a:lnTo>
                  <a:lnTo>
                    <a:pt x="908685" y="1154430"/>
                  </a:lnTo>
                  <a:lnTo>
                    <a:pt x="921068" y="1158240"/>
                  </a:lnTo>
                  <a:lnTo>
                    <a:pt x="930593" y="1159193"/>
                  </a:lnTo>
                  <a:lnTo>
                    <a:pt x="937260" y="1155382"/>
                  </a:lnTo>
                  <a:lnTo>
                    <a:pt x="941070" y="1161098"/>
                  </a:lnTo>
                  <a:lnTo>
                    <a:pt x="951548" y="1174432"/>
                  </a:lnTo>
                  <a:lnTo>
                    <a:pt x="952500" y="1177290"/>
                  </a:lnTo>
                  <a:lnTo>
                    <a:pt x="952500" y="1183005"/>
                  </a:lnTo>
                  <a:lnTo>
                    <a:pt x="949643" y="1188720"/>
                  </a:lnTo>
                  <a:lnTo>
                    <a:pt x="945832" y="1191578"/>
                  </a:lnTo>
                  <a:lnTo>
                    <a:pt x="941070" y="1195388"/>
                  </a:lnTo>
                  <a:lnTo>
                    <a:pt x="930593" y="1199198"/>
                  </a:lnTo>
                  <a:lnTo>
                    <a:pt x="925830" y="1200150"/>
                  </a:lnTo>
                  <a:lnTo>
                    <a:pt x="922020" y="1199198"/>
                  </a:lnTo>
                  <a:lnTo>
                    <a:pt x="920115" y="1198245"/>
                  </a:lnTo>
                  <a:lnTo>
                    <a:pt x="913448" y="1197293"/>
                  </a:lnTo>
                  <a:lnTo>
                    <a:pt x="910590" y="1197293"/>
                  </a:lnTo>
                  <a:lnTo>
                    <a:pt x="904875" y="1198245"/>
                  </a:lnTo>
                  <a:lnTo>
                    <a:pt x="883920" y="1206818"/>
                  </a:lnTo>
                  <a:lnTo>
                    <a:pt x="861060" y="1220153"/>
                  </a:lnTo>
                  <a:lnTo>
                    <a:pt x="856298" y="1222057"/>
                  </a:lnTo>
                  <a:lnTo>
                    <a:pt x="843915" y="1224915"/>
                  </a:lnTo>
                  <a:lnTo>
                    <a:pt x="830580" y="1223963"/>
                  </a:lnTo>
                  <a:lnTo>
                    <a:pt x="824865" y="1224915"/>
                  </a:lnTo>
                  <a:lnTo>
                    <a:pt x="800100" y="1236345"/>
                  </a:lnTo>
                  <a:lnTo>
                    <a:pt x="794385" y="1236345"/>
                  </a:lnTo>
                  <a:lnTo>
                    <a:pt x="790575" y="1236345"/>
                  </a:lnTo>
                  <a:lnTo>
                    <a:pt x="767715" y="1228725"/>
                  </a:lnTo>
                  <a:lnTo>
                    <a:pt x="761048" y="1227773"/>
                  </a:lnTo>
                  <a:lnTo>
                    <a:pt x="758190" y="1227773"/>
                  </a:lnTo>
                  <a:lnTo>
                    <a:pt x="753427" y="1229678"/>
                  </a:lnTo>
                  <a:lnTo>
                    <a:pt x="729615" y="1246823"/>
                  </a:lnTo>
                  <a:lnTo>
                    <a:pt x="722948" y="1249680"/>
                  </a:lnTo>
                  <a:lnTo>
                    <a:pt x="719138" y="1250632"/>
                  </a:lnTo>
                  <a:lnTo>
                    <a:pt x="700088" y="1243013"/>
                  </a:lnTo>
                  <a:lnTo>
                    <a:pt x="693420" y="1242060"/>
                  </a:lnTo>
                  <a:lnTo>
                    <a:pt x="690563" y="1242060"/>
                  </a:lnTo>
                  <a:lnTo>
                    <a:pt x="686752" y="1243965"/>
                  </a:lnTo>
                  <a:lnTo>
                    <a:pt x="675323" y="1254443"/>
                  </a:lnTo>
                  <a:lnTo>
                    <a:pt x="670560" y="1257300"/>
                  </a:lnTo>
                  <a:lnTo>
                    <a:pt x="666750" y="1258253"/>
                  </a:lnTo>
                  <a:lnTo>
                    <a:pt x="640080" y="1260157"/>
                  </a:lnTo>
                  <a:lnTo>
                    <a:pt x="587693" y="1252538"/>
                  </a:lnTo>
                  <a:lnTo>
                    <a:pt x="579120" y="1253490"/>
                  </a:lnTo>
                  <a:lnTo>
                    <a:pt x="573405" y="1255395"/>
                  </a:lnTo>
                  <a:lnTo>
                    <a:pt x="564833" y="1261110"/>
                  </a:lnTo>
                  <a:lnTo>
                    <a:pt x="555308" y="1268730"/>
                  </a:lnTo>
                  <a:lnTo>
                    <a:pt x="550545" y="1275398"/>
                  </a:lnTo>
                  <a:lnTo>
                    <a:pt x="548640" y="1278255"/>
                  </a:lnTo>
                  <a:lnTo>
                    <a:pt x="535305" y="1320165"/>
                  </a:lnTo>
                  <a:lnTo>
                    <a:pt x="531495" y="1329690"/>
                  </a:lnTo>
                  <a:lnTo>
                    <a:pt x="527685" y="1336357"/>
                  </a:lnTo>
                  <a:lnTo>
                    <a:pt x="518160" y="1344930"/>
                  </a:lnTo>
                  <a:lnTo>
                    <a:pt x="516255" y="1346835"/>
                  </a:lnTo>
                  <a:lnTo>
                    <a:pt x="504825" y="1357313"/>
                  </a:lnTo>
                  <a:lnTo>
                    <a:pt x="496252" y="1363028"/>
                  </a:lnTo>
                  <a:lnTo>
                    <a:pt x="493395" y="1369695"/>
                  </a:lnTo>
                  <a:lnTo>
                    <a:pt x="481012" y="1428750"/>
                  </a:lnTo>
                  <a:lnTo>
                    <a:pt x="479108" y="1434465"/>
                  </a:lnTo>
                  <a:lnTo>
                    <a:pt x="479108" y="1437323"/>
                  </a:lnTo>
                  <a:lnTo>
                    <a:pt x="479108" y="1441132"/>
                  </a:lnTo>
                  <a:lnTo>
                    <a:pt x="481012" y="1444943"/>
                  </a:lnTo>
                  <a:lnTo>
                    <a:pt x="486727" y="1452563"/>
                  </a:lnTo>
                  <a:lnTo>
                    <a:pt x="489585" y="1457325"/>
                  </a:lnTo>
                  <a:lnTo>
                    <a:pt x="491490" y="1463040"/>
                  </a:lnTo>
                  <a:lnTo>
                    <a:pt x="492443" y="1471613"/>
                  </a:lnTo>
                  <a:lnTo>
                    <a:pt x="493395" y="1478280"/>
                  </a:lnTo>
                  <a:lnTo>
                    <a:pt x="470535" y="1566863"/>
                  </a:lnTo>
                  <a:lnTo>
                    <a:pt x="458152" y="1561148"/>
                  </a:lnTo>
                  <a:lnTo>
                    <a:pt x="452437" y="1560195"/>
                  </a:lnTo>
                  <a:lnTo>
                    <a:pt x="424815" y="1564005"/>
                  </a:lnTo>
                  <a:lnTo>
                    <a:pt x="414337" y="1563053"/>
                  </a:lnTo>
                  <a:lnTo>
                    <a:pt x="399098" y="1560195"/>
                  </a:lnTo>
                  <a:lnTo>
                    <a:pt x="393383" y="1558290"/>
                  </a:lnTo>
                  <a:lnTo>
                    <a:pt x="388620" y="1555432"/>
                  </a:lnTo>
                  <a:lnTo>
                    <a:pt x="387668" y="1553528"/>
                  </a:lnTo>
                  <a:lnTo>
                    <a:pt x="385762" y="1548765"/>
                  </a:lnTo>
                  <a:lnTo>
                    <a:pt x="384810" y="1545907"/>
                  </a:lnTo>
                  <a:lnTo>
                    <a:pt x="384810" y="1541145"/>
                  </a:lnTo>
                  <a:lnTo>
                    <a:pt x="384810" y="1537335"/>
                  </a:lnTo>
                  <a:lnTo>
                    <a:pt x="382905" y="1533525"/>
                  </a:lnTo>
                  <a:lnTo>
                    <a:pt x="378143" y="1528763"/>
                  </a:lnTo>
                  <a:lnTo>
                    <a:pt x="374333" y="1527810"/>
                  </a:lnTo>
                  <a:lnTo>
                    <a:pt x="371475" y="1528763"/>
                  </a:lnTo>
                  <a:lnTo>
                    <a:pt x="369570" y="1530668"/>
                  </a:lnTo>
                  <a:lnTo>
                    <a:pt x="361950" y="1541145"/>
                  </a:lnTo>
                  <a:lnTo>
                    <a:pt x="359093" y="1543050"/>
                  </a:lnTo>
                  <a:lnTo>
                    <a:pt x="355283" y="1544955"/>
                  </a:lnTo>
                  <a:lnTo>
                    <a:pt x="352425" y="1544955"/>
                  </a:lnTo>
                  <a:lnTo>
                    <a:pt x="349568" y="1541145"/>
                  </a:lnTo>
                  <a:lnTo>
                    <a:pt x="348615" y="1536382"/>
                  </a:lnTo>
                  <a:lnTo>
                    <a:pt x="348615" y="1526857"/>
                  </a:lnTo>
                  <a:lnTo>
                    <a:pt x="346710" y="1520190"/>
                  </a:lnTo>
                  <a:lnTo>
                    <a:pt x="344805" y="1520190"/>
                  </a:lnTo>
                  <a:lnTo>
                    <a:pt x="342900" y="1520190"/>
                  </a:lnTo>
                  <a:lnTo>
                    <a:pt x="338137" y="1525905"/>
                  </a:lnTo>
                  <a:lnTo>
                    <a:pt x="332423" y="1526857"/>
                  </a:lnTo>
                  <a:lnTo>
                    <a:pt x="325755" y="1527810"/>
                  </a:lnTo>
                  <a:lnTo>
                    <a:pt x="300990" y="1524953"/>
                  </a:lnTo>
                  <a:lnTo>
                    <a:pt x="296228" y="1524000"/>
                  </a:lnTo>
                  <a:lnTo>
                    <a:pt x="291465" y="1520190"/>
                  </a:lnTo>
                  <a:lnTo>
                    <a:pt x="287655" y="1517332"/>
                  </a:lnTo>
                  <a:lnTo>
                    <a:pt x="284798" y="1513523"/>
                  </a:lnTo>
                  <a:lnTo>
                    <a:pt x="274320" y="1494473"/>
                  </a:lnTo>
                  <a:lnTo>
                    <a:pt x="261937" y="1463040"/>
                  </a:lnTo>
                  <a:lnTo>
                    <a:pt x="258128" y="1456373"/>
                  </a:lnTo>
                  <a:lnTo>
                    <a:pt x="252412" y="1451610"/>
                  </a:lnTo>
                  <a:lnTo>
                    <a:pt x="248603" y="1448753"/>
                  </a:lnTo>
                  <a:lnTo>
                    <a:pt x="244792" y="1447800"/>
                  </a:lnTo>
                  <a:lnTo>
                    <a:pt x="230505" y="1450657"/>
                  </a:lnTo>
                  <a:lnTo>
                    <a:pt x="208598" y="1457325"/>
                  </a:lnTo>
                  <a:lnTo>
                    <a:pt x="203835" y="1460182"/>
                  </a:lnTo>
                  <a:lnTo>
                    <a:pt x="200025" y="1461135"/>
                  </a:lnTo>
                  <a:lnTo>
                    <a:pt x="196215" y="1461135"/>
                  </a:lnTo>
                  <a:lnTo>
                    <a:pt x="187642" y="1461135"/>
                  </a:lnTo>
                  <a:lnTo>
                    <a:pt x="183833" y="1460182"/>
                  </a:lnTo>
                  <a:lnTo>
                    <a:pt x="180023" y="1458278"/>
                  </a:lnTo>
                  <a:lnTo>
                    <a:pt x="176212" y="1451610"/>
                  </a:lnTo>
                  <a:lnTo>
                    <a:pt x="174308" y="1445895"/>
                  </a:lnTo>
                  <a:lnTo>
                    <a:pt x="172403" y="1442085"/>
                  </a:lnTo>
                  <a:lnTo>
                    <a:pt x="169545" y="1437323"/>
                  </a:lnTo>
                  <a:lnTo>
                    <a:pt x="150495" y="1422082"/>
                  </a:lnTo>
                  <a:lnTo>
                    <a:pt x="137160" y="1405890"/>
                  </a:lnTo>
                  <a:lnTo>
                    <a:pt x="134303" y="1402080"/>
                  </a:lnTo>
                  <a:lnTo>
                    <a:pt x="132398" y="1396365"/>
                  </a:lnTo>
                  <a:lnTo>
                    <a:pt x="131445" y="1387793"/>
                  </a:lnTo>
                  <a:lnTo>
                    <a:pt x="131445" y="1384935"/>
                  </a:lnTo>
                  <a:lnTo>
                    <a:pt x="131445" y="1374457"/>
                  </a:lnTo>
                  <a:lnTo>
                    <a:pt x="133350" y="1368743"/>
                  </a:lnTo>
                  <a:lnTo>
                    <a:pt x="138112" y="1358265"/>
                  </a:lnTo>
                  <a:lnTo>
                    <a:pt x="137160" y="1351598"/>
                  </a:lnTo>
                  <a:lnTo>
                    <a:pt x="127635" y="1340168"/>
                  </a:lnTo>
                  <a:lnTo>
                    <a:pt x="118110" y="1334453"/>
                  </a:lnTo>
                  <a:lnTo>
                    <a:pt x="118110" y="1332548"/>
                  </a:lnTo>
                  <a:lnTo>
                    <a:pt x="109537" y="1317307"/>
                  </a:lnTo>
                  <a:lnTo>
                    <a:pt x="106680" y="1309688"/>
                  </a:lnTo>
                  <a:lnTo>
                    <a:pt x="107633" y="1299210"/>
                  </a:lnTo>
                  <a:lnTo>
                    <a:pt x="112395" y="1283018"/>
                  </a:lnTo>
                  <a:lnTo>
                    <a:pt x="112395" y="1276350"/>
                  </a:lnTo>
                  <a:lnTo>
                    <a:pt x="105728" y="1268730"/>
                  </a:lnTo>
                  <a:lnTo>
                    <a:pt x="81915" y="1255395"/>
                  </a:lnTo>
                  <a:lnTo>
                    <a:pt x="72390" y="1247775"/>
                  </a:lnTo>
                  <a:lnTo>
                    <a:pt x="57150" y="1227773"/>
                  </a:lnTo>
                  <a:lnTo>
                    <a:pt x="40005" y="1215390"/>
                  </a:lnTo>
                  <a:lnTo>
                    <a:pt x="42862" y="1214438"/>
                  </a:lnTo>
                  <a:lnTo>
                    <a:pt x="34290" y="1208723"/>
                  </a:lnTo>
                  <a:lnTo>
                    <a:pt x="27622" y="1217295"/>
                  </a:lnTo>
                  <a:lnTo>
                    <a:pt x="24765" y="1219200"/>
                  </a:lnTo>
                  <a:lnTo>
                    <a:pt x="21907" y="1215390"/>
                  </a:lnTo>
                  <a:lnTo>
                    <a:pt x="24765" y="1204913"/>
                  </a:lnTo>
                  <a:lnTo>
                    <a:pt x="33337" y="1187768"/>
                  </a:lnTo>
                  <a:lnTo>
                    <a:pt x="40005" y="1159193"/>
                  </a:lnTo>
                  <a:lnTo>
                    <a:pt x="49530" y="1134428"/>
                  </a:lnTo>
                  <a:lnTo>
                    <a:pt x="51435" y="1122998"/>
                  </a:lnTo>
                  <a:lnTo>
                    <a:pt x="43815" y="1048703"/>
                  </a:lnTo>
                  <a:lnTo>
                    <a:pt x="41910" y="1035368"/>
                  </a:lnTo>
                  <a:lnTo>
                    <a:pt x="39053" y="1029653"/>
                  </a:lnTo>
                  <a:lnTo>
                    <a:pt x="27622" y="1017270"/>
                  </a:lnTo>
                  <a:lnTo>
                    <a:pt x="20955" y="1006793"/>
                  </a:lnTo>
                  <a:lnTo>
                    <a:pt x="19050" y="1002030"/>
                  </a:lnTo>
                  <a:lnTo>
                    <a:pt x="17145" y="992505"/>
                  </a:lnTo>
                  <a:lnTo>
                    <a:pt x="14288" y="958215"/>
                  </a:lnTo>
                  <a:lnTo>
                    <a:pt x="10478" y="946785"/>
                  </a:lnTo>
                  <a:lnTo>
                    <a:pt x="0" y="917258"/>
                  </a:lnTo>
                  <a:lnTo>
                    <a:pt x="13335" y="885825"/>
                  </a:lnTo>
                  <a:lnTo>
                    <a:pt x="53340" y="831533"/>
                  </a:lnTo>
                  <a:lnTo>
                    <a:pt x="62865" y="805815"/>
                  </a:lnTo>
                  <a:lnTo>
                    <a:pt x="66675" y="799147"/>
                  </a:lnTo>
                  <a:lnTo>
                    <a:pt x="72390" y="793433"/>
                  </a:lnTo>
                  <a:lnTo>
                    <a:pt x="83820" y="791528"/>
                  </a:lnTo>
                  <a:lnTo>
                    <a:pt x="89535" y="788670"/>
                  </a:lnTo>
                  <a:lnTo>
                    <a:pt x="98108" y="780097"/>
                  </a:lnTo>
                  <a:lnTo>
                    <a:pt x="130492" y="721043"/>
                  </a:lnTo>
                  <a:lnTo>
                    <a:pt x="136208" y="714375"/>
                  </a:lnTo>
                  <a:lnTo>
                    <a:pt x="140017" y="711518"/>
                  </a:lnTo>
                  <a:lnTo>
                    <a:pt x="149542" y="707708"/>
                  </a:lnTo>
                  <a:lnTo>
                    <a:pt x="154305" y="703897"/>
                  </a:lnTo>
                  <a:lnTo>
                    <a:pt x="157162" y="698183"/>
                  </a:lnTo>
                  <a:lnTo>
                    <a:pt x="160973" y="681038"/>
                  </a:lnTo>
                  <a:lnTo>
                    <a:pt x="163830" y="674370"/>
                  </a:lnTo>
                  <a:lnTo>
                    <a:pt x="185737" y="651510"/>
                  </a:lnTo>
                  <a:lnTo>
                    <a:pt x="242887" y="567690"/>
                  </a:lnTo>
                  <a:lnTo>
                    <a:pt x="263843" y="543878"/>
                  </a:lnTo>
                  <a:lnTo>
                    <a:pt x="283845" y="529590"/>
                  </a:lnTo>
                  <a:lnTo>
                    <a:pt x="299085" y="504825"/>
                  </a:lnTo>
                  <a:lnTo>
                    <a:pt x="420052" y="373380"/>
                  </a:lnTo>
                  <a:lnTo>
                    <a:pt x="443865" y="354330"/>
                  </a:lnTo>
                  <a:lnTo>
                    <a:pt x="472440" y="332422"/>
                  </a:lnTo>
                  <a:lnTo>
                    <a:pt x="487680" y="320040"/>
                  </a:lnTo>
                  <a:lnTo>
                    <a:pt x="529590" y="275272"/>
                  </a:lnTo>
                  <a:lnTo>
                    <a:pt x="536258" y="263842"/>
                  </a:lnTo>
                  <a:lnTo>
                    <a:pt x="543877" y="240983"/>
                  </a:lnTo>
                  <a:lnTo>
                    <a:pt x="549593" y="228600"/>
                  </a:lnTo>
                  <a:lnTo>
                    <a:pt x="556260" y="221933"/>
                  </a:lnTo>
                  <a:lnTo>
                    <a:pt x="565785" y="217170"/>
                  </a:lnTo>
                  <a:lnTo>
                    <a:pt x="583883" y="211455"/>
                  </a:lnTo>
                  <a:lnTo>
                    <a:pt x="679133" y="210503"/>
                  </a:lnTo>
                  <a:lnTo>
                    <a:pt x="706755" y="199072"/>
                  </a:lnTo>
                  <a:lnTo>
                    <a:pt x="718185" y="171450"/>
                  </a:lnTo>
                  <a:lnTo>
                    <a:pt x="721043" y="162878"/>
                  </a:lnTo>
                  <a:lnTo>
                    <a:pt x="721995" y="151447"/>
                  </a:lnTo>
                  <a:lnTo>
                    <a:pt x="721043" y="136208"/>
                  </a:lnTo>
                  <a:lnTo>
                    <a:pt x="722948" y="125730"/>
                  </a:lnTo>
                  <a:lnTo>
                    <a:pt x="756285" y="107633"/>
                  </a:lnTo>
                  <a:lnTo>
                    <a:pt x="766763" y="97155"/>
                  </a:lnTo>
                  <a:lnTo>
                    <a:pt x="773430" y="87630"/>
                  </a:lnTo>
                  <a:lnTo>
                    <a:pt x="773430" y="85725"/>
                  </a:lnTo>
                  <a:lnTo>
                    <a:pt x="770573" y="83820"/>
                  </a:lnTo>
                  <a:lnTo>
                    <a:pt x="767715" y="72390"/>
                  </a:lnTo>
                  <a:lnTo>
                    <a:pt x="762000" y="33338"/>
                  </a:lnTo>
                  <a:lnTo>
                    <a:pt x="774383" y="12383"/>
                  </a:lnTo>
                  <a:lnTo>
                    <a:pt x="774383" y="11430"/>
                  </a:lnTo>
                  <a:lnTo>
                    <a:pt x="778193" y="5715"/>
                  </a:lnTo>
                  <a:lnTo>
                    <a:pt x="782955" y="1905"/>
                  </a:lnTo>
                  <a:lnTo>
                    <a:pt x="789623" y="0"/>
                  </a:lnTo>
                  <a:lnTo>
                    <a:pt x="797243" y="0"/>
                  </a:lnTo>
                  <a:lnTo>
                    <a:pt x="803910" y="3810"/>
                  </a:lnTo>
                  <a:lnTo>
                    <a:pt x="806768" y="19050"/>
                  </a:lnTo>
                  <a:lnTo>
                    <a:pt x="811530" y="22860"/>
                  </a:lnTo>
                  <a:lnTo>
                    <a:pt x="819150" y="25717"/>
                  </a:lnTo>
                  <a:lnTo>
                    <a:pt x="823913" y="31433"/>
                  </a:lnTo>
                  <a:lnTo>
                    <a:pt x="826770" y="40005"/>
                  </a:lnTo>
                  <a:lnTo>
                    <a:pt x="831533" y="45720"/>
                  </a:lnTo>
                  <a:lnTo>
                    <a:pt x="838200" y="48578"/>
                  </a:lnTo>
                  <a:lnTo>
                    <a:pt x="847725" y="52388"/>
                  </a:lnTo>
                  <a:lnTo>
                    <a:pt x="853440" y="57150"/>
                  </a:lnTo>
                  <a:lnTo>
                    <a:pt x="853440" y="51435"/>
                  </a:lnTo>
                  <a:lnTo>
                    <a:pt x="862965" y="49530"/>
                  </a:lnTo>
                  <a:lnTo>
                    <a:pt x="867727" y="46672"/>
                  </a:lnTo>
                  <a:lnTo>
                    <a:pt x="873443" y="44767"/>
                  </a:lnTo>
                  <a:lnTo>
                    <a:pt x="886777" y="42863"/>
                  </a:lnTo>
                  <a:lnTo>
                    <a:pt x="888683" y="41910"/>
                  </a:lnTo>
                  <a:lnTo>
                    <a:pt x="893445" y="38100"/>
                  </a:lnTo>
                  <a:lnTo>
                    <a:pt x="896302" y="33338"/>
                  </a:lnTo>
                  <a:lnTo>
                    <a:pt x="899160" y="29528"/>
                  </a:lnTo>
                  <a:lnTo>
                    <a:pt x="901065" y="28575"/>
                  </a:lnTo>
                  <a:lnTo>
                    <a:pt x="905827" y="28575"/>
                  </a:lnTo>
                  <a:lnTo>
                    <a:pt x="910590" y="31433"/>
                  </a:lnTo>
                  <a:lnTo>
                    <a:pt x="917258" y="36195"/>
                  </a:lnTo>
                  <a:lnTo>
                    <a:pt x="926783" y="45720"/>
                  </a:lnTo>
                  <a:lnTo>
                    <a:pt x="929640" y="51435"/>
                  </a:lnTo>
                  <a:lnTo>
                    <a:pt x="929640" y="55245"/>
                  </a:lnTo>
                  <a:lnTo>
                    <a:pt x="929640" y="58103"/>
                  </a:lnTo>
                  <a:lnTo>
                    <a:pt x="929640" y="61913"/>
                  </a:lnTo>
                  <a:lnTo>
                    <a:pt x="930593" y="63817"/>
                  </a:lnTo>
                  <a:lnTo>
                    <a:pt x="945832" y="79058"/>
                  </a:lnTo>
                  <a:lnTo>
                    <a:pt x="948690" y="80963"/>
                  </a:lnTo>
                  <a:lnTo>
                    <a:pt x="952500" y="81915"/>
                  </a:lnTo>
                  <a:lnTo>
                    <a:pt x="958215" y="80963"/>
                  </a:lnTo>
                  <a:lnTo>
                    <a:pt x="967740" y="78105"/>
                  </a:lnTo>
                  <a:lnTo>
                    <a:pt x="970598" y="77153"/>
                  </a:lnTo>
                  <a:lnTo>
                    <a:pt x="976313" y="79058"/>
                  </a:lnTo>
                  <a:lnTo>
                    <a:pt x="981075" y="81915"/>
                  </a:lnTo>
                  <a:lnTo>
                    <a:pt x="996315" y="100013"/>
                  </a:lnTo>
                  <a:lnTo>
                    <a:pt x="999173" y="104775"/>
                  </a:lnTo>
                  <a:lnTo>
                    <a:pt x="1001077" y="110490"/>
                  </a:lnTo>
                  <a:lnTo>
                    <a:pt x="1000125" y="117158"/>
                  </a:lnTo>
                  <a:lnTo>
                    <a:pt x="999173" y="120015"/>
                  </a:lnTo>
                  <a:lnTo>
                    <a:pt x="996315" y="124778"/>
                  </a:lnTo>
                  <a:lnTo>
                    <a:pt x="992505" y="128588"/>
                  </a:lnTo>
                  <a:lnTo>
                    <a:pt x="987743" y="130492"/>
                  </a:lnTo>
                  <a:lnTo>
                    <a:pt x="961073" y="137160"/>
                  </a:lnTo>
                  <a:lnTo>
                    <a:pt x="956310" y="140017"/>
                  </a:lnTo>
                  <a:lnTo>
                    <a:pt x="955357" y="141922"/>
                  </a:lnTo>
                  <a:lnTo>
                    <a:pt x="954405" y="144780"/>
                  </a:lnTo>
                  <a:lnTo>
                    <a:pt x="955357" y="147638"/>
                  </a:lnTo>
                  <a:lnTo>
                    <a:pt x="958215" y="151447"/>
                  </a:lnTo>
                  <a:lnTo>
                    <a:pt x="980123" y="169545"/>
                  </a:lnTo>
                  <a:lnTo>
                    <a:pt x="982980" y="173355"/>
                  </a:lnTo>
                  <a:lnTo>
                    <a:pt x="983932" y="178117"/>
                  </a:lnTo>
                  <a:lnTo>
                    <a:pt x="983932" y="181928"/>
                  </a:lnTo>
                  <a:lnTo>
                    <a:pt x="982980" y="187642"/>
                  </a:lnTo>
                  <a:lnTo>
                    <a:pt x="982027" y="191453"/>
                  </a:lnTo>
                  <a:lnTo>
                    <a:pt x="982980" y="194310"/>
                  </a:lnTo>
                  <a:lnTo>
                    <a:pt x="984885" y="196215"/>
                  </a:lnTo>
                  <a:lnTo>
                    <a:pt x="988695" y="198120"/>
                  </a:lnTo>
                  <a:lnTo>
                    <a:pt x="996315" y="197167"/>
                  </a:lnTo>
                  <a:lnTo>
                    <a:pt x="1000125" y="196215"/>
                  </a:lnTo>
                  <a:lnTo>
                    <a:pt x="1002982" y="193358"/>
                  </a:lnTo>
                  <a:lnTo>
                    <a:pt x="1004888" y="188595"/>
                  </a:lnTo>
                  <a:lnTo>
                    <a:pt x="1004888" y="179070"/>
                  </a:lnTo>
                  <a:lnTo>
                    <a:pt x="1004888" y="175260"/>
                  </a:lnTo>
                  <a:lnTo>
                    <a:pt x="1006793" y="172403"/>
                  </a:lnTo>
                  <a:lnTo>
                    <a:pt x="1008698" y="170497"/>
                  </a:lnTo>
                  <a:lnTo>
                    <a:pt x="1011555" y="170497"/>
                  </a:lnTo>
                  <a:lnTo>
                    <a:pt x="1014413" y="172403"/>
                  </a:lnTo>
                  <a:lnTo>
                    <a:pt x="1017270" y="176213"/>
                  </a:lnTo>
                  <a:lnTo>
                    <a:pt x="1019175" y="179070"/>
                  </a:lnTo>
                  <a:lnTo>
                    <a:pt x="1022032" y="184785"/>
                  </a:lnTo>
                  <a:lnTo>
                    <a:pt x="1024890" y="187642"/>
                  </a:lnTo>
                  <a:lnTo>
                    <a:pt x="1028700" y="188595"/>
                  </a:lnTo>
                  <a:lnTo>
                    <a:pt x="1045845" y="189547"/>
                  </a:lnTo>
                  <a:lnTo>
                    <a:pt x="1048703" y="190500"/>
                  </a:lnTo>
                  <a:lnTo>
                    <a:pt x="1051560" y="191453"/>
                  </a:lnTo>
                  <a:lnTo>
                    <a:pt x="1053465" y="195263"/>
                  </a:lnTo>
                  <a:lnTo>
                    <a:pt x="1053465" y="199072"/>
                  </a:lnTo>
                  <a:lnTo>
                    <a:pt x="1054418" y="204788"/>
                  </a:lnTo>
                  <a:lnTo>
                    <a:pt x="1058228" y="208597"/>
                  </a:lnTo>
                  <a:lnTo>
                    <a:pt x="1080135" y="221933"/>
                  </a:lnTo>
                  <a:lnTo>
                    <a:pt x="1084898" y="227647"/>
                  </a:lnTo>
                  <a:lnTo>
                    <a:pt x="1087755" y="232410"/>
                  </a:lnTo>
                  <a:lnTo>
                    <a:pt x="1086803" y="239078"/>
                  </a:lnTo>
                  <a:lnTo>
                    <a:pt x="1087755" y="241935"/>
                  </a:lnTo>
                  <a:lnTo>
                    <a:pt x="1088708" y="244792"/>
                  </a:lnTo>
                  <a:lnTo>
                    <a:pt x="1092518" y="247650"/>
                  </a:lnTo>
                  <a:lnTo>
                    <a:pt x="1098233" y="249555"/>
                  </a:lnTo>
                  <a:lnTo>
                    <a:pt x="1124903" y="251460"/>
                  </a:lnTo>
                  <a:lnTo>
                    <a:pt x="1132523" y="251460"/>
                  </a:lnTo>
                  <a:lnTo>
                    <a:pt x="1137285" y="249555"/>
                  </a:lnTo>
                  <a:lnTo>
                    <a:pt x="1142048" y="246697"/>
                  </a:lnTo>
                  <a:lnTo>
                    <a:pt x="1146810" y="244792"/>
                  </a:lnTo>
                  <a:lnTo>
                    <a:pt x="1152525" y="242888"/>
                  </a:lnTo>
                  <a:lnTo>
                    <a:pt x="1163955" y="240030"/>
                  </a:lnTo>
                  <a:lnTo>
                    <a:pt x="1197293" y="245745"/>
                  </a:lnTo>
                  <a:lnTo>
                    <a:pt x="1203960" y="244792"/>
                  </a:lnTo>
                  <a:lnTo>
                    <a:pt x="1207770" y="241935"/>
                  </a:lnTo>
                  <a:lnTo>
                    <a:pt x="1206818" y="232410"/>
                  </a:lnTo>
                  <a:lnTo>
                    <a:pt x="1206818" y="229553"/>
                  </a:lnTo>
                  <a:lnTo>
                    <a:pt x="1208723" y="227647"/>
                  </a:lnTo>
                  <a:lnTo>
                    <a:pt x="1213485" y="228600"/>
                  </a:lnTo>
                  <a:lnTo>
                    <a:pt x="1220153" y="232410"/>
                  </a:lnTo>
                  <a:lnTo>
                    <a:pt x="1235393" y="241935"/>
                  </a:lnTo>
                  <a:lnTo>
                    <a:pt x="1245870" y="247650"/>
                  </a:lnTo>
                  <a:lnTo>
                    <a:pt x="1262063" y="244792"/>
                  </a:lnTo>
                  <a:lnTo>
                    <a:pt x="1267778" y="244792"/>
                  </a:lnTo>
                  <a:lnTo>
                    <a:pt x="1269683" y="246697"/>
                  </a:lnTo>
                  <a:lnTo>
                    <a:pt x="1272540" y="248603"/>
                  </a:lnTo>
                  <a:lnTo>
                    <a:pt x="1275398" y="251460"/>
                  </a:lnTo>
                  <a:lnTo>
                    <a:pt x="1278255" y="257175"/>
                  </a:lnTo>
                  <a:lnTo>
                    <a:pt x="1279208" y="265747"/>
                  </a:lnTo>
                  <a:lnTo>
                    <a:pt x="1277303" y="28956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29" name="Полилиния: фигура 11">
              <a:extLst>
                <a:ext uri="{FF2B5EF4-FFF2-40B4-BE49-F238E27FC236}">
                  <a16:creationId xmlns:a16="http://schemas.microsoft.com/office/drawing/2014/main" id="{50B47722-E18C-3FAB-D876-93E2B710A166}"/>
                </a:ext>
              </a:extLst>
            </p:cNvPr>
            <p:cNvSpPr/>
            <p:nvPr/>
          </p:nvSpPr>
          <p:spPr>
            <a:xfrm>
              <a:off x="2700338" y="2024063"/>
              <a:ext cx="876300" cy="1419225"/>
            </a:xfrm>
            <a:custGeom>
              <a:avLst/>
              <a:gdLst>
                <a:gd name="connsiteX0" fmla="*/ 804863 w 876300"/>
                <a:gd name="connsiteY0" fmla="*/ 93345 h 1419225"/>
                <a:gd name="connsiteX1" fmla="*/ 793433 w 876300"/>
                <a:gd name="connsiteY1" fmla="*/ 99060 h 1419225"/>
                <a:gd name="connsiteX2" fmla="*/ 790575 w 876300"/>
                <a:gd name="connsiteY2" fmla="*/ 101917 h 1419225"/>
                <a:gd name="connsiteX3" fmla="*/ 792480 w 876300"/>
                <a:gd name="connsiteY3" fmla="*/ 103822 h 1419225"/>
                <a:gd name="connsiteX4" fmla="*/ 795338 w 876300"/>
                <a:gd name="connsiteY4" fmla="*/ 104775 h 1419225"/>
                <a:gd name="connsiteX5" fmla="*/ 813435 w 876300"/>
                <a:gd name="connsiteY5" fmla="*/ 110490 h 1419225"/>
                <a:gd name="connsiteX6" fmla="*/ 818197 w 876300"/>
                <a:gd name="connsiteY6" fmla="*/ 113347 h 1419225"/>
                <a:gd name="connsiteX7" fmla="*/ 822008 w 876300"/>
                <a:gd name="connsiteY7" fmla="*/ 117158 h 1419225"/>
                <a:gd name="connsiteX8" fmla="*/ 824865 w 876300"/>
                <a:gd name="connsiteY8" fmla="*/ 121920 h 1419225"/>
                <a:gd name="connsiteX9" fmla="*/ 825818 w 876300"/>
                <a:gd name="connsiteY9" fmla="*/ 124778 h 1419225"/>
                <a:gd name="connsiteX10" fmla="*/ 825818 w 876300"/>
                <a:gd name="connsiteY10" fmla="*/ 128588 h 1419225"/>
                <a:gd name="connsiteX11" fmla="*/ 823913 w 876300"/>
                <a:gd name="connsiteY11" fmla="*/ 135255 h 1419225"/>
                <a:gd name="connsiteX12" fmla="*/ 822008 w 876300"/>
                <a:gd name="connsiteY12" fmla="*/ 139065 h 1419225"/>
                <a:gd name="connsiteX13" fmla="*/ 819150 w 876300"/>
                <a:gd name="connsiteY13" fmla="*/ 140970 h 1419225"/>
                <a:gd name="connsiteX14" fmla="*/ 813435 w 876300"/>
                <a:gd name="connsiteY14" fmla="*/ 141922 h 1419225"/>
                <a:gd name="connsiteX15" fmla="*/ 793433 w 876300"/>
                <a:gd name="connsiteY15" fmla="*/ 143828 h 1419225"/>
                <a:gd name="connsiteX16" fmla="*/ 791528 w 876300"/>
                <a:gd name="connsiteY16" fmla="*/ 144780 h 1419225"/>
                <a:gd name="connsiteX17" fmla="*/ 790575 w 876300"/>
                <a:gd name="connsiteY17" fmla="*/ 147638 h 1419225"/>
                <a:gd name="connsiteX18" fmla="*/ 789622 w 876300"/>
                <a:gd name="connsiteY18" fmla="*/ 150495 h 1419225"/>
                <a:gd name="connsiteX19" fmla="*/ 791528 w 876300"/>
                <a:gd name="connsiteY19" fmla="*/ 153353 h 1419225"/>
                <a:gd name="connsiteX20" fmla="*/ 795338 w 876300"/>
                <a:gd name="connsiteY20" fmla="*/ 158115 h 1419225"/>
                <a:gd name="connsiteX21" fmla="*/ 802005 w 876300"/>
                <a:gd name="connsiteY21" fmla="*/ 163830 h 1419225"/>
                <a:gd name="connsiteX22" fmla="*/ 803910 w 876300"/>
                <a:gd name="connsiteY22" fmla="*/ 165735 h 1419225"/>
                <a:gd name="connsiteX23" fmla="*/ 803910 w 876300"/>
                <a:gd name="connsiteY23" fmla="*/ 169545 h 1419225"/>
                <a:gd name="connsiteX24" fmla="*/ 802005 w 876300"/>
                <a:gd name="connsiteY24" fmla="*/ 179070 h 1419225"/>
                <a:gd name="connsiteX25" fmla="*/ 799147 w 876300"/>
                <a:gd name="connsiteY25" fmla="*/ 184785 h 1419225"/>
                <a:gd name="connsiteX26" fmla="*/ 797243 w 876300"/>
                <a:gd name="connsiteY26" fmla="*/ 186690 h 1419225"/>
                <a:gd name="connsiteX27" fmla="*/ 787718 w 876300"/>
                <a:gd name="connsiteY27" fmla="*/ 192405 h 1419225"/>
                <a:gd name="connsiteX28" fmla="*/ 785813 w 876300"/>
                <a:gd name="connsiteY28" fmla="*/ 193358 h 1419225"/>
                <a:gd name="connsiteX29" fmla="*/ 784860 w 876300"/>
                <a:gd name="connsiteY29" fmla="*/ 196215 h 1419225"/>
                <a:gd name="connsiteX30" fmla="*/ 785813 w 876300"/>
                <a:gd name="connsiteY30" fmla="*/ 199072 h 1419225"/>
                <a:gd name="connsiteX31" fmla="*/ 788670 w 876300"/>
                <a:gd name="connsiteY31" fmla="*/ 202883 h 1419225"/>
                <a:gd name="connsiteX32" fmla="*/ 791528 w 876300"/>
                <a:gd name="connsiteY32" fmla="*/ 204788 h 1419225"/>
                <a:gd name="connsiteX33" fmla="*/ 795338 w 876300"/>
                <a:gd name="connsiteY33" fmla="*/ 206692 h 1419225"/>
                <a:gd name="connsiteX34" fmla="*/ 802005 w 876300"/>
                <a:gd name="connsiteY34" fmla="*/ 206692 h 1419225"/>
                <a:gd name="connsiteX35" fmla="*/ 804863 w 876300"/>
                <a:gd name="connsiteY35" fmla="*/ 208597 h 1419225"/>
                <a:gd name="connsiteX36" fmla="*/ 805815 w 876300"/>
                <a:gd name="connsiteY36" fmla="*/ 212408 h 1419225"/>
                <a:gd name="connsiteX37" fmla="*/ 804863 w 876300"/>
                <a:gd name="connsiteY37" fmla="*/ 219075 h 1419225"/>
                <a:gd name="connsiteX38" fmla="*/ 803910 w 876300"/>
                <a:gd name="connsiteY38" fmla="*/ 222885 h 1419225"/>
                <a:gd name="connsiteX39" fmla="*/ 802005 w 876300"/>
                <a:gd name="connsiteY39" fmla="*/ 225742 h 1419225"/>
                <a:gd name="connsiteX40" fmla="*/ 771525 w 876300"/>
                <a:gd name="connsiteY40" fmla="*/ 235267 h 1419225"/>
                <a:gd name="connsiteX41" fmla="*/ 767715 w 876300"/>
                <a:gd name="connsiteY41" fmla="*/ 239078 h 1419225"/>
                <a:gd name="connsiteX42" fmla="*/ 763905 w 876300"/>
                <a:gd name="connsiteY42" fmla="*/ 242888 h 1419225"/>
                <a:gd name="connsiteX43" fmla="*/ 761047 w 876300"/>
                <a:gd name="connsiteY43" fmla="*/ 246697 h 1419225"/>
                <a:gd name="connsiteX44" fmla="*/ 762000 w 876300"/>
                <a:gd name="connsiteY44" fmla="*/ 253365 h 1419225"/>
                <a:gd name="connsiteX45" fmla="*/ 766763 w 876300"/>
                <a:gd name="connsiteY45" fmla="*/ 266700 h 1419225"/>
                <a:gd name="connsiteX46" fmla="*/ 768668 w 876300"/>
                <a:gd name="connsiteY46" fmla="*/ 275272 h 1419225"/>
                <a:gd name="connsiteX47" fmla="*/ 769620 w 876300"/>
                <a:gd name="connsiteY47" fmla="*/ 281940 h 1419225"/>
                <a:gd name="connsiteX48" fmla="*/ 767715 w 876300"/>
                <a:gd name="connsiteY48" fmla="*/ 287655 h 1419225"/>
                <a:gd name="connsiteX49" fmla="*/ 763905 w 876300"/>
                <a:gd name="connsiteY49" fmla="*/ 297180 h 1419225"/>
                <a:gd name="connsiteX50" fmla="*/ 763905 w 876300"/>
                <a:gd name="connsiteY50" fmla="*/ 300990 h 1419225"/>
                <a:gd name="connsiteX51" fmla="*/ 764858 w 876300"/>
                <a:gd name="connsiteY51" fmla="*/ 304800 h 1419225"/>
                <a:gd name="connsiteX52" fmla="*/ 767715 w 876300"/>
                <a:gd name="connsiteY52" fmla="*/ 310515 h 1419225"/>
                <a:gd name="connsiteX53" fmla="*/ 770572 w 876300"/>
                <a:gd name="connsiteY53" fmla="*/ 313372 h 1419225"/>
                <a:gd name="connsiteX54" fmla="*/ 777240 w 876300"/>
                <a:gd name="connsiteY54" fmla="*/ 319088 h 1419225"/>
                <a:gd name="connsiteX55" fmla="*/ 781050 w 876300"/>
                <a:gd name="connsiteY55" fmla="*/ 322897 h 1419225"/>
                <a:gd name="connsiteX56" fmla="*/ 783908 w 876300"/>
                <a:gd name="connsiteY56" fmla="*/ 327660 h 1419225"/>
                <a:gd name="connsiteX57" fmla="*/ 783908 w 876300"/>
                <a:gd name="connsiteY57" fmla="*/ 332422 h 1419225"/>
                <a:gd name="connsiteX58" fmla="*/ 783908 w 876300"/>
                <a:gd name="connsiteY58" fmla="*/ 337185 h 1419225"/>
                <a:gd name="connsiteX59" fmla="*/ 782955 w 876300"/>
                <a:gd name="connsiteY59" fmla="*/ 346710 h 1419225"/>
                <a:gd name="connsiteX60" fmla="*/ 781050 w 876300"/>
                <a:gd name="connsiteY60" fmla="*/ 356235 h 1419225"/>
                <a:gd name="connsiteX61" fmla="*/ 780097 w 876300"/>
                <a:gd name="connsiteY61" fmla="*/ 360045 h 1419225"/>
                <a:gd name="connsiteX62" fmla="*/ 780097 w 876300"/>
                <a:gd name="connsiteY62" fmla="*/ 363855 h 1419225"/>
                <a:gd name="connsiteX63" fmla="*/ 782955 w 876300"/>
                <a:gd name="connsiteY63" fmla="*/ 370522 h 1419225"/>
                <a:gd name="connsiteX64" fmla="*/ 786765 w 876300"/>
                <a:gd name="connsiteY64" fmla="*/ 377190 h 1419225"/>
                <a:gd name="connsiteX65" fmla="*/ 799147 w 876300"/>
                <a:gd name="connsiteY65" fmla="*/ 386715 h 1419225"/>
                <a:gd name="connsiteX66" fmla="*/ 802005 w 876300"/>
                <a:gd name="connsiteY66" fmla="*/ 391478 h 1419225"/>
                <a:gd name="connsiteX67" fmla="*/ 803910 w 876300"/>
                <a:gd name="connsiteY67" fmla="*/ 396240 h 1419225"/>
                <a:gd name="connsiteX68" fmla="*/ 804863 w 876300"/>
                <a:gd name="connsiteY68" fmla="*/ 399097 h 1419225"/>
                <a:gd name="connsiteX69" fmla="*/ 805815 w 876300"/>
                <a:gd name="connsiteY69" fmla="*/ 404813 h 1419225"/>
                <a:gd name="connsiteX70" fmla="*/ 805815 w 876300"/>
                <a:gd name="connsiteY70" fmla="*/ 412433 h 1419225"/>
                <a:gd name="connsiteX71" fmla="*/ 804863 w 876300"/>
                <a:gd name="connsiteY71" fmla="*/ 428625 h 1419225"/>
                <a:gd name="connsiteX72" fmla="*/ 803910 w 876300"/>
                <a:gd name="connsiteY72" fmla="*/ 435292 h 1419225"/>
                <a:gd name="connsiteX73" fmla="*/ 802005 w 876300"/>
                <a:gd name="connsiteY73" fmla="*/ 440055 h 1419225"/>
                <a:gd name="connsiteX74" fmla="*/ 796290 w 876300"/>
                <a:gd name="connsiteY74" fmla="*/ 445770 h 1419225"/>
                <a:gd name="connsiteX75" fmla="*/ 792480 w 876300"/>
                <a:gd name="connsiteY75" fmla="*/ 450533 h 1419225"/>
                <a:gd name="connsiteX76" fmla="*/ 790575 w 876300"/>
                <a:gd name="connsiteY76" fmla="*/ 455295 h 1419225"/>
                <a:gd name="connsiteX77" fmla="*/ 789622 w 876300"/>
                <a:gd name="connsiteY77" fmla="*/ 458153 h 1419225"/>
                <a:gd name="connsiteX78" fmla="*/ 789622 w 876300"/>
                <a:gd name="connsiteY78" fmla="*/ 461963 h 1419225"/>
                <a:gd name="connsiteX79" fmla="*/ 790575 w 876300"/>
                <a:gd name="connsiteY79" fmla="*/ 466725 h 1419225"/>
                <a:gd name="connsiteX80" fmla="*/ 793433 w 876300"/>
                <a:gd name="connsiteY80" fmla="*/ 472440 h 1419225"/>
                <a:gd name="connsiteX81" fmla="*/ 797243 w 876300"/>
                <a:gd name="connsiteY81" fmla="*/ 478155 h 1419225"/>
                <a:gd name="connsiteX82" fmla="*/ 811530 w 876300"/>
                <a:gd name="connsiteY82" fmla="*/ 490538 h 1419225"/>
                <a:gd name="connsiteX83" fmla="*/ 815340 w 876300"/>
                <a:gd name="connsiteY83" fmla="*/ 494347 h 1419225"/>
                <a:gd name="connsiteX84" fmla="*/ 815340 w 876300"/>
                <a:gd name="connsiteY84" fmla="*/ 498158 h 1419225"/>
                <a:gd name="connsiteX85" fmla="*/ 815340 w 876300"/>
                <a:gd name="connsiteY85" fmla="*/ 502920 h 1419225"/>
                <a:gd name="connsiteX86" fmla="*/ 813435 w 876300"/>
                <a:gd name="connsiteY86" fmla="*/ 509588 h 1419225"/>
                <a:gd name="connsiteX87" fmla="*/ 811530 w 876300"/>
                <a:gd name="connsiteY87" fmla="*/ 513397 h 1419225"/>
                <a:gd name="connsiteX88" fmla="*/ 809625 w 876300"/>
                <a:gd name="connsiteY88" fmla="*/ 516255 h 1419225"/>
                <a:gd name="connsiteX89" fmla="*/ 803910 w 876300"/>
                <a:gd name="connsiteY89" fmla="*/ 521970 h 1419225"/>
                <a:gd name="connsiteX90" fmla="*/ 800100 w 876300"/>
                <a:gd name="connsiteY90" fmla="*/ 525780 h 1419225"/>
                <a:gd name="connsiteX91" fmla="*/ 798195 w 876300"/>
                <a:gd name="connsiteY91" fmla="*/ 531495 h 1419225"/>
                <a:gd name="connsiteX92" fmla="*/ 797243 w 876300"/>
                <a:gd name="connsiteY92" fmla="*/ 538163 h 1419225"/>
                <a:gd name="connsiteX93" fmla="*/ 795338 w 876300"/>
                <a:gd name="connsiteY93" fmla="*/ 559118 h 1419225"/>
                <a:gd name="connsiteX94" fmla="*/ 793433 w 876300"/>
                <a:gd name="connsiteY94" fmla="*/ 568643 h 1419225"/>
                <a:gd name="connsiteX95" fmla="*/ 791528 w 876300"/>
                <a:gd name="connsiteY95" fmla="*/ 571500 h 1419225"/>
                <a:gd name="connsiteX96" fmla="*/ 788670 w 876300"/>
                <a:gd name="connsiteY96" fmla="*/ 576263 h 1419225"/>
                <a:gd name="connsiteX97" fmla="*/ 774383 w 876300"/>
                <a:gd name="connsiteY97" fmla="*/ 583883 h 1419225"/>
                <a:gd name="connsiteX98" fmla="*/ 770572 w 876300"/>
                <a:gd name="connsiteY98" fmla="*/ 586740 h 1419225"/>
                <a:gd name="connsiteX99" fmla="*/ 768668 w 876300"/>
                <a:gd name="connsiteY99" fmla="*/ 590550 h 1419225"/>
                <a:gd name="connsiteX100" fmla="*/ 761047 w 876300"/>
                <a:gd name="connsiteY100" fmla="*/ 608647 h 1419225"/>
                <a:gd name="connsiteX101" fmla="*/ 760095 w 876300"/>
                <a:gd name="connsiteY101" fmla="*/ 613410 h 1419225"/>
                <a:gd name="connsiteX102" fmla="*/ 760095 w 876300"/>
                <a:gd name="connsiteY102" fmla="*/ 617220 h 1419225"/>
                <a:gd name="connsiteX103" fmla="*/ 761047 w 876300"/>
                <a:gd name="connsiteY103" fmla="*/ 621983 h 1419225"/>
                <a:gd name="connsiteX104" fmla="*/ 763905 w 876300"/>
                <a:gd name="connsiteY104" fmla="*/ 631508 h 1419225"/>
                <a:gd name="connsiteX105" fmla="*/ 773430 w 876300"/>
                <a:gd name="connsiteY105" fmla="*/ 651510 h 1419225"/>
                <a:gd name="connsiteX106" fmla="*/ 778193 w 876300"/>
                <a:gd name="connsiteY106" fmla="*/ 665797 h 1419225"/>
                <a:gd name="connsiteX107" fmla="*/ 782955 w 876300"/>
                <a:gd name="connsiteY107" fmla="*/ 687705 h 1419225"/>
                <a:gd name="connsiteX108" fmla="*/ 784860 w 876300"/>
                <a:gd name="connsiteY108" fmla="*/ 692468 h 1419225"/>
                <a:gd name="connsiteX109" fmla="*/ 786765 w 876300"/>
                <a:gd name="connsiteY109" fmla="*/ 695325 h 1419225"/>
                <a:gd name="connsiteX110" fmla="*/ 800100 w 876300"/>
                <a:gd name="connsiteY110" fmla="*/ 704850 h 1419225"/>
                <a:gd name="connsiteX111" fmla="*/ 802005 w 876300"/>
                <a:gd name="connsiteY111" fmla="*/ 706755 h 1419225"/>
                <a:gd name="connsiteX112" fmla="*/ 802958 w 876300"/>
                <a:gd name="connsiteY112" fmla="*/ 709613 h 1419225"/>
                <a:gd name="connsiteX113" fmla="*/ 802958 w 876300"/>
                <a:gd name="connsiteY113" fmla="*/ 714375 h 1419225"/>
                <a:gd name="connsiteX114" fmla="*/ 802958 w 876300"/>
                <a:gd name="connsiteY114" fmla="*/ 722947 h 1419225"/>
                <a:gd name="connsiteX115" fmla="*/ 803910 w 876300"/>
                <a:gd name="connsiteY115" fmla="*/ 730568 h 1419225"/>
                <a:gd name="connsiteX116" fmla="*/ 807720 w 876300"/>
                <a:gd name="connsiteY116" fmla="*/ 745807 h 1419225"/>
                <a:gd name="connsiteX117" fmla="*/ 807720 w 876300"/>
                <a:gd name="connsiteY117" fmla="*/ 750570 h 1419225"/>
                <a:gd name="connsiteX118" fmla="*/ 807720 w 876300"/>
                <a:gd name="connsiteY118" fmla="*/ 754380 h 1419225"/>
                <a:gd name="connsiteX119" fmla="*/ 805815 w 876300"/>
                <a:gd name="connsiteY119" fmla="*/ 763905 h 1419225"/>
                <a:gd name="connsiteX120" fmla="*/ 804863 w 876300"/>
                <a:gd name="connsiteY120" fmla="*/ 768668 h 1419225"/>
                <a:gd name="connsiteX121" fmla="*/ 805815 w 876300"/>
                <a:gd name="connsiteY121" fmla="*/ 772478 h 1419225"/>
                <a:gd name="connsiteX122" fmla="*/ 807720 w 876300"/>
                <a:gd name="connsiteY122" fmla="*/ 778193 h 1419225"/>
                <a:gd name="connsiteX123" fmla="*/ 811530 w 876300"/>
                <a:gd name="connsiteY123" fmla="*/ 784860 h 1419225"/>
                <a:gd name="connsiteX124" fmla="*/ 817245 w 876300"/>
                <a:gd name="connsiteY124" fmla="*/ 793432 h 1419225"/>
                <a:gd name="connsiteX125" fmla="*/ 818197 w 876300"/>
                <a:gd name="connsiteY125" fmla="*/ 796290 h 1419225"/>
                <a:gd name="connsiteX126" fmla="*/ 818197 w 876300"/>
                <a:gd name="connsiteY126" fmla="*/ 800100 h 1419225"/>
                <a:gd name="connsiteX127" fmla="*/ 816293 w 876300"/>
                <a:gd name="connsiteY127" fmla="*/ 805815 h 1419225"/>
                <a:gd name="connsiteX128" fmla="*/ 813435 w 876300"/>
                <a:gd name="connsiteY128" fmla="*/ 812482 h 1419225"/>
                <a:gd name="connsiteX129" fmla="*/ 812483 w 876300"/>
                <a:gd name="connsiteY129" fmla="*/ 816293 h 1419225"/>
                <a:gd name="connsiteX130" fmla="*/ 812483 w 876300"/>
                <a:gd name="connsiteY130" fmla="*/ 821055 h 1419225"/>
                <a:gd name="connsiteX131" fmla="*/ 812483 w 876300"/>
                <a:gd name="connsiteY131" fmla="*/ 829628 h 1419225"/>
                <a:gd name="connsiteX132" fmla="*/ 811530 w 876300"/>
                <a:gd name="connsiteY132" fmla="*/ 833438 h 1419225"/>
                <a:gd name="connsiteX133" fmla="*/ 809625 w 876300"/>
                <a:gd name="connsiteY133" fmla="*/ 836295 h 1419225"/>
                <a:gd name="connsiteX134" fmla="*/ 802005 w 876300"/>
                <a:gd name="connsiteY134" fmla="*/ 839153 h 1419225"/>
                <a:gd name="connsiteX135" fmla="*/ 797243 w 876300"/>
                <a:gd name="connsiteY135" fmla="*/ 841057 h 1419225"/>
                <a:gd name="connsiteX136" fmla="*/ 793433 w 876300"/>
                <a:gd name="connsiteY136" fmla="*/ 844868 h 1419225"/>
                <a:gd name="connsiteX137" fmla="*/ 791528 w 876300"/>
                <a:gd name="connsiteY137" fmla="*/ 847725 h 1419225"/>
                <a:gd name="connsiteX138" fmla="*/ 790575 w 876300"/>
                <a:gd name="connsiteY138" fmla="*/ 850582 h 1419225"/>
                <a:gd name="connsiteX139" fmla="*/ 789622 w 876300"/>
                <a:gd name="connsiteY139" fmla="*/ 854393 h 1419225"/>
                <a:gd name="connsiteX140" fmla="*/ 789622 w 876300"/>
                <a:gd name="connsiteY140" fmla="*/ 861060 h 1419225"/>
                <a:gd name="connsiteX141" fmla="*/ 789622 w 876300"/>
                <a:gd name="connsiteY141" fmla="*/ 868680 h 1419225"/>
                <a:gd name="connsiteX142" fmla="*/ 786765 w 876300"/>
                <a:gd name="connsiteY142" fmla="*/ 881063 h 1419225"/>
                <a:gd name="connsiteX143" fmla="*/ 786765 w 876300"/>
                <a:gd name="connsiteY143" fmla="*/ 885825 h 1419225"/>
                <a:gd name="connsiteX144" fmla="*/ 786765 w 876300"/>
                <a:gd name="connsiteY144" fmla="*/ 889635 h 1419225"/>
                <a:gd name="connsiteX145" fmla="*/ 789622 w 876300"/>
                <a:gd name="connsiteY145" fmla="*/ 896303 h 1419225"/>
                <a:gd name="connsiteX146" fmla="*/ 791528 w 876300"/>
                <a:gd name="connsiteY146" fmla="*/ 899160 h 1419225"/>
                <a:gd name="connsiteX147" fmla="*/ 797243 w 876300"/>
                <a:gd name="connsiteY147" fmla="*/ 905828 h 1419225"/>
                <a:gd name="connsiteX148" fmla="*/ 798195 w 876300"/>
                <a:gd name="connsiteY148" fmla="*/ 908685 h 1419225"/>
                <a:gd name="connsiteX149" fmla="*/ 799147 w 876300"/>
                <a:gd name="connsiteY149" fmla="*/ 911543 h 1419225"/>
                <a:gd name="connsiteX150" fmla="*/ 798195 w 876300"/>
                <a:gd name="connsiteY150" fmla="*/ 915353 h 1419225"/>
                <a:gd name="connsiteX151" fmla="*/ 794385 w 876300"/>
                <a:gd name="connsiteY151" fmla="*/ 923925 h 1419225"/>
                <a:gd name="connsiteX152" fmla="*/ 794385 w 876300"/>
                <a:gd name="connsiteY152" fmla="*/ 927735 h 1419225"/>
                <a:gd name="connsiteX153" fmla="*/ 793433 w 876300"/>
                <a:gd name="connsiteY153" fmla="*/ 934403 h 1419225"/>
                <a:gd name="connsiteX154" fmla="*/ 793433 w 876300"/>
                <a:gd name="connsiteY154" fmla="*/ 938213 h 1419225"/>
                <a:gd name="connsiteX155" fmla="*/ 794385 w 876300"/>
                <a:gd name="connsiteY155" fmla="*/ 942975 h 1419225"/>
                <a:gd name="connsiteX156" fmla="*/ 802958 w 876300"/>
                <a:gd name="connsiteY156" fmla="*/ 961072 h 1419225"/>
                <a:gd name="connsiteX157" fmla="*/ 803910 w 876300"/>
                <a:gd name="connsiteY157" fmla="*/ 966788 h 1419225"/>
                <a:gd name="connsiteX158" fmla="*/ 803910 w 876300"/>
                <a:gd name="connsiteY158" fmla="*/ 970597 h 1419225"/>
                <a:gd name="connsiteX159" fmla="*/ 802005 w 876300"/>
                <a:gd name="connsiteY159" fmla="*/ 976313 h 1419225"/>
                <a:gd name="connsiteX160" fmla="*/ 801053 w 876300"/>
                <a:gd name="connsiteY160" fmla="*/ 980122 h 1419225"/>
                <a:gd name="connsiteX161" fmla="*/ 798195 w 876300"/>
                <a:gd name="connsiteY161" fmla="*/ 982980 h 1419225"/>
                <a:gd name="connsiteX162" fmla="*/ 793433 w 876300"/>
                <a:gd name="connsiteY162" fmla="*/ 987743 h 1419225"/>
                <a:gd name="connsiteX163" fmla="*/ 789622 w 876300"/>
                <a:gd name="connsiteY163" fmla="*/ 992505 h 1419225"/>
                <a:gd name="connsiteX164" fmla="*/ 786765 w 876300"/>
                <a:gd name="connsiteY164" fmla="*/ 997268 h 1419225"/>
                <a:gd name="connsiteX165" fmla="*/ 786765 w 876300"/>
                <a:gd name="connsiteY165" fmla="*/ 1001078 h 1419225"/>
                <a:gd name="connsiteX166" fmla="*/ 787718 w 876300"/>
                <a:gd name="connsiteY166" fmla="*/ 1006793 h 1419225"/>
                <a:gd name="connsiteX167" fmla="*/ 791528 w 876300"/>
                <a:gd name="connsiteY167" fmla="*/ 1015365 h 1419225"/>
                <a:gd name="connsiteX168" fmla="*/ 797243 w 876300"/>
                <a:gd name="connsiteY168" fmla="*/ 1024890 h 1419225"/>
                <a:gd name="connsiteX169" fmla="*/ 798195 w 876300"/>
                <a:gd name="connsiteY169" fmla="*/ 1029653 h 1419225"/>
                <a:gd name="connsiteX170" fmla="*/ 798195 w 876300"/>
                <a:gd name="connsiteY170" fmla="*/ 1030605 h 1419225"/>
                <a:gd name="connsiteX171" fmla="*/ 795338 w 876300"/>
                <a:gd name="connsiteY171" fmla="*/ 1036320 h 1419225"/>
                <a:gd name="connsiteX172" fmla="*/ 788670 w 876300"/>
                <a:gd name="connsiteY172" fmla="*/ 1038225 h 1419225"/>
                <a:gd name="connsiteX173" fmla="*/ 786765 w 876300"/>
                <a:gd name="connsiteY173" fmla="*/ 1040130 h 1419225"/>
                <a:gd name="connsiteX174" fmla="*/ 786765 w 876300"/>
                <a:gd name="connsiteY174" fmla="*/ 1042988 h 1419225"/>
                <a:gd name="connsiteX175" fmla="*/ 789622 w 876300"/>
                <a:gd name="connsiteY175" fmla="*/ 1049655 h 1419225"/>
                <a:gd name="connsiteX176" fmla="*/ 790575 w 876300"/>
                <a:gd name="connsiteY176" fmla="*/ 1054418 h 1419225"/>
                <a:gd name="connsiteX177" fmla="*/ 789622 w 876300"/>
                <a:gd name="connsiteY177" fmla="*/ 1058228 h 1419225"/>
                <a:gd name="connsiteX178" fmla="*/ 787718 w 876300"/>
                <a:gd name="connsiteY178" fmla="*/ 1060132 h 1419225"/>
                <a:gd name="connsiteX179" fmla="*/ 782955 w 876300"/>
                <a:gd name="connsiteY179" fmla="*/ 1062990 h 1419225"/>
                <a:gd name="connsiteX180" fmla="*/ 781050 w 876300"/>
                <a:gd name="connsiteY180" fmla="*/ 1064895 h 1419225"/>
                <a:gd name="connsiteX181" fmla="*/ 782003 w 876300"/>
                <a:gd name="connsiteY181" fmla="*/ 1068705 h 1419225"/>
                <a:gd name="connsiteX182" fmla="*/ 785813 w 876300"/>
                <a:gd name="connsiteY182" fmla="*/ 1075373 h 1419225"/>
                <a:gd name="connsiteX183" fmla="*/ 787718 w 876300"/>
                <a:gd name="connsiteY183" fmla="*/ 1078230 h 1419225"/>
                <a:gd name="connsiteX184" fmla="*/ 788670 w 876300"/>
                <a:gd name="connsiteY184" fmla="*/ 1082993 h 1419225"/>
                <a:gd name="connsiteX185" fmla="*/ 788670 w 876300"/>
                <a:gd name="connsiteY185" fmla="*/ 1089660 h 1419225"/>
                <a:gd name="connsiteX186" fmla="*/ 787718 w 876300"/>
                <a:gd name="connsiteY186" fmla="*/ 1094423 h 1419225"/>
                <a:gd name="connsiteX187" fmla="*/ 783908 w 876300"/>
                <a:gd name="connsiteY187" fmla="*/ 1102995 h 1419225"/>
                <a:gd name="connsiteX188" fmla="*/ 783908 w 876300"/>
                <a:gd name="connsiteY188" fmla="*/ 1105853 h 1419225"/>
                <a:gd name="connsiteX189" fmla="*/ 783908 w 876300"/>
                <a:gd name="connsiteY189" fmla="*/ 1108710 h 1419225"/>
                <a:gd name="connsiteX190" fmla="*/ 784860 w 876300"/>
                <a:gd name="connsiteY190" fmla="*/ 1110615 h 1419225"/>
                <a:gd name="connsiteX191" fmla="*/ 788670 w 876300"/>
                <a:gd name="connsiteY191" fmla="*/ 1110615 h 1419225"/>
                <a:gd name="connsiteX192" fmla="*/ 796290 w 876300"/>
                <a:gd name="connsiteY192" fmla="*/ 1108710 h 1419225"/>
                <a:gd name="connsiteX193" fmla="*/ 798195 w 876300"/>
                <a:gd name="connsiteY193" fmla="*/ 1110615 h 1419225"/>
                <a:gd name="connsiteX194" fmla="*/ 799147 w 876300"/>
                <a:gd name="connsiteY194" fmla="*/ 1113473 h 1419225"/>
                <a:gd name="connsiteX195" fmla="*/ 799147 w 876300"/>
                <a:gd name="connsiteY195" fmla="*/ 1117282 h 1419225"/>
                <a:gd name="connsiteX196" fmla="*/ 797243 w 876300"/>
                <a:gd name="connsiteY196" fmla="*/ 1127760 h 1419225"/>
                <a:gd name="connsiteX197" fmla="*/ 795338 w 876300"/>
                <a:gd name="connsiteY197" fmla="*/ 1153478 h 1419225"/>
                <a:gd name="connsiteX198" fmla="*/ 795338 w 876300"/>
                <a:gd name="connsiteY198" fmla="*/ 1157288 h 1419225"/>
                <a:gd name="connsiteX199" fmla="*/ 796290 w 876300"/>
                <a:gd name="connsiteY199" fmla="*/ 1161098 h 1419225"/>
                <a:gd name="connsiteX200" fmla="*/ 803910 w 876300"/>
                <a:gd name="connsiteY200" fmla="*/ 1172528 h 1419225"/>
                <a:gd name="connsiteX201" fmla="*/ 807720 w 876300"/>
                <a:gd name="connsiteY201" fmla="*/ 1176338 h 1419225"/>
                <a:gd name="connsiteX202" fmla="*/ 818197 w 876300"/>
                <a:gd name="connsiteY202" fmla="*/ 1180148 h 1419225"/>
                <a:gd name="connsiteX203" fmla="*/ 821055 w 876300"/>
                <a:gd name="connsiteY203" fmla="*/ 1182053 h 1419225"/>
                <a:gd name="connsiteX204" fmla="*/ 821055 w 876300"/>
                <a:gd name="connsiteY204" fmla="*/ 1183957 h 1419225"/>
                <a:gd name="connsiteX205" fmla="*/ 820103 w 876300"/>
                <a:gd name="connsiteY205" fmla="*/ 1186815 h 1419225"/>
                <a:gd name="connsiteX206" fmla="*/ 817245 w 876300"/>
                <a:gd name="connsiteY206" fmla="*/ 1188720 h 1419225"/>
                <a:gd name="connsiteX207" fmla="*/ 811530 w 876300"/>
                <a:gd name="connsiteY207" fmla="*/ 1189673 h 1419225"/>
                <a:gd name="connsiteX208" fmla="*/ 809625 w 876300"/>
                <a:gd name="connsiteY208" fmla="*/ 1190625 h 1419225"/>
                <a:gd name="connsiteX209" fmla="*/ 808672 w 876300"/>
                <a:gd name="connsiteY209" fmla="*/ 1192530 h 1419225"/>
                <a:gd name="connsiteX210" fmla="*/ 807720 w 876300"/>
                <a:gd name="connsiteY210" fmla="*/ 1198245 h 1419225"/>
                <a:gd name="connsiteX211" fmla="*/ 803910 w 876300"/>
                <a:gd name="connsiteY211" fmla="*/ 1204913 h 1419225"/>
                <a:gd name="connsiteX212" fmla="*/ 802005 w 876300"/>
                <a:gd name="connsiteY212" fmla="*/ 1207770 h 1419225"/>
                <a:gd name="connsiteX213" fmla="*/ 802958 w 876300"/>
                <a:gd name="connsiteY213" fmla="*/ 1210628 h 1419225"/>
                <a:gd name="connsiteX214" fmla="*/ 803910 w 876300"/>
                <a:gd name="connsiteY214" fmla="*/ 1214438 h 1419225"/>
                <a:gd name="connsiteX215" fmla="*/ 810578 w 876300"/>
                <a:gd name="connsiteY215" fmla="*/ 1222057 h 1419225"/>
                <a:gd name="connsiteX216" fmla="*/ 813435 w 876300"/>
                <a:gd name="connsiteY216" fmla="*/ 1225868 h 1419225"/>
                <a:gd name="connsiteX217" fmla="*/ 814388 w 876300"/>
                <a:gd name="connsiteY217" fmla="*/ 1228725 h 1419225"/>
                <a:gd name="connsiteX218" fmla="*/ 813435 w 876300"/>
                <a:gd name="connsiteY218" fmla="*/ 1233488 h 1419225"/>
                <a:gd name="connsiteX219" fmla="*/ 811530 w 876300"/>
                <a:gd name="connsiteY219" fmla="*/ 1239203 h 1419225"/>
                <a:gd name="connsiteX220" fmla="*/ 810578 w 876300"/>
                <a:gd name="connsiteY220" fmla="*/ 1244918 h 1419225"/>
                <a:gd name="connsiteX221" fmla="*/ 810578 w 876300"/>
                <a:gd name="connsiteY221" fmla="*/ 1261110 h 1419225"/>
                <a:gd name="connsiteX222" fmla="*/ 809625 w 876300"/>
                <a:gd name="connsiteY222" fmla="*/ 1267778 h 1419225"/>
                <a:gd name="connsiteX223" fmla="*/ 806768 w 876300"/>
                <a:gd name="connsiteY223" fmla="*/ 1276350 h 1419225"/>
                <a:gd name="connsiteX224" fmla="*/ 805815 w 876300"/>
                <a:gd name="connsiteY224" fmla="*/ 1283018 h 1419225"/>
                <a:gd name="connsiteX225" fmla="*/ 806768 w 876300"/>
                <a:gd name="connsiteY225" fmla="*/ 1286828 h 1419225"/>
                <a:gd name="connsiteX226" fmla="*/ 809625 w 876300"/>
                <a:gd name="connsiteY226" fmla="*/ 1291590 h 1419225"/>
                <a:gd name="connsiteX227" fmla="*/ 816293 w 876300"/>
                <a:gd name="connsiteY227" fmla="*/ 1297305 h 1419225"/>
                <a:gd name="connsiteX228" fmla="*/ 820103 w 876300"/>
                <a:gd name="connsiteY228" fmla="*/ 1299210 h 1419225"/>
                <a:gd name="connsiteX229" fmla="*/ 824865 w 876300"/>
                <a:gd name="connsiteY229" fmla="*/ 1300163 h 1419225"/>
                <a:gd name="connsiteX230" fmla="*/ 827722 w 876300"/>
                <a:gd name="connsiteY230" fmla="*/ 1301115 h 1419225"/>
                <a:gd name="connsiteX231" fmla="*/ 830580 w 876300"/>
                <a:gd name="connsiteY231" fmla="*/ 1302068 h 1419225"/>
                <a:gd name="connsiteX232" fmla="*/ 831533 w 876300"/>
                <a:gd name="connsiteY232" fmla="*/ 1303973 h 1419225"/>
                <a:gd name="connsiteX233" fmla="*/ 830580 w 876300"/>
                <a:gd name="connsiteY233" fmla="*/ 1311593 h 1419225"/>
                <a:gd name="connsiteX234" fmla="*/ 830580 w 876300"/>
                <a:gd name="connsiteY234" fmla="*/ 1314450 h 1419225"/>
                <a:gd name="connsiteX235" fmla="*/ 832485 w 876300"/>
                <a:gd name="connsiteY235" fmla="*/ 1318260 h 1419225"/>
                <a:gd name="connsiteX236" fmla="*/ 837247 w 876300"/>
                <a:gd name="connsiteY236" fmla="*/ 1321118 h 1419225"/>
                <a:gd name="connsiteX237" fmla="*/ 840105 w 876300"/>
                <a:gd name="connsiteY237" fmla="*/ 1322070 h 1419225"/>
                <a:gd name="connsiteX238" fmla="*/ 842010 w 876300"/>
                <a:gd name="connsiteY238" fmla="*/ 1320165 h 1419225"/>
                <a:gd name="connsiteX239" fmla="*/ 845820 w 876300"/>
                <a:gd name="connsiteY239" fmla="*/ 1316355 h 1419225"/>
                <a:gd name="connsiteX240" fmla="*/ 846772 w 876300"/>
                <a:gd name="connsiteY240" fmla="*/ 1315403 h 1419225"/>
                <a:gd name="connsiteX241" fmla="*/ 848678 w 876300"/>
                <a:gd name="connsiteY241" fmla="*/ 1316355 h 1419225"/>
                <a:gd name="connsiteX242" fmla="*/ 848678 w 876300"/>
                <a:gd name="connsiteY242" fmla="*/ 1324928 h 1419225"/>
                <a:gd name="connsiteX243" fmla="*/ 847725 w 876300"/>
                <a:gd name="connsiteY243" fmla="*/ 1329690 h 1419225"/>
                <a:gd name="connsiteX244" fmla="*/ 843915 w 876300"/>
                <a:gd name="connsiteY244" fmla="*/ 1337310 h 1419225"/>
                <a:gd name="connsiteX245" fmla="*/ 842963 w 876300"/>
                <a:gd name="connsiteY245" fmla="*/ 1340168 h 1419225"/>
                <a:gd name="connsiteX246" fmla="*/ 842963 w 876300"/>
                <a:gd name="connsiteY246" fmla="*/ 1343025 h 1419225"/>
                <a:gd name="connsiteX247" fmla="*/ 843915 w 876300"/>
                <a:gd name="connsiteY247" fmla="*/ 1346835 h 1419225"/>
                <a:gd name="connsiteX248" fmla="*/ 847725 w 876300"/>
                <a:gd name="connsiteY248" fmla="*/ 1350645 h 1419225"/>
                <a:gd name="connsiteX249" fmla="*/ 851535 w 876300"/>
                <a:gd name="connsiteY249" fmla="*/ 1352550 h 1419225"/>
                <a:gd name="connsiteX250" fmla="*/ 862013 w 876300"/>
                <a:gd name="connsiteY250" fmla="*/ 1359218 h 1419225"/>
                <a:gd name="connsiteX251" fmla="*/ 864870 w 876300"/>
                <a:gd name="connsiteY251" fmla="*/ 1361123 h 1419225"/>
                <a:gd name="connsiteX252" fmla="*/ 869633 w 876300"/>
                <a:gd name="connsiteY252" fmla="*/ 1365885 h 1419225"/>
                <a:gd name="connsiteX253" fmla="*/ 876300 w 876300"/>
                <a:gd name="connsiteY253" fmla="*/ 1369695 h 1419225"/>
                <a:gd name="connsiteX254" fmla="*/ 878205 w 876300"/>
                <a:gd name="connsiteY254" fmla="*/ 1371600 h 1419225"/>
                <a:gd name="connsiteX255" fmla="*/ 876300 w 876300"/>
                <a:gd name="connsiteY255" fmla="*/ 1375410 h 1419225"/>
                <a:gd name="connsiteX256" fmla="*/ 874395 w 876300"/>
                <a:gd name="connsiteY256" fmla="*/ 1376363 h 1419225"/>
                <a:gd name="connsiteX257" fmla="*/ 869633 w 876300"/>
                <a:gd name="connsiteY257" fmla="*/ 1378268 h 1419225"/>
                <a:gd name="connsiteX258" fmla="*/ 868680 w 876300"/>
                <a:gd name="connsiteY258" fmla="*/ 1381125 h 1419225"/>
                <a:gd name="connsiteX259" fmla="*/ 870585 w 876300"/>
                <a:gd name="connsiteY259" fmla="*/ 1387793 h 1419225"/>
                <a:gd name="connsiteX260" fmla="*/ 874395 w 876300"/>
                <a:gd name="connsiteY260" fmla="*/ 1398270 h 1419225"/>
                <a:gd name="connsiteX261" fmla="*/ 882968 w 876300"/>
                <a:gd name="connsiteY261" fmla="*/ 1417320 h 1419225"/>
                <a:gd name="connsiteX262" fmla="*/ 868680 w 876300"/>
                <a:gd name="connsiteY262" fmla="*/ 1422082 h 1419225"/>
                <a:gd name="connsiteX263" fmla="*/ 854393 w 876300"/>
                <a:gd name="connsiteY263" fmla="*/ 1421130 h 1419225"/>
                <a:gd name="connsiteX264" fmla="*/ 837247 w 876300"/>
                <a:gd name="connsiteY264" fmla="*/ 1414463 h 1419225"/>
                <a:gd name="connsiteX265" fmla="*/ 823913 w 876300"/>
                <a:gd name="connsiteY265" fmla="*/ 1406843 h 1419225"/>
                <a:gd name="connsiteX266" fmla="*/ 817245 w 876300"/>
                <a:gd name="connsiteY266" fmla="*/ 1403985 h 1419225"/>
                <a:gd name="connsiteX267" fmla="*/ 807720 w 876300"/>
                <a:gd name="connsiteY267" fmla="*/ 1403032 h 1419225"/>
                <a:gd name="connsiteX268" fmla="*/ 777240 w 876300"/>
                <a:gd name="connsiteY268" fmla="*/ 1409700 h 1419225"/>
                <a:gd name="connsiteX269" fmla="*/ 761047 w 876300"/>
                <a:gd name="connsiteY269" fmla="*/ 1399223 h 1419225"/>
                <a:gd name="connsiteX270" fmla="*/ 758190 w 876300"/>
                <a:gd name="connsiteY270" fmla="*/ 1376363 h 1419225"/>
                <a:gd name="connsiteX271" fmla="*/ 759143 w 876300"/>
                <a:gd name="connsiteY271" fmla="*/ 1353503 h 1419225"/>
                <a:gd name="connsiteX272" fmla="*/ 752475 w 876300"/>
                <a:gd name="connsiteY272" fmla="*/ 1343978 h 1419225"/>
                <a:gd name="connsiteX273" fmla="*/ 737235 w 876300"/>
                <a:gd name="connsiteY273" fmla="*/ 1342073 h 1419225"/>
                <a:gd name="connsiteX274" fmla="*/ 736283 w 876300"/>
                <a:gd name="connsiteY274" fmla="*/ 1345882 h 1419225"/>
                <a:gd name="connsiteX275" fmla="*/ 736283 w 876300"/>
                <a:gd name="connsiteY275" fmla="*/ 1357313 h 1419225"/>
                <a:gd name="connsiteX276" fmla="*/ 738188 w 876300"/>
                <a:gd name="connsiteY276" fmla="*/ 1365885 h 1419225"/>
                <a:gd name="connsiteX277" fmla="*/ 741997 w 876300"/>
                <a:gd name="connsiteY277" fmla="*/ 1374457 h 1419225"/>
                <a:gd name="connsiteX278" fmla="*/ 750570 w 876300"/>
                <a:gd name="connsiteY278" fmla="*/ 1386840 h 1419225"/>
                <a:gd name="connsiteX279" fmla="*/ 743903 w 876300"/>
                <a:gd name="connsiteY279" fmla="*/ 1397318 h 1419225"/>
                <a:gd name="connsiteX280" fmla="*/ 734378 w 876300"/>
                <a:gd name="connsiteY280" fmla="*/ 1398270 h 1419225"/>
                <a:gd name="connsiteX281" fmla="*/ 723900 w 876300"/>
                <a:gd name="connsiteY281" fmla="*/ 1392555 h 1419225"/>
                <a:gd name="connsiteX282" fmla="*/ 715328 w 876300"/>
                <a:gd name="connsiteY282" fmla="*/ 1384935 h 1419225"/>
                <a:gd name="connsiteX283" fmla="*/ 709613 w 876300"/>
                <a:gd name="connsiteY283" fmla="*/ 1373505 h 1419225"/>
                <a:gd name="connsiteX284" fmla="*/ 709613 w 876300"/>
                <a:gd name="connsiteY284" fmla="*/ 1363980 h 1419225"/>
                <a:gd name="connsiteX285" fmla="*/ 714375 w 876300"/>
                <a:gd name="connsiteY285" fmla="*/ 1338263 h 1419225"/>
                <a:gd name="connsiteX286" fmla="*/ 714375 w 876300"/>
                <a:gd name="connsiteY286" fmla="*/ 1328738 h 1419225"/>
                <a:gd name="connsiteX287" fmla="*/ 712470 w 876300"/>
                <a:gd name="connsiteY287" fmla="*/ 1317307 h 1419225"/>
                <a:gd name="connsiteX288" fmla="*/ 707708 w 876300"/>
                <a:gd name="connsiteY288" fmla="*/ 1312545 h 1419225"/>
                <a:gd name="connsiteX289" fmla="*/ 699135 w 876300"/>
                <a:gd name="connsiteY289" fmla="*/ 1316355 h 1419225"/>
                <a:gd name="connsiteX290" fmla="*/ 697230 w 876300"/>
                <a:gd name="connsiteY290" fmla="*/ 1321118 h 1419225"/>
                <a:gd name="connsiteX291" fmla="*/ 695325 w 876300"/>
                <a:gd name="connsiteY291" fmla="*/ 1333500 h 1419225"/>
                <a:gd name="connsiteX292" fmla="*/ 692468 w 876300"/>
                <a:gd name="connsiteY292" fmla="*/ 1338263 h 1419225"/>
                <a:gd name="connsiteX293" fmla="*/ 687705 w 876300"/>
                <a:gd name="connsiteY293" fmla="*/ 1338263 h 1419225"/>
                <a:gd name="connsiteX294" fmla="*/ 674370 w 876300"/>
                <a:gd name="connsiteY294" fmla="*/ 1332548 h 1419225"/>
                <a:gd name="connsiteX295" fmla="*/ 667703 w 876300"/>
                <a:gd name="connsiteY295" fmla="*/ 1338263 h 1419225"/>
                <a:gd name="connsiteX296" fmla="*/ 661035 w 876300"/>
                <a:gd name="connsiteY296" fmla="*/ 1353503 h 1419225"/>
                <a:gd name="connsiteX297" fmla="*/ 652463 w 876300"/>
                <a:gd name="connsiteY297" fmla="*/ 1360170 h 1419225"/>
                <a:gd name="connsiteX298" fmla="*/ 643890 w 876300"/>
                <a:gd name="connsiteY298" fmla="*/ 1361123 h 1419225"/>
                <a:gd name="connsiteX299" fmla="*/ 635318 w 876300"/>
                <a:gd name="connsiteY299" fmla="*/ 1360170 h 1419225"/>
                <a:gd name="connsiteX300" fmla="*/ 609600 w 876300"/>
                <a:gd name="connsiteY300" fmla="*/ 1350645 h 1419225"/>
                <a:gd name="connsiteX301" fmla="*/ 609600 w 876300"/>
                <a:gd name="connsiteY301" fmla="*/ 1347788 h 1419225"/>
                <a:gd name="connsiteX302" fmla="*/ 609600 w 876300"/>
                <a:gd name="connsiteY302" fmla="*/ 1341120 h 1419225"/>
                <a:gd name="connsiteX303" fmla="*/ 607695 w 876300"/>
                <a:gd name="connsiteY303" fmla="*/ 1336357 h 1419225"/>
                <a:gd name="connsiteX304" fmla="*/ 597218 w 876300"/>
                <a:gd name="connsiteY304" fmla="*/ 1322070 h 1419225"/>
                <a:gd name="connsiteX305" fmla="*/ 587693 w 876300"/>
                <a:gd name="connsiteY305" fmla="*/ 1314450 h 1419225"/>
                <a:gd name="connsiteX306" fmla="*/ 581025 w 876300"/>
                <a:gd name="connsiteY306" fmla="*/ 1302068 h 1419225"/>
                <a:gd name="connsiteX307" fmla="*/ 573405 w 876300"/>
                <a:gd name="connsiteY307" fmla="*/ 1295400 h 1419225"/>
                <a:gd name="connsiteX308" fmla="*/ 559118 w 876300"/>
                <a:gd name="connsiteY308" fmla="*/ 1304925 h 1419225"/>
                <a:gd name="connsiteX309" fmla="*/ 555308 w 876300"/>
                <a:gd name="connsiteY309" fmla="*/ 1311593 h 1419225"/>
                <a:gd name="connsiteX310" fmla="*/ 554355 w 876300"/>
                <a:gd name="connsiteY310" fmla="*/ 1319213 h 1419225"/>
                <a:gd name="connsiteX311" fmla="*/ 551497 w 876300"/>
                <a:gd name="connsiteY311" fmla="*/ 1324928 h 1419225"/>
                <a:gd name="connsiteX312" fmla="*/ 545783 w 876300"/>
                <a:gd name="connsiteY312" fmla="*/ 1326832 h 1419225"/>
                <a:gd name="connsiteX313" fmla="*/ 540068 w 876300"/>
                <a:gd name="connsiteY313" fmla="*/ 1323023 h 1419225"/>
                <a:gd name="connsiteX314" fmla="*/ 536258 w 876300"/>
                <a:gd name="connsiteY314" fmla="*/ 1303973 h 1419225"/>
                <a:gd name="connsiteX315" fmla="*/ 531495 w 876300"/>
                <a:gd name="connsiteY315" fmla="*/ 1299210 h 1419225"/>
                <a:gd name="connsiteX316" fmla="*/ 508635 w 876300"/>
                <a:gd name="connsiteY316" fmla="*/ 1297305 h 1419225"/>
                <a:gd name="connsiteX317" fmla="*/ 497205 w 876300"/>
                <a:gd name="connsiteY317" fmla="*/ 1293495 h 1419225"/>
                <a:gd name="connsiteX318" fmla="*/ 490538 w 876300"/>
                <a:gd name="connsiteY318" fmla="*/ 1288732 h 1419225"/>
                <a:gd name="connsiteX319" fmla="*/ 490538 w 876300"/>
                <a:gd name="connsiteY319" fmla="*/ 1283970 h 1419225"/>
                <a:gd name="connsiteX320" fmla="*/ 493395 w 876300"/>
                <a:gd name="connsiteY320" fmla="*/ 1279207 h 1419225"/>
                <a:gd name="connsiteX321" fmla="*/ 495300 w 876300"/>
                <a:gd name="connsiteY321" fmla="*/ 1273493 h 1419225"/>
                <a:gd name="connsiteX322" fmla="*/ 492442 w 876300"/>
                <a:gd name="connsiteY322" fmla="*/ 1263968 h 1419225"/>
                <a:gd name="connsiteX323" fmla="*/ 486728 w 876300"/>
                <a:gd name="connsiteY323" fmla="*/ 1257300 h 1419225"/>
                <a:gd name="connsiteX324" fmla="*/ 485775 w 876300"/>
                <a:gd name="connsiteY324" fmla="*/ 1256348 h 1419225"/>
                <a:gd name="connsiteX325" fmla="*/ 485775 w 876300"/>
                <a:gd name="connsiteY325" fmla="*/ 1254443 h 1419225"/>
                <a:gd name="connsiteX326" fmla="*/ 486728 w 876300"/>
                <a:gd name="connsiteY326" fmla="*/ 1247775 h 1419225"/>
                <a:gd name="connsiteX327" fmla="*/ 488633 w 876300"/>
                <a:gd name="connsiteY327" fmla="*/ 1242060 h 1419225"/>
                <a:gd name="connsiteX328" fmla="*/ 491490 w 876300"/>
                <a:gd name="connsiteY328" fmla="*/ 1240155 h 1419225"/>
                <a:gd name="connsiteX329" fmla="*/ 492442 w 876300"/>
                <a:gd name="connsiteY329" fmla="*/ 1235393 h 1419225"/>
                <a:gd name="connsiteX330" fmla="*/ 486728 w 876300"/>
                <a:gd name="connsiteY330" fmla="*/ 1223010 h 1419225"/>
                <a:gd name="connsiteX331" fmla="*/ 482917 w 876300"/>
                <a:gd name="connsiteY331" fmla="*/ 1220153 h 1419225"/>
                <a:gd name="connsiteX332" fmla="*/ 468630 w 876300"/>
                <a:gd name="connsiteY332" fmla="*/ 1211580 h 1419225"/>
                <a:gd name="connsiteX333" fmla="*/ 452438 w 876300"/>
                <a:gd name="connsiteY333" fmla="*/ 1196340 h 1419225"/>
                <a:gd name="connsiteX334" fmla="*/ 443865 w 876300"/>
                <a:gd name="connsiteY334" fmla="*/ 1191578 h 1419225"/>
                <a:gd name="connsiteX335" fmla="*/ 430530 w 876300"/>
                <a:gd name="connsiteY335" fmla="*/ 1190625 h 1419225"/>
                <a:gd name="connsiteX336" fmla="*/ 421005 w 876300"/>
                <a:gd name="connsiteY336" fmla="*/ 1186815 h 1419225"/>
                <a:gd name="connsiteX337" fmla="*/ 408622 w 876300"/>
                <a:gd name="connsiteY337" fmla="*/ 1180148 h 1419225"/>
                <a:gd name="connsiteX338" fmla="*/ 398145 w 876300"/>
                <a:gd name="connsiteY338" fmla="*/ 1170623 h 1419225"/>
                <a:gd name="connsiteX339" fmla="*/ 391478 w 876300"/>
                <a:gd name="connsiteY339" fmla="*/ 1162050 h 1419225"/>
                <a:gd name="connsiteX340" fmla="*/ 396240 w 876300"/>
                <a:gd name="connsiteY340" fmla="*/ 1157288 h 1419225"/>
                <a:gd name="connsiteX341" fmla="*/ 398145 w 876300"/>
                <a:gd name="connsiteY341" fmla="*/ 1152525 h 1419225"/>
                <a:gd name="connsiteX342" fmla="*/ 402908 w 876300"/>
                <a:gd name="connsiteY342" fmla="*/ 1141095 h 1419225"/>
                <a:gd name="connsiteX343" fmla="*/ 398145 w 876300"/>
                <a:gd name="connsiteY343" fmla="*/ 1140143 h 1419225"/>
                <a:gd name="connsiteX344" fmla="*/ 390525 w 876300"/>
                <a:gd name="connsiteY344" fmla="*/ 1136332 h 1419225"/>
                <a:gd name="connsiteX345" fmla="*/ 386715 w 876300"/>
                <a:gd name="connsiteY345" fmla="*/ 1135380 h 1419225"/>
                <a:gd name="connsiteX346" fmla="*/ 381953 w 876300"/>
                <a:gd name="connsiteY346" fmla="*/ 1137285 h 1419225"/>
                <a:gd name="connsiteX347" fmla="*/ 381953 w 876300"/>
                <a:gd name="connsiteY347" fmla="*/ 1142048 h 1419225"/>
                <a:gd name="connsiteX348" fmla="*/ 382905 w 876300"/>
                <a:gd name="connsiteY348" fmla="*/ 1147763 h 1419225"/>
                <a:gd name="connsiteX349" fmla="*/ 381953 w 876300"/>
                <a:gd name="connsiteY349" fmla="*/ 1151573 h 1419225"/>
                <a:gd name="connsiteX350" fmla="*/ 373380 w 876300"/>
                <a:gd name="connsiteY350" fmla="*/ 1153478 h 1419225"/>
                <a:gd name="connsiteX351" fmla="*/ 365760 w 876300"/>
                <a:gd name="connsiteY351" fmla="*/ 1151573 h 1419225"/>
                <a:gd name="connsiteX352" fmla="*/ 360045 w 876300"/>
                <a:gd name="connsiteY352" fmla="*/ 1147763 h 1419225"/>
                <a:gd name="connsiteX353" fmla="*/ 353378 w 876300"/>
                <a:gd name="connsiteY353" fmla="*/ 1145857 h 1419225"/>
                <a:gd name="connsiteX354" fmla="*/ 341947 w 876300"/>
                <a:gd name="connsiteY354" fmla="*/ 1146810 h 1419225"/>
                <a:gd name="connsiteX355" fmla="*/ 340042 w 876300"/>
                <a:gd name="connsiteY355" fmla="*/ 1151573 h 1419225"/>
                <a:gd name="connsiteX356" fmla="*/ 340995 w 876300"/>
                <a:gd name="connsiteY356" fmla="*/ 1158240 h 1419225"/>
                <a:gd name="connsiteX357" fmla="*/ 341947 w 876300"/>
                <a:gd name="connsiteY357" fmla="*/ 1168718 h 1419225"/>
                <a:gd name="connsiteX358" fmla="*/ 340995 w 876300"/>
                <a:gd name="connsiteY358" fmla="*/ 1180148 h 1419225"/>
                <a:gd name="connsiteX359" fmla="*/ 340042 w 876300"/>
                <a:gd name="connsiteY359" fmla="*/ 1180148 h 1419225"/>
                <a:gd name="connsiteX360" fmla="*/ 335280 w 876300"/>
                <a:gd name="connsiteY360" fmla="*/ 1178243 h 1419225"/>
                <a:gd name="connsiteX361" fmla="*/ 327660 w 876300"/>
                <a:gd name="connsiteY361" fmla="*/ 1179195 h 1419225"/>
                <a:gd name="connsiteX362" fmla="*/ 300990 w 876300"/>
                <a:gd name="connsiteY362" fmla="*/ 1205865 h 1419225"/>
                <a:gd name="connsiteX363" fmla="*/ 286703 w 876300"/>
                <a:gd name="connsiteY363" fmla="*/ 1210628 h 1419225"/>
                <a:gd name="connsiteX364" fmla="*/ 280988 w 876300"/>
                <a:gd name="connsiteY364" fmla="*/ 1190625 h 1419225"/>
                <a:gd name="connsiteX365" fmla="*/ 286703 w 876300"/>
                <a:gd name="connsiteY365" fmla="*/ 1177290 h 1419225"/>
                <a:gd name="connsiteX366" fmla="*/ 316230 w 876300"/>
                <a:gd name="connsiteY366" fmla="*/ 1168718 h 1419225"/>
                <a:gd name="connsiteX367" fmla="*/ 327660 w 876300"/>
                <a:gd name="connsiteY367" fmla="*/ 1157288 h 1419225"/>
                <a:gd name="connsiteX368" fmla="*/ 299085 w 876300"/>
                <a:gd name="connsiteY368" fmla="*/ 1143953 h 1419225"/>
                <a:gd name="connsiteX369" fmla="*/ 286703 w 876300"/>
                <a:gd name="connsiteY369" fmla="*/ 1143000 h 1419225"/>
                <a:gd name="connsiteX370" fmla="*/ 273367 w 876300"/>
                <a:gd name="connsiteY370" fmla="*/ 1157288 h 1419225"/>
                <a:gd name="connsiteX371" fmla="*/ 271463 w 876300"/>
                <a:gd name="connsiteY371" fmla="*/ 1143000 h 1419225"/>
                <a:gd name="connsiteX372" fmla="*/ 274320 w 876300"/>
                <a:gd name="connsiteY372" fmla="*/ 1121093 h 1419225"/>
                <a:gd name="connsiteX373" fmla="*/ 279083 w 876300"/>
                <a:gd name="connsiteY373" fmla="*/ 1101090 h 1419225"/>
                <a:gd name="connsiteX374" fmla="*/ 283845 w 876300"/>
                <a:gd name="connsiteY374" fmla="*/ 1091565 h 1419225"/>
                <a:gd name="connsiteX375" fmla="*/ 283845 w 876300"/>
                <a:gd name="connsiteY375" fmla="*/ 1085850 h 1419225"/>
                <a:gd name="connsiteX376" fmla="*/ 276225 w 876300"/>
                <a:gd name="connsiteY376" fmla="*/ 1084898 h 1419225"/>
                <a:gd name="connsiteX377" fmla="*/ 270510 w 876300"/>
                <a:gd name="connsiteY377" fmla="*/ 1086803 h 1419225"/>
                <a:gd name="connsiteX378" fmla="*/ 259080 w 876300"/>
                <a:gd name="connsiteY378" fmla="*/ 1096328 h 1419225"/>
                <a:gd name="connsiteX379" fmla="*/ 254317 w 876300"/>
                <a:gd name="connsiteY379" fmla="*/ 1102043 h 1419225"/>
                <a:gd name="connsiteX380" fmla="*/ 251460 w 876300"/>
                <a:gd name="connsiteY380" fmla="*/ 1107757 h 1419225"/>
                <a:gd name="connsiteX381" fmla="*/ 249555 w 876300"/>
                <a:gd name="connsiteY381" fmla="*/ 1114425 h 1419225"/>
                <a:gd name="connsiteX382" fmla="*/ 248603 w 876300"/>
                <a:gd name="connsiteY382" fmla="*/ 1123950 h 1419225"/>
                <a:gd name="connsiteX383" fmla="*/ 245745 w 876300"/>
                <a:gd name="connsiteY383" fmla="*/ 1133475 h 1419225"/>
                <a:gd name="connsiteX384" fmla="*/ 241935 w 876300"/>
                <a:gd name="connsiteY384" fmla="*/ 1138238 h 1419225"/>
                <a:gd name="connsiteX385" fmla="*/ 235267 w 876300"/>
                <a:gd name="connsiteY385" fmla="*/ 1132523 h 1419225"/>
                <a:gd name="connsiteX386" fmla="*/ 222885 w 876300"/>
                <a:gd name="connsiteY386" fmla="*/ 1112520 h 1419225"/>
                <a:gd name="connsiteX387" fmla="*/ 219075 w 876300"/>
                <a:gd name="connsiteY387" fmla="*/ 1104900 h 1419225"/>
                <a:gd name="connsiteX388" fmla="*/ 219075 w 876300"/>
                <a:gd name="connsiteY388" fmla="*/ 1096328 h 1419225"/>
                <a:gd name="connsiteX389" fmla="*/ 222885 w 876300"/>
                <a:gd name="connsiteY389" fmla="*/ 1082993 h 1419225"/>
                <a:gd name="connsiteX390" fmla="*/ 222885 w 876300"/>
                <a:gd name="connsiteY390" fmla="*/ 1075373 h 1419225"/>
                <a:gd name="connsiteX391" fmla="*/ 218122 w 876300"/>
                <a:gd name="connsiteY391" fmla="*/ 1069657 h 1419225"/>
                <a:gd name="connsiteX392" fmla="*/ 189547 w 876300"/>
                <a:gd name="connsiteY392" fmla="*/ 1052513 h 1419225"/>
                <a:gd name="connsiteX393" fmla="*/ 181928 w 876300"/>
                <a:gd name="connsiteY393" fmla="*/ 1051560 h 1419225"/>
                <a:gd name="connsiteX394" fmla="*/ 160020 w 876300"/>
                <a:gd name="connsiteY394" fmla="*/ 1055370 h 1419225"/>
                <a:gd name="connsiteX395" fmla="*/ 150495 w 876300"/>
                <a:gd name="connsiteY395" fmla="*/ 1055370 h 1419225"/>
                <a:gd name="connsiteX396" fmla="*/ 142875 w 876300"/>
                <a:gd name="connsiteY396" fmla="*/ 1048703 h 1419225"/>
                <a:gd name="connsiteX397" fmla="*/ 135255 w 876300"/>
                <a:gd name="connsiteY397" fmla="*/ 1036320 h 1419225"/>
                <a:gd name="connsiteX398" fmla="*/ 133350 w 876300"/>
                <a:gd name="connsiteY398" fmla="*/ 1029653 h 1419225"/>
                <a:gd name="connsiteX399" fmla="*/ 131445 w 876300"/>
                <a:gd name="connsiteY399" fmla="*/ 1019175 h 1419225"/>
                <a:gd name="connsiteX400" fmla="*/ 128588 w 876300"/>
                <a:gd name="connsiteY400" fmla="*/ 1013460 h 1419225"/>
                <a:gd name="connsiteX401" fmla="*/ 123825 w 876300"/>
                <a:gd name="connsiteY401" fmla="*/ 1010603 h 1419225"/>
                <a:gd name="connsiteX402" fmla="*/ 106680 w 876300"/>
                <a:gd name="connsiteY402" fmla="*/ 1002982 h 1419225"/>
                <a:gd name="connsiteX403" fmla="*/ 100965 w 876300"/>
                <a:gd name="connsiteY403" fmla="*/ 998220 h 1419225"/>
                <a:gd name="connsiteX404" fmla="*/ 99060 w 876300"/>
                <a:gd name="connsiteY404" fmla="*/ 993457 h 1419225"/>
                <a:gd name="connsiteX405" fmla="*/ 99060 w 876300"/>
                <a:gd name="connsiteY405" fmla="*/ 987743 h 1419225"/>
                <a:gd name="connsiteX406" fmla="*/ 100013 w 876300"/>
                <a:gd name="connsiteY406" fmla="*/ 984885 h 1419225"/>
                <a:gd name="connsiteX407" fmla="*/ 100965 w 876300"/>
                <a:gd name="connsiteY407" fmla="*/ 982980 h 1419225"/>
                <a:gd name="connsiteX408" fmla="*/ 103822 w 876300"/>
                <a:gd name="connsiteY408" fmla="*/ 981075 h 1419225"/>
                <a:gd name="connsiteX409" fmla="*/ 109538 w 876300"/>
                <a:gd name="connsiteY409" fmla="*/ 981075 h 1419225"/>
                <a:gd name="connsiteX410" fmla="*/ 116205 w 876300"/>
                <a:gd name="connsiteY410" fmla="*/ 982028 h 1419225"/>
                <a:gd name="connsiteX411" fmla="*/ 131445 w 876300"/>
                <a:gd name="connsiteY411" fmla="*/ 990600 h 1419225"/>
                <a:gd name="connsiteX412" fmla="*/ 137160 w 876300"/>
                <a:gd name="connsiteY412" fmla="*/ 991553 h 1419225"/>
                <a:gd name="connsiteX413" fmla="*/ 140017 w 876300"/>
                <a:gd name="connsiteY413" fmla="*/ 992505 h 1419225"/>
                <a:gd name="connsiteX414" fmla="*/ 144780 w 876300"/>
                <a:gd name="connsiteY414" fmla="*/ 990600 h 1419225"/>
                <a:gd name="connsiteX415" fmla="*/ 146685 w 876300"/>
                <a:gd name="connsiteY415" fmla="*/ 988695 h 1419225"/>
                <a:gd name="connsiteX416" fmla="*/ 150495 w 876300"/>
                <a:gd name="connsiteY416" fmla="*/ 984885 h 1419225"/>
                <a:gd name="connsiteX417" fmla="*/ 150495 w 876300"/>
                <a:gd name="connsiteY417" fmla="*/ 982028 h 1419225"/>
                <a:gd name="connsiteX418" fmla="*/ 150495 w 876300"/>
                <a:gd name="connsiteY418" fmla="*/ 976313 h 1419225"/>
                <a:gd name="connsiteX419" fmla="*/ 147638 w 876300"/>
                <a:gd name="connsiteY419" fmla="*/ 971550 h 1419225"/>
                <a:gd name="connsiteX420" fmla="*/ 146685 w 876300"/>
                <a:gd name="connsiteY420" fmla="*/ 965835 h 1419225"/>
                <a:gd name="connsiteX421" fmla="*/ 146685 w 876300"/>
                <a:gd name="connsiteY421" fmla="*/ 959168 h 1419225"/>
                <a:gd name="connsiteX422" fmla="*/ 145733 w 876300"/>
                <a:gd name="connsiteY422" fmla="*/ 954405 h 1419225"/>
                <a:gd name="connsiteX423" fmla="*/ 144780 w 876300"/>
                <a:gd name="connsiteY423" fmla="*/ 950595 h 1419225"/>
                <a:gd name="connsiteX424" fmla="*/ 141922 w 876300"/>
                <a:gd name="connsiteY424" fmla="*/ 944880 h 1419225"/>
                <a:gd name="connsiteX425" fmla="*/ 140017 w 876300"/>
                <a:gd name="connsiteY425" fmla="*/ 942022 h 1419225"/>
                <a:gd name="connsiteX426" fmla="*/ 137160 w 876300"/>
                <a:gd name="connsiteY426" fmla="*/ 939165 h 1419225"/>
                <a:gd name="connsiteX427" fmla="*/ 120967 w 876300"/>
                <a:gd name="connsiteY427" fmla="*/ 936307 h 1419225"/>
                <a:gd name="connsiteX428" fmla="*/ 110490 w 876300"/>
                <a:gd name="connsiteY428" fmla="*/ 931545 h 1419225"/>
                <a:gd name="connsiteX429" fmla="*/ 108585 w 876300"/>
                <a:gd name="connsiteY429" fmla="*/ 931545 h 1419225"/>
                <a:gd name="connsiteX430" fmla="*/ 102870 w 876300"/>
                <a:gd name="connsiteY430" fmla="*/ 933450 h 1419225"/>
                <a:gd name="connsiteX431" fmla="*/ 94297 w 876300"/>
                <a:gd name="connsiteY431" fmla="*/ 940118 h 1419225"/>
                <a:gd name="connsiteX432" fmla="*/ 91440 w 876300"/>
                <a:gd name="connsiteY432" fmla="*/ 941070 h 1419225"/>
                <a:gd name="connsiteX433" fmla="*/ 86678 w 876300"/>
                <a:gd name="connsiteY433" fmla="*/ 941070 h 1419225"/>
                <a:gd name="connsiteX434" fmla="*/ 83820 w 876300"/>
                <a:gd name="connsiteY434" fmla="*/ 939165 h 1419225"/>
                <a:gd name="connsiteX435" fmla="*/ 80963 w 876300"/>
                <a:gd name="connsiteY435" fmla="*/ 934403 h 1419225"/>
                <a:gd name="connsiteX436" fmla="*/ 79058 w 876300"/>
                <a:gd name="connsiteY436" fmla="*/ 928688 h 1419225"/>
                <a:gd name="connsiteX437" fmla="*/ 80010 w 876300"/>
                <a:gd name="connsiteY437" fmla="*/ 922020 h 1419225"/>
                <a:gd name="connsiteX438" fmla="*/ 80963 w 876300"/>
                <a:gd name="connsiteY438" fmla="*/ 915353 h 1419225"/>
                <a:gd name="connsiteX439" fmla="*/ 80963 w 876300"/>
                <a:gd name="connsiteY439" fmla="*/ 908685 h 1419225"/>
                <a:gd name="connsiteX440" fmla="*/ 80010 w 876300"/>
                <a:gd name="connsiteY440" fmla="*/ 904875 h 1419225"/>
                <a:gd name="connsiteX441" fmla="*/ 76200 w 876300"/>
                <a:gd name="connsiteY441" fmla="*/ 894397 h 1419225"/>
                <a:gd name="connsiteX442" fmla="*/ 76200 w 876300"/>
                <a:gd name="connsiteY442" fmla="*/ 892493 h 1419225"/>
                <a:gd name="connsiteX443" fmla="*/ 77153 w 876300"/>
                <a:gd name="connsiteY443" fmla="*/ 886778 h 1419225"/>
                <a:gd name="connsiteX444" fmla="*/ 80010 w 876300"/>
                <a:gd name="connsiteY444" fmla="*/ 882015 h 1419225"/>
                <a:gd name="connsiteX445" fmla="*/ 87630 w 876300"/>
                <a:gd name="connsiteY445" fmla="*/ 875347 h 1419225"/>
                <a:gd name="connsiteX446" fmla="*/ 89535 w 876300"/>
                <a:gd name="connsiteY446" fmla="*/ 873443 h 1419225"/>
                <a:gd name="connsiteX447" fmla="*/ 91440 w 876300"/>
                <a:gd name="connsiteY447" fmla="*/ 867728 h 1419225"/>
                <a:gd name="connsiteX448" fmla="*/ 92392 w 876300"/>
                <a:gd name="connsiteY448" fmla="*/ 861060 h 1419225"/>
                <a:gd name="connsiteX449" fmla="*/ 92392 w 876300"/>
                <a:gd name="connsiteY449" fmla="*/ 854393 h 1419225"/>
                <a:gd name="connsiteX450" fmla="*/ 90488 w 876300"/>
                <a:gd name="connsiteY450" fmla="*/ 845820 h 1419225"/>
                <a:gd name="connsiteX451" fmla="*/ 88583 w 876300"/>
                <a:gd name="connsiteY451" fmla="*/ 838200 h 1419225"/>
                <a:gd name="connsiteX452" fmla="*/ 86678 w 876300"/>
                <a:gd name="connsiteY452" fmla="*/ 832485 h 1419225"/>
                <a:gd name="connsiteX453" fmla="*/ 83820 w 876300"/>
                <a:gd name="connsiteY453" fmla="*/ 828675 h 1419225"/>
                <a:gd name="connsiteX454" fmla="*/ 73342 w 876300"/>
                <a:gd name="connsiteY454" fmla="*/ 824865 h 1419225"/>
                <a:gd name="connsiteX455" fmla="*/ 70485 w 876300"/>
                <a:gd name="connsiteY455" fmla="*/ 822007 h 1419225"/>
                <a:gd name="connsiteX456" fmla="*/ 69533 w 876300"/>
                <a:gd name="connsiteY456" fmla="*/ 819150 h 1419225"/>
                <a:gd name="connsiteX457" fmla="*/ 68580 w 876300"/>
                <a:gd name="connsiteY457" fmla="*/ 816293 h 1419225"/>
                <a:gd name="connsiteX458" fmla="*/ 67628 w 876300"/>
                <a:gd name="connsiteY458" fmla="*/ 806768 h 1419225"/>
                <a:gd name="connsiteX459" fmla="*/ 65722 w 876300"/>
                <a:gd name="connsiteY459" fmla="*/ 791528 h 1419225"/>
                <a:gd name="connsiteX460" fmla="*/ 63817 w 876300"/>
                <a:gd name="connsiteY460" fmla="*/ 785813 h 1419225"/>
                <a:gd name="connsiteX461" fmla="*/ 62865 w 876300"/>
                <a:gd name="connsiteY461" fmla="*/ 782955 h 1419225"/>
                <a:gd name="connsiteX462" fmla="*/ 61913 w 876300"/>
                <a:gd name="connsiteY462" fmla="*/ 777240 h 1419225"/>
                <a:gd name="connsiteX463" fmla="*/ 61913 w 876300"/>
                <a:gd name="connsiteY463" fmla="*/ 774382 h 1419225"/>
                <a:gd name="connsiteX464" fmla="*/ 62865 w 876300"/>
                <a:gd name="connsiteY464" fmla="*/ 767715 h 1419225"/>
                <a:gd name="connsiteX465" fmla="*/ 65722 w 876300"/>
                <a:gd name="connsiteY465" fmla="*/ 762953 h 1419225"/>
                <a:gd name="connsiteX466" fmla="*/ 66675 w 876300"/>
                <a:gd name="connsiteY466" fmla="*/ 760095 h 1419225"/>
                <a:gd name="connsiteX467" fmla="*/ 66675 w 876300"/>
                <a:gd name="connsiteY467" fmla="*/ 756285 h 1419225"/>
                <a:gd name="connsiteX468" fmla="*/ 62865 w 876300"/>
                <a:gd name="connsiteY468" fmla="*/ 748665 h 1419225"/>
                <a:gd name="connsiteX469" fmla="*/ 60960 w 876300"/>
                <a:gd name="connsiteY469" fmla="*/ 742950 h 1419225"/>
                <a:gd name="connsiteX470" fmla="*/ 51435 w 876300"/>
                <a:gd name="connsiteY470" fmla="*/ 716280 h 1419225"/>
                <a:gd name="connsiteX471" fmla="*/ 42863 w 876300"/>
                <a:gd name="connsiteY471" fmla="*/ 700088 h 1419225"/>
                <a:gd name="connsiteX472" fmla="*/ 0 w 876300"/>
                <a:gd name="connsiteY472" fmla="*/ 633413 h 1419225"/>
                <a:gd name="connsiteX473" fmla="*/ 6667 w 876300"/>
                <a:gd name="connsiteY473" fmla="*/ 618172 h 1419225"/>
                <a:gd name="connsiteX474" fmla="*/ 8572 w 876300"/>
                <a:gd name="connsiteY474" fmla="*/ 607695 h 1419225"/>
                <a:gd name="connsiteX475" fmla="*/ 11430 w 876300"/>
                <a:gd name="connsiteY475" fmla="*/ 581978 h 1419225"/>
                <a:gd name="connsiteX476" fmla="*/ 14288 w 876300"/>
                <a:gd name="connsiteY476" fmla="*/ 577215 h 1419225"/>
                <a:gd name="connsiteX477" fmla="*/ 17145 w 876300"/>
                <a:gd name="connsiteY477" fmla="*/ 575310 h 1419225"/>
                <a:gd name="connsiteX478" fmla="*/ 23813 w 876300"/>
                <a:gd name="connsiteY478" fmla="*/ 575310 h 1419225"/>
                <a:gd name="connsiteX479" fmla="*/ 26670 w 876300"/>
                <a:gd name="connsiteY479" fmla="*/ 576263 h 1419225"/>
                <a:gd name="connsiteX480" fmla="*/ 31433 w 876300"/>
                <a:gd name="connsiteY480" fmla="*/ 576263 h 1419225"/>
                <a:gd name="connsiteX481" fmla="*/ 36195 w 876300"/>
                <a:gd name="connsiteY481" fmla="*/ 574358 h 1419225"/>
                <a:gd name="connsiteX482" fmla="*/ 127635 w 876300"/>
                <a:gd name="connsiteY482" fmla="*/ 522922 h 1419225"/>
                <a:gd name="connsiteX483" fmla="*/ 130492 w 876300"/>
                <a:gd name="connsiteY483" fmla="*/ 520065 h 1419225"/>
                <a:gd name="connsiteX484" fmla="*/ 144780 w 876300"/>
                <a:gd name="connsiteY484" fmla="*/ 492442 h 1419225"/>
                <a:gd name="connsiteX485" fmla="*/ 148590 w 876300"/>
                <a:gd name="connsiteY485" fmla="*/ 483870 h 1419225"/>
                <a:gd name="connsiteX486" fmla="*/ 151447 w 876300"/>
                <a:gd name="connsiteY486" fmla="*/ 475297 h 1419225"/>
                <a:gd name="connsiteX487" fmla="*/ 162878 w 876300"/>
                <a:gd name="connsiteY487" fmla="*/ 452438 h 1419225"/>
                <a:gd name="connsiteX488" fmla="*/ 165735 w 876300"/>
                <a:gd name="connsiteY488" fmla="*/ 449580 h 1419225"/>
                <a:gd name="connsiteX489" fmla="*/ 168592 w 876300"/>
                <a:gd name="connsiteY489" fmla="*/ 447675 h 1419225"/>
                <a:gd name="connsiteX490" fmla="*/ 171450 w 876300"/>
                <a:gd name="connsiteY490" fmla="*/ 447675 h 1419225"/>
                <a:gd name="connsiteX491" fmla="*/ 176213 w 876300"/>
                <a:gd name="connsiteY491" fmla="*/ 453390 h 1419225"/>
                <a:gd name="connsiteX492" fmla="*/ 179070 w 876300"/>
                <a:gd name="connsiteY492" fmla="*/ 454342 h 1419225"/>
                <a:gd name="connsiteX493" fmla="*/ 184785 w 876300"/>
                <a:gd name="connsiteY493" fmla="*/ 455295 h 1419225"/>
                <a:gd name="connsiteX494" fmla="*/ 189547 w 876300"/>
                <a:gd name="connsiteY494" fmla="*/ 454342 h 1419225"/>
                <a:gd name="connsiteX495" fmla="*/ 193358 w 876300"/>
                <a:gd name="connsiteY495" fmla="*/ 453390 h 1419225"/>
                <a:gd name="connsiteX496" fmla="*/ 204788 w 876300"/>
                <a:gd name="connsiteY496" fmla="*/ 446722 h 1419225"/>
                <a:gd name="connsiteX497" fmla="*/ 207645 w 876300"/>
                <a:gd name="connsiteY497" fmla="*/ 442913 h 1419225"/>
                <a:gd name="connsiteX498" fmla="*/ 210503 w 876300"/>
                <a:gd name="connsiteY498" fmla="*/ 440055 h 1419225"/>
                <a:gd name="connsiteX499" fmla="*/ 211455 w 876300"/>
                <a:gd name="connsiteY499" fmla="*/ 433388 h 1419225"/>
                <a:gd name="connsiteX500" fmla="*/ 211455 w 876300"/>
                <a:gd name="connsiteY500" fmla="*/ 430530 h 1419225"/>
                <a:gd name="connsiteX501" fmla="*/ 210503 w 876300"/>
                <a:gd name="connsiteY501" fmla="*/ 424815 h 1419225"/>
                <a:gd name="connsiteX502" fmla="*/ 208597 w 876300"/>
                <a:gd name="connsiteY502" fmla="*/ 421958 h 1419225"/>
                <a:gd name="connsiteX503" fmla="*/ 200025 w 876300"/>
                <a:gd name="connsiteY503" fmla="*/ 408622 h 1419225"/>
                <a:gd name="connsiteX504" fmla="*/ 196215 w 876300"/>
                <a:gd name="connsiteY504" fmla="*/ 401003 h 1419225"/>
                <a:gd name="connsiteX505" fmla="*/ 196215 w 876300"/>
                <a:gd name="connsiteY505" fmla="*/ 398145 h 1419225"/>
                <a:gd name="connsiteX506" fmla="*/ 196215 w 876300"/>
                <a:gd name="connsiteY506" fmla="*/ 391478 h 1419225"/>
                <a:gd name="connsiteX507" fmla="*/ 199072 w 876300"/>
                <a:gd name="connsiteY507" fmla="*/ 377190 h 1419225"/>
                <a:gd name="connsiteX508" fmla="*/ 200978 w 876300"/>
                <a:gd name="connsiteY508" fmla="*/ 371475 h 1419225"/>
                <a:gd name="connsiteX509" fmla="*/ 203835 w 876300"/>
                <a:gd name="connsiteY509" fmla="*/ 368617 h 1419225"/>
                <a:gd name="connsiteX510" fmla="*/ 206692 w 876300"/>
                <a:gd name="connsiteY510" fmla="*/ 367665 h 1419225"/>
                <a:gd name="connsiteX511" fmla="*/ 231458 w 876300"/>
                <a:gd name="connsiteY511" fmla="*/ 364808 h 1419225"/>
                <a:gd name="connsiteX512" fmla="*/ 237172 w 876300"/>
                <a:gd name="connsiteY512" fmla="*/ 362903 h 1419225"/>
                <a:gd name="connsiteX513" fmla="*/ 241935 w 876300"/>
                <a:gd name="connsiteY513" fmla="*/ 360997 h 1419225"/>
                <a:gd name="connsiteX514" fmla="*/ 280988 w 876300"/>
                <a:gd name="connsiteY514" fmla="*/ 353378 h 1419225"/>
                <a:gd name="connsiteX515" fmla="*/ 283845 w 876300"/>
                <a:gd name="connsiteY515" fmla="*/ 352425 h 1419225"/>
                <a:gd name="connsiteX516" fmla="*/ 302895 w 876300"/>
                <a:gd name="connsiteY516" fmla="*/ 341947 h 1419225"/>
                <a:gd name="connsiteX517" fmla="*/ 314325 w 876300"/>
                <a:gd name="connsiteY517" fmla="*/ 339090 h 1419225"/>
                <a:gd name="connsiteX518" fmla="*/ 317183 w 876300"/>
                <a:gd name="connsiteY518" fmla="*/ 337185 h 1419225"/>
                <a:gd name="connsiteX519" fmla="*/ 327660 w 876300"/>
                <a:gd name="connsiteY519" fmla="*/ 330517 h 1419225"/>
                <a:gd name="connsiteX520" fmla="*/ 330517 w 876300"/>
                <a:gd name="connsiteY520" fmla="*/ 329565 h 1419225"/>
                <a:gd name="connsiteX521" fmla="*/ 338138 w 876300"/>
                <a:gd name="connsiteY521" fmla="*/ 328613 h 1419225"/>
                <a:gd name="connsiteX522" fmla="*/ 343853 w 876300"/>
                <a:gd name="connsiteY522" fmla="*/ 327660 h 1419225"/>
                <a:gd name="connsiteX523" fmla="*/ 352425 w 876300"/>
                <a:gd name="connsiteY523" fmla="*/ 322897 h 1419225"/>
                <a:gd name="connsiteX524" fmla="*/ 357188 w 876300"/>
                <a:gd name="connsiteY524" fmla="*/ 319088 h 1419225"/>
                <a:gd name="connsiteX525" fmla="*/ 360045 w 876300"/>
                <a:gd name="connsiteY525" fmla="*/ 316230 h 1419225"/>
                <a:gd name="connsiteX526" fmla="*/ 362903 w 876300"/>
                <a:gd name="connsiteY526" fmla="*/ 311467 h 1419225"/>
                <a:gd name="connsiteX527" fmla="*/ 363855 w 876300"/>
                <a:gd name="connsiteY527" fmla="*/ 308610 h 1419225"/>
                <a:gd name="connsiteX528" fmla="*/ 362903 w 876300"/>
                <a:gd name="connsiteY528" fmla="*/ 302895 h 1419225"/>
                <a:gd name="connsiteX529" fmla="*/ 361950 w 876300"/>
                <a:gd name="connsiteY529" fmla="*/ 297180 h 1419225"/>
                <a:gd name="connsiteX530" fmla="*/ 359092 w 876300"/>
                <a:gd name="connsiteY530" fmla="*/ 292417 h 1419225"/>
                <a:gd name="connsiteX531" fmla="*/ 359092 w 876300"/>
                <a:gd name="connsiteY531" fmla="*/ 288608 h 1419225"/>
                <a:gd name="connsiteX532" fmla="*/ 359092 w 876300"/>
                <a:gd name="connsiteY532" fmla="*/ 284797 h 1419225"/>
                <a:gd name="connsiteX533" fmla="*/ 361950 w 876300"/>
                <a:gd name="connsiteY533" fmla="*/ 278130 h 1419225"/>
                <a:gd name="connsiteX534" fmla="*/ 364808 w 876300"/>
                <a:gd name="connsiteY534" fmla="*/ 275272 h 1419225"/>
                <a:gd name="connsiteX535" fmla="*/ 367665 w 876300"/>
                <a:gd name="connsiteY535" fmla="*/ 273367 h 1419225"/>
                <a:gd name="connsiteX536" fmla="*/ 375285 w 876300"/>
                <a:gd name="connsiteY536" fmla="*/ 272415 h 1419225"/>
                <a:gd name="connsiteX537" fmla="*/ 380047 w 876300"/>
                <a:gd name="connsiteY537" fmla="*/ 271463 h 1419225"/>
                <a:gd name="connsiteX538" fmla="*/ 382905 w 876300"/>
                <a:gd name="connsiteY538" fmla="*/ 268605 h 1419225"/>
                <a:gd name="connsiteX539" fmla="*/ 383858 w 876300"/>
                <a:gd name="connsiteY539" fmla="*/ 265747 h 1419225"/>
                <a:gd name="connsiteX540" fmla="*/ 382905 w 876300"/>
                <a:gd name="connsiteY540" fmla="*/ 260033 h 1419225"/>
                <a:gd name="connsiteX541" fmla="*/ 380047 w 876300"/>
                <a:gd name="connsiteY541" fmla="*/ 255270 h 1419225"/>
                <a:gd name="connsiteX542" fmla="*/ 374333 w 876300"/>
                <a:gd name="connsiteY542" fmla="*/ 246697 h 1419225"/>
                <a:gd name="connsiteX543" fmla="*/ 372428 w 876300"/>
                <a:gd name="connsiteY543" fmla="*/ 243840 h 1419225"/>
                <a:gd name="connsiteX544" fmla="*/ 370522 w 876300"/>
                <a:gd name="connsiteY544" fmla="*/ 239078 h 1419225"/>
                <a:gd name="connsiteX545" fmla="*/ 367665 w 876300"/>
                <a:gd name="connsiteY545" fmla="*/ 234315 h 1419225"/>
                <a:gd name="connsiteX546" fmla="*/ 356235 w 876300"/>
                <a:gd name="connsiteY546" fmla="*/ 226695 h 1419225"/>
                <a:gd name="connsiteX547" fmla="*/ 354330 w 876300"/>
                <a:gd name="connsiteY547" fmla="*/ 224790 h 1419225"/>
                <a:gd name="connsiteX548" fmla="*/ 351472 w 876300"/>
                <a:gd name="connsiteY548" fmla="*/ 220980 h 1419225"/>
                <a:gd name="connsiteX549" fmla="*/ 349567 w 876300"/>
                <a:gd name="connsiteY549" fmla="*/ 218122 h 1419225"/>
                <a:gd name="connsiteX550" fmla="*/ 348615 w 876300"/>
                <a:gd name="connsiteY550" fmla="*/ 213360 h 1419225"/>
                <a:gd name="connsiteX551" fmla="*/ 348615 w 876300"/>
                <a:gd name="connsiteY551" fmla="*/ 207645 h 1419225"/>
                <a:gd name="connsiteX552" fmla="*/ 349567 w 876300"/>
                <a:gd name="connsiteY552" fmla="*/ 195263 h 1419225"/>
                <a:gd name="connsiteX553" fmla="*/ 350520 w 876300"/>
                <a:gd name="connsiteY553" fmla="*/ 191453 h 1419225"/>
                <a:gd name="connsiteX554" fmla="*/ 352425 w 876300"/>
                <a:gd name="connsiteY554" fmla="*/ 188595 h 1419225"/>
                <a:gd name="connsiteX555" fmla="*/ 355283 w 876300"/>
                <a:gd name="connsiteY555" fmla="*/ 187642 h 1419225"/>
                <a:gd name="connsiteX556" fmla="*/ 362903 w 876300"/>
                <a:gd name="connsiteY556" fmla="*/ 189547 h 1419225"/>
                <a:gd name="connsiteX557" fmla="*/ 365760 w 876300"/>
                <a:gd name="connsiteY557" fmla="*/ 191453 h 1419225"/>
                <a:gd name="connsiteX558" fmla="*/ 369570 w 876300"/>
                <a:gd name="connsiteY558" fmla="*/ 195263 h 1419225"/>
                <a:gd name="connsiteX559" fmla="*/ 371475 w 876300"/>
                <a:gd name="connsiteY559" fmla="*/ 195263 h 1419225"/>
                <a:gd name="connsiteX560" fmla="*/ 373380 w 876300"/>
                <a:gd name="connsiteY560" fmla="*/ 187642 h 1419225"/>
                <a:gd name="connsiteX561" fmla="*/ 373380 w 876300"/>
                <a:gd name="connsiteY561" fmla="*/ 180022 h 1419225"/>
                <a:gd name="connsiteX562" fmla="*/ 373380 w 876300"/>
                <a:gd name="connsiteY562" fmla="*/ 177165 h 1419225"/>
                <a:gd name="connsiteX563" fmla="*/ 372428 w 876300"/>
                <a:gd name="connsiteY563" fmla="*/ 167640 h 1419225"/>
                <a:gd name="connsiteX564" fmla="*/ 374333 w 876300"/>
                <a:gd name="connsiteY564" fmla="*/ 160972 h 1419225"/>
                <a:gd name="connsiteX565" fmla="*/ 376238 w 876300"/>
                <a:gd name="connsiteY565" fmla="*/ 159067 h 1419225"/>
                <a:gd name="connsiteX566" fmla="*/ 391478 w 876300"/>
                <a:gd name="connsiteY566" fmla="*/ 149542 h 1419225"/>
                <a:gd name="connsiteX567" fmla="*/ 394335 w 876300"/>
                <a:gd name="connsiteY567" fmla="*/ 145733 h 1419225"/>
                <a:gd name="connsiteX568" fmla="*/ 396240 w 876300"/>
                <a:gd name="connsiteY568" fmla="*/ 141922 h 1419225"/>
                <a:gd name="connsiteX569" fmla="*/ 397192 w 876300"/>
                <a:gd name="connsiteY569" fmla="*/ 139065 h 1419225"/>
                <a:gd name="connsiteX570" fmla="*/ 401003 w 876300"/>
                <a:gd name="connsiteY570" fmla="*/ 131445 h 1419225"/>
                <a:gd name="connsiteX571" fmla="*/ 401003 w 876300"/>
                <a:gd name="connsiteY571" fmla="*/ 128588 h 1419225"/>
                <a:gd name="connsiteX572" fmla="*/ 400050 w 876300"/>
                <a:gd name="connsiteY572" fmla="*/ 126683 h 1419225"/>
                <a:gd name="connsiteX573" fmla="*/ 398145 w 876300"/>
                <a:gd name="connsiteY573" fmla="*/ 124778 h 1419225"/>
                <a:gd name="connsiteX574" fmla="*/ 392430 w 876300"/>
                <a:gd name="connsiteY574" fmla="*/ 119063 h 1419225"/>
                <a:gd name="connsiteX575" fmla="*/ 388620 w 876300"/>
                <a:gd name="connsiteY575" fmla="*/ 115253 h 1419225"/>
                <a:gd name="connsiteX576" fmla="*/ 387667 w 876300"/>
                <a:gd name="connsiteY576" fmla="*/ 109538 h 1419225"/>
                <a:gd name="connsiteX577" fmla="*/ 388620 w 876300"/>
                <a:gd name="connsiteY577" fmla="*/ 102870 h 1419225"/>
                <a:gd name="connsiteX578" fmla="*/ 391478 w 876300"/>
                <a:gd name="connsiteY578" fmla="*/ 89535 h 1419225"/>
                <a:gd name="connsiteX579" fmla="*/ 393383 w 876300"/>
                <a:gd name="connsiteY579" fmla="*/ 84772 h 1419225"/>
                <a:gd name="connsiteX580" fmla="*/ 398145 w 876300"/>
                <a:gd name="connsiteY580" fmla="*/ 82867 h 1419225"/>
                <a:gd name="connsiteX581" fmla="*/ 403860 w 876300"/>
                <a:gd name="connsiteY581" fmla="*/ 83820 h 1419225"/>
                <a:gd name="connsiteX582" fmla="*/ 417195 w 876300"/>
                <a:gd name="connsiteY582" fmla="*/ 87630 h 1419225"/>
                <a:gd name="connsiteX583" fmla="*/ 428625 w 876300"/>
                <a:gd name="connsiteY583" fmla="*/ 92392 h 1419225"/>
                <a:gd name="connsiteX584" fmla="*/ 441960 w 876300"/>
                <a:gd name="connsiteY584" fmla="*/ 96203 h 1419225"/>
                <a:gd name="connsiteX585" fmla="*/ 450533 w 876300"/>
                <a:gd name="connsiteY585" fmla="*/ 101917 h 1419225"/>
                <a:gd name="connsiteX586" fmla="*/ 453390 w 876300"/>
                <a:gd name="connsiteY586" fmla="*/ 102870 h 1419225"/>
                <a:gd name="connsiteX587" fmla="*/ 458153 w 876300"/>
                <a:gd name="connsiteY587" fmla="*/ 100013 h 1419225"/>
                <a:gd name="connsiteX588" fmla="*/ 461010 w 876300"/>
                <a:gd name="connsiteY588" fmla="*/ 98108 h 1419225"/>
                <a:gd name="connsiteX589" fmla="*/ 472440 w 876300"/>
                <a:gd name="connsiteY589" fmla="*/ 86678 h 1419225"/>
                <a:gd name="connsiteX590" fmla="*/ 474345 w 876300"/>
                <a:gd name="connsiteY590" fmla="*/ 85725 h 1419225"/>
                <a:gd name="connsiteX591" fmla="*/ 477203 w 876300"/>
                <a:gd name="connsiteY591" fmla="*/ 85725 h 1419225"/>
                <a:gd name="connsiteX592" fmla="*/ 480060 w 876300"/>
                <a:gd name="connsiteY592" fmla="*/ 87630 h 1419225"/>
                <a:gd name="connsiteX593" fmla="*/ 483870 w 876300"/>
                <a:gd name="connsiteY593" fmla="*/ 93345 h 1419225"/>
                <a:gd name="connsiteX594" fmla="*/ 486728 w 876300"/>
                <a:gd name="connsiteY594" fmla="*/ 94297 h 1419225"/>
                <a:gd name="connsiteX595" fmla="*/ 489585 w 876300"/>
                <a:gd name="connsiteY595" fmla="*/ 94297 h 1419225"/>
                <a:gd name="connsiteX596" fmla="*/ 495300 w 876300"/>
                <a:gd name="connsiteY596" fmla="*/ 91440 h 1419225"/>
                <a:gd name="connsiteX597" fmla="*/ 498158 w 876300"/>
                <a:gd name="connsiteY597" fmla="*/ 88583 h 1419225"/>
                <a:gd name="connsiteX598" fmla="*/ 505778 w 876300"/>
                <a:gd name="connsiteY598" fmla="*/ 80963 h 1419225"/>
                <a:gd name="connsiteX599" fmla="*/ 510540 w 876300"/>
                <a:gd name="connsiteY599" fmla="*/ 78105 h 1419225"/>
                <a:gd name="connsiteX600" fmla="*/ 520065 w 876300"/>
                <a:gd name="connsiteY600" fmla="*/ 76200 h 1419225"/>
                <a:gd name="connsiteX601" fmla="*/ 581025 w 876300"/>
                <a:gd name="connsiteY601" fmla="*/ 70485 h 1419225"/>
                <a:gd name="connsiteX602" fmla="*/ 588645 w 876300"/>
                <a:gd name="connsiteY602" fmla="*/ 66675 h 1419225"/>
                <a:gd name="connsiteX603" fmla="*/ 592455 w 876300"/>
                <a:gd name="connsiteY603" fmla="*/ 63817 h 1419225"/>
                <a:gd name="connsiteX604" fmla="*/ 641033 w 876300"/>
                <a:gd name="connsiteY604" fmla="*/ 10478 h 1419225"/>
                <a:gd name="connsiteX605" fmla="*/ 654368 w 876300"/>
                <a:gd name="connsiteY605" fmla="*/ 0 h 1419225"/>
                <a:gd name="connsiteX606" fmla="*/ 659130 w 876300"/>
                <a:gd name="connsiteY606" fmla="*/ 953 h 1419225"/>
                <a:gd name="connsiteX607" fmla="*/ 665797 w 876300"/>
                <a:gd name="connsiteY607" fmla="*/ 1905 h 1419225"/>
                <a:gd name="connsiteX608" fmla="*/ 681038 w 876300"/>
                <a:gd name="connsiteY608" fmla="*/ 7620 h 1419225"/>
                <a:gd name="connsiteX609" fmla="*/ 688658 w 876300"/>
                <a:gd name="connsiteY609" fmla="*/ 9525 h 1419225"/>
                <a:gd name="connsiteX610" fmla="*/ 693420 w 876300"/>
                <a:gd name="connsiteY610" fmla="*/ 9525 h 1419225"/>
                <a:gd name="connsiteX611" fmla="*/ 707708 w 876300"/>
                <a:gd name="connsiteY611" fmla="*/ 1905 h 1419225"/>
                <a:gd name="connsiteX612" fmla="*/ 713422 w 876300"/>
                <a:gd name="connsiteY612" fmla="*/ 0 h 1419225"/>
                <a:gd name="connsiteX613" fmla="*/ 719138 w 876300"/>
                <a:gd name="connsiteY613" fmla="*/ 0 h 1419225"/>
                <a:gd name="connsiteX614" fmla="*/ 725805 w 876300"/>
                <a:gd name="connsiteY614" fmla="*/ 1905 h 1419225"/>
                <a:gd name="connsiteX615" fmla="*/ 759143 w 876300"/>
                <a:gd name="connsiteY615" fmla="*/ 18097 h 1419225"/>
                <a:gd name="connsiteX616" fmla="*/ 762953 w 876300"/>
                <a:gd name="connsiteY616" fmla="*/ 19050 h 1419225"/>
                <a:gd name="connsiteX617" fmla="*/ 766763 w 876300"/>
                <a:gd name="connsiteY617" fmla="*/ 19050 h 1419225"/>
                <a:gd name="connsiteX618" fmla="*/ 769620 w 876300"/>
                <a:gd name="connsiteY618" fmla="*/ 19050 h 1419225"/>
                <a:gd name="connsiteX619" fmla="*/ 784860 w 876300"/>
                <a:gd name="connsiteY619" fmla="*/ 12383 h 1419225"/>
                <a:gd name="connsiteX620" fmla="*/ 788670 w 876300"/>
                <a:gd name="connsiteY620" fmla="*/ 9525 h 1419225"/>
                <a:gd name="connsiteX621" fmla="*/ 794385 w 876300"/>
                <a:gd name="connsiteY621" fmla="*/ 2858 h 1419225"/>
                <a:gd name="connsiteX622" fmla="*/ 796290 w 876300"/>
                <a:gd name="connsiteY622" fmla="*/ 1905 h 1419225"/>
                <a:gd name="connsiteX623" fmla="*/ 799147 w 876300"/>
                <a:gd name="connsiteY623" fmla="*/ 2858 h 1419225"/>
                <a:gd name="connsiteX624" fmla="*/ 802005 w 876300"/>
                <a:gd name="connsiteY624" fmla="*/ 6667 h 1419225"/>
                <a:gd name="connsiteX625" fmla="*/ 802958 w 876300"/>
                <a:gd name="connsiteY625" fmla="*/ 9525 h 1419225"/>
                <a:gd name="connsiteX626" fmla="*/ 803910 w 876300"/>
                <a:gd name="connsiteY626" fmla="*/ 13335 h 1419225"/>
                <a:gd name="connsiteX627" fmla="*/ 802005 w 876300"/>
                <a:gd name="connsiteY627" fmla="*/ 19050 h 1419225"/>
                <a:gd name="connsiteX628" fmla="*/ 800100 w 876300"/>
                <a:gd name="connsiteY628" fmla="*/ 21908 h 1419225"/>
                <a:gd name="connsiteX629" fmla="*/ 794385 w 876300"/>
                <a:gd name="connsiteY629" fmla="*/ 28575 h 1419225"/>
                <a:gd name="connsiteX630" fmla="*/ 792480 w 876300"/>
                <a:gd name="connsiteY630" fmla="*/ 34290 h 1419225"/>
                <a:gd name="connsiteX631" fmla="*/ 789622 w 876300"/>
                <a:gd name="connsiteY631" fmla="*/ 40005 h 1419225"/>
                <a:gd name="connsiteX632" fmla="*/ 788670 w 876300"/>
                <a:gd name="connsiteY632" fmla="*/ 45720 h 1419225"/>
                <a:gd name="connsiteX633" fmla="*/ 788670 w 876300"/>
                <a:gd name="connsiteY633" fmla="*/ 50483 h 1419225"/>
                <a:gd name="connsiteX634" fmla="*/ 789622 w 876300"/>
                <a:gd name="connsiteY634" fmla="*/ 54292 h 1419225"/>
                <a:gd name="connsiteX635" fmla="*/ 794385 w 876300"/>
                <a:gd name="connsiteY635" fmla="*/ 58103 h 1419225"/>
                <a:gd name="connsiteX636" fmla="*/ 798195 w 876300"/>
                <a:gd name="connsiteY636" fmla="*/ 60960 h 1419225"/>
                <a:gd name="connsiteX637" fmla="*/ 802005 w 876300"/>
                <a:gd name="connsiteY637" fmla="*/ 64770 h 1419225"/>
                <a:gd name="connsiteX638" fmla="*/ 802958 w 876300"/>
                <a:gd name="connsiteY638" fmla="*/ 68580 h 1419225"/>
                <a:gd name="connsiteX639" fmla="*/ 804863 w 876300"/>
                <a:gd name="connsiteY639" fmla="*/ 93345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</a:cxnLst>
              <a:rect l="l" t="t" r="r" b="b"/>
              <a:pathLst>
                <a:path w="876300" h="1419225">
                  <a:moveTo>
                    <a:pt x="804863" y="93345"/>
                  </a:moveTo>
                  <a:lnTo>
                    <a:pt x="793433" y="99060"/>
                  </a:lnTo>
                  <a:lnTo>
                    <a:pt x="790575" y="101917"/>
                  </a:lnTo>
                  <a:lnTo>
                    <a:pt x="792480" y="103822"/>
                  </a:lnTo>
                  <a:lnTo>
                    <a:pt x="795338" y="104775"/>
                  </a:lnTo>
                  <a:lnTo>
                    <a:pt x="813435" y="110490"/>
                  </a:lnTo>
                  <a:lnTo>
                    <a:pt x="818197" y="113347"/>
                  </a:lnTo>
                  <a:lnTo>
                    <a:pt x="822008" y="117158"/>
                  </a:lnTo>
                  <a:lnTo>
                    <a:pt x="824865" y="121920"/>
                  </a:lnTo>
                  <a:lnTo>
                    <a:pt x="825818" y="124778"/>
                  </a:lnTo>
                  <a:lnTo>
                    <a:pt x="825818" y="128588"/>
                  </a:lnTo>
                  <a:lnTo>
                    <a:pt x="823913" y="135255"/>
                  </a:lnTo>
                  <a:lnTo>
                    <a:pt x="822008" y="139065"/>
                  </a:lnTo>
                  <a:lnTo>
                    <a:pt x="819150" y="140970"/>
                  </a:lnTo>
                  <a:lnTo>
                    <a:pt x="813435" y="141922"/>
                  </a:lnTo>
                  <a:lnTo>
                    <a:pt x="793433" y="143828"/>
                  </a:lnTo>
                  <a:lnTo>
                    <a:pt x="791528" y="144780"/>
                  </a:lnTo>
                  <a:lnTo>
                    <a:pt x="790575" y="147638"/>
                  </a:lnTo>
                  <a:lnTo>
                    <a:pt x="789622" y="150495"/>
                  </a:lnTo>
                  <a:lnTo>
                    <a:pt x="791528" y="153353"/>
                  </a:lnTo>
                  <a:lnTo>
                    <a:pt x="795338" y="158115"/>
                  </a:lnTo>
                  <a:lnTo>
                    <a:pt x="802005" y="163830"/>
                  </a:lnTo>
                  <a:lnTo>
                    <a:pt x="803910" y="165735"/>
                  </a:lnTo>
                  <a:lnTo>
                    <a:pt x="803910" y="169545"/>
                  </a:lnTo>
                  <a:lnTo>
                    <a:pt x="802005" y="179070"/>
                  </a:lnTo>
                  <a:lnTo>
                    <a:pt x="799147" y="184785"/>
                  </a:lnTo>
                  <a:lnTo>
                    <a:pt x="797243" y="186690"/>
                  </a:lnTo>
                  <a:lnTo>
                    <a:pt x="787718" y="192405"/>
                  </a:lnTo>
                  <a:lnTo>
                    <a:pt x="785813" y="193358"/>
                  </a:lnTo>
                  <a:lnTo>
                    <a:pt x="784860" y="196215"/>
                  </a:lnTo>
                  <a:lnTo>
                    <a:pt x="785813" y="199072"/>
                  </a:lnTo>
                  <a:lnTo>
                    <a:pt x="788670" y="202883"/>
                  </a:lnTo>
                  <a:lnTo>
                    <a:pt x="791528" y="204788"/>
                  </a:lnTo>
                  <a:lnTo>
                    <a:pt x="795338" y="206692"/>
                  </a:lnTo>
                  <a:lnTo>
                    <a:pt x="802005" y="206692"/>
                  </a:lnTo>
                  <a:lnTo>
                    <a:pt x="804863" y="208597"/>
                  </a:lnTo>
                  <a:lnTo>
                    <a:pt x="805815" y="212408"/>
                  </a:lnTo>
                  <a:lnTo>
                    <a:pt x="804863" y="219075"/>
                  </a:lnTo>
                  <a:lnTo>
                    <a:pt x="803910" y="222885"/>
                  </a:lnTo>
                  <a:lnTo>
                    <a:pt x="802005" y="225742"/>
                  </a:lnTo>
                  <a:lnTo>
                    <a:pt x="771525" y="235267"/>
                  </a:lnTo>
                  <a:lnTo>
                    <a:pt x="767715" y="239078"/>
                  </a:lnTo>
                  <a:lnTo>
                    <a:pt x="763905" y="242888"/>
                  </a:lnTo>
                  <a:lnTo>
                    <a:pt x="761047" y="246697"/>
                  </a:lnTo>
                  <a:lnTo>
                    <a:pt x="762000" y="253365"/>
                  </a:lnTo>
                  <a:lnTo>
                    <a:pt x="766763" y="266700"/>
                  </a:lnTo>
                  <a:lnTo>
                    <a:pt x="768668" y="275272"/>
                  </a:lnTo>
                  <a:lnTo>
                    <a:pt x="769620" y="281940"/>
                  </a:lnTo>
                  <a:lnTo>
                    <a:pt x="767715" y="287655"/>
                  </a:lnTo>
                  <a:lnTo>
                    <a:pt x="763905" y="297180"/>
                  </a:lnTo>
                  <a:lnTo>
                    <a:pt x="763905" y="300990"/>
                  </a:lnTo>
                  <a:lnTo>
                    <a:pt x="764858" y="304800"/>
                  </a:lnTo>
                  <a:lnTo>
                    <a:pt x="767715" y="310515"/>
                  </a:lnTo>
                  <a:lnTo>
                    <a:pt x="770572" y="313372"/>
                  </a:lnTo>
                  <a:lnTo>
                    <a:pt x="777240" y="319088"/>
                  </a:lnTo>
                  <a:lnTo>
                    <a:pt x="781050" y="322897"/>
                  </a:lnTo>
                  <a:lnTo>
                    <a:pt x="783908" y="327660"/>
                  </a:lnTo>
                  <a:lnTo>
                    <a:pt x="783908" y="332422"/>
                  </a:lnTo>
                  <a:lnTo>
                    <a:pt x="783908" y="337185"/>
                  </a:lnTo>
                  <a:lnTo>
                    <a:pt x="782955" y="346710"/>
                  </a:lnTo>
                  <a:lnTo>
                    <a:pt x="781050" y="356235"/>
                  </a:lnTo>
                  <a:lnTo>
                    <a:pt x="780097" y="360045"/>
                  </a:lnTo>
                  <a:lnTo>
                    <a:pt x="780097" y="363855"/>
                  </a:lnTo>
                  <a:lnTo>
                    <a:pt x="782955" y="370522"/>
                  </a:lnTo>
                  <a:lnTo>
                    <a:pt x="786765" y="377190"/>
                  </a:lnTo>
                  <a:lnTo>
                    <a:pt x="799147" y="386715"/>
                  </a:lnTo>
                  <a:lnTo>
                    <a:pt x="802005" y="391478"/>
                  </a:lnTo>
                  <a:lnTo>
                    <a:pt x="803910" y="396240"/>
                  </a:lnTo>
                  <a:lnTo>
                    <a:pt x="804863" y="399097"/>
                  </a:lnTo>
                  <a:lnTo>
                    <a:pt x="805815" y="404813"/>
                  </a:lnTo>
                  <a:lnTo>
                    <a:pt x="805815" y="412433"/>
                  </a:lnTo>
                  <a:lnTo>
                    <a:pt x="804863" y="428625"/>
                  </a:lnTo>
                  <a:lnTo>
                    <a:pt x="803910" y="435292"/>
                  </a:lnTo>
                  <a:lnTo>
                    <a:pt x="802005" y="440055"/>
                  </a:lnTo>
                  <a:lnTo>
                    <a:pt x="796290" y="445770"/>
                  </a:lnTo>
                  <a:lnTo>
                    <a:pt x="792480" y="450533"/>
                  </a:lnTo>
                  <a:lnTo>
                    <a:pt x="790575" y="455295"/>
                  </a:lnTo>
                  <a:lnTo>
                    <a:pt x="789622" y="458153"/>
                  </a:lnTo>
                  <a:lnTo>
                    <a:pt x="789622" y="461963"/>
                  </a:lnTo>
                  <a:lnTo>
                    <a:pt x="790575" y="466725"/>
                  </a:lnTo>
                  <a:lnTo>
                    <a:pt x="793433" y="472440"/>
                  </a:lnTo>
                  <a:lnTo>
                    <a:pt x="797243" y="478155"/>
                  </a:lnTo>
                  <a:lnTo>
                    <a:pt x="811530" y="490538"/>
                  </a:lnTo>
                  <a:lnTo>
                    <a:pt x="815340" y="494347"/>
                  </a:lnTo>
                  <a:lnTo>
                    <a:pt x="815340" y="498158"/>
                  </a:lnTo>
                  <a:lnTo>
                    <a:pt x="815340" y="502920"/>
                  </a:lnTo>
                  <a:lnTo>
                    <a:pt x="813435" y="509588"/>
                  </a:lnTo>
                  <a:lnTo>
                    <a:pt x="811530" y="513397"/>
                  </a:lnTo>
                  <a:lnTo>
                    <a:pt x="809625" y="516255"/>
                  </a:lnTo>
                  <a:lnTo>
                    <a:pt x="803910" y="521970"/>
                  </a:lnTo>
                  <a:lnTo>
                    <a:pt x="800100" y="525780"/>
                  </a:lnTo>
                  <a:lnTo>
                    <a:pt x="798195" y="531495"/>
                  </a:lnTo>
                  <a:lnTo>
                    <a:pt x="797243" y="538163"/>
                  </a:lnTo>
                  <a:lnTo>
                    <a:pt x="795338" y="559118"/>
                  </a:lnTo>
                  <a:lnTo>
                    <a:pt x="793433" y="568643"/>
                  </a:lnTo>
                  <a:lnTo>
                    <a:pt x="791528" y="571500"/>
                  </a:lnTo>
                  <a:lnTo>
                    <a:pt x="788670" y="576263"/>
                  </a:lnTo>
                  <a:lnTo>
                    <a:pt x="774383" y="583883"/>
                  </a:lnTo>
                  <a:lnTo>
                    <a:pt x="770572" y="586740"/>
                  </a:lnTo>
                  <a:lnTo>
                    <a:pt x="768668" y="590550"/>
                  </a:lnTo>
                  <a:lnTo>
                    <a:pt x="761047" y="608647"/>
                  </a:lnTo>
                  <a:lnTo>
                    <a:pt x="760095" y="613410"/>
                  </a:lnTo>
                  <a:lnTo>
                    <a:pt x="760095" y="617220"/>
                  </a:lnTo>
                  <a:lnTo>
                    <a:pt x="761047" y="621983"/>
                  </a:lnTo>
                  <a:lnTo>
                    <a:pt x="763905" y="631508"/>
                  </a:lnTo>
                  <a:lnTo>
                    <a:pt x="773430" y="651510"/>
                  </a:lnTo>
                  <a:lnTo>
                    <a:pt x="778193" y="665797"/>
                  </a:lnTo>
                  <a:lnTo>
                    <a:pt x="782955" y="687705"/>
                  </a:lnTo>
                  <a:lnTo>
                    <a:pt x="784860" y="692468"/>
                  </a:lnTo>
                  <a:lnTo>
                    <a:pt x="786765" y="695325"/>
                  </a:lnTo>
                  <a:lnTo>
                    <a:pt x="800100" y="704850"/>
                  </a:lnTo>
                  <a:lnTo>
                    <a:pt x="802005" y="706755"/>
                  </a:lnTo>
                  <a:lnTo>
                    <a:pt x="802958" y="709613"/>
                  </a:lnTo>
                  <a:lnTo>
                    <a:pt x="802958" y="714375"/>
                  </a:lnTo>
                  <a:lnTo>
                    <a:pt x="802958" y="722947"/>
                  </a:lnTo>
                  <a:lnTo>
                    <a:pt x="803910" y="730568"/>
                  </a:lnTo>
                  <a:lnTo>
                    <a:pt x="807720" y="745807"/>
                  </a:lnTo>
                  <a:lnTo>
                    <a:pt x="807720" y="750570"/>
                  </a:lnTo>
                  <a:lnTo>
                    <a:pt x="807720" y="754380"/>
                  </a:lnTo>
                  <a:lnTo>
                    <a:pt x="805815" y="763905"/>
                  </a:lnTo>
                  <a:lnTo>
                    <a:pt x="804863" y="768668"/>
                  </a:lnTo>
                  <a:lnTo>
                    <a:pt x="805815" y="772478"/>
                  </a:lnTo>
                  <a:lnTo>
                    <a:pt x="807720" y="778193"/>
                  </a:lnTo>
                  <a:lnTo>
                    <a:pt x="811530" y="784860"/>
                  </a:lnTo>
                  <a:lnTo>
                    <a:pt x="817245" y="793432"/>
                  </a:lnTo>
                  <a:lnTo>
                    <a:pt x="818197" y="796290"/>
                  </a:lnTo>
                  <a:lnTo>
                    <a:pt x="818197" y="800100"/>
                  </a:lnTo>
                  <a:lnTo>
                    <a:pt x="816293" y="805815"/>
                  </a:lnTo>
                  <a:lnTo>
                    <a:pt x="813435" y="812482"/>
                  </a:lnTo>
                  <a:lnTo>
                    <a:pt x="812483" y="816293"/>
                  </a:lnTo>
                  <a:lnTo>
                    <a:pt x="812483" y="821055"/>
                  </a:lnTo>
                  <a:lnTo>
                    <a:pt x="812483" y="829628"/>
                  </a:lnTo>
                  <a:lnTo>
                    <a:pt x="811530" y="833438"/>
                  </a:lnTo>
                  <a:lnTo>
                    <a:pt x="809625" y="836295"/>
                  </a:lnTo>
                  <a:lnTo>
                    <a:pt x="802005" y="839153"/>
                  </a:lnTo>
                  <a:lnTo>
                    <a:pt x="797243" y="841057"/>
                  </a:lnTo>
                  <a:lnTo>
                    <a:pt x="793433" y="844868"/>
                  </a:lnTo>
                  <a:lnTo>
                    <a:pt x="791528" y="847725"/>
                  </a:lnTo>
                  <a:lnTo>
                    <a:pt x="790575" y="850582"/>
                  </a:lnTo>
                  <a:lnTo>
                    <a:pt x="789622" y="854393"/>
                  </a:lnTo>
                  <a:lnTo>
                    <a:pt x="789622" y="861060"/>
                  </a:lnTo>
                  <a:lnTo>
                    <a:pt x="789622" y="868680"/>
                  </a:lnTo>
                  <a:lnTo>
                    <a:pt x="786765" y="881063"/>
                  </a:lnTo>
                  <a:lnTo>
                    <a:pt x="786765" y="885825"/>
                  </a:lnTo>
                  <a:lnTo>
                    <a:pt x="786765" y="889635"/>
                  </a:lnTo>
                  <a:lnTo>
                    <a:pt x="789622" y="896303"/>
                  </a:lnTo>
                  <a:lnTo>
                    <a:pt x="791528" y="899160"/>
                  </a:lnTo>
                  <a:lnTo>
                    <a:pt x="797243" y="905828"/>
                  </a:lnTo>
                  <a:lnTo>
                    <a:pt x="798195" y="908685"/>
                  </a:lnTo>
                  <a:lnTo>
                    <a:pt x="799147" y="911543"/>
                  </a:lnTo>
                  <a:lnTo>
                    <a:pt x="798195" y="915353"/>
                  </a:lnTo>
                  <a:lnTo>
                    <a:pt x="794385" y="923925"/>
                  </a:lnTo>
                  <a:lnTo>
                    <a:pt x="794385" y="927735"/>
                  </a:lnTo>
                  <a:lnTo>
                    <a:pt x="793433" y="934403"/>
                  </a:lnTo>
                  <a:lnTo>
                    <a:pt x="793433" y="938213"/>
                  </a:lnTo>
                  <a:lnTo>
                    <a:pt x="794385" y="942975"/>
                  </a:lnTo>
                  <a:lnTo>
                    <a:pt x="802958" y="961072"/>
                  </a:lnTo>
                  <a:lnTo>
                    <a:pt x="803910" y="966788"/>
                  </a:lnTo>
                  <a:lnTo>
                    <a:pt x="803910" y="970597"/>
                  </a:lnTo>
                  <a:lnTo>
                    <a:pt x="802005" y="976313"/>
                  </a:lnTo>
                  <a:lnTo>
                    <a:pt x="801053" y="980122"/>
                  </a:lnTo>
                  <a:lnTo>
                    <a:pt x="798195" y="982980"/>
                  </a:lnTo>
                  <a:lnTo>
                    <a:pt x="793433" y="987743"/>
                  </a:lnTo>
                  <a:lnTo>
                    <a:pt x="789622" y="992505"/>
                  </a:lnTo>
                  <a:lnTo>
                    <a:pt x="786765" y="997268"/>
                  </a:lnTo>
                  <a:lnTo>
                    <a:pt x="786765" y="1001078"/>
                  </a:lnTo>
                  <a:lnTo>
                    <a:pt x="787718" y="1006793"/>
                  </a:lnTo>
                  <a:lnTo>
                    <a:pt x="791528" y="1015365"/>
                  </a:lnTo>
                  <a:lnTo>
                    <a:pt x="797243" y="1024890"/>
                  </a:lnTo>
                  <a:lnTo>
                    <a:pt x="798195" y="1029653"/>
                  </a:lnTo>
                  <a:lnTo>
                    <a:pt x="798195" y="1030605"/>
                  </a:lnTo>
                  <a:lnTo>
                    <a:pt x="795338" y="1036320"/>
                  </a:lnTo>
                  <a:lnTo>
                    <a:pt x="788670" y="1038225"/>
                  </a:lnTo>
                  <a:lnTo>
                    <a:pt x="786765" y="1040130"/>
                  </a:lnTo>
                  <a:lnTo>
                    <a:pt x="786765" y="1042988"/>
                  </a:lnTo>
                  <a:lnTo>
                    <a:pt x="789622" y="1049655"/>
                  </a:lnTo>
                  <a:lnTo>
                    <a:pt x="790575" y="1054418"/>
                  </a:lnTo>
                  <a:lnTo>
                    <a:pt x="789622" y="1058228"/>
                  </a:lnTo>
                  <a:lnTo>
                    <a:pt x="787718" y="1060132"/>
                  </a:lnTo>
                  <a:lnTo>
                    <a:pt x="782955" y="1062990"/>
                  </a:lnTo>
                  <a:lnTo>
                    <a:pt x="781050" y="1064895"/>
                  </a:lnTo>
                  <a:lnTo>
                    <a:pt x="782003" y="1068705"/>
                  </a:lnTo>
                  <a:lnTo>
                    <a:pt x="785813" y="1075373"/>
                  </a:lnTo>
                  <a:lnTo>
                    <a:pt x="787718" y="1078230"/>
                  </a:lnTo>
                  <a:lnTo>
                    <a:pt x="788670" y="1082993"/>
                  </a:lnTo>
                  <a:lnTo>
                    <a:pt x="788670" y="1089660"/>
                  </a:lnTo>
                  <a:lnTo>
                    <a:pt x="787718" y="1094423"/>
                  </a:lnTo>
                  <a:lnTo>
                    <a:pt x="783908" y="1102995"/>
                  </a:lnTo>
                  <a:lnTo>
                    <a:pt x="783908" y="1105853"/>
                  </a:lnTo>
                  <a:lnTo>
                    <a:pt x="783908" y="1108710"/>
                  </a:lnTo>
                  <a:lnTo>
                    <a:pt x="784860" y="1110615"/>
                  </a:lnTo>
                  <a:lnTo>
                    <a:pt x="788670" y="1110615"/>
                  </a:lnTo>
                  <a:lnTo>
                    <a:pt x="796290" y="1108710"/>
                  </a:lnTo>
                  <a:lnTo>
                    <a:pt x="798195" y="1110615"/>
                  </a:lnTo>
                  <a:lnTo>
                    <a:pt x="799147" y="1113473"/>
                  </a:lnTo>
                  <a:lnTo>
                    <a:pt x="799147" y="1117282"/>
                  </a:lnTo>
                  <a:lnTo>
                    <a:pt x="797243" y="1127760"/>
                  </a:lnTo>
                  <a:lnTo>
                    <a:pt x="795338" y="1153478"/>
                  </a:lnTo>
                  <a:lnTo>
                    <a:pt x="795338" y="1157288"/>
                  </a:lnTo>
                  <a:lnTo>
                    <a:pt x="796290" y="1161098"/>
                  </a:lnTo>
                  <a:lnTo>
                    <a:pt x="803910" y="1172528"/>
                  </a:lnTo>
                  <a:lnTo>
                    <a:pt x="807720" y="1176338"/>
                  </a:lnTo>
                  <a:lnTo>
                    <a:pt x="818197" y="1180148"/>
                  </a:lnTo>
                  <a:lnTo>
                    <a:pt x="821055" y="1182053"/>
                  </a:lnTo>
                  <a:lnTo>
                    <a:pt x="821055" y="1183957"/>
                  </a:lnTo>
                  <a:lnTo>
                    <a:pt x="820103" y="1186815"/>
                  </a:lnTo>
                  <a:lnTo>
                    <a:pt x="817245" y="1188720"/>
                  </a:lnTo>
                  <a:lnTo>
                    <a:pt x="811530" y="1189673"/>
                  </a:lnTo>
                  <a:lnTo>
                    <a:pt x="809625" y="1190625"/>
                  </a:lnTo>
                  <a:lnTo>
                    <a:pt x="808672" y="1192530"/>
                  </a:lnTo>
                  <a:lnTo>
                    <a:pt x="807720" y="1198245"/>
                  </a:lnTo>
                  <a:lnTo>
                    <a:pt x="803910" y="1204913"/>
                  </a:lnTo>
                  <a:lnTo>
                    <a:pt x="802005" y="1207770"/>
                  </a:lnTo>
                  <a:lnTo>
                    <a:pt x="802958" y="1210628"/>
                  </a:lnTo>
                  <a:lnTo>
                    <a:pt x="803910" y="1214438"/>
                  </a:lnTo>
                  <a:lnTo>
                    <a:pt x="810578" y="1222057"/>
                  </a:lnTo>
                  <a:lnTo>
                    <a:pt x="813435" y="1225868"/>
                  </a:lnTo>
                  <a:lnTo>
                    <a:pt x="814388" y="1228725"/>
                  </a:lnTo>
                  <a:lnTo>
                    <a:pt x="813435" y="1233488"/>
                  </a:lnTo>
                  <a:lnTo>
                    <a:pt x="811530" y="1239203"/>
                  </a:lnTo>
                  <a:lnTo>
                    <a:pt x="810578" y="1244918"/>
                  </a:lnTo>
                  <a:lnTo>
                    <a:pt x="810578" y="1261110"/>
                  </a:lnTo>
                  <a:lnTo>
                    <a:pt x="809625" y="1267778"/>
                  </a:lnTo>
                  <a:lnTo>
                    <a:pt x="806768" y="1276350"/>
                  </a:lnTo>
                  <a:lnTo>
                    <a:pt x="805815" y="1283018"/>
                  </a:lnTo>
                  <a:lnTo>
                    <a:pt x="806768" y="1286828"/>
                  </a:lnTo>
                  <a:lnTo>
                    <a:pt x="809625" y="1291590"/>
                  </a:lnTo>
                  <a:lnTo>
                    <a:pt x="816293" y="1297305"/>
                  </a:lnTo>
                  <a:lnTo>
                    <a:pt x="820103" y="1299210"/>
                  </a:lnTo>
                  <a:lnTo>
                    <a:pt x="824865" y="1300163"/>
                  </a:lnTo>
                  <a:lnTo>
                    <a:pt x="827722" y="1301115"/>
                  </a:lnTo>
                  <a:lnTo>
                    <a:pt x="830580" y="1302068"/>
                  </a:lnTo>
                  <a:lnTo>
                    <a:pt x="831533" y="1303973"/>
                  </a:lnTo>
                  <a:lnTo>
                    <a:pt x="830580" y="1311593"/>
                  </a:lnTo>
                  <a:lnTo>
                    <a:pt x="830580" y="1314450"/>
                  </a:lnTo>
                  <a:lnTo>
                    <a:pt x="832485" y="1318260"/>
                  </a:lnTo>
                  <a:lnTo>
                    <a:pt x="837247" y="1321118"/>
                  </a:lnTo>
                  <a:lnTo>
                    <a:pt x="840105" y="1322070"/>
                  </a:lnTo>
                  <a:lnTo>
                    <a:pt x="842010" y="1320165"/>
                  </a:lnTo>
                  <a:lnTo>
                    <a:pt x="845820" y="1316355"/>
                  </a:lnTo>
                  <a:lnTo>
                    <a:pt x="846772" y="1315403"/>
                  </a:lnTo>
                  <a:lnTo>
                    <a:pt x="848678" y="1316355"/>
                  </a:lnTo>
                  <a:lnTo>
                    <a:pt x="848678" y="1324928"/>
                  </a:lnTo>
                  <a:lnTo>
                    <a:pt x="847725" y="1329690"/>
                  </a:lnTo>
                  <a:lnTo>
                    <a:pt x="843915" y="1337310"/>
                  </a:lnTo>
                  <a:lnTo>
                    <a:pt x="842963" y="1340168"/>
                  </a:lnTo>
                  <a:lnTo>
                    <a:pt x="842963" y="1343025"/>
                  </a:lnTo>
                  <a:lnTo>
                    <a:pt x="843915" y="1346835"/>
                  </a:lnTo>
                  <a:lnTo>
                    <a:pt x="847725" y="1350645"/>
                  </a:lnTo>
                  <a:lnTo>
                    <a:pt x="851535" y="1352550"/>
                  </a:lnTo>
                  <a:lnTo>
                    <a:pt x="862013" y="1359218"/>
                  </a:lnTo>
                  <a:lnTo>
                    <a:pt x="864870" y="1361123"/>
                  </a:lnTo>
                  <a:lnTo>
                    <a:pt x="869633" y="1365885"/>
                  </a:lnTo>
                  <a:lnTo>
                    <a:pt x="876300" y="1369695"/>
                  </a:lnTo>
                  <a:lnTo>
                    <a:pt x="878205" y="1371600"/>
                  </a:lnTo>
                  <a:lnTo>
                    <a:pt x="876300" y="1375410"/>
                  </a:lnTo>
                  <a:lnTo>
                    <a:pt x="874395" y="1376363"/>
                  </a:lnTo>
                  <a:lnTo>
                    <a:pt x="869633" y="1378268"/>
                  </a:lnTo>
                  <a:lnTo>
                    <a:pt x="868680" y="1381125"/>
                  </a:lnTo>
                  <a:lnTo>
                    <a:pt x="870585" y="1387793"/>
                  </a:lnTo>
                  <a:lnTo>
                    <a:pt x="874395" y="1398270"/>
                  </a:lnTo>
                  <a:lnTo>
                    <a:pt x="882968" y="1417320"/>
                  </a:lnTo>
                  <a:lnTo>
                    <a:pt x="868680" y="1422082"/>
                  </a:lnTo>
                  <a:lnTo>
                    <a:pt x="854393" y="1421130"/>
                  </a:lnTo>
                  <a:lnTo>
                    <a:pt x="837247" y="1414463"/>
                  </a:lnTo>
                  <a:lnTo>
                    <a:pt x="823913" y="1406843"/>
                  </a:lnTo>
                  <a:lnTo>
                    <a:pt x="817245" y="1403985"/>
                  </a:lnTo>
                  <a:lnTo>
                    <a:pt x="807720" y="1403032"/>
                  </a:lnTo>
                  <a:lnTo>
                    <a:pt x="777240" y="1409700"/>
                  </a:lnTo>
                  <a:lnTo>
                    <a:pt x="761047" y="1399223"/>
                  </a:lnTo>
                  <a:lnTo>
                    <a:pt x="758190" y="1376363"/>
                  </a:lnTo>
                  <a:lnTo>
                    <a:pt x="759143" y="1353503"/>
                  </a:lnTo>
                  <a:lnTo>
                    <a:pt x="752475" y="1343978"/>
                  </a:lnTo>
                  <a:lnTo>
                    <a:pt x="737235" y="1342073"/>
                  </a:lnTo>
                  <a:lnTo>
                    <a:pt x="736283" y="1345882"/>
                  </a:lnTo>
                  <a:lnTo>
                    <a:pt x="736283" y="1357313"/>
                  </a:lnTo>
                  <a:lnTo>
                    <a:pt x="738188" y="1365885"/>
                  </a:lnTo>
                  <a:lnTo>
                    <a:pt x="741997" y="1374457"/>
                  </a:lnTo>
                  <a:lnTo>
                    <a:pt x="750570" y="1386840"/>
                  </a:lnTo>
                  <a:lnTo>
                    <a:pt x="743903" y="1397318"/>
                  </a:lnTo>
                  <a:lnTo>
                    <a:pt x="734378" y="1398270"/>
                  </a:lnTo>
                  <a:lnTo>
                    <a:pt x="723900" y="1392555"/>
                  </a:lnTo>
                  <a:lnTo>
                    <a:pt x="715328" y="1384935"/>
                  </a:lnTo>
                  <a:lnTo>
                    <a:pt x="709613" y="1373505"/>
                  </a:lnTo>
                  <a:lnTo>
                    <a:pt x="709613" y="1363980"/>
                  </a:lnTo>
                  <a:lnTo>
                    <a:pt x="714375" y="1338263"/>
                  </a:lnTo>
                  <a:lnTo>
                    <a:pt x="714375" y="1328738"/>
                  </a:lnTo>
                  <a:lnTo>
                    <a:pt x="712470" y="1317307"/>
                  </a:lnTo>
                  <a:lnTo>
                    <a:pt x="707708" y="1312545"/>
                  </a:lnTo>
                  <a:lnTo>
                    <a:pt x="699135" y="1316355"/>
                  </a:lnTo>
                  <a:lnTo>
                    <a:pt x="697230" y="1321118"/>
                  </a:lnTo>
                  <a:lnTo>
                    <a:pt x="695325" y="1333500"/>
                  </a:lnTo>
                  <a:lnTo>
                    <a:pt x="692468" y="1338263"/>
                  </a:lnTo>
                  <a:lnTo>
                    <a:pt x="687705" y="1338263"/>
                  </a:lnTo>
                  <a:lnTo>
                    <a:pt x="674370" y="1332548"/>
                  </a:lnTo>
                  <a:lnTo>
                    <a:pt x="667703" y="1338263"/>
                  </a:lnTo>
                  <a:lnTo>
                    <a:pt x="661035" y="1353503"/>
                  </a:lnTo>
                  <a:lnTo>
                    <a:pt x="652463" y="1360170"/>
                  </a:lnTo>
                  <a:lnTo>
                    <a:pt x="643890" y="1361123"/>
                  </a:lnTo>
                  <a:lnTo>
                    <a:pt x="635318" y="1360170"/>
                  </a:lnTo>
                  <a:lnTo>
                    <a:pt x="609600" y="1350645"/>
                  </a:lnTo>
                  <a:lnTo>
                    <a:pt x="609600" y="1347788"/>
                  </a:lnTo>
                  <a:lnTo>
                    <a:pt x="609600" y="1341120"/>
                  </a:lnTo>
                  <a:lnTo>
                    <a:pt x="607695" y="1336357"/>
                  </a:lnTo>
                  <a:lnTo>
                    <a:pt x="597218" y="1322070"/>
                  </a:lnTo>
                  <a:lnTo>
                    <a:pt x="587693" y="1314450"/>
                  </a:lnTo>
                  <a:lnTo>
                    <a:pt x="581025" y="1302068"/>
                  </a:lnTo>
                  <a:lnTo>
                    <a:pt x="573405" y="1295400"/>
                  </a:lnTo>
                  <a:lnTo>
                    <a:pt x="559118" y="1304925"/>
                  </a:lnTo>
                  <a:lnTo>
                    <a:pt x="555308" y="1311593"/>
                  </a:lnTo>
                  <a:lnTo>
                    <a:pt x="554355" y="1319213"/>
                  </a:lnTo>
                  <a:lnTo>
                    <a:pt x="551497" y="1324928"/>
                  </a:lnTo>
                  <a:lnTo>
                    <a:pt x="545783" y="1326832"/>
                  </a:lnTo>
                  <a:lnTo>
                    <a:pt x="540068" y="1323023"/>
                  </a:lnTo>
                  <a:lnTo>
                    <a:pt x="536258" y="1303973"/>
                  </a:lnTo>
                  <a:lnTo>
                    <a:pt x="531495" y="1299210"/>
                  </a:lnTo>
                  <a:lnTo>
                    <a:pt x="508635" y="1297305"/>
                  </a:lnTo>
                  <a:lnTo>
                    <a:pt x="497205" y="1293495"/>
                  </a:lnTo>
                  <a:lnTo>
                    <a:pt x="490538" y="1288732"/>
                  </a:lnTo>
                  <a:lnTo>
                    <a:pt x="490538" y="1283970"/>
                  </a:lnTo>
                  <a:lnTo>
                    <a:pt x="493395" y="1279207"/>
                  </a:lnTo>
                  <a:lnTo>
                    <a:pt x="495300" y="1273493"/>
                  </a:lnTo>
                  <a:lnTo>
                    <a:pt x="492442" y="1263968"/>
                  </a:lnTo>
                  <a:lnTo>
                    <a:pt x="486728" y="1257300"/>
                  </a:lnTo>
                  <a:lnTo>
                    <a:pt x="485775" y="1256348"/>
                  </a:lnTo>
                  <a:lnTo>
                    <a:pt x="485775" y="1254443"/>
                  </a:lnTo>
                  <a:lnTo>
                    <a:pt x="486728" y="1247775"/>
                  </a:lnTo>
                  <a:lnTo>
                    <a:pt x="488633" y="1242060"/>
                  </a:lnTo>
                  <a:lnTo>
                    <a:pt x="491490" y="1240155"/>
                  </a:lnTo>
                  <a:lnTo>
                    <a:pt x="492442" y="1235393"/>
                  </a:lnTo>
                  <a:lnTo>
                    <a:pt x="486728" y="1223010"/>
                  </a:lnTo>
                  <a:lnTo>
                    <a:pt x="482917" y="1220153"/>
                  </a:lnTo>
                  <a:lnTo>
                    <a:pt x="468630" y="1211580"/>
                  </a:lnTo>
                  <a:lnTo>
                    <a:pt x="452438" y="1196340"/>
                  </a:lnTo>
                  <a:lnTo>
                    <a:pt x="443865" y="1191578"/>
                  </a:lnTo>
                  <a:lnTo>
                    <a:pt x="430530" y="1190625"/>
                  </a:lnTo>
                  <a:lnTo>
                    <a:pt x="421005" y="1186815"/>
                  </a:lnTo>
                  <a:lnTo>
                    <a:pt x="408622" y="1180148"/>
                  </a:lnTo>
                  <a:lnTo>
                    <a:pt x="398145" y="1170623"/>
                  </a:lnTo>
                  <a:lnTo>
                    <a:pt x="391478" y="1162050"/>
                  </a:lnTo>
                  <a:lnTo>
                    <a:pt x="396240" y="1157288"/>
                  </a:lnTo>
                  <a:lnTo>
                    <a:pt x="398145" y="1152525"/>
                  </a:lnTo>
                  <a:lnTo>
                    <a:pt x="402908" y="1141095"/>
                  </a:lnTo>
                  <a:lnTo>
                    <a:pt x="398145" y="1140143"/>
                  </a:lnTo>
                  <a:lnTo>
                    <a:pt x="390525" y="1136332"/>
                  </a:lnTo>
                  <a:lnTo>
                    <a:pt x="386715" y="1135380"/>
                  </a:lnTo>
                  <a:lnTo>
                    <a:pt x="381953" y="1137285"/>
                  </a:lnTo>
                  <a:lnTo>
                    <a:pt x="381953" y="1142048"/>
                  </a:lnTo>
                  <a:lnTo>
                    <a:pt x="382905" y="1147763"/>
                  </a:lnTo>
                  <a:lnTo>
                    <a:pt x="381953" y="1151573"/>
                  </a:lnTo>
                  <a:lnTo>
                    <a:pt x="373380" y="1153478"/>
                  </a:lnTo>
                  <a:lnTo>
                    <a:pt x="365760" y="1151573"/>
                  </a:lnTo>
                  <a:lnTo>
                    <a:pt x="360045" y="1147763"/>
                  </a:lnTo>
                  <a:lnTo>
                    <a:pt x="353378" y="1145857"/>
                  </a:lnTo>
                  <a:lnTo>
                    <a:pt x="341947" y="1146810"/>
                  </a:lnTo>
                  <a:lnTo>
                    <a:pt x="340042" y="1151573"/>
                  </a:lnTo>
                  <a:lnTo>
                    <a:pt x="340995" y="1158240"/>
                  </a:lnTo>
                  <a:lnTo>
                    <a:pt x="341947" y="1168718"/>
                  </a:lnTo>
                  <a:lnTo>
                    <a:pt x="340995" y="1180148"/>
                  </a:lnTo>
                  <a:lnTo>
                    <a:pt x="340042" y="1180148"/>
                  </a:lnTo>
                  <a:lnTo>
                    <a:pt x="335280" y="1178243"/>
                  </a:lnTo>
                  <a:lnTo>
                    <a:pt x="327660" y="1179195"/>
                  </a:lnTo>
                  <a:lnTo>
                    <a:pt x="300990" y="1205865"/>
                  </a:lnTo>
                  <a:lnTo>
                    <a:pt x="286703" y="1210628"/>
                  </a:lnTo>
                  <a:lnTo>
                    <a:pt x="280988" y="1190625"/>
                  </a:lnTo>
                  <a:lnTo>
                    <a:pt x="286703" y="1177290"/>
                  </a:lnTo>
                  <a:lnTo>
                    <a:pt x="316230" y="1168718"/>
                  </a:lnTo>
                  <a:lnTo>
                    <a:pt x="327660" y="1157288"/>
                  </a:lnTo>
                  <a:lnTo>
                    <a:pt x="299085" y="1143953"/>
                  </a:lnTo>
                  <a:lnTo>
                    <a:pt x="286703" y="1143000"/>
                  </a:lnTo>
                  <a:lnTo>
                    <a:pt x="273367" y="1157288"/>
                  </a:lnTo>
                  <a:lnTo>
                    <a:pt x="271463" y="1143000"/>
                  </a:lnTo>
                  <a:lnTo>
                    <a:pt x="274320" y="1121093"/>
                  </a:lnTo>
                  <a:lnTo>
                    <a:pt x="279083" y="1101090"/>
                  </a:lnTo>
                  <a:lnTo>
                    <a:pt x="283845" y="1091565"/>
                  </a:lnTo>
                  <a:lnTo>
                    <a:pt x="283845" y="1085850"/>
                  </a:lnTo>
                  <a:lnTo>
                    <a:pt x="276225" y="1084898"/>
                  </a:lnTo>
                  <a:lnTo>
                    <a:pt x="270510" y="1086803"/>
                  </a:lnTo>
                  <a:lnTo>
                    <a:pt x="259080" y="1096328"/>
                  </a:lnTo>
                  <a:lnTo>
                    <a:pt x="254317" y="1102043"/>
                  </a:lnTo>
                  <a:lnTo>
                    <a:pt x="251460" y="1107757"/>
                  </a:lnTo>
                  <a:lnTo>
                    <a:pt x="249555" y="1114425"/>
                  </a:lnTo>
                  <a:lnTo>
                    <a:pt x="248603" y="1123950"/>
                  </a:lnTo>
                  <a:lnTo>
                    <a:pt x="245745" y="1133475"/>
                  </a:lnTo>
                  <a:lnTo>
                    <a:pt x="241935" y="1138238"/>
                  </a:lnTo>
                  <a:lnTo>
                    <a:pt x="235267" y="1132523"/>
                  </a:lnTo>
                  <a:lnTo>
                    <a:pt x="222885" y="1112520"/>
                  </a:lnTo>
                  <a:lnTo>
                    <a:pt x="219075" y="1104900"/>
                  </a:lnTo>
                  <a:lnTo>
                    <a:pt x="219075" y="1096328"/>
                  </a:lnTo>
                  <a:lnTo>
                    <a:pt x="222885" y="1082993"/>
                  </a:lnTo>
                  <a:lnTo>
                    <a:pt x="222885" y="1075373"/>
                  </a:lnTo>
                  <a:lnTo>
                    <a:pt x="218122" y="1069657"/>
                  </a:lnTo>
                  <a:lnTo>
                    <a:pt x="189547" y="1052513"/>
                  </a:lnTo>
                  <a:lnTo>
                    <a:pt x="181928" y="1051560"/>
                  </a:lnTo>
                  <a:lnTo>
                    <a:pt x="160020" y="1055370"/>
                  </a:lnTo>
                  <a:lnTo>
                    <a:pt x="150495" y="1055370"/>
                  </a:lnTo>
                  <a:lnTo>
                    <a:pt x="142875" y="1048703"/>
                  </a:lnTo>
                  <a:lnTo>
                    <a:pt x="135255" y="1036320"/>
                  </a:lnTo>
                  <a:lnTo>
                    <a:pt x="133350" y="1029653"/>
                  </a:lnTo>
                  <a:lnTo>
                    <a:pt x="131445" y="1019175"/>
                  </a:lnTo>
                  <a:lnTo>
                    <a:pt x="128588" y="1013460"/>
                  </a:lnTo>
                  <a:lnTo>
                    <a:pt x="123825" y="1010603"/>
                  </a:lnTo>
                  <a:lnTo>
                    <a:pt x="106680" y="1002982"/>
                  </a:lnTo>
                  <a:lnTo>
                    <a:pt x="100965" y="998220"/>
                  </a:lnTo>
                  <a:lnTo>
                    <a:pt x="99060" y="993457"/>
                  </a:lnTo>
                  <a:lnTo>
                    <a:pt x="99060" y="987743"/>
                  </a:lnTo>
                  <a:lnTo>
                    <a:pt x="100013" y="984885"/>
                  </a:lnTo>
                  <a:lnTo>
                    <a:pt x="100965" y="982980"/>
                  </a:lnTo>
                  <a:lnTo>
                    <a:pt x="103822" y="981075"/>
                  </a:lnTo>
                  <a:lnTo>
                    <a:pt x="109538" y="981075"/>
                  </a:lnTo>
                  <a:lnTo>
                    <a:pt x="116205" y="982028"/>
                  </a:lnTo>
                  <a:lnTo>
                    <a:pt x="131445" y="990600"/>
                  </a:lnTo>
                  <a:lnTo>
                    <a:pt x="137160" y="991553"/>
                  </a:lnTo>
                  <a:lnTo>
                    <a:pt x="140017" y="992505"/>
                  </a:lnTo>
                  <a:lnTo>
                    <a:pt x="144780" y="990600"/>
                  </a:lnTo>
                  <a:lnTo>
                    <a:pt x="146685" y="988695"/>
                  </a:lnTo>
                  <a:lnTo>
                    <a:pt x="150495" y="984885"/>
                  </a:lnTo>
                  <a:lnTo>
                    <a:pt x="150495" y="982028"/>
                  </a:lnTo>
                  <a:lnTo>
                    <a:pt x="150495" y="976313"/>
                  </a:lnTo>
                  <a:lnTo>
                    <a:pt x="147638" y="971550"/>
                  </a:lnTo>
                  <a:lnTo>
                    <a:pt x="146685" y="965835"/>
                  </a:lnTo>
                  <a:lnTo>
                    <a:pt x="146685" y="959168"/>
                  </a:lnTo>
                  <a:lnTo>
                    <a:pt x="145733" y="954405"/>
                  </a:lnTo>
                  <a:lnTo>
                    <a:pt x="144780" y="950595"/>
                  </a:lnTo>
                  <a:lnTo>
                    <a:pt x="141922" y="944880"/>
                  </a:lnTo>
                  <a:lnTo>
                    <a:pt x="140017" y="942022"/>
                  </a:lnTo>
                  <a:lnTo>
                    <a:pt x="137160" y="939165"/>
                  </a:lnTo>
                  <a:lnTo>
                    <a:pt x="120967" y="936307"/>
                  </a:lnTo>
                  <a:lnTo>
                    <a:pt x="110490" y="931545"/>
                  </a:lnTo>
                  <a:lnTo>
                    <a:pt x="108585" y="931545"/>
                  </a:lnTo>
                  <a:lnTo>
                    <a:pt x="102870" y="933450"/>
                  </a:lnTo>
                  <a:lnTo>
                    <a:pt x="94297" y="940118"/>
                  </a:lnTo>
                  <a:lnTo>
                    <a:pt x="91440" y="941070"/>
                  </a:lnTo>
                  <a:lnTo>
                    <a:pt x="86678" y="941070"/>
                  </a:lnTo>
                  <a:lnTo>
                    <a:pt x="83820" y="939165"/>
                  </a:lnTo>
                  <a:lnTo>
                    <a:pt x="80963" y="934403"/>
                  </a:lnTo>
                  <a:lnTo>
                    <a:pt x="79058" y="928688"/>
                  </a:lnTo>
                  <a:lnTo>
                    <a:pt x="80010" y="922020"/>
                  </a:lnTo>
                  <a:lnTo>
                    <a:pt x="80963" y="915353"/>
                  </a:lnTo>
                  <a:lnTo>
                    <a:pt x="80963" y="908685"/>
                  </a:lnTo>
                  <a:lnTo>
                    <a:pt x="80010" y="904875"/>
                  </a:lnTo>
                  <a:lnTo>
                    <a:pt x="76200" y="894397"/>
                  </a:lnTo>
                  <a:lnTo>
                    <a:pt x="76200" y="892493"/>
                  </a:lnTo>
                  <a:lnTo>
                    <a:pt x="77153" y="886778"/>
                  </a:lnTo>
                  <a:lnTo>
                    <a:pt x="80010" y="882015"/>
                  </a:lnTo>
                  <a:lnTo>
                    <a:pt x="87630" y="875347"/>
                  </a:lnTo>
                  <a:lnTo>
                    <a:pt x="89535" y="873443"/>
                  </a:lnTo>
                  <a:lnTo>
                    <a:pt x="91440" y="867728"/>
                  </a:lnTo>
                  <a:lnTo>
                    <a:pt x="92392" y="861060"/>
                  </a:lnTo>
                  <a:lnTo>
                    <a:pt x="92392" y="854393"/>
                  </a:lnTo>
                  <a:lnTo>
                    <a:pt x="90488" y="845820"/>
                  </a:lnTo>
                  <a:lnTo>
                    <a:pt x="88583" y="838200"/>
                  </a:lnTo>
                  <a:lnTo>
                    <a:pt x="86678" y="832485"/>
                  </a:lnTo>
                  <a:lnTo>
                    <a:pt x="83820" y="828675"/>
                  </a:lnTo>
                  <a:lnTo>
                    <a:pt x="73342" y="824865"/>
                  </a:lnTo>
                  <a:lnTo>
                    <a:pt x="70485" y="822007"/>
                  </a:lnTo>
                  <a:lnTo>
                    <a:pt x="69533" y="819150"/>
                  </a:lnTo>
                  <a:lnTo>
                    <a:pt x="68580" y="816293"/>
                  </a:lnTo>
                  <a:lnTo>
                    <a:pt x="67628" y="806768"/>
                  </a:lnTo>
                  <a:lnTo>
                    <a:pt x="65722" y="791528"/>
                  </a:lnTo>
                  <a:lnTo>
                    <a:pt x="63817" y="785813"/>
                  </a:lnTo>
                  <a:lnTo>
                    <a:pt x="62865" y="782955"/>
                  </a:lnTo>
                  <a:lnTo>
                    <a:pt x="61913" y="777240"/>
                  </a:lnTo>
                  <a:lnTo>
                    <a:pt x="61913" y="774382"/>
                  </a:lnTo>
                  <a:lnTo>
                    <a:pt x="62865" y="767715"/>
                  </a:lnTo>
                  <a:lnTo>
                    <a:pt x="65722" y="762953"/>
                  </a:lnTo>
                  <a:lnTo>
                    <a:pt x="66675" y="760095"/>
                  </a:lnTo>
                  <a:lnTo>
                    <a:pt x="66675" y="756285"/>
                  </a:lnTo>
                  <a:lnTo>
                    <a:pt x="62865" y="748665"/>
                  </a:lnTo>
                  <a:lnTo>
                    <a:pt x="60960" y="742950"/>
                  </a:lnTo>
                  <a:lnTo>
                    <a:pt x="51435" y="716280"/>
                  </a:lnTo>
                  <a:lnTo>
                    <a:pt x="42863" y="700088"/>
                  </a:lnTo>
                  <a:lnTo>
                    <a:pt x="0" y="633413"/>
                  </a:lnTo>
                  <a:lnTo>
                    <a:pt x="6667" y="618172"/>
                  </a:lnTo>
                  <a:lnTo>
                    <a:pt x="8572" y="607695"/>
                  </a:lnTo>
                  <a:lnTo>
                    <a:pt x="11430" y="581978"/>
                  </a:lnTo>
                  <a:lnTo>
                    <a:pt x="14288" y="577215"/>
                  </a:lnTo>
                  <a:lnTo>
                    <a:pt x="17145" y="575310"/>
                  </a:lnTo>
                  <a:lnTo>
                    <a:pt x="23813" y="575310"/>
                  </a:lnTo>
                  <a:lnTo>
                    <a:pt x="26670" y="576263"/>
                  </a:lnTo>
                  <a:lnTo>
                    <a:pt x="31433" y="576263"/>
                  </a:lnTo>
                  <a:lnTo>
                    <a:pt x="36195" y="574358"/>
                  </a:lnTo>
                  <a:lnTo>
                    <a:pt x="127635" y="522922"/>
                  </a:lnTo>
                  <a:lnTo>
                    <a:pt x="130492" y="520065"/>
                  </a:lnTo>
                  <a:lnTo>
                    <a:pt x="144780" y="492442"/>
                  </a:lnTo>
                  <a:lnTo>
                    <a:pt x="148590" y="483870"/>
                  </a:lnTo>
                  <a:lnTo>
                    <a:pt x="151447" y="475297"/>
                  </a:lnTo>
                  <a:lnTo>
                    <a:pt x="162878" y="452438"/>
                  </a:lnTo>
                  <a:lnTo>
                    <a:pt x="165735" y="449580"/>
                  </a:lnTo>
                  <a:lnTo>
                    <a:pt x="168592" y="447675"/>
                  </a:lnTo>
                  <a:lnTo>
                    <a:pt x="171450" y="447675"/>
                  </a:lnTo>
                  <a:lnTo>
                    <a:pt x="176213" y="453390"/>
                  </a:lnTo>
                  <a:lnTo>
                    <a:pt x="179070" y="454342"/>
                  </a:lnTo>
                  <a:lnTo>
                    <a:pt x="184785" y="455295"/>
                  </a:lnTo>
                  <a:lnTo>
                    <a:pt x="189547" y="454342"/>
                  </a:lnTo>
                  <a:lnTo>
                    <a:pt x="193358" y="453390"/>
                  </a:lnTo>
                  <a:lnTo>
                    <a:pt x="204788" y="446722"/>
                  </a:lnTo>
                  <a:lnTo>
                    <a:pt x="207645" y="442913"/>
                  </a:lnTo>
                  <a:lnTo>
                    <a:pt x="210503" y="440055"/>
                  </a:lnTo>
                  <a:lnTo>
                    <a:pt x="211455" y="433388"/>
                  </a:lnTo>
                  <a:lnTo>
                    <a:pt x="211455" y="430530"/>
                  </a:lnTo>
                  <a:lnTo>
                    <a:pt x="210503" y="424815"/>
                  </a:lnTo>
                  <a:lnTo>
                    <a:pt x="208597" y="421958"/>
                  </a:lnTo>
                  <a:lnTo>
                    <a:pt x="200025" y="408622"/>
                  </a:lnTo>
                  <a:lnTo>
                    <a:pt x="196215" y="401003"/>
                  </a:lnTo>
                  <a:lnTo>
                    <a:pt x="196215" y="398145"/>
                  </a:lnTo>
                  <a:lnTo>
                    <a:pt x="196215" y="391478"/>
                  </a:lnTo>
                  <a:lnTo>
                    <a:pt x="199072" y="377190"/>
                  </a:lnTo>
                  <a:lnTo>
                    <a:pt x="200978" y="371475"/>
                  </a:lnTo>
                  <a:lnTo>
                    <a:pt x="203835" y="368617"/>
                  </a:lnTo>
                  <a:lnTo>
                    <a:pt x="206692" y="367665"/>
                  </a:lnTo>
                  <a:lnTo>
                    <a:pt x="231458" y="364808"/>
                  </a:lnTo>
                  <a:lnTo>
                    <a:pt x="237172" y="362903"/>
                  </a:lnTo>
                  <a:lnTo>
                    <a:pt x="241935" y="360997"/>
                  </a:lnTo>
                  <a:lnTo>
                    <a:pt x="280988" y="353378"/>
                  </a:lnTo>
                  <a:lnTo>
                    <a:pt x="283845" y="352425"/>
                  </a:lnTo>
                  <a:lnTo>
                    <a:pt x="302895" y="341947"/>
                  </a:lnTo>
                  <a:lnTo>
                    <a:pt x="314325" y="339090"/>
                  </a:lnTo>
                  <a:lnTo>
                    <a:pt x="317183" y="337185"/>
                  </a:lnTo>
                  <a:lnTo>
                    <a:pt x="327660" y="330517"/>
                  </a:lnTo>
                  <a:lnTo>
                    <a:pt x="330517" y="329565"/>
                  </a:lnTo>
                  <a:lnTo>
                    <a:pt x="338138" y="328613"/>
                  </a:lnTo>
                  <a:lnTo>
                    <a:pt x="343853" y="327660"/>
                  </a:lnTo>
                  <a:lnTo>
                    <a:pt x="352425" y="322897"/>
                  </a:lnTo>
                  <a:lnTo>
                    <a:pt x="357188" y="319088"/>
                  </a:lnTo>
                  <a:lnTo>
                    <a:pt x="360045" y="316230"/>
                  </a:lnTo>
                  <a:lnTo>
                    <a:pt x="362903" y="311467"/>
                  </a:lnTo>
                  <a:lnTo>
                    <a:pt x="363855" y="308610"/>
                  </a:lnTo>
                  <a:lnTo>
                    <a:pt x="362903" y="302895"/>
                  </a:lnTo>
                  <a:lnTo>
                    <a:pt x="361950" y="297180"/>
                  </a:lnTo>
                  <a:lnTo>
                    <a:pt x="359092" y="292417"/>
                  </a:lnTo>
                  <a:lnTo>
                    <a:pt x="359092" y="288608"/>
                  </a:lnTo>
                  <a:lnTo>
                    <a:pt x="359092" y="284797"/>
                  </a:lnTo>
                  <a:lnTo>
                    <a:pt x="361950" y="278130"/>
                  </a:lnTo>
                  <a:lnTo>
                    <a:pt x="364808" y="275272"/>
                  </a:lnTo>
                  <a:lnTo>
                    <a:pt x="367665" y="273367"/>
                  </a:lnTo>
                  <a:lnTo>
                    <a:pt x="375285" y="272415"/>
                  </a:lnTo>
                  <a:lnTo>
                    <a:pt x="380047" y="271463"/>
                  </a:lnTo>
                  <a:lnTo>
                    <a:pt x="382905" y="268605"/>
                  </a:lnTo>
                  <a:lnTo>
                    <a:pt x="383858" y="265747"/>
                  </a:lnTo>
                  <a:lnTo>
                    <a:pt x="382905" y="260033"/>
                  </a:lnTo>
                  <a:lnTo>
                    <a:pt x="380047" y="255270"/>
                  </a:lnTo>
                  <a:lnTo>
                    <a:pt x="374333" y="246697"/>
                  </a:lnTo>
                  <a:lnTo>
                    <a:pt x="372428" y="243840"/>
                  </a:lnTo>
                  <a:lnTo>
                    <a:pt x="370522" y="239078"/>
                  </a:lnTo>
                  <a:lnTo>
                    <a:pt x="367665" y="234315"/>
                  </a:lnTo>
                  <a:lnTo>
                    <a:pt x="356235" y="226695"/>
                  </a:lnTo>
                  <a:lnTo>
                    <a:pt x="354330" y="224790"/>
                  </a:lnTo>
                  <a:lnTo>
                    <a:pt x="351472" y="220980"/>
                  </a:lnTo>
                  <a:lnTo>
                    <a:pt x="349567" y="218122"/>
                  </a:lnTo>
                  <a:lnTo>
                    <a:pt x="348615" y="213360"/>
                  </a:lnTo>
                  <a:lnTo>
                    <a:pt x="348615" y="207645"/>
                  </a:lnTo>
                  <a:lnTo>
                    <a:pt x="349567" y="195263"/>
                  </a:lnTo>
                  <a:lnTo>
                    <a:pt x="350520" y="191453"/>
                  </a:lnTo>
                  <a:lnTo>
                    <a:pt x="352425" y="188595"/>
                  </a:lnTo>
                  <a:lnTo>
                    <a:pt x="355283" y="187642"/>
                  </a:lnTo>
                  <a:lnTo>
                    <a:pt x="362903" y="189547"/>
                  </a:lnTo>
                  <a:lnTo>
                    <a:pt x="365760" y="191453"/>
                  </a:lnTo>
                  <a:lnTo>
                    <a:pt x="369570" y="195263"/>
                  </a:lnTo>
                  <a:lnTo>
                    <a:pt x="371475" y="195263"/>
                  </a:lnTo>
                  <a:lnTo>
                    <a:pt x="373380" y="187642"/>
                  </a:lnTo>
                  <a:lnTo>
                    <a:pt x="373380" y="180022"/>
                  </a:lnTo>
                  <a:lnTo>
                    <a:pt x="373380" y="177165"/>
                  </a:lnTo>
                  <a:lnTo>
                    <a:pt x="372428" y="167640"/>
                  </a:lnTo>
                  <a:lnTo>
                    <a:pt x="374333" y="160972"/>
                  </a:lnTo>
                  <a:lnTo>
                    <a:pt x="376238" y="159067"/>
                  </a:lnTo>
                  <a:lnTo>
                    <a:pt x="391478" y="149542"/>
                  </a:lnTo>
                  <a:lnTo>
                    <a:pt x="394335" y="145733"/>
                  </a:lnTo>
                  <a:lnTo>
                    <a:pt x="396240" y="141922"/>
                  </a:lnTo>
                  <a:lnTo>
                    <a:pt x="397192" y="139065"/>
                  </a:lnTo>
                  <a:lnTo>
                    <a:pt x="401003" y="131445"/>
                  </a:lnTo>
                  <a:lnTo>
                    <a:pt x="401003" y="128588"/>
                  </a:lnTo>
                  <a:lnTo>
                    <a:pt x="400050" y="126683"/>
                  </a:lnTo>
                  <a:lnTo>
                    <a:pt x="398145" y="124778"/>
                  </a:lnTo>
                  <a:lnTo>
                    <a:pt x="392430" y="119063"/>
                  </a:lnTo>
                  <a:lnTo>
                    <a:pt x="388620" y="115253"/>
                  </a:lnTo>
                  <a:lnTo>
                    <a:pt x="387667" y="109538"/>
                  </a:lnTo>
                  <a:lnTo>
                    <a:pt x="388620" y="102870"/>
                  </a:lnTo>
                  <a:lnTo>
                    <a:pt x="391478" y="89535"/>
                  </a:lnTo>
                  <a:lnTo>
                    <a:pt x="393383" y="84772"/>
                  </a:lnTo>
                  <a:lnTo>
                    <a:pt x="398145" y="82867"/>
                  </a:lnTo>
                  <a:lnTo>
                    <a:pt x="403860" y="83820"/>
                  </a:lnTo>
                  <a:lnTo>
                    <a:pt x="417195" y="87630"/>
                  </a:lnTo>
                  <a:lnTo>
                    <a:pt x="428625" y="92392"/>
                  </a:lnTo>
                  <a:lnTo>
                    <a:pt x="441960" y="96203"/>
                  </a:lnTo>
                  <a:lnTo>
                    <a:pt x="450533" y="101917"/>
                  </a:lnTo>
                  <a:lnTo>
                    <a:pt x="453390" y="102870"/>
                  </a:lnTo>
                  <a:lnTo>
                    <a:pt x="458153" y="100013"/>
                  </a:lnTo>
                  <a:lnTo>
                    <a:pt x="461010" y="98108"/>
                  </a:lnTo>
                  <a:lnTo>
                    <a:pt x="472440" y="86678"/>
                  </a:lnTo>
                  <a:lnTo>
                    <a:pt x="474345" y="85725"/>
                  </a:lnTo>
                  <a:lnTo>
                    <a:pt x="477203" y="85725"/>
                  </a:lnTo>
                  <a:lnTo>
                    <a:pt x="480060" y="87630"/>
                  </a:lnTo>
                  <a:lnTo>
                    <a:pt x="483870" y="93345"/>
                  </a:lnTo>
                  <a:lnTo>
                    <a:pt x="486728" y="94297"/>
                  </a:lnTo>
                  <a:lnTo>
                    <a:pt x="489585" y="94297"/>
                  </a:lnTo>
                  <a:lnTo>
                    <a:pt x="495300" y="91440"/>
                  </a:lnTo>
                  <a:lnTo>
                    <a:pt x="498158" y="88583"/>
                  </a:lnTo>
                  <a:lnTo>
                    <a:pt x="505778" y="80963"/>
                  </a:lnTo>
                  <a:lnTo>
                    <a:pt x="510540" y="78105"/>
                  </a:lnTo>
                  <a:lnTo>
                    <a:pt x="520065" y="76200"/>
                  </a:lnTo>
                  <a:lnTo>
                    <a:pt x="581025" y="70485"/>
                  </a:lnTo>
                  <a:lnTo>
                    <a:pt x="588645" y="66675"/>
                  </a:lnTo>
                  <a:lnTo>
                    <a:pt x="592455" y="63817"/>
                  </a:lnTo>
                  <a:lnTo>
                    <a:pt x="641033" y="10478"/>
                  </a:lnTo>
                  <a:lnTo>
                    <a:pt x="654368" y="0"/>
                  </a:lnTo>
                  <a:lnTo>
                    <a:pt x="659130" y="953"/>
                  </a:lnTo>
                  <a:lnTo>
                    <a:pt x="665797" y="1905"/>
                  </a:lnTo>
                  <a:lnTo>
                    <a:pt x="681038" y="7620"/>
                  </a:lnTo>
                  <a:lnTo>
                    <a:pt x="688658" y="9525"/>
                  </a:lnTo>
                  <a:lnTo>
                    <a:pt x="693420" y="9525"/>
                  </a:lnTo>
                  <a:lnTo>
                    <a:pt x="707708" y="1905"/>
                  </a:lnTo>
                  <a:lnTo>
                    <a:pt x="713422" y="0"/>
                  </a:lnTo>
                  <a:lnTo>
                    <a:pt x="719138" y="0"/>
                  </a:lnTo>
                  <a:lnTo>
                    <a:pt x="725805" y="1905"/>
                  </a:lnTo>
                  <a:lnTo>
                    <a:pt x="759143" y="18097"/>
                  </a:lnTo>
                  <a:lnTo>
                    <a:pt x="762953" y="19050"/>
                  </a:lnTo>
                  <a:lnTo>
                    <a:pt x="766763" y="19050"/>
                  </a:lnTo>
                  <a:lnTo>
                    <a:pt x="769620" y="19050"/>
                  </a:lnTo>
                  <a:lnTo>
                    <a:pt x="784860" y="12383"/>
                  </a:lnTo>
                  <a:lnTo>
                    <a:pt x="788670" y="9525"/>
                  </a:lnTo>
                  <a:lnTo>
                    <a:pt x="794385" y="2858"/>
                  </a:lnTo>
                  <a:lnTo>
                    <a:pt x="796290" y="1905"/>
                  </a:lnTo>
                  <a:lnTo>
                    <a:pt x="799147" y="2858"/>
                  </a:lnTo>
                  <a:lnTo>
                    <a:pt x="802005" y="6667"/>
                  </a:lnTo>
                  <a:lnTo>
                    <a:pt x="802958" y="9525"/>
                  </a:lnTo>
                  <a:lnTo>
                    <a:pt x="803910" y="13335"/>
                  </a:lnTo>
                  <a:lnTo>
                    <a:pt x="802005" y="19050"/>
                  </a:lnTo>
                  <a:lnTo>
                    <a:pt x="800100" y="21908"/>
                  </a:lnTo>
                  <a:lnTo>
                    <a:pt x="794385" y="28575"/>
                  </a:lnTo>
                  <a:lnTo>
                    <a:pt x="792480" y="34290"/>
                  </a:lnTo>
                  <a:lnTo>
                    <a:pt x="789622" y="40005"/>
                  </a:lnTo>
                  <a:lnTo>
                    <a:pt x="788670" y="45720"/>
                  </a:lnTo>
                  <a:lnTo>
                    <a:pt x="788670" y="50483"/>
                  </a:lnTo>
                  <a:lnTo>
                    <a:pt x="789622" y="54292"/>
                  </a:lnTo>
                  <a:lnTo>
                    <a:pt x="794385" y="58103"/>
                  </a:lnTo>
                  <a:lnTo>
                    <a:pt x="798195" y="60960"/>
                  </a:lnTo>
                  <a:lnTo>
                    <a:pt x="802005" y="64770"/>
                  </a:lnTo>
                  <a:lnTo>
                    <a:pt x="802958" y="68580"/>
                  </a:lnTo>
                  <a:lnTo>
                    <a:pt x="804863" y="9334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0" name="Полилиния: фигура 12">
              <a:extLst>
                <a:ext uri="{FF2B5EF4-FFF2-40B4-BE49-F238E27FC236}">
                  <a16:creationId xmlns:a16="http://schemas.microsoft.com/office/drawing/2014/main" id="{FA546408-5406-078D-EC1F-324833AFF4C2}"/>
                </a:ext>
              </a:extLst>
            </p:cNvPr>
            <p:cNvSpPr/>
            <p:nvPr/>
          </p:nvSpPr>
          <p:spPr>
            <a:xfrm>
              <a:off x="1343025" y="2986088"/>
              <a:ext cx="1314450" cy="942975"/>
            </a:xfrm>
            <a:custGeom>
              <a:avLst/>
              <a:gdLst>
                <a:gd name="connsiteX0" fmla="*/ 385763 w 1314450"/>
                <a:gd name="connsiteY0" fmla="*/ 58103 h 942975"/>
                <a:gd name="connsiteX1" fmla="*/ 395288 w 1314450"/>
                <a:gd name="connsiteY1" fmla="*/ 63818 h 942975"/>
                <a:gd name="connsiteX2" fmla="*/ 404813 w 1314450"/>
                <a:gd name="connsiteY2" fmla="*/ 75247 h 942975"/>
                <a:gd name="connsiteX3" fmla="*/ 405765 w 1314450"/>
                <a:gd name="connsiteY3" fmla="*/ 81915 h 942975"/>
                <a:gd name="connsiteX4" fmla="*/ 401003 w 1314450"/>
                <a:gd name="connsiteY4" fmla="*/ 92393 h 942975"/>
                <a:gd name="connsiteX5" fmla="*/ 399098 w 1314450"/>
                <a:gd name="connsiteY5" fmla="*/ 98107 h 942975"/>
                <a:gd name="connsiteX6" fmla="*/ 399098 w 1314450"/>
                <a:gd name="connsiteY6" fmla="*/ 108585 h 942975"/>
                <a:gd name="connsiteX7" fmla="*/ 399098 w 1314450"/>
                <a:gd name="connsiteY7" fmla="*/ 111443 h 942975"/>
                <a:gd name="connsiteX8" fmla="*/ 400050 w 1314450"/>
                <a:gd name="connsiteY8" fmla="*/ 120015 h 942975"/>
                <a:gd name="connsiteX9" fmla="*/ 401955 w 1314450"/>
                <a:gd name="connsiteY9" fmla="*/ 125730 h 942975"/>
                <a:gd name="connsiteX10" fmla="*/ 404813 w 1314450"/>
                <a:gd name="connsiteY10" fmla="*/ 129540 h 942975"/>
                <a:gd name="connsiteX11" fmla="*/ 418148 w 1314450"/>
                <a:gd name="connsiteY11" fmla="*/ 145732 h 942975"/>
                <a:gd name="connsiteX12" fmla="*/ 437198 w 1314450"/>
                <a:gd name="connsiteY12" fmla="*/ 160972 h 942975"/>
                <a:gd name="connsiteX13" fmla="*/ 440055 w 1314450"/>
                <a:gd name="connsiteY13" fmla="*/ 165735 h 942975"/>
                <a:gd name="connsiteX14" fmla="*/ 441960 w 1314450"/>
                <a:gd name="connsiteY14" fmla="*/ 169545 h 942975"/>
                <a:gd name="connsiteX15" fmla="*/ 443865 w 1314450"/>
                <a:gd name="connsiteY15" fmla="*/ 175260 h 942975"/>
                <a:gd name="connsiteX16" fmla="*/ 447675 w 1314450"/>
                <a:gd name="connsiteY16" fmla="*/ 181928 h 942975"/>
                <a:gd name="connsiteX17" fmla="*/ 451485 w 1314450"/>
                <a:gd name="connsiteY17" fmla="*/ 183832 h 942975"/>
                <a:gd name="connsiteX18" fmla="*/ 455295 w 1314450"/>
                <a:gd name="connsiteY18" fmla="*/ 184785 h 942975"/>
                <a:gd name="connsiteX19" fmla="*/ 463868 w 1314450"/>
                <a:gd name="connsiteY19" fmla="*/ 184785 h 942975"/>
                <a:gd name="connsiteX20" fmla="*/ 467678 w 1314450"/>
                <a:gd name="connsiteY20" fmla="*/ 184785 h 942975"/>
                <a:gd name="connsiteX21" fmla="*/ 471488 w 1314450"/>
                <a:gd name="connsiteY21" fmla="*/ 183832 h 942975"/>
                <a:gd name="connsiteX22" fmla="*/ 476250 w 1314450"/>
                <a:gd name="connsiteY22" fmla="*/ 180975 h 942975"/>
                <a:gd name="connsiteX23" fmla="*/ 498158 w 1314450"/>
                <a:gd name="connsiteY23" fmla="*/ 174307 h 942975"/>
                <a:gd name="connsiteX24" fmla="*/ 512445 w 1314450"/>
                <a:gd name="connsiteY24" fmla="*/ 171450 h 942975"/>
                <a:gd name="connsiteX25" fmla="*/ 516255 w 1314450"/>
                <a:gd name="connsiteY25" fmla="*/ 172403 h 942975"/>
                <a:gd name="connsiteX26" fmla="*/ 520065 w 1314450"/>
                <a:gd name="connsiteY26" fmla="*/ 175260 h 942975"/>
                <a:gd name="connsiteX27" fmla="*/ 525780 w 1314450"/>
                <a:gd name="connsiteY27" fmla="*/ 180022 h 942975"/>
                <a:gd name="connsiteX28" fmla="*/ 529590 w 1314450"/>
                <a:gd name="connsiteY28" fmla="*/ 186690 h 942975"/>
                <a:gd name="connsiteX29" fmla="*/ 541973 w 1314450"/>
                <a:gd name="connsiteY29" fmla="*/ 218122 h 942975"/>
                <a:gd name="connsiteX30" fmla="*/ 552450 w 1314450"/>
                <a:gd name="connsiteY30" fmla="*/ 237172 h 942975"/>
                <a:gd name="connsiteX31" fmla="*/ 555308 w 1314450"/>
                <a:gd name="connsiteY31" fmla="*/ 240982 h 942975"/>
                <a:gd name="connsiteX32" fmla="*/ 559118 w 1314450"/>
                <a:gd name="connsiteY32" fmla="*/ 243840 h 942975"/>
                <a:gd name="connsiteX33" fmla="*/ 563880 w 1314450"/>
                <a:gd name="connsiteY33" fmla="*/ 247650 h 942975"/>
                <a:gd name="connsiteX34" fmla="*/ 568643 w 1314450"/>
                <a:gd name="connsiteY34" fmla="*/ 248603 h 942975"/>
                <a:gd name="connsiteX35" fmla="*/ 593408 w 1314450"/>
                <a:gd name="connsiteY35" fmla="*/ 251460 h 942975"/>
                <a:gd name="connsiteX36" fmla="*/ 600075 w 1314450"/>
                <a:gd name="connsiteY36" fmla="*/ 250507 h 942975"/>
                <a:gd name="connsiteX37" fmla="*/ 605790 w 1314450"/>
                <a:gd name="connsiteY37" fmla="*/ 249555 h 942975"/>
                <a:gd name="connsiteX38" fmla="*/ 610553 w 1314450"/>
                <a:gd name="connsiteY38" fmla="*/ 243840 h 942975"/>
                <a:gd name="connsiteX39" fmla="*/ 612458 w 1314450"/>
                <a:gd name="connsiteY39" fmla="*/ 243840 h 942975"/>
                <a:gd name="connsiteX40" fmla="*/ 614363 w 1314450"/>
                <a:gd name="connsiteY40" fmla="*/ 243840 h 942975"/>
                <a:gd name="connsiteX41" fmla="*/ 616268 w 1314450"/>
                <a:gd name="connsiteY41" fmla="*/ 250507 h 942975"/>
                <a:gd name="connsiteX42" fmla="*/ 616268 w 1314450"/>
                <a:gd name="connsiteY42" fmla="*/ 260032 h 942975"/>
                <a:gd name="connsiteX43" fmla="*/ 617220 w 1314450"/>
                <a:gd name="connsiteY43" fmla="*/ 264795 h 942975"/>
                <a:gd name="connsiteX44" fmla="*/ 620078 w 1314450"/>
                <a:gd name="connsiteY44" fmla="*/ 268605 h 942975"/>
                <a:gd name="connsiteX45" fmla="*/ 622935 w 1314450"/>
                <a:gd name="connsiteY45" fmla="*/ 268605 h 942975"/>
                <a:gd name="connsiteX46" fmla="*/ 626745 w 1314450"/>
                <a:gd name="connsiteY46" fmla="*/ 266700 h 942975"/>
                <a:gd name="connsiteX47" fmla="*/ 629603 w 1314450"/>
                <a:gd name="connsiteY47" fmla="*/ 264795 h 942975"/>
                <a:gd name="connsiteX48" fmla="*/ 637223 w 1314450"/>
                <a:gd name="connsiteY48" fmla="*/ 254318 h 942975"/>
                <a:gd name="connsiteX49" fmla="*/ 639128 w 1314450"/>
                <a:gd name="connsiteY49" fmla="*/ 252413 h 942975"/>
                <a:gd name="connsiteX50" fmla="*/ 641985 w 1314450"/>
                <a:gd name="connsiteY50" fmla="*/ 251460 h 942975"/>
                <a:gd name="connsiteX51" fmla="*/ 645795 w 1314450"/>
                <a:gd name="connsiteY51" fmla="*/ 252413 h 942975"/>
                <a:gd name="connsiteX52" fmla="*/ 650558 w 1314450"/>
                <a:gd name="connsiteY52" fmla="*/ 257175 h 942975"/>
                <a:gd name="connsiteX53" fmla="*/ 652463 w 1314450"/>
                <a:gd name="connsiteY53" fmla="*/ 260985 h 942975"/>
                <a:gd name="connsiteX54" fmla="*/ 652463 w 1314450"/>
                <a:gd name="connsiteY54" fmla="*/ 264795 h 942975"/>
                <a:gd name="connsiteX55" fmla="*/ 652463 w 1314450"/>
                <a:gd name="connsiteY55" fmla="*/ 269557 h 942975"/>
                <a:gd name="connsiteX56" fmla="*/ 653415 w 1314450"/>
                <a:gd name="connsiteY56" fmla="*/ 272415 h 942975"/>
                <a:gd name="connsiteX57" fmla="*/ 655320 w 1314450"/>
                <a:gd name="connsiteY57" fmla="*/ 277178 h 942975"/>
                <a:gd name="connsiteX58" fmla="*/ 656273 w 1314450"/>
                <a:gd name="connsiteY58" fmla="*/ 279082 h 942975"/>
                <a:gd name="connsiteX59" fmla="*/ 661035 w 1314450"/>
                <a:gd name="connsiteY59" fmla="*/ 281940 h 942975"/>
                <a:gd name="connsiteX60" fmla="*/ 666750 w 1314450"/>
                <a:gd name="connsiteY60" fmla="*/ 283845 h 942975"/>
                <a:gd name="connsiteX61" fmla="*/ 681990 w 1314450"/>
                <a:gd name="connsiteY61" fmla="*/ 286703 h 942975"/>
                <a:gd name="connsiteX62" fmla="*/ 692468 w 1314450"/>
                <a:gd name="connsiteY62" fmla="*/ 287655 h 942975"/>
                <a:gd name="connsiteX63" fmla="*/ 720090 w 1314450"/>
                <a:gd name="connsiteY63" fmla="*/ 283845 h 942975"/>
                <a:gd name="connsiteX64" fmla="*/ 725805 w 1314450"/>
                <a:gd name="connsiteY64" fmla="*/ 284797 h 942975"/>
                <a:gd name="connsiteX65" fmla="*/ 738188 w 1314450"/>
                <a:gd name="connsiteY65" fmla="*/ 290513 h 942975"/>
                <a:gd name="connsiteX66" fmla="*/ 760095 w 1314450"/>
                <a:gd name="connsiteY66" fmla="*/ 296228 h 942975"/>
                <a:gd name="connsiteX67" fmla="*/ 780098 w 1314450"/>
                <a:gd name="connsiteY67" fmla="*/ 305753 h 942975"/>
                <a:gd name="connsiteX68" fmla="*/ 813435 w 1314450"/>
                <a:gd name="connsiteY68" fmla="*/ 345757 h 942975"/>
                <a:gd name="connsiteX69" fmla="*/ 822960 w 1314450"/>
                <a:gd name="connsiteY69" fmla="*/ 353378 h 942975"/>
                <a:gd name="connsiteX70" fmla="*/ 826770 w 1314450"/>
                <a:gd name="connsiteY70" fmla="*/ 354330 h 942975"/>
                <a:gd name="connsiteX71" fmla="*/ 831533 w 1314450"/>
                <a:gd name="connsiteY71" fmla="*/ 354330 h 942975"/>
                <a:gd name="connsiteX72" fmla="*/ 839153 w 1314450"/>
                <a:gd name="connsiteY72" fmla="*/ 351472 h 942975"/>
                <a:gd name="connsiteX73" fmla="*/ 844868 w 1314450"/>
                <a:gd name="connsiteY73" fmla="*/ 350520 h 942975"/>
                <a:gd name="connsiteX74" fmla="*/ 851535 w 1314450"/>
                <a:gd name="connsiteY74" fmla="*/ 350520 h 942975"/>
                <a:gd name="connsiteX75" fmla="*/ 858203 w 1314450"/>
                <a:gd name="connsiteY75" fmla="*/ 351472 h 942975"/>
                <a:gd name="connsiteX76" fmla="*/ 863918 w 1314450"/>
                <a:gd name="connsiteY76" fmla="*/ 353378 h 942975"/>
                <a:gd name="connsiteX77" fmla="*/ 866775 w 1314450"/>
                <a:gd name="connsiteY77" fmla="*/ 355282 h 942975"/>
                <a:gd name="connsiteX78" fmla="*/ 868680 w 1314450"/>
                <a:gd name="connsiteY78" fmla="*/ 358140 h 942975"/>
                <a:gd name="connsiteX79" fmla="*/ 870585 w 1314450"/>
                <a:gd name="connsiteY79" fmla="*/ 364807 h 942975"/>
                <a:gd name="connsiteX80" fmla="*/ 870585 w 1314450"/>
                <a:gd name="connsiteY80" fmla="*/ 369570 h 942975"/>
                <a:gd name="connsiteX81" fmla="*/ 868680 w 1314450"/>
                <a:gd name="connsiteY81" fmla="*/ 380047 h 942975"/>
                <a:gd name="connsiteX82" fmla="*/ 869633 w 1314450"/>
                <a:gd name="connsiteY82" fmla="*/ 385763 h 942975"/>
                <a:gd name="connsiteX83" fmla="*/ 871538 w 1314450"/>
                <a:gd name="connsiteY83" fmla="*/ 389572 h 942975"/>
                <a:gd name="connsiteX84" fmla="*/ 874395 w 1314450"/>
                <a:gd name="connsiteY84" fmla="*/ 393382 h 942975"/>
                <a:gd name="connsiteX85" fmla="*/ 903923 w 1314450"/>
                <a:gd name="connsiteY85" fmla="*/ 418147 h 942975"/>
                <a:gd name="connsiteX86" fmla="*/ 908685 w 1314450"/>
                <a:gd name="connsiteY86" fmla="*/ 421005 h 942975"/>
                <a:gd name="connsiteX87" fmla="*/ 913448 w 1314450"/>
                <a:gd name="connsiteY87" fmla="*/ 422910 h 942975"/>
                <a:gd name="connsiteX88" fmla="*/ 920115 w 1314450"/>
                <a:gd name="connsiteY88" fmla="*/ 423863 h 942975"/>
                <a:gd name="connsiteX89" fmla="*/ 924878 w 1314450"/>
                <a:gd name="connsiteY89" fmla="*/ 425768 h 942975"/>
                <a:gd name="connsiteX90" fmla="*/ 928688 w 1314450"/>
                <a:gd name="connsiteY90" fmla="*/ 428625 h 942975"/>
                <a:gd name="connsiteX91" fmla="*/ 933450 w 1314450"/>
                <a:gd name="connsiteY91" fmla="*/ 434340 h 942975"/>
                <a:gd name="connsiteX92" fmla="*/ 935355 w 1314450"/>
                <a:gd name="connsiteY92" fmla="*/ 438150 h 942975"/>
                <a:gd name="connsiteX93" fmla="*/ 939165 w 1314450"/>
                <a:gd name="connsiteY93" fmla="*/ 446722 h 942975"/>
                <a:gd name="connsiteX94" fmla="*/ 940118 w 1314450"/>
                <a:gd name="connsiteY94" fmla="*/ 451485 h 942975"/>
                <a:gd name="connsiteX95" fmla="*/ 941070 w 1314450"/>
                <a:gd name="connsiteY95" fmla="*/ 456247 h 942975"/>
                <a:gd name="connsiteX96" fmla="*/ 939165 w 1314450"/>
                <a:gd name="connsiteY96" fmla="*/ 462915 h 942975"/>
                <a:gd name="connsiteX97" fmla="*/ 937260 w 1314450"/>
                <a:gd name="connsiteY97" fmla="*/ 468630 h 942975"/>
                <a:gd name="connsiteX98" fmla="*/ 936308 w 1314450"/>
                <a:gd name="connsiteY98" fmla="*/ 474345 h 942975"/>
                <a:gd name="connsiteX99" fmla="*/ 935355 w 1314450"/>
                <a:gd name="connsiteY99" fmla="*/ 481013 h 942975"/>
                <a:gd name="connsiteX100" fmla="*/ 936308 w 1314450"/>
                <a:gd name="connsiteY100" fmla="*/ 483870 h 942975"/>
                <a:gd name="connsiteX101" fmla="*/ 938213 w 1314450"/>
                <a:gd name="connsiteY101" fmla="*/ 486728 h 942975"/>
                <a:gd name="connsiteX102" fmla="*/ 941070 w 1314450"/>
                <a:gd name="connsiteY102" fmla="*/ 488632 h 942975"/>
                <a:gd name="connsiteX103" fmla="*/ 946785 w 1314450"/>
                <a:gd name="connsiteY103" fmla="*/ 491490 h 942975"/>
                <a:gd name="connsiteX104" fmla="*/ 950595 w 1314450"/>
                <a:gd name="connsiteY104" fmla="*/ 492443 h 942975"/>
                <a:gd name="connsiteX105" fmla="*/ 954405 w 1314450"/>
                <a:gd name="connsiteY105" fmla="*/ 492443 h 942975"/>
                <a:gd name="connsiteX106" fmla="*/ 959168 w 1314450"/>
                <a:gd name="connsiteY106" fmla="*/ 490538 h 942975"/>
                <a:gd name="connsiteX107" fmla="*/ 963930 w 1314450"/>
                <a:gd name="connsiteY107" fmla="*/ 487680 h 942975"/>
                <a:gd name="connsiteX108" fmla="*/ 965835 w 1314450"/>
                <a:gd name="connsiteY108" fmla="*/ 485775 h 942975"/>
                <a:gd name="connsiteX109" fmla="*/ 974408 w 1314450"/>
                <a:gd name="connsiteY109" fmla="*/ 476250 h 942975"/>
                <a:gd name="connsiteX110" fmla="*/ 985838 w 1314450"/>
                <a:gd name="connsiteY110" fmla="*/ 468630 h 942975"/>
                <a:gd name="connsiteX111" fmla="*/ 1008698 w 1314450"/>
                <a:gd name="connsiteY111" fmla="*/ 464820 h 942975"/>
                <a:gd name="connsiteX112" fmla="*/ 1019175 w 1314450"/>
                <a:gd name="connsiteY112" fmla="*/ 460057 h 942975"/>
                <a:gd name="connsiteX113" fmla="*/ 1044893 w 1314450"/>
                <a:gd name="connsiteY113" fmla="*/ 442913 h 942975"/>
                <a:gd name="connsiteX114" fmla="*/ 1049655 w 1314450"/>
                <a:gd name="connsiteY114" fmla="*/ 441960 h 942975"/>
                <a:gd name="connsiteX115" fmla="*/ 1052513 w 1314450"/>
                <a:gd name="connsiteY115" fmla="*/ 441960 h 942975"/>
                <a:gd name="connsiteX116" fmla="*/ 1055370 w 1314450"/>
                <a:gd name="connsiteY116" fmla="*/ 443865 h 942975"/>
                <a:gd name="connsiteX117" fmla="*/ 1057275 w 1314450"/>
                <a:gd name="connsiteY117" fmla="*/ 446722 h 942975"/>
                <a:gd name="connsiteX118" fmla="*/ 1057275 w 1314450"/>
                <a:gd name="connsiteY118" fmla="*/ 452438 h 942975"/>
                <a:gd name="connsiteX119" fmla="*/ 1057275 w 1314450"/>
                <a:gd name="connsiteY119" fmla="*/ 456247 h 942975"/>
                <a:gd name="connsiteX120" fmla="*/ 1056323 w 1314450"/>
                <a:gd name="connsiteY120" fmla="*/ 463868 h 942975"/>
                <a:gd name="connsiteX121" fmla="*/ 1055370 w 1314450"/>
                <a:gd name="connsiteY121" fmla="*/ 468630 h 942975"/>
                <a:gd name="connsiteX122" fmla="*/ 1056323 w 1314450"/>
                <a:gd name="connsiteY122" fmla="*/ 477203 h 942975"/>
                <a:gd name="connsiteX123" fmla="*/ 1058228 w 1314450"/>
                <a:gd name="connsiteY123" fmla="*/ 482918 h 942975"/>
                <a:gd name="connsiteX124" fmla="*/ 1059180 w 1314450"/>
                <a:gd name="connsiteY124" fmla="*/ 488632 h 942975"/>
                <a:gd name="connsiteX125" fmla="*/ 1059180 w 1314450"/>
                <a:gd name="connsiteY125" fmla="*/ 491490 h 942975"/>
                <a:gd name="connsiteX126" fmla="*/ 1058228 w 1314450"/>
                <a:gd name="connsiteY126" fmla="*/ 498157 h 942975"/>
                <a:gd name="connsiteX127" fmla="*/ 1057275 w 1314450"/>
                <a:gd name="connsiteY127" fmla="*/ 501015 h 942975"/>
                <a:gd name="connsiteX128" fmla="*/ 1053465 w 1314450"/>
                <a:gd name="connsiteY128" fmla="*/ 521018 h 942975"/>
                <a:gd name="connsiteX129" fmla="*/ 1053465 w 1314450"/>
                <a:gd name="connsiteY129" fmla="*/ 527685 h 942975"/>
                <a:gd name="connsiteX130" fmla="*/ 1054418 w 1314450"/>
                <a:gd name="connsiteY130" fmla="*/ 537210 h 942975"/>
                <a:gd name="connsiteX131" fmla="*/ 1058228 w 1314450"/>
                <a:gd name="connsiteY131" fmla="*/ 561022 h 942975"/>
                <a:gd name="connsiteX132" fmla="*/ 1059180 w 1314450"/>
                <a:gd name="connsiteY132" fmla="*/ 563880 h 942975"/>
                <a:gd name="connsiteX133" fmla="*/ 1061085 w 1314450"/>
                <a:gd name="connsiteY133" fmla="*/ 567690 h 942975"/>
                <a:gd name="connsiteX134" fmla="*/ 1063943 w 1314450"/>
                <a:gd name="connsiteY134" fmla="*/ 572453 h 942975"/>
                <a:gd name="connsiteX135" fmla="*/ 1070610 w 1314450"/>
                <a:gd name="connsiteY135" fmla="*/ 579120 h 942975"/>
                <a:gd name="connsiteX136" fmla="*/ 1074420 w 1314450"/>
                <a:gd name="connsiteY136" fmla="*/ 581978 h 942975"/>
                <a:gd name="connsiteX137" fmla="*/ 1078230 w 1314450"/>
                <a:gd name="connsiteY137" fmla="*/ 583882 h 942975"/>
                <a:gd name="connsiteX138" fmla="*/ 1094423 w 1314450"/>
                <a:gd name="connsiteY138" fmla="*/ 587693 h 942975"/>
                <a:gd name="connsiteX139" fmla="*/ 1107758 w 1314450"/>
                <a:gd name="connsiteY139" fmla="*/ 587693 h 942975"/>
                <a:gd name="connsiteX140" fmla="*/ 1120140 w 1314450"/>
                <a:gd name="connsiteY140" fmla="*/ 585788 h 942975"/>
                <a:gd name="connsiteX141" fmla="*/ 1124903 w 1314450"/>
                <a:gd name="connsiteY141" fmla="*/ 583882 h 942975"/>
                <a:gd name="connsiteX142" fmla="*/ 1131570 w 1314450"/>
                <a:gd name="connsiteY142" fmla="*/ 579120 h 942975"/>
                <a:gd name="connsiteX143" fmla="*/ 1134428 w 1314450"/>
                <a:gd name="connsiteY143" fmla="*/ 575310 h 942975"/>
                <a:gd name="connsiteX144" fmla="*/ 1139190 w 1314450"/>
                <a:gd name="connsiteY144" fmla="*/ 567690 h 942975"/>
                <a:gd name="connsiteX145" fmla="*/ 1142048 w 1314450"/>
                <a:gd name="connsiteY145" fmla="*/ 560070 h 942975"/>
                <a:gd name="connsiteX146" fmla="*/ 1143953 w 1314450"/>
                <a:gd name="connsiteY146" fmla="*/ 558165 h 942975"/>
                <a:gd name="connsiteX147" fmla="*/ 1145858 w 1314450"/>
                <a:gd name="connsiteY147" fmla="*/ 557213 h 942975"/>
                <a:gd name="connsiteX148" fmla="*/ 1149668 w 1314450"/>
                <a:gd name="connsiteY148" fmla="*/ 560070 h 942975"/>
                <a:gd name="connsiteX149" fmla="*/ 1153478 w 1314450"/>
                <a:gd name="connsiteY149" fmla="*/ 562928 h 942975"/>
                <a:gd name="connsiteX150" fmla="*/ 1159193 w 1314450"/>
                <a:gd name="connsiteY150" fmla="*/ 567690 h 942975"/>
                <a:gd name="connsiteX151" fmla="*/ 1162050 w 1314450"/>
                <a:gd name="connsiteY151" fmla="*/ 571500 h 942975"/>
                <a:gd name="connsiteX152" fmla="*/ 1163955 w 1314450"/>
                <a:gd name="connsiteY152" fmla="*/ 576263 h 942975"/>
                <a:gd name="connsiteX153" fmla="*/ 1165860 w 1314450"/>
                <a:gd name="connsiteY153" fmla="*/ 585788 h 942975"/>
                <a:gd name="connsiteX154" fmla="*/ 1166813 w 1314450"/>
                <a:gd name="connsiteY154" fmla="*/ 595313 h 942975"/>
                <a:gd name="connsiteX155" fmla="*/ 1168718 w 1314450"/>
                <a:gd name="connsiteY155" fmla="*/ 598170 h 942975"/>
                <a:gd name="connsiteX156" fmla="*/ 1170623 w 1314450"/>
                <a:gd name="connsiteY156" fmla="*/ 598170 h 942975"/>
                <a:gd name="connsiteX157" fmla="*/ 1183958 w 1314450"/>
                <a:gd name="connsiteY157" fmla="*/ 598170 h 942975"/>
                <a:gd name="connsiteX158" fmla="*/ 1187768 w 1314450"/>
                <a:gd name="connsiteY158" fmla="*/ 600075 h 942975"/>
                <a:gd name="connsiteX159" fmla="*/ 1190625 w 1314450"/>
                <a:gd name="connsiteY159" fmla="*/ 602932 h 942975"/>
                <a:gd name="connsiteX160" fmla="*/ 1195388 w 1314450"/>
                <a:gd name="connsiteY160" fmla="*/ 608647 h 942975"/>
                <a:gd name="connsiteX161" fmla="*/ 1201103 w 1314450"/>
                <a:gd name="connsiteY161" fmla="*/ 614363 h 942975"/>
                <a:gd name="connsiteX162" fmla="*/ 1211580 w 1314450"/>
                <a:gd name="connsiteY162" fmla="*/ 621982 h 942975"/>
                <a:gd name="connsiteX163" fmla="*/ 1245870 w 1314450"/>
                <a:gd name="connsiteY163" fmla="*/ 654368 h 942975"/>
                <a:gd name="connsiteX164" fmla="*/ 1249680 w 1314450"/>
                <a:gd name="connsiteY164" fmla="*/ 659130 h 942975"/>
                <a:gd name="connsiteX165" fmla="*/ 1259205 w 1314450"/>
                <a:gd name="connsiteY165" fmla="*/ 679132 h 942975"/>
                <a:gd name="connsiteX166" fmla="*/ 1269683 w 1314450"/>
                <a:gd name="connsiteY166" fmla="*/ 696278 h 942975"/>
                <a:gd name="connsiteX167" fmla="*/ 1270635 w 1314450"/>
                <a:gd name="connsiteY167" fmla="*/ 699135 h 942975"/>
                <a:gd name="connsiteX168" fmla="*/ 1271588 w 1314450"/>
                <a:gd name="connsiteY168" fmla="*/ 702945 h 942975"/>
                <a:gd name="connsiteX169" fmla="*/ 1269683 w 1314450"/>
                <a:gd name="connsiteY169" fmla="*/ 707707 h 942975"/>
                <a:gd name="connsiteX170" fmla="*/ 1266825 w 1314450"/>
                <a:gd name="connsiteY170" fmla="*/ 714375 h 942975"/>
                <a:gd name="connsiteX171" fmla="*/ 1263968 w 1314450"/>
                <a:gd name="connsiteY171" fmla="*/ 719138 h 942975"/>
                <a:gd name="connsiteX172" fmla="*/ 1261110 w 1314450"/>
                <a:gd name="connsiteY172" fmla="*/ 723900 h 942975"/>
                <a:gd name="connsiteX173" fmla="*/ 1259205 w 1314450"/>
                <a:gd name="connsiteY173" fmla="*/ 729615 h 942975"/>
                <a:gd name="connsiteX174" fmla="*/ 1259205 w 1314450"/>
                <a:gd name="connsiteY174" fmla="*/ 733425 h 942975"/>
                <a:gd name="connsiteX175" fmla="*/ 1259205 w 1314450"/>
                <a:gd name="connsiteY175" fmla="*/ 737235 h 942975"/>
                <a:gd name="connsiteX176" fmla="*/ 1260158 w 1314450"/>
                <a:gd name="connsiteY176" fmla="*/ 741997 h 942975"/>
                <a:gd name="connsiteX177" fmla="*/ 1263015 w 1314450"/>
                <a:gd name="connsiteY177" fmla="*/ 749618 h 942975"/>
                <a:gd name="connsiteX178" fmla="*/ 1264920 w 1314450"/>
                <a:gd name="connsiteY178" fmla="*/ 753428 h 942975"/>
                <a:gd name="connsiteX179" fmla="*/ 1268730 w 1314450"/>
                <a:gd name="connsiteY179" fmla="*/ 758190 h 942975"/>
                <a:gd name="connsiteX180" fmla="*/ 1304925 w 1314450"/>
                <a:gd name="connsiteY180" fmla="*/ 794385 h 942975"/>
                <a:gd name="connsiteX181" fmla="*/ 1322070 w 1314450"/>
                <a:gd name="connsiteY181" fmla="*/ 820103 h 942975"/>
                <a:gd name="connsiteX182" fmla="*/ 1323023 w 1314450"/>
                <a:gd name="connsiteY182" fmla="*/ 822960 h 942975"/>
                <a:gd name="connsiteX183" fmla="*/ 1322070 w 1314450"/>
                <a:gd name="connsiteY183" fmla="*/ 826770 h 942975"/>
                <a:gd name="connsiteX184" fmla="*/ 1294448 w 1314450"/>
                <a:gd name="connsiteY184" fmla="*/ 867728 h 942975"/>
                <a:gd name="connsiteX185" fmla="*/ 1291590 w 1314450"/>
                <a:gd name="connsiteY185" fmla="*/ 877253 h 942975"/>
                <a:gd name="connsiteX186" fmla="*/ 1286828 w 1314450"/>
                <a:gd name="connsiteY186" fmla="*/ 904875 h 942975"/>
                <a:gd name="connsiteX187" fmla="*/ 1284923 w 1314450"/>
                <a:gd name="connsiteY187" fmla="*/ 914400 h 942975"/>
                <a:gd name="connsiteX188" fmla="*/ 1281113 w 1314450"/>
                <a:gd name="connsiteY188" fmla="*/ 911543 h 942975"/>
                <a:gd name="connsiteX189" fmla="*/ 1270635 w 1314450"/>
                <a:gd name="connsiteY189" fmla="*/ 908685 h 942975"/>
                <a:gd name="connsiteX190" fmla="*/ 1241108 w 1314450"/>
                <a:gd name="connsiteY190" fmla="*/ 909638 h 942975"/>
                <a:gd name="connsiteX191" fmla="*/ 1210628 w 1314450"/>
                <a:gd name="connsiteY191" fmla="*/ 902018 h 942975"/>
                <a:gd name="connsiteX192" fmla="*/ 1200150 w 1314450"/>
                <a:gd name="connsiteY192" fmla="*/ 902970 h 942975"/>
                <a:gd name="connsiteX193" fmla="*/ 1188720 w 1314450"/>
                <a:gd name="connsiteY193" fmla="*/ 908685 h 942975"/>
                <a:gd name="connsiteX194" fmla="*/ 1167765 w 1314450"/>
                <a:gd name="connsiteY194" fmla="*/ 926782 h 942975"/>
                <a:gd name="connsiteX195" fmla="*/ 1142048 w 1314450"/>
                <a:gd name="connsiteY195" fmla="*/ 927735 h 942975"/>
                <a:gd name="connsiteX196" fmla="*/ 1106805 w 1314450"/>
                <a:gd name="connsiteY196" fmla="*/ 945832 h 942975"/>
                <a:gd name="connsiteX197" fmla="*/ 1095375 w 1314450"/>
                <a:gd name="connsiteY197" fmla="*/ 945832 h 942975"/>
                <a:gd name="connsiteX198" fmla="*/ 1063943 w 1314450"/>
                <a:gd name="connsiteY198" fmla="*/ 933450 h 942975"/>
                <a:gd name="connsiteX199" fmla="*/ 1062990 w 1314450"/>
                <a:gd name="connsiteY199" fmla="*/ 934403 h 942975"/>
                <a:gd name="connsiteX200" fmla="*/ 1053465 w 1314450"/>
                <a:gd name="connsiteY200" fmla="*/ 932497 h 942975"/>
                <a:gd name="connsiteX201" fmla="*/ 1034415 w 1314450"/>
                <a:gd name="connsiteY201" fmla="*/ 913447 h 942975"/>
                <a:gd name="connsiteX202" fmla="*/ 1023938 w 1314450"/>
                <a:gd name="connsiteY202" fmla="*/ 908685 h 942975"/>
                <a:gd name="connsiteX203" fmla="*/ 998220 w 1314450"/>
                <a:gd name="connsiteY203" fmla="*/ 902018 h 942975"/>
                <a:gd name="connsiteX204" fmla="*/ 989648 w 1314450"/>
                <a:gd name="connsiteY204" fmla="*/ 895350 h 942975"/>
                <a:gd name="connsiteX205" fmla="*/ 972503 w 1314450"/>
                <a:gd name="connsiteY205" fmla="*/ 894397 h 942975"/>
                <a:gd name="connsiteX206" fmla="*/ 919163 w 1314450"/>
                <a:gd name="connsiteY206" fmla="*/ 916305 h 942975"/>
                <a:gd name="connsiteX207" fmla="*/ 908685 w 1314450"/>
                <a:gd name="connsiteY207" fmla="*/ 916305 h 942975"/>
                <a:gd name="connsiteX208" fmla="*/ 904875 w 1314450"/>
                <a:gd name="connsiteY208" fmla="*/ 904875 h 942975"/>
                <a:gd name="connsiteX209" fmla="*/ 877253 w 1314450"/>
                <a:gd name="connsiteY209" fmla="*/ 879157 h 942975"/>
                <a:gd name="connsiteX210" fmla="*/ 868680 w 1314450"/>
                <a:gd name="connsiteY210" fmla="*/ 874395 h 942975"/>
                <a:gd name="connsiteX211" fmla="*/ 831533 w 1314450"/>
                <a:gd name="connsiteY211" fmla="*/ 876300 h 942975"/>
                <a:gd name="connsiteX212" fmla="*/ 820103 w 1314450"/>
                <a:gd name="connsiteY212" fmla="*/ 874395 h 942975"/>
                <a:gd name="connsiteX213" fmla="*/ 798195 w 1314450"/>
                <a:gd name="connsiteY213" fmla="*/ 867728 h 942975"/>
                <a:gd name="connsiteX214" fmla="*/ 763905 w 1314450"/>
                <a:gd name="connsiteY214" fmla="*/ 863918 h 942975"/>
                <a:gd name="connsiteX215" fmla="*/ 754380 w 1314450"/>
                <a:gd name="connsiteY215" fmla="*/ 860107 h 942975"/>
                <a:gd name="connsiteX216" fmla="*/ 734378 w 1314450"/>
                <a:gd name="connsiteY216" fmla="*/ 863918 h 942975"/>
                <a:gd name="connsiteX217" fmla="*/ 728663 w 1314450"/>
                <a:gd name="connsiteY217" fmla="*/ 865822 h 942975"/>
                <a:gd name="connsiteX218" fmla="*/ 722948 w 1314450"/>
                <a:gd name="connsiteY218" fmla="*/ 870585 h 942975"/>
                <a:gd name="connsiteX219" fmla="*/ 721043 w 1314450"/>
                <a:gd name="connsiteY219" fmla="*/ 875347 h 942975"/>
                <a:gd name="connsiteX220" fmla="*/ 718185 w 1314450"/>
                <a:gd name="connsiteY220" fmla="*/ 880110 h 942975"/>
                <a:gd name="connsiteX221" fmla="*/ 715328 w 1314450"/>
                <a:gd name="connsiteY221" fmla="*/ 883920 h 942975"/>
                <a:gd name="connsiteX222" fmla="*/ 711518 w 1314450"/>
                <a:gd name="connsiteY222" fmla="*/ 886778 h 942975"/>
                <a:gd name="connsiteX223" fmla="*/ 700088 w 1314450"/>
                <a:gd name="connsiteY223" fmla="*/ 887730 h 942975"/>
                <a:gd name="connsiteX224" fmla="*/ 665798 w 1314450"/>
                <a:gd name="connsiteY224" fmla="*/ 870585 h 942975"/>
                <a:gd name="connsiteX225" fmla="*/ 663893 w 1314450"/>
                <a:gd name="connsiteY225" fmla="*/ 869632 h 942975"/>
                <a:gd name="connsiteX226" fmla="*/ 659130 w 1314450"/>
                <a:gd name="connsiteY226" fmla="*/ 871538 h 942975"/>
                <a:gd name="connsiteX227" fmla="*/ 655320 w 1314450"/>
                <a:gd name="connsiteY227" fmla="*/ 872490 h 942975"/>
                <a:gd name="connsiteX228" fmla="*/ 650558 w 1314450"/>
                <a:gd name="connsiteY228" fmla="*/ 871538 h 942975"/>
                <a:gd name="connsiteX229" fmla="*/ 646748 w 1314450"/>
                <a:gd name="connsiteY229" fmla="*/ 870585 h 942975"/>
                <a:gd name="connsiteX230" fmla="*/ 635318 w 1314450"/>
                <a:gd name="connsiteY230" fmla="*/ 856297 h 942975"/>
                <a:gd name="connsiteX231" fmla="*/ 610553 w 1314450"/>
                <a:gd name="connsiteY231" fmla="*/ 834390 h 942975"/>
                <a:gd name="connsiteX232" fmla="*/ 588645 w 1314450"/>
                <a:gd name="connsiteY232" fmla="*/ 808672 h 942975"/>
                <a:gd name="connsiteX233" fmla="*/ 579120 w 1314450"/>
                <a:gd name="connsiteY233" fmla="*/ 802005 h 942975"/>
                <a:gd name="connsiteX234" fmla="*/ 542925 w 1314450"/>
                <a:gd name="connsiteY234" fmla="*/ 788670 h 942975"/>
                <a:gd name="connsiteX235" fmla="*/ 530543 w 1314450"/>
                <a:gd name="connsiteY235" fmla="*/ 787718 h 942975"/>
                <a:gd name="connsiteX236" fmla="*/ 520065 w 1314450"/>
                <a:gd name="connsiteY236" fmla="*/ 792480 h 942975"/>
                <a:gd name="connsiteX237" fmla="*/ 509588 w 1314450"/>
                <a:gd name="connsiteY237" fmla="*/ 808672 h 942975"/>
                <a:gd name="connsiteX238" fmla="*/ 497205 w 1314450"/>
                <a:gd name="connsiteY238" fmla="*/ 845820 h 942975"/>
                <a:gd name="connsiteX239" fmla="*/ 490538 w 1314450"/>
                <a:gd name="connsiteY239" fmla="*/ 859155 h 942975"/>
                <a:gd name="connsiteX240" fmla="*/ 467678 w 1314450"/>
                <a:gd name="connsiteY240" fmla="*/ 876300 h 942975"/>
                <a:gd name="connsiteX241" fmla="*/ 460058 w 1314450"/>
                <a:gd name="connsiteY241" fmla="*/ 878205 h 942975"/>
                <a:gd name="connsiteX242" fmla="*/ 451485 w 1314450"/>
                <a:gd name="connsiteY242" fmla="*/ 875347 h 942975"/>
                <a:gd name="connsiteX243" fmla="*/ 442913 w 1314450"/>
                <a:gd name="connsiteY243" fmla="*/ 870585 h 942975"/>
                <a:gd name="connsiteX244" fmla="*/ 434340 w 1314450"/>
                <a:gd name="connsiteY244" fmla="*/ 864870 h 942975"/>
                <a:gd name="connsiteX245" fmla="*/ 424815 w 1314450"/>
                <a:gd name="connsiteY245" fmla="*/ 860107 h 942975"/>
                <a:gd name="connsiteX246" fmla="*/ 417195 w 1314450"/>
                <a:gd name="connsiteY246" fmla="*/ 861060 h 942975"/>
                <a:gd name="connsiteX247" fmla="*/ 412433 w 1314450"/>
                <a:gd name="connsiteY247" fmla="*/ 870585 h 942975"/>
                <a:gd name="connsiteX248" fmla="*/ 417195 w 1314450"/>
                <a:gd name="connsiteY248" fmla="*/ 885825 h 942975"/>
                <a:gd name="connsiteX249" fmla="*/ 412433 w 1314450"/>
                <a:gd name="connsiteY249" fmla="*/ 897255 h 942975"/>
                <a:gd name="connsiteX250" fmla="*/ 403860 w 1314450"/>
                <a:gd name="connsiteY250" fmla="*/ 902970 h 942975"/>
                <a:gd name="connsiteX251" fmla="*/ 392430 w 1314450"/>
                <a:gd name="connsiteY251" fmla="*/ 906780 h 942975"/>
                <a:gd name="connsiteX252" fmla="*/ 373380 w 1314450"/>
                <a:gd name="connsiteY252" fmla="*/ 890588 h 942975"/>
                <a:gd name="connsiteX253" fmla="*/ 368618 w 1314450"/>
                <a:gd name="connsiteY253" fmla="*/ 881063 h 942975"/>
                <a:gd name="connsiteX254" fmla="*/ 378143 w 1314450"/>
                <a:gd name="connsiteY254" fmla="*/ 870585 h 942975"/>
                <a:gd name="connsiteX255" fmla="*/ 379095 w 1314450"/>
                <a:gd name="connsiteY255" fmla="*/ 858203 h 942975"/>
                <a:gd name="connsiteX256" fmla="*/ 381953 w 1314450"/>
                <a:gd name="connsiteY256" fmla="*/ 850582 h 942975"/>
                <a:gd name="connsiteX257" fmla="*/ 383858 w 1314450"/>
                <a:gd name="connsiteY257" fmla="*/ 842010 h 942975"/>
                <a:gd name="connsiteX258" fmla="*/ 381000 w 1314450"/>
                <a:gd name="connsiteY258" fmla="*/ 827722 h 942975"/>
                <a:gd name="connsiteX259" fmla="*/ 375285 w 1314450"/>
                <a:gd name="connsiteY259" fmla="*/ 816293 h 942975"/>
                <a:gd name="connsiteX260" fmla="*/ 368618 w 1314450"/>
                <a:gd name="connsiteY260" fmla="*/ 807720 h 942975"/>
                <a:gd name="connsiteX261" fmla="*/ 352425 w 1314450"/>
                <a:gd name="connsiteY261" fmla="*/ 792480 h 942975"/>
                <a:gd name="connsiteX262" fmla="*/ 333375 w 1314450"/>
                <a:gd name="connsiteY262" fmla="*/ 782003 h 942975"/>
                <a:gd name="connsiteX263" fmla="*/ 331470 w 1314450"/>
                <a:gd name="connsiteY263" fmla="*/ 778193 h 942975"/>
                <a:gd name="connsiteX264" fmla="*/ 322898 w 1314450"/>
                <a:gd name="connsiteY264" fmla="*/ 772478 h 942975"/>
                <a:gd name="connsiteX265" fmla="*/ 314325 w 1314450"/>
                <a:gd name="connsiteY265" fmla="*/ 775335 h 942975"/>
                <a:gd name="connsiteX266" fmla="*/ 304800 w 1314450"/>
                <a:gd name="connsiteY266" fmla="*/ 781050 h 942975"/>
                <a:gd name="connsiteX267" fmla="*/ 295275 w 1314450"/>
                <a:gd name="connsiteY267" fmla="*/ 784860 h 942975"/>
                <a:gd name="connsiteX268" fmla="*/ 257175 w 1314450"/>
                <a:gd name="connsiteY268" fmla="*/ 784860 h 942975"/>
                <a:gd name="connsiteX269" fmla="*/ 250508 w 1314450"/>
                <a:gd name="connsiteY269" fmla="*/ 788670 h 942975"/>
                <a:gd name="connsiteX270" fmla="*/ 249555 w 1314450"/>
                <a:gd name="connsiteY270" fmla="*/ 787718 h 942975"/>
                <a:gd name="connsiteX271" fmla="*/ 246698 w 1314450"/>
                <a:gd name="connsiteY271" fmla="*/ 784860 h 942975"/>
                <a:gd name="connsiteX272" fmla="*/ 237173 w 1314450"/>
                <a:gd name="connsiteY272" fmla="*/ 765810 h 942975"/>
                <a:gd name="connsiteX273" fmla="*/ 229553 w 1314450"/>
                <a:gd name="connsiteY273" fmla="*/ 741045 h 942975"/>
                <a:gd name="connsiteX274" fmla="*/ 222885 w 1314450"/>
                <a:gd name="connsiteY274" fmla="*/ 724853 h 942975"/>
                <a:gd name="connsiteX275" fmla="*/ 183833 w 1314450"/>
                <a:gd name="connsiteY275" fmla="*/ 673418 h 942975"/>
                <a:gd name="connsiteX276" fmla="*/ 179070 w 1314450"/>
                <a:gd name="connsiteY276" fmla="*/ 671513 h 942975"/>
                <a:gd name="connsiteX277" fmla="*/ 177165 w 1314450"/>
                <a:gd name="connsiteY277" fmla="*/ 671513 h 942975"/>
                <a:gd name="connsiteX278" fmla="*/ 166688 w 1314450"/>
                <a:gd name="connsiteY278" fmla="*/ 677228 h 942975"/>
                <a:gd name="connsiteX279" fmla="*/ 159068 w 1314450"/>
                <a:gd name="connsiteY279" fmla="*/ 677228 h 942975"/>
                <a:gd name="connsiteX280" fmla="*/ 150495 w 1314450"/>
                <a:gd name="connsiteY280" fmla="*/ 676275 h 942975"/>
                <a:gd name="connsiteX281" fmla="*/ 140018 w 1314450"/>
                <a:gd name="connsiteY281" fmla="*/ 671513 h 942975"/>
                <a:gd name="connsiteX282" fmla="*/ 136208 w 1314450"/>
                <a:gd name="connsiteY282" fmla="*/ 671513 h 942975"/>
                <a:gd name="connsiteX283" fmla="*/ 133350 w 1314450"/>
                <a:gd name="connsiteY283" fmla="*/ 672465 h 942975"/>
                <a:gd name="connsiteX284" fmla="*/ 129540 w 1314450"/>
                <a:gd name="connsiteY284" fmla="*/ 676275 h 942975"/>
                <a:gd name="connsiteX285" fmla="*/ 125730 w 1314450"/>
                <a:gd name="connsiteY285" fmla="*/ 677228 h 942975"/>
                <a:gd name="connsiteX286" fmla="*/ 121920 w 1314450"/>
                <a:gd name="connsiteY286" fmla="*/ 676275 h 942975"/>
                <a:gd name="connsiteX287" fmla="*/ 118110 w 1314450"/>
                <a:gd name="connsiteY287" fmla="*/ 672465 h 942975"/>
                <a:gd name="connsiteX288" fmla="*/ 92393 w 1314450"/>
                <a:gd name="connsiteY288" fmla="*/ 632460 h 942975"/>
                <a:gd name="connsiteX289" fmla="*/ 86678 w 1314450"/>
                <a:gd name="connsiteY289" fmla="*/ 616268 h 942975"/>
                <a:gd name="connsiteX290" fmla="*/ 86678 w 1314450"/>
                <a:gd name="connsiteY290" fmla="*/ 605790 h 942975"/>
                <a:gd name="connsiteX291" fmla="*/ 87630 w 1314450"/>
                <a:gd name="connsiteY291" fmla="*/ 596265 h 942975"/>
                <a:gd name="connsiteX292" fmla="*/ 87630 w 1314450"/>
                <a:gd name="connsiteY292" fmla="*/ 588645 h 942975"/>
                <a:gd name="connsiteX293" fmla="*/ 83820 w 1314450"/>
                <a:gd name="connsiteY293" fmla="*/ 581978 h 942975"/>
                <a:gd name="connsiteX294" fmla="*/ 80010 w 1314450"/>
                <a:gd name="connsiteY294" fmla="*/ 581025 h 942975"/>
                <a:gd name="connsiteX295" fmla="*/ 65723 w 1314450"/>
                <a:gd name="connsiteY295" fmla="*/ 581978 h 942975"/>
                <a:gd name="connsiteX296" fmla="*/ 65723 w 1314450"/>
                <a:gd name="connsiteY296" fmla="*/ 569595 h 942975"/>
                <a:gd name="connsiteX297" fmla="*/ 73343 w 1314450"/>
                <a:gd name="connsiteY297" fmla="*/ 545782 h 942975"/>
                <a:gd name="connsiteX298" fmla="*/ 54293 w 1314450"/>
                <a:gd name="connsiteY298" fmla="*/ 536257 h 942975"/>
                <a:gd name="connsiteX299" fmla="*/ 36195 w 1314450"/>
                <a:gd name="connsiteY299" fmla="*/ 533400 h 942975"/>
                <a:gd name="connsiteX300" fmla="*/ 19050 w 1314450"/>
                <a:gd name="connsiteY300" fmla="*/ 540068 h 942975"/>
                <a:gd name="connsiteX301" fmla="*/ 14288 w 1314450"/>
                <a:gd name="connsiteY301" fmla="*/ 546735 h 942975"/>
                <a:gd name="connsiteX302" fmla="*/ 12383 w 1314450"/>
                <a:gd name="connsiteY302" fmla="*/ 546735 h 942975"/>
                <a:gd name="connsiteX303" fmla="*/ 0 w 1314450"/>
                <a:gd name="connsiteY303" fmla="*/ 543878 h 942975"/>
                <a:gd name="connsiteX304" fmla="*/ 953 w 1314450"/>
                <a:gd name="connsiteY304" fmla="*/ 486728 h 942975"/>
                <a:gd name="connsiteX305" fmla="*/ 6668 w 1314450"/>
                <a:gd name="connsiteY305" fmla="*/ 474345 h 942975"/>
                <a:gd name="connsiteX306" fmla="*/ 8573 w 1314450"/>
                <a:gd name="connsiteY306" fmla="*/ 461963 h 942975"/>
                <a:gd name="connsiteX307" fmla="*/ 1905 w 1314450"/>
                <a:gd name="connsiteY307" fmla="*/ 429578 h 942975"/>
                <a:gd name="connsiteX308" fmla="*/ 2857 w 1314450"/>
                <a:gd name="connsiteY308" fmla="*/ 413385 h 942975"/>
                <a:gd name="connsiteX309" fmla="*/ 11430 w 1314450"/>
                <a:gd name="connsiteY309" fmla="*/ 400050 h 942975"/>
                <a:gd name="connsiteX310" fmla="*/ 45720 w 1314450"/>
                <a:gd name="connsiteY310" fmla="*/ 372428 h 942975"/>
                <a:gd name="connsiteX311" fmla="*/ 48578 w 1314450"/>
                <a:gd name="connsiteY311" fmla="*/ 366713 h 942975"/>
                <a:gd name="connsiteX312" fmla="*/ 54293 w 1314450"/>
                <a:gd name="connsiteY312" fmla="*/ 353378 h 942975"/>
                <a:gd name="connsiteX313" fmla="*/ 58103 w 1314450"/>
                <a:gd name="connsiteY313" fmla="*/ 347663 h 942975"/>
                <a:gd name="connsiteX314" fmla="*/ 64770 w 1314450"/>
                <a:gd name="connsiteY314" fmla="*/ 343853 h 942975"/>
                <a:gd name="connsiteX315" fmla="*/ 79058 w 1314450"/>
                <a:gd name="connsiteY315" fmla="*/ 339090 h 942975"/>
                <a:gd name="connsiteX316" fmla="*/ 84773 w 1314450"/>
                <a:gd name="connsiteY316" fmla="*/ 335280 h 942975"/>
                <a:gd name="connsiteX317" fmla="*/ 93345 w 1314450"/>
                <a:gd name="connsiteY317" fmla="*/ 323850 h 942975"/>
                <a:gd name="connsiteX318" fmla="*/ 100013 w 1314450"/>
                <a:gd name="connsiteY318" fmla="*/ 308610 h 942975"/>
                <a:gd name="connsiteX319" fmla="*/ 103823 w 1314450"/>
                <a:gd name="connsiteY319" fmla="*/ 291465 h 942975"/>
                <a:gd name="connsiteX320" fmla="*/ 102870 w 1314450"/>
                <a:gd name="connsiteY320" fmla="*/ 274320 h 942975"/>
                <a:gd name="connsiteX321" fmla="*/ 104775 w 1314450"/>
                <a:gd name="connsiteY321" fmla="*/ 263843 h 942975"/>
                <a:gd name="connsiteX322" fmla="*/ 108585 w 1314450"/>
                <a:gd name="connsiteY322" fmla="*/ 259080 h 942975"/>
                <a:gd name="connsiteX323" fmla="*/ 113348 w 1314450"/>
                <a:gd name="connsiteY323" fmla="*/ 254318 h 942975"/>
                <a:gd name="connsiteX324" fmla="*/ 118110 w 1314450"/>
                <a:gd name="connsiteY324" fmla="*/ 247650 h 942975"/>
                <a:gd name="connsiteX325" fmla="*/ 121920 w 1314450"/>
                <a:gd name="connsiteY325" fmla="*/ 239078 h 942975"/>
                <a:gd name="connsiteX326" fmla="*/ 122873 w 1314450"/>
                <a:gd name="connsiteY326" fmla="*/ 233363 h 942975"/>
                <a:gd name="connsiteX327" fmla="*/ 121920 w 1314450"/>
                <a:gd name="connsiteY327" fmla="*/ 206693 h 942975"/>
                <a:gd name="connsiteX328" fmla="*/ 120968 w 1314450"/>
                <a:gd name="connsiteY328" fmla="*/ 200025 h 942975"/>
                <a:gd name="connsiteX329" fmla="*/ 120968 w 1314450"/>
                <a:gd name="connsiteY329" fmla="*/ 193357 h 942975"/>
                <a:gd name="connsiteX330" fmla="*/ 124778 w 1314450"/>
                <a:gd name="connsiteY330" fmla="*/ 183832 h 942975"/>
                <a:gd name="connsiteX331" fmla="*/ 129540 w 1314450"/>
                <a:gd name="connsiteY331" fmla="*/ 176213 h 942975"/>
                <a:gd name="connsiteX332" fmla="*/ 141923 w 1314450"/>
                <a:gd name="connsiteY332" fmla="*/ 165735 h 942975"/>
                <a:gd name="connsiteX333" fmla="*/ 146685 w 1314450"/>
                <a:gd name="connsiteY333" fmla="*/ 159068 h 942975"/>
                <a:gd name="connsiteX334" fmla="*/ 148590 w 1314450"/>
                <a:gd name="connsiteY334" fmla="*/ 153353 h 942975"/>
                <a:gd name="connsiteX335" fmla="*/ 147638 w 1314450"/>
                <a:gd name="connsiteY335" fmla="*/ 143828 h 942975"/>
                <a:gd name="connsiteX336" fmla="*/ 148590 w 1314450"/>
                <a:gd name="connsiteY336" fmla="*/ 139065 h 942975"/>
                <a:gd name="connsiteX337" fmla="*/ 155258 w 1314450"/>
                <a:gd name="connsiteY337" fmla="*/ 124778 h 942975"/>
                <a:gd name="connsiteX338" fmla="*/ 166688 w 1314450"/>
                <a:gd name="connsiteY338" fmla="*/ 91440 h 942975"/>
                <a:gd name="connsiteX339" fmla="*/ 176213 w 1314450"/>
                <a:gd name="connsiteY339" fmla="*/ 83820 h 942975"/>
                <a:gd name="connsiteX340" fmla="*/ 196215 w 1314450"/>
                <a:gd name="connsiteY340" fmla="*/ 80963 h 942975"/>
                <a:gd name="connsiteX341" fmla="*/ 204788 w 1314450"/>
                <a:gd name="connsiteY341" fmla="*/ 74295 h 942975"/>
                <a:gd name="connsiteX342" fmla="*/ 203835 w 1314450"/>
                <a:gd name="connsiteY342" fmla="*/ 60960 h 942975"/>
                <a:gd name="connsiteX343" fmla="*/ 206693 w 1314450"/>
                <a:gd name="connsiteY343" fmla="*/ 41910 h 942975"/>
                <a:gd name="connsiteX344" fmla="*/ 210503 w 1314450"/>
                <a:gd name="connsiteY344" fmla="*/ 23813 h 942975"/>
                <a:gd name="connsiteX345" fmla="*/ 214313 w 1314450"/>
                <a:gd name="connsiteY345" fmla="*/ 10478 h 942975"/>
                <a:gd name="connsiteX346" fmla="*/ 225743 w 1314450"/>
                <a:gd name="connsiteY346" fmla="*/ 0 h 942975"/>
                <a:gd name="connsiteX347" fmla="*/ 236220 w 1314450"/>
                <a:gd name="connsiteY347" fmla="*/ 2857 h 942975"/>
                <a:gd name="connsiteX348" fmla="*/ 256223 w 1314450"/>
                <a:gd name="connsiteY348" fmla="*/ 24765 h 942975"/>
                <a:gd name="connsiteX349" fmla="*/ 268605 w 1314450"/>
                <a:gd name="connsiteY349" fmla="*/ 33338 h 942975"/>
                <a:gd name="connsiteX350" fmla="*/ 280035 w 1314450"/>
                <a:gd name="connsiteY350" fmla="*/ 35243 h 942975"/>
                <a:gd name="connsiteX351" fmla="*/ 291465 w 1314450"/>
                <a:gd name="connsiteY351" fmla="*/ 34290 h 942975"/>
                <a:gd name="connsiteX352" fmla="*/ 310515 w 1314450"/>
                <a:gd name="connsiteY352" fmla="*/ 35243 h 942975"/>
                <a:gd name="connsiteX353" fmla="*/ 322898 w 1314450"/>
                <a:gd name="connsiteY353" fmla="*/ 31432 h 942975"/>
                <a:gd name="connsiteX354" fmla="*/ 328613 w 1314450"/>
                <a:gd name="connsiteY354" fmla="*/ 32385 h 942975"/>
                <a:gd name="connsiteX355" fmla="*/ 333375 w 1314450"/>
                <a:gd name="connsiteY355" fmla="*/ 37147 h 942975"/>
                <a:gd name="connsiteX356" fmla="*/ 342900 w 1314450"/>
                <a:gd name="connsiteY356" fmla="*/ 51435 h 942975"/>
                <a:gd name="connsiteX357" fmla="*/ 349568 w 1314450"/>
                <a:gd name="connsiteY357" fmla="*/ 53340 h 942975"/>
                <a:gd name="connsiteX358" fmla="*/ 358140 w 1314450"/>
                <a:gd name="connsiteY358" fmla="*/ 58103 h 942975"/>
                <a:gd name="connsiteX359" fmla="*/ 370523 w 1314450"/>
                <a:gd name="connsiteY359" fmla="*/ 68580 h 942975"/>
                <a:gd name="connsiteX360" fmla="*/ 381000 w 1314450"/>
                <a:gd name="connsiteY360" fmla="*/ 73343 h 942975"/>
                <a:gd name="connsiteX361" fmla="*/ 386715 w 1314450"/>
                <a:gd name="connsiteY361" fmla="*/ 60007 h 942975"/>
                <a:gd name="connsiteX362" fmla="*/ 385763 w 1314450"/>
                <a:gd name="connsiteY362" fmla="*/ 58103 h 942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</a:cxnLst>
              <a:rect l="l" t="t" r="r" b="b"/>
              <a:pathLst>
                <a:path w="1314450" h="942975">
                  <a:moveTo>
                    <a:pt x="385763" y="58103"/>
                  </a:moveTo>
                  <a:lnTo>
                    <a:pt x="395288" y="63818"/>
                  </a:lnTo>
                  <a:lnTo>
                    <a:pt x="404813" y="75247"/>
                  </a:lnTo>
                  <a:lnTo>
                    <a:pt x="405765" y="81915"/>
                  </a:lnTo>
                  <a:lnTo>
                    <a:pt x="401003" y="92393"/>
                  </a:lnTo>
                  <a:lnTo>
                    <a:pt x="399098" y="98107"/>
                  </a:lnTo>
                  <a:lnTo>
                    <a:pt x="399098" y="108585"/>
                  </a:lnTo>
                  <a:lnTo>
                    <a:pt x="399098" y="111443"/>
                  </a:lnTo>
                  <a:lnTo>
                    <a:pt x="400050" y="120015"/>
                  </a:lnTo>
                  <a:lnTo>
                    <a:pt x="401955" y="125730"/>
                  </a:lnTo>
                  <a:lnTo>
                    <a:pt x="404813" y="129540"/>
                  </a:lnTo>
                  <a:lnTo>
                    <a:pt x="418148" y="145732"/>
                  </a:lnTo>
                  <a:lnTo>
                    <a:pt x="437198" y="160972"/>
                  </a:lnTo>
                  <a:lnTo>
                    <a:pt x="440055" y="165735"/>
                  </a:lnTo>
                  <a:lnTo>
                    <a:pt x="441960" y="169545"/>
                  </a:lnTo>
                  <a:lnTo>
                    <a:pt x="443865" y="175260"/>
                  </a:lnTo>
                  <a:lnTo>
                    <a:pt x="447675" y="181928"/>
                  </a:lnTo>
                  <a:lnTo>
                    <a:pt x="451485" y="183832"/>
                  </a:lnTo>
                  <a:lnTo>
                    <a:pt x="455295" y="184785"/>
                  </a:lnTo>
                  <a:lnTo>
                    <a:pt x="463868" y="184785"/>
                  </a:lnTo>
                  <a:lnTo>
                    <a:pt x="467678" y="184785"/>
                  </a:lnTo>
                  <a:lnTo>
                    <a:pt x="471488" y="183832"/>
                  </a:lnTo>
                  <a:lnTo>
                    <a:pt x="476250" y="180975"/>
                  </a:lnTo>
                  <a:lnTo>
                    <a:pt x="498158" y="174307"/>
                  </a:lnTo>
                  <a:lnTo>
                    <a:pt x="512445" y="171450"/>
                  </a:lnTo>
                  <a:lnTo>
                    <a:pt x="516255" y="172403"/>
                  </a:lnTo>
                  <a:lnTo>
                    <a:pt x="520065" y="175260"/>
                  </a:lnTo>
                  <a:lnTo>
                    <a:pt x="525780" y="180022"/>
                  </a:lnTo>
                  <a:lnTo>
                    <a:pt x="529590" y="186690"/>
                  </a:lnTo>
                  <a:lnTo>
                    <a:pt x="541973" y="218122"/>
                  </a:lnTo>
                  <a:lnTo>
                    <a:pt x="552450" y="237172"/>
                  </a:lnTo>
                  <a:lnTo>
                    <a:pt x="555308" y="240982"/>
                  </a:lnTo>
                  <a:lnTo>
                    <a:pt x="559118" y="243840"/>
                  </a:lnTo>
                  <a:lnTo>
                    <a:pt x="563880" y="247650"/>
                  </a:lnTo>
                  <a:lnTo>
                    <a:pt x="568643" y="248603"/>
                  </a:lnTo>
                  <a:lnTo>
                    <a:pt x="593408" y="251460"/>
                  </a:lnTo>
                  <a:lnTo>
                    <a:pt x="600075" y="250507"/>
                  </a:lnTo>
                  <a:lnTo>
                    <a:pt x="605790" y="249555"/>
                  </a:lnTo>
                  <a:lnTo>
                    <a:pt x="610553" y="243840"/>
                  </a:lnTo>
                  <a:lnTo>
                    <a:pt x="612458" y="243840"/>
                  </a:lnTo>
                  <a:lnTo>
                    <a:pt x="614363" y="243840"/>
                  </a:lnTo>
                  <a:lnTo>
                    <a:pt x="616268" y="250507"/>
                  </a:lnTo>
                  <a:lnTo>
                    <a:pt x="616268" y="260032"/>
                  </a:lnTo>
                  <a:lnTo>
                    <a:pt x="617220" y="264795"/>
                  </a:lnTo>
                  <a:lnTo>
                    <a:pt x="620078" y="268605"/>
                  </a:lnTo>
                  <a:lnTo>
                    <a:pt x="622935" y="268605"/>
                  </a:lnTo>
                  <a:lnTo>
                    <a:pt x="626745" y="266700"/>
                  </a:lnTo>
                  <a:lnTo>
                    <a:pt x="629603" y="264795"/>
                  </a:lnTo>
                  <a:lnTo>
                    <a:pt x="637223" y="254318"/>
                  </a:lnTo>
                  <a:lnTo>
                    <a:pt x="639128" y="252413"/>
                  </a:lnTo>
                  <a:lnTo>
                    <a:pt x="641985" y="251460"/>
                  </a:lnTo>
                  <a:lnTo>
                    <a:pt x="645795" y="252413"/>
                  </a:lnTo>
                  <a:lnTo>
                    <a:pt x="650558" y="257175"/>
                  </a:lnTo>
                  <a:lnTo>
                    <a:pt x="652463" y="260985"/>
                  </a:lnTo>
                  <a:lnTo>
                    <a:pt x="652463" y="264795"/>
                  </a:lnTo>
                  <a:lnTo>
                    <a:pt x="652463" y="269557"/>
                  </a:lnTo>
                  <a:lnTo>
                    <a:pt x="653415" y="272415"/>
                  </a:lnTo>
                  <a:lnTo>
                    <a:pt x="655320" y="277178"/>
                  </a:lnTo>
                  <a:lnTo>
                    <a:pt x="656273" y="279082"/>
                  </a:lnTo>
                  <a:lnTo>
                    <a:pt x="661035" y="281940"/>
                  </a:lnTo>
                  <a:lnTo>
                    <a:pt x="666750" y="283845"/>
                  </a:lnTo>
                  <a:lnTo>
                    <a:pt x="681990" y="286703"/>
                  </a:lnTo>
                  <a:lnTo>
                    <a:pt x="692468" y="287655"/>
                  </a:lnTo>
                  <a:lnTo>
                    <a:pt x="720090" y="283845"/>
                  </a:lnTo>
                  <a:lnTo>
                    <a:pt x="725805" y="284797"/>
                  </a:lnTo>
                  <a:lnTo>
                    <a:pt x="738188" y="290513"/>
                  </a:lnTo>
                  <a:lnTo>
                    <a:pt x="760095" y="296228"/>
                  </a:lnTo>
                  <a:lnTo>
                    <a:pt x="780098" y="305753"/>
                  </a:lnTo>
                  <a:lnTo>
                    <a:pt x="813435" y="345757"/>
                  </a:lnTo>
                  <a:lnTo>
                    <a:pt x="822960" y="353378"/>
                  </a:lnTo>
                  <a:lnTo>
                    <a:pt x="826770" y="354330"/>
                  </a:lnTo>
                  <a:lnTo>
                    <a:pt x="831533" y="354330"/>
                  </a:lnTo>
                  <a:lnTo>
                    <a:pt x="839153" y="351472"/>
                  </a:lnTo>
                  <a:lnTo>
                    <a:pt x="844868" y="350520"/>
                  </a:lnTo>
                  <a:lnTo>
                    <a:pt x="851535" y="350520"/>
                  </a:lnTo>
                  <a:lnTo>
                    <a:pt x="858203" y="351472"/>
                  </a:lnTo>
                  <a:lnTo>
                    <a:pt x="863918" y="353378"/>
                  </a:lnTo>
                  <a:lnTo>
                    <a:pt x="866775" y="355282"/>
                  </a:lnTo>
                  <a:lnTo>
                    <a:pt x="868680" y="358140"/>
                  </a:lnTo>
                  <a:lnTo>
                    <a:pt x="870585" y="364807"/>
                  </a:lnTo>
                  <a:lnTo>
                    <a:pt x="870585" y="369570"/>
                  </a:lnTo>
                  <a:lnTo>
                    <a:pt x="868680" y="380047"/>
                  </a:lnTo>
                  <a:lnTo>
                    <a:pt x="869633" y="385763"/>
                  </a:lnTo>
                  <a:lnTo>
                    <a:pt x="871538" y="389572"/>
                  </a:lnTo>
                  <a:lnTo>
                    <a:pt x="874395" y="393382"/>
                  </a:lnTo>
                  <a:lnTo>
                    <a:pt x="903923" y="418147"/>
                  </a:lnTo>
                  <a:lnTo>
                    <a:pt x="908685" y="421005"/>
                  </a:lnTo>
                  <a:lnTo>
                    <a:pt x="913448" y="422910"/>
                  </a:lnTo>
                  <a:lnTo>
                    <a:pt x="920115" y="423863"/>
                  </a:lnTo>
                  <a:lnTo>
                    <a:pt x="924878" y="425768"/>
                  </a:lnTo>
                  <a:lnTo>
                    <a:pt x="928688" y="428625"/>
                  </a:lnTo>
                  <a:lnTo>
                    <a:pt x="933450" y="434340"/>
                  </a:lnTo>
                  <a:lnTo>
                    <a:pt x="935355" y="438150"/>
                  </a:lnTo>
                  <a:lnTo>
                    <a:pt x="939165" y="446722"/>
                  </a:lnTo>
                  <a:lnTo>
                    <a:pt x="940118" y="451485"/>
                  </a:lnTo>
                  <a:lnTo>
                    <a:pt x="941070" y="456247"/>
                  </a:lnTo>
                  <a:lnTo>
                    <a:pt x="939165" y="462915"/>
                  </a:lnTo>
                  <a:lnTo>
                    <a:pt x="937260" y="468630"/>
                  </a:lnTo>
                  <a:lnTo>
                    <a:pt x="936308" y="474345"/>
                  </a:lnTo>
                  <a:lnTo>
                    <a:pt x="935355" y="481013"/>
                  </a:lnTo>
                  <a:lnTo>
                    <a:pt x="936308" y="483870"/>
                  </a:lnTo>
                  <a:lnTo>
                    <a:pt x="938213" y="486728"/>
                  </a:lnTo>
                  <a:lnTo>
                    <a:pt x="941070" y="488632"/>
                  </a:lnTo>
                  <a:lnTo>
                    <a:pt x="946785" y="491490"/>
                  </a:lnTo>
                  <a:lnTo>
                    <a:pt x="950595" y="492443"/>
                  </a:lnTo>
                  <a:lnTo>
                    <a:pt x="954405" y="492443"/>
                  </a:lnTo>
                  <a:lnTo>
                    <a:pt x="959168" y="490538"/>
                  </a:lnTo>
                  <a:lnTo>
                    <a:pt x="963930" y="487680"/>
                  </a:lnTo>
                  <a:lnTo>
                    <a:pt x="965835" y="485775"/>
                  </a:lnTo>
                  <a:lnTo>
                    <a:pt x="974408" y="476250"/>
                  </a:lnTo>
                  <a:lnTo>
                    <a:pt x="985838" y="468630"/>
                  </a:lnTo>
                  <a:lnTo>
                    <a:pt x="1008698" y="464820"/>
                  </a:lnTo>
                  <a:lnTo>
                    <a:pt x="1019175" y="460057"/>
                  </a:lnTo>
                  <a:lnTo>
                    <a:pt x="1044893" y="442913"/>
                  </a:lnTo>
                  <a:lnTo>
                    <a:pt x="1049655" y="441960"/>
                  </a:lnTo>
                  <a:lnTo>
                    <a:pt x="1052513" y="441960"/>
                  </a:lnTo>
                  <a:lnTo>
                    <a:pt x="1055370" y="443865"/>
                  </a:lnTo>
                  <a:lnTo>
                    <a:pt x="1057275" y="446722"/>
                  </a:lnTo>
                  <a:lnTo>
                    <a:pt x="1057275" y="452438"/>
                  </a:lnTo>
                  <a:lnTo>
                    <a:pt x="1057275" y="456247"/>
                  </a:lnTo>
                  <a:lnTo>
                    <a:pt x="1056323" y="463868"/>
                  </a:lnTo>
                  <a:lnTo>
                    <a:pt x="1055370" y="468630"/>
                  </a:lnTo>
                  <a:lnTo>
                    <a:pt x="1056323" y="477203"/>
                  </a:lnTo>
                  <a:lnTo>
                    <a:pt x="1058228" y="482918"/>
                  </a:lnTo>
                  <a:lnTo>
                    <a:pt x="1059180" y="488632"/>
                  </a:lnTo>
                  <a:lnTo>
                    <a:pt x="1059180" y="491490"/>
                  </a:lnTo>
                  <a:lnTo>
                    <a:pt x="1058228" y="498157"/>
                  </a:lnTo>
                  <a:lnTo>
                    <a:pt x="1057275" y="501015"/>
                  </a:lnTo>
                  <a:lnTo>
                    <a:pt x="1053465" y="521018"/>
                  </a:lnTo>
                  <a:lnTo>
                    <a:pt x="1053465" y="527685"/>
                  </a:lnTo>
                  <a:lnTo>
                    <a:pt x="1054418" y="537210"/>
                  </a:lnTo>
                  <a:lnTo>
                    <a:pt x="1058228" y="561022"/>
                  </a:lnTo>
                  <a:lnTo>
                    <a:pt x="1059180" y="563880"/>
                  </a:lnTo>
                  <a:lnTo>
                    <a:pt x="1061085" y="567690"/>
                  </a:lnTo>
                  <a:lnTo>
                    <a:pt x="1063943" y="572453"/>
                  </a:lnTo>
                  <a:lnTo>
                    <a:pt x="1070610" y="579120"/>
                  </a:lnTo>
                  <a:lnTo>
                    <a:pt x="1074420" y="581978"/>
                  </a:lnTo>
                  <a:lnTo>
                    <a:pt x="1078230" y="583882"/>
                  </a:lnTo>
                  <a:lnTo>
                    <a:pt x="1094423" y="587693"/>
                  </a:lnTo>
                  <a:lnTo>
                    <a:pt x="1107758" y="587693"/>
                  </a:lnTo>
                  <a:lnTo>
                    <a:pt x="1120140" y="585788"/>
                  </a:lnTo>
                  <a:lnTo>
                    <a:pt x="1124903" y="583882"/>
                  </a:lnTo>
                  <a:lnTo>
                    <a:pt x="1131570" y="579120"/>
                  </a:lnTo>
                  <a:lnTo>
                    <a:pt x="1134428" y="575310"/>
                  </a:lnTo>
                  <a:lnTo>
                    <a:pt x="1139190" y="567690"/>
                  </a:lnTo>
                  <a:lnTo>
                    <a:pt x="1142048" y="560070"/>
                  </a:lnTo>
                  <a:lnTo>
                    <a:pt x="1143953" y="558165"/>
                  </a:lnTo>
                  <a:lnTo>
                    <a:pt x="1145858" y="557213"/>
                  </a:lnTo>
                  <a:lnTo>
                    <a:pt x="1149668" y="560070"/>
                  </a:lnTo>
                  <a:lnTo>
                    <a:pt x="1153478" y="562928"/>
                  </a:lnTo>
                  <a:lnTo>
                    <a:pt x="1159193" y="567690"/>
                  </a:lnTo>
                  <a:lnTo>
                    <a:pt x="1162050" y="571500"/>
                  </a:lnTo>
                  <a:lnTo>
                    <a:pt x="1163955" y="576263"/>
                  </a:lnTo>
                  <a:lnTo>
                    <a:pt x="1165860" y="585788"/>
                  </a:lnTo>
                  <a:lnTo>
                    <a:pt x="1166813" y="595313"/>
                  </a:lnTo>
                  <a:lnTo>
                    <a:pt x="1168718" y="598170"/>
                  </a:lnTo>
                  <a:lnTo>
                    <a:pt x="1170623" y="598170"/>
                  </a:lnTo>
                  <a:lnTo>
                    <a:pt x="1183958" y="598170"/>
                  </a:lnTo>
                  <a:lnTo>
                    <a:pt x="1187768" y="600075"/>
                  </a:lnTo>
                  <a:lnTo>
                    <a:pt x="1190625" y="602932"/>
                  </a:lnTo>
                  <a:lnTo>
                    <a:pt x="1195388" y="608647"/>
                  </a:lnTo>
                  <a:lnTo>
                    <a:pt x="1201103" y="614363"/>
                  </a:lnTo>
                  <a:lnTo>
                    <a:pt x="1211580" y="621982"/>
                  </a:lnTo>
                  <a:lnTo>
                    <a:pt x="1245870" y="654368"/>
                  </a:lnTo>
                  <a:lnTo>
                    <a:pt x="1249680" y="659130"/>
                  </a:lnTo>
                  <a:lnTo>
                    <a:pt x="1259205" y="679132"/>
                  </a:lnTo>
                  <a:lnTo>
                    <a:pt x="1269683" y="696278"/>
                  </a:lnTo>
                  <a:lnTo>
                    <a:pt x="1270635" y="699135"/>
                  </a:lnTo>
                  <a:lnTo>
                    <a:pt x="1271588" y="702945"/>
                  </a:lnTo>
                  <a:lnTo>
                    <a:pt x="1269683" y="707707"/>
                  </a:lnTo>
                  <a:lnTo>
                    <a:pt x="1266825" y="714375"/>
                  </a:lnTo>
                  <a:lnTo>
                    <a:pt x="1263968" y="719138"/>
                  </a:lnTo>
                  <a:lnTo>
                    <a:pt x="1261110" y="723900"/>
                  </a:lnTo>
                  <a:lnTo>
                    <a:pt x="1259205" y="729615"/>
                  </a:lnTo>
                  <a:lnTo>
                    <a:pt x="1259205" y="733425"/>
                  </a:lnTo>
                  <a:lnTo>
                    <a:pt x="1259205" y="737235"/>
                  </a:lnTo>
                  <a:lnTo>
                    <a:pt x="1260158" y="741997"/>
                  </a:lnTo>
                  <a:lnTo>
                    <a:pt x="1263015" y="749618"/>
                  </a:lnTo>
                  <a:lnTo>
                    <a:pt x="1264920" y="753428"/>
                  </a:lnTo>
                  <a:lnTo>
                    <a:pt x="1268730" y="758190"/>
                  </a:lnTo>
                  <a:lnTo>
                    <a:pt x="1304925" y="794385"/>
                  </a:lnTo>
                  <a:lnTo>
                    <a:pt x="1322070" y="820103"/>
                  </a:lnTo>
                  <a:lnTo>
                    <a:pt x="1323023" y="822960"/>
                  </a:lnTo>
                  <a:lnTo>
                    <a:pt x="1322070" y="826770"/>
                  </a:lnTo>
                  <a:lnTo>
                    <a:pt x="1294448" y="867728"/>
                  </a:lnTo>
                  <a:lnTo>
                    <a:pt x="1291590" y="877253"/>
                  </a:lnTo>
                  <a:lnTo>
                    <a:pt x="1286828" y="904875"/>
                  </a:lnTo>
                  <a:lnTo>
                    <a:pt x="1284923" y="914400"/>
                  </a:lnTo>
                  <a:lnTo>
                    <a:pt x="1281113" y="911543"/>
                  </a:lnTo>
                  <a:lnTo>
                    <a:pt x="1270635" y="908685"/>
                  </a:lnTo>
                  <a:lnTo>
                    <a:pt x="1241108" y="909638"/>
                  </a:lnTo>
                  <a:lnTo>
                    <a:pt x="1210628" y="902018"/>
                  </a:lnTo>
                  <a:lnTo>
                    <a:pt x="1200150" y="902970"/>
                  </a:lnTo>
                  <a:lnTo>
                    <a:pt x="1188720" y="908685"/>
                  </a:lnTo>
                  <a:lnTo>
                    <a:pt x="1167765" y="926782"/>
                  </a:lnTo>
                  <a:lnTo>
                    <a:pt x="1142048" y="927735"/>
                  </a:lnTo>
                  <a:lnTo>
                    <a:pt x="1106805" y="945832"/>
                  </a:lnTo>
                  <a:lnTo>
                    <a:pt x="1095375" y="945832"/>
                  </a:lnTo>
                  <a:lnTo>
                    <a:pt x="1063943" y="933450"/>
                  </a:lnTo>
                  <a:lnTo>
                    <a:pt x="1062990" y="934403"/>
                  </a:lnTo>
                  <a:lnTo>
                    <a:pt x="1053465" y="932497"/>
                  </a:lnTo>
                  <a:lnTo>
                    <a:pt x="1034415" y="913447"/>
                  </a:lnTo>
                  <a:lnTo>
                    <a:pt x="1023938" y="908685"/>
                  </a:lnTo>
                  <a:lnTo>
                    <a:pt x="998220" y="902018"/>
                  </a:lnTo>
                  <a:lnTo>
                    <a:pt x="989648" y="895350"/>
                  </a:lnTo>
                  <a:lnTo>
                    <a:pt x="972503" y="894397"/>
                  </a:lnTo>
                  <a:lnTo>
                    <a:pt x="919163" y="916305"/>
                  </a:lnTo>
                  <a:lnTo>
                    <a:pt x="908685" y="916305"/>
                  </a:lnTo>
                  <a:lnTo>
                    <a:pt x="904875" y="904875"/>
                  </a:lnTo>
                  <a:lnTo>
                    <a:pt x="877253" y="879157"/>
                  </a:lnTo>
                  <a:lnTo>
                    <a:pt x="868680" y="874395"/>
                  </a:lnTo>
                  <a:lnTo>
                    <a:pt x="831533" y="876300"/>
                  </a:lnTo>
                  <a:lnTo>
                    <a:pt x="820103" y="874395"/>
                  </a:lnTo>
                  <a:lnTo>
                    <a:pt x="798195" y="867728"/>
                  </a:lnTo>
                  <a:lnTo>
                    <a:pt x="763905" y="863918"/>
                  </a:lnTo>
                  <a:lnTo>
                    <a:pt x="754380" y="860107"/>
                  </a:lnTo>
                  <a:lnTo>
                    <a:pt x="734378" y="863918"/>
                  </a:lnTo>
                  <a:lnTo>
                    <a:pt x="728663" y="865822"/>
                  </a:lnTo>
                  <a:lnTo>
                    <a:pt x="722948" y="870585"/>
                  </a:lnTo>
                  <a:lnTo>
                    <a:pt x="721043" y="875347"/>
                  </a:lnTo>
                  <a:lnTo>
                    <a:pt x="718185" y="880110"/>
                  </a:lnTo>
                  <a:lnTo>
                    <a:pt x="715328" y="883920"/>
                  </a:lnTo>
                  <a:lnTo>
                    <a:pt x="711518" y="886778"/>
                  </a:lnTo>
                  <a:lnTo>
                    <a:pt x="700088" y="887730"/>
                  </a:lnTo>
                  <a:lnTo>
                    <a:pt x="665798" y="870585"/>
                  </a:lnTo>
                  <a:lnTo>
                    <a:pt x="663893" y="869632"/>
                  </a:lnTo>
                  <a:lnTo>
                    <a:pt x="659130" y="871538"/>
                  </a:lnTo>
                  <a:lnTo>
                    <a:pt x="655320" y="872490"/>
                  </a:lnTo>
                  <a:lnTo>
                    <a:pt x="650558" y="871538"/>
                  </a:lnTo>
                  <a:lnTo>
                    <a:pt x="646748" y="870585"/>
                  </a:lnTo>
                  <a:lnTo>
                    <a:pt x="635318" y="856297"/>
                  </a:lnTo>
                  <a:lnTo>
                    <a:pt x="610553" y="834390"/>
                  </a:lnTo>
                  <a:lnTo>
                    <a:pt x="588645" y="808672"/>
                  </a:lnTo>
                  <a:lnTo>
                    <a:pt x="579120" y="802005"/>
                  </a:lnTo>
                  <a:lnTo>
                    <a:pt x="542925" y="788670"/>
                  </a:lnTo>
                  <a:lnTo>
                    <a:pt x="530543" y="787718"/>
                  </a:lnTo>
                  <a:lnTo>
                    <a:pt x="520065" y="792480"/>
                  </a:lnTo>
                  <a:lnTo>
                    <a:pt x="509588" y="808672"/>
                  </a:lnTo>
                  <a:lnTo>
                    <a:pt x="497205" y="845820"/>
                  </a:lnTo>
                  <a:lnTo>
                    <a:pt x="490538" y="859155"/>
                  </a:lnTo>
                  <a:lnTo>
                    <a:pt x="467678" y="876300"/>
                  </a:lnTo>
                  <a:lnTo>
                    <a:pt x="460058" y="878205"/>
                  </a:lnTo>
                  <a:lnTo>
                    <a:pt x="451485" y="875347"/>
                  </a:lnTo>
                  <a:lnTo>
                    <a:pt x="442913" y="870585"/>
                  </a:lnTo>
                  <a:lnTo>
                    <a:pt x="434340" y="864870"/>
                  </a:lnTo>
                  <a:lnTo>
                    <a:pt x="424815" y="860107"/>
                  </a:lnTo>
                  <a:lnTo>
                    <a:pt x="417195" y="861060"/>
                  </a:lnTo>
                  <a:lnTo>
                    <a:pt x="412433" y="870585"/>
                  </a:lnTo>
                  <a:lnTo>
                    <a:pt x="417195" y="885825"/>
                  </a:lnTo>
                  <a:lnTo>
                    <a:pt x="412433" y="897255"/>
                  </a:lnTo>
                  <a:lnTo>
                    <a:pt x="403860" y="902970"/>
                  </a:lnTo>
                  <a:lnTo>
                    <a:pt x="392430" y="906780"/>
                  </a:lnTo>
                  <a:lnTo>
                    <a:pt x="373380" y="890588"/>
                  </a:lnTo>
                  <a:lnTo>
                    <a:pt x="368618" y="881063"/>
                  </a:lnTo>
                  <a:lnTo>
                    <a:pt x="378143" y="870585"/>
                  </a:lnTo>
                  <a:lnTo>
                    <a:pt x="379095" y="858203"/>
                  </a:lnTo>
                  <a:lnTo>
                    <a:pt x="381953" y="850582"/>
                  </a:lnTo>
                  <a:lnTo>
                    <a:pt x="383858" y="842010"/>
                  </a:lnTo>
                  <a:lnTo>
                    <a:pt x="381000" y="827722"/>
                  </a:lnTo>
                  <a:lnTo>
                    <a:pt x="375285" y="816293"/>
                  </a:lnTo>
                  <a:lnTo>
                    <a:pt x="368618" y="807720"/>
                  </a:lnTo>
                  <a:lnTo>
                    <a:pt x="352425" y="792480"/>
                  </a:lnTo>
                  <a:lnTo>
                    <a:pt x="333375" y="782003"/>
                  </a:lnTo>
                  <a:lnTo>
                    <a:pt x="331470" y="778193"/>
                  </a:lnTo>
                  <a:lnTo>
                    <a:pt x="322898" y="772478"/>
                  </a:lnTo>
                  <a:lnTo>
                    <a:pt x="314325" y="775335"/>
                  </a:lnTo>
                  <a:lnTo>
                    <a:pt x="304800" y="781050"/>
                  </a:lnTo>
                  <a:lnTo>
                    <a:pt x="295275" y="784860"/>
                  </a:lnTo>
                  <a:lnTo>
                    <a:pt x="257175" y="784860"/>
                  </a:lnTo>
                  <a:lnTo>
                    <a:pt x="250508" y="788670"/>
                  </a:lnTo>
                  <a:lnTo>
                    <a:pt x="249555" y="787718"/>
                  </a:lnTo>
                  <a:lnTo>
                    <a:pt x="246698" y="784860"/>
                  </a:lnTo>
                  <a:lnTo>
                    <a:pt x="237173" y="765810"/>
                  </a:lnTo>
                  <a:lnTo>
                    <a:pt x="229553" y="741045"/>
                  </a:lnTo>
                  <a:lnTo>
                    <a:pt x="222885" y="724853"/>
                  </a:lnTo>
                  <a:lnTo>
                    <a:pt x="183833" y="673418"/>
                  </a:lnTo>
                  <a:lnTo>
                    <a:pt x="179070" y="671513"/>
                  </a:lnTo>
                  <a:lnTo>
                    <a:pt x="177165" y="671513"/>
                  </a:lnTo>
                  <a:lnTo>
                    <a:pt x="166688" y="677228"/>
                  </a:lnTo>
                  <a:lnTo>
                    <a:pt x="159068" y="677228"/>
                  </a:lnTo>
                  <a:lnTo>
                    <a:pt x="150495" y="676275"/>
                  </a:lnTo>
                  <a:lnTo>
                    <a:pt x="140018" y="671513"/>
                  </a:lnTo>
                  <a:lnTo>
                    <a:pt x="136208" y="671513"/>
                  </a:lnTo>
                  <a:lnTo>
                    <a:pt x="133350" y="672465"/>
                  </a:lnTo>
                  <a:lnTo>
                    <a:pt x="129540" y="676275"/>
                  </a:lnTo>
                  <a:lnTo>
                    <a:pt x="125730" y="677228"/>
                  </a:lnTo>
                  <a:lnTo>
                    <a:pt x="121920" y="676275"/>
                  </a:lnTo>
                  <a:lnTo>
                    <a:pt x="118110" y="672465"/>
                  </a:lnTo>
                  <a:lnTo>
                    <a:pt x="92393" y="632460"/>
                  </a:lnTo>
                  <a:lnTo>
                    <a:pt x="86678" y="616268"/>
                  </a:lnTo>
                  <a:lnTo>
                    <a:pt x="86678" y="605790"/>
                  </a:lnTo>
                  <a:lnTo>
                    <a:pt x="87630" y="596265"/>
                  </a:lnTo>
                  <a:lnTo>
                    <a:pt x="87630" y="588645"/>
                  </a:lnTo>
                  <a:lnTo>
                    <a:pt x="83820" y="581978"/>
                  </a:lnTo>
                  <a:lnTo>
                    <a:pt x="80010" y="581025"/>
                  </a:lnTo>
                  <a:lnTo>
                    <a:pt x="65723" y="581978"/>
                  </a:lnTo>
                  <a:lnTo>
                    <a:pt x="65723" y="569595"/>
                  </a:lnTo>
                  <a:lnTo>
                    <a:pt x="73343" y="545782"/>
                  </a:lnTo>
                  <a:lnTo>
                    <a:pt x="54293" y="536257"/>
                  </a:lnTo>
                  <a:lnTo>
                    <a:pt x="36195" y="533400"/>
                  </a:lnTo>
                  <a:lnTo>
                    <a:pt x="19050" y="540068"/>
                  </a:lnTo>
                  <a:lnTo>
                    <a:pt x="14288" y="546735"/>
                  </a:lnTo>
                  <a:lnTo>
                    <a:pt x="12383" y="546735"/>
                  </a:lnTo>
                  <a:lnTo>
                    <a:pt x="0" y="543878"/>
                  </a:lnTo>
                  <a:lnTo>
                    <a:pt x="953" y="486728"/>
                  </a:lnTo>
                  <a:lnTo>
                    <a:pt x="6668" y="474345"/>
                  </a:lnTo>
                  <a:lnTo>
                    <a:pt x="8573" y="461963"/>
                  </a:lnTo>
                  <a:lnTo>
                    <a:pt x="1905" y="429578"/>
                  </a:lnTo>
                  <a:lnTo>
                    <a:pt x="2857" y="413385"/>
                  </a:lnTo>
                  <a:lnTo>
                    <a:pt x="11430" y="400050"/>
                  </a:lnTo>
                  <a:lnTo>
                    <a:pt x="45720" y="372428"/>
                  </a:lnTo>
                  <a:lnTo>
                    <a:pt x="48578" y="366713"/>
                  </a:lnTo>
                  <a:lnTo>
                    <a:pt x="54293" y="353378"/>
                  </a:lnTo>
                  <a:lnTo>
                    <a:pt x="58103" y="347663"/>
                  </a:lnTo>
                  <a:lnTo>
                    <a:pt x="64770" y="343853"/>
                  </a:lnTo>
                  <a:lnTo>
                    <a:pt x="79058" y="339090"/>
                  </a:lnTo>
                  <a:lnTo>
                    <a:pt x="84773" y="335280"/>
                  </a:lnTo>
                  <a:lnTo>
                    <a:pt x="93345" y="323850"/>
                  </a:lnTo>
                  <a:lnTo>
                    <a:pt x="100013" y="308610"/>
                  </a:lnTo>
                  <a:lnTo>
                    <a:pt x="103823" y="291465"/>
                  </a:lnTo>
                  <a:lnTo>
                    <a:pt x="102870" y="274320"/>
                  </a:lnTo>
                  <a:lnTo>
                    <a:pt x="104775" y="263843"/>
                  </a:lnTo>
                  <a:lnTo>
                    <a:pt x="108585" y="259080"/>
                  </a:lnTo>
                  <a:lnTo>
                    <a:pt x="113348" y="254318"/>
                  </a:lnTo>
                  <a:lnTo>
                    <a:pt x="118110" y="247650"/>
                  </a:lnTo>
                  <a:lnTo>
                    <a:pt x="121920" y="239078"/>
                  </a:lnTo>
                  <a:lnTo>
                    <a:pt x="122873" y="233363"/>
                  </a:lnTo>
                  <a:lnTo>
                    <a:pt x="121920" y="206693"/>
                  </a:lnTo>
                  <a:lnTo>
                    <a:pt x="120968" y="200025"/>
                  </a:lnTo>
                  <a:lnTo>
                    <a:pt x="120968" y="193357"/>
                  </a:lnTo>
                  <a:lnTo>
                    <a:pt x="124778" y="183832"/>
                  </a:lnTo>
                  <a:lnTo>
                    <a:pt x="129540" y="176213"/>
                  </a:lnTo>
                  <a:lnTo>
                    <a:pt x="141923" y="165735"/>
                  </a:lnTo>
                  <a:lnTo>
                    <a:pt x="146685" y="159068"/>
                  </a:lnTo>
                  <a:lnTo>
                    <a:pt x="148590" y="153353"/>
                  </a:lnTo>
                  <a:lnTo>
                    <a:pt x="147638" y="143828"/>
                  </a:lnTo>
                  <a:lnTo>
                    <a:pt x="148590" y="139065"/>
                  </a:lnTo>
                  <a:lnTo>
                    <a:pt x="155258" y="124778"/>
                  </a:lnTo>
                  <a:lnTo>
                    <a:pt x="166688" y="91440"/>
                  </a:lnTo>
                  <a:lnTo>
                    <a:pt x="176213" y="83820"/>
                  </a:lnTo>
                  <a:lnTo>
                    <a:pt x="196215" y="80963"/>
                  </a:lnTo>
                  <a:lnTo>
                    <a:pt x="204788" y="74295"/>
                  </a:lnTo>
                  <a:lnTo>
                    <a:pt x="203835" y="60960"/>
                  </a:lnTo>
                  <a:lnTo>
                    <a:pt x="206693" y="41910"/>
                  </a:lnTo>
                  <a:lnTo>
                    <a:pt x="210503" y="23813"/>
                  </a:lnTo>
                  <a:lnTo>
                    <a:pt x="214313" y="10478"/>
                  </a:lnTo>
                  <a:lnTo>
                    <a:pt x="225743" y="0"/>
                  </a:lnTo>
                  <a:lnTo>
                    <a:pt x="236220" y="2857"/>
                  </a:lnTo>
                  <a:lnTo>
                    <a:pt x="256223" y="24765"/>
                  </a:lnTo>
                  <a:lnTo>
                    <a:pt x="268605" y="33338"/>
                  </a:lnTo>
                  <a:lnTo>
                    <a:pt x="280035" y="35243"/>
                  </a:lnTo>
                  <a:lnTo>
                    <a:pt x="291465" y="34290"/>
                  </a:lnTo>
                  <a:lnTo>
                    <a:pt x="310515" y="35243"/>
                  </a:lnTo>
                  <a:lnTo>
                    <a:pt x="322898" y="31432"/>
                  </a:lnTo>
                  <a:lnTo>
                    <a:pt x="328613" y="32385"/>
                  </a:lnTo>
                  <a:lnTo>
                    <a:pt x="333375" y="37147"/>
                  </a:lnTo>
                  <a:lnTo>
                    <a:pt x="342900" y="51435"/>
                  </a:lnTo>
                  <a:lnTo>
                    <a:pt x="349568" y="53340"/>
                  </a:lnTo>
                  <a:lnTo>
                    <a:pt x="358140" y="58103"/>
                  </a:lnTo>
                  <a:lnTo>
                    <a:pt x="370523" y="68580"/>
                  </a:lnTo>
                  <a:lnTo>
                    <a:pt x="381000" y="73343"/>
                  </a:lnTo>
                  <a:lnTo>
                    <a:pt x="386715" y="60007"/>
                  </a:lnTo>
                  <a:lnTo>
                    <a:pt x="385763" y="5810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1" name="Полилиния: фигура 13">
              <a:extLst>
                <a:ext uri="{FF2B5EF4-FFF2-40B4-BE49-F238E27FC236}">
                  <a16:creationId xmlns:a16="http://schemas.microsoft.com/office/drawing/2014/main" id="{F6EF494E-48D7-C6D4-357E-8909BE0DE650}"/>
                </a:ext>
              </a:extLst>
            </p:cNvPr>
            <p:cNvSpPr/>
            <p:nvPr/>
          </p:nvSpPr>
          <p:spPr>
            <a:xfrm>
              <a:off x="2113598" y="608648"/>
              <a:ext cx="1314450" cy="1381125"/>
            </a:xfrm>
            <a:custGeom>
              <a:avLst/>
              <a:gdLst>
                <a:gd name="connsiteX0" fmla="*/ 1029653 w 1314450"/>
                <a:gd name="connsiteY0" fmla="*/ 25717 h 1381125"/>
                <a:gd name="connsiteX1" fmla="*/ 1032510 w 1314450"/>
                <a:gd name="connsiteY1" fmla="*/ 40957 h 1381125"/>
                <a:gd name="connsiteX2" fmla="*/ 1039178 w 1314450"/>
                <a:gd name="connsiteY2" fmla="*/ 44767 h 1381125"/>
                <a:gd name="connsiteX3" fmla="*/ 1086803 w 1314450"/>
                <a:gd name="connsiteY3" fmla="*/ 47625 h 1381125"/>
                <a:gd name="connsiteX4" fmla="*/ 1089660 w 1314450"/>
                <a:gd name="connsiteY4" fmla="*/ 48577 h 1381125"/>
                <a:gd name="connsiteX5" fmla="*/ 1090612 w 1314450"/>
                <a:gd name="connsiteY5" fmla="*/ 50482 h 1381125"/>
                <a:gd name="connsiteX6" fmla="*/ 1088708 w 1314450"/>
                <a:gd name="connsiteY6" fmla="*/ 52388 h 1381125"/>
                <a:gd name="connsiteX7" fmla="*/ 1081087 w 1314450"/>
                <a:gd name="connsiteY7" fmla="*/ 57150 h 1381125"/>
                <a:gd name="connsiteX8" fmla="*/ 1077278 w 1314450"/>
                <a:gd name="connsiteY8" fmla="*/ 60007 h 1381125"/>
                <a:gd name="connsiteX9" fmla="*/ 1075373 w 1314450"/>
                <a:gd name="connsiteY9" fmla="*/ 62865 h 1381125"/>
                <a:gd name="connsiteX10" fmla="*/ 1074420 w 1314450"/>
                <a:gd name="connsiteY10" fmla="*/ 65722 h 1381125"/>
                <a:gd name="connsiteX11" fmla="*/ 1073468 w 1314450"/>
                <a:gd name="connsiteY11" fmla="*/ 70485 h 1381125"/>
                <a:gd name="connsiteX12" fmla="*/ 1073468 w 1314450"/>
                <a:gd name="connsiteY12" fmla="*/ 76200 h 1381125"/>
                <a:gd name="connsiteX13" fmla="*/ 1074420 w 1314450"/>
                <a:gd name="connsiteY13" fmla="*/ 81915 h 1381125"/>
                <a:gd name="connsiteX14" fmla="*/ 1075373 w 1314450"/>
                <a:gd name="connsiteY14" fmla="*/ 86677 h 1381125"/>
                <a:gd name="connsiteX15" fmla="*/ 1079183 w 1314450"/>
                <a:gd name="connsiteY15" fmla="*/ 95250 h 1381125"/>
                <a:gd name="connsiteX16" fmla="*/ 1080135 w 1314450"/>
                <a:gd name="connsiteY16" fmla="*/ 100965 h 1381125"/>
                <a:gd name="connsiteX17" fmla="*/ 1080135 w 1314450"/>
                <a:gd name="connsiteY17" fmla="*/ 104775 h 1381125"/>
                <a:gd name="connsiteX18" fmla="*/ 1079183 w 1314450"/>
                <a:gd name="connsiteY18" fmla="*/ 108585 h 1381125"/>
                <a:gd name="connsiteX19" fmla="*/ 1078230 w 1314450"/>
                <a:gd name="connsiteY19" fmla="*/ 113347 h 1381125"/>
                <a:gd name="connsiteX20" fmla="*/ 1072515 w 1314450"/>
                <a:gd name="connsiteY20" fmla="*/ 123825 h 1381125"/>
                <a:gd name="connsiteX21" fmla="*/ 1065848 w 1314450"/>
                <a:gd name="connsiteY21" fmla="*/ 134302 h 1381125"/>
                <a:gd name="connsiteX22" fmla="*/ 1062037 w 1314450"/>
                <a:gd name="connsiteY22" fmla="*/ 138113 h 1381125"/>
                <a:gd name="connsiteX23" fmla="*/ 1042987 w 1314450"/>
                <a:gd name="connsiteY23" fmla="*/ 154305 h 1381125"/>
                <a:gd name="connsiteX24" fmla="*/ 1017270 w 1314450"/>
                <a:gd name="connsiteY24" fmla="*/ 191452 h 1381125"/>
                <a:gd name="connsiteX25" fmla="*/ 1013460 w 1314450"/>
                <a:gd name="connsiteY25" fmla="*/ 200025 h 1381125"/>
                <a:gd name="connsiteX26" fmla="*/ 1011555 w 1314450"/>
                <a:gd name="connsiteY26" fmla="*/ 205740 h 1381125"/>
                <a:gd name="connsiteX27" fmla="*/ 1010603 w 1314450"/>
                <a:gd name="connsiteY27" fmla="*/ 214313 h 1381125"/>
                <a:gd name="connsiteX28" fmla="*/ 1007745 w 1314450"/>
                <a:gd name="connsiteY28" fmla="*/ 231458 h 1381125"/>
                <a:gd name="connsiteX29" fmla="*/ 1007745 w 1314450"/>
                <a:gd name="connsiteY29" fmla="*/ 245745 h 1381125"/>
                <a:gd name="connsiteX30" fmla="*/ 1008698 w 1314450"/>
                <a:gd name="connsiteY30" fmla="*/ 262890 h 1381125"/>
                <a:gd name="connsiteX31" fmla="*/ 1008698 w 1314450"/>
                <a:gd name="connsiteY31" fmla="*/ 273367 h 1381125"/>
                <a:gd name="connsiteX32" fmla="*/ 1009650 w 1314450"/>
                <a:gd name="connsiteY32" fmla="*/ 280035 h 1381125"/>
                <a:gd name="connsiteX33" fmla="*/ 1012507 w 1314450"/>
                <a:gd name="connsiteY33" fmla="*/ 284798 h 1381125"/>
                <a:gd name="connsiteX34" fmla="*/ 1017270 w 1314450"/>
                <a:gd name="connsiteY34" fmla="*/ 287655 h 1381125"/>
                <a:gd name="connsiteX35" fmla="*/ 1023937 w 1314450"/>
                <a:gd name="connsiteY35" fmla="*/ 288607 h 1381125"/>
                <a:gd name="connsiteX36" fmla="*/ 1027748 w 1314450"/>
                <a:gd name="connsiteY36" fmla="*/ 288607 h 1381125"/>
                <a:gd name="connsiteX37" fmla="*/ 1033462 w 1314450"/>
                <a:gd name="connsiteY37" fmla="*/ 287655 h 1381125"/>
                <a:gd name="connsiteX38" fmla="*/ 1035368 w 1314450"/>
                <a:gd name="connsiteY38" fmla="*/ 286703 h 1381125"/>
                <a:gd name="connsiteX39" fmla="*/ 1037273 w 1314450"/>
                <a:gd name="connsiteY39" fmla="*/ 288607 h 1381125"/>
                <a:gd name="connsiteX40" fmla="*/ 1039178 w 1314450"/>
                <a:gd name="connsiteY40" fmla="*/ 298132 h 1381125"/>
                <a:gd name="connsiteX41" fmla="*/ 1040130 w 1314450"/>
                <a:gd name="connsiteY41" fmla="*/ 300038 h 1381125"/>
                <a:gd name="connsiteX42" fmla="*/ 1042987 w 1314450"/>
                <a:gd name="connsiteY42" fmla="*/ 301942 h 1381125"/>
                <a:gd name="connsiteX43" fmla="*/ 1052512 w 1314450"/>
                <a:gd name="connsiteY43" fmla="*/ 304800 h 1381125"/>
                <a:gd name="connsiteX44" fmla="*/ 1056323 w 1314450"/>
                <a:gd name="connsiteY44" fmla="*/ 307657 h 1381125"/>
                <a:gd name="connsiteX45" fmla="*/ 1059180 w 1314450"/>
                <a:gd name="connsiteY45" fmla="*/ 313373 h 1381125"/>
                <a:gd name="connsiteX46" fmla="*/ 1059180 w 1314450"/>
                <a:gd name="connsiteY46" fmla="*/ 317182 h 1381125"/>
                <a:gd name="connsiteX47" fmla="*/ 1058228 w 1314450"/>
                <a:gd name="connsiteY47" fmla="*/ 322898 h 1381125"/>
                <a:gd name="connsiteX48" fmla="*/ 1053465 w 1314450"/>
                <a:gd name="connsiteY48" fmla="*/ 331470 h 1381125"/>
                <a:gd name="connsiteX49" fmla="*/ 1050608 w 1314450"/>
                <a:gd name="connsiteY49" fmla="*/ 335280 h 1381125"/>
                <a:gd name="connsiteX50" fmla="*/ 1041082 w 1314450"/>
                <a:gd name="connsiteY50" fmla="*/ 343853 h 1381125"/>
                <a:gd name="connsiteX51" fmla="*/ 1037273 w 1314450"/>
                <a:gd name="connsiteY51" fmla="*/ 347663 h 1381125"/>
                <a:gd name="connsiteX52" fmla="*/ 1034415 w 1314450"/>
                <a:gd name="connsiteY52" fmla="*/ 352425 h 1381125"/>
                <a:gd name="connsiteX53" fmla="*/ 1033462 w 1314450"/>
                <a:gd name="connsiteY53" fmla="*/ 356235 h 1381125"/>
                <a:gd name="connsiteX54" fmla="*/ 1032510 w 1314450"/>
                <a:gd name="connsiteY54" fmla="*/ 360998 h 1381125"/>
                <a:gd name="connsiteX55" fmla="*/ 1031557 w 1314450"/>
                <a:gd name="connsiteY55" fmla="*/ 374332 h 1381125"/>
                <a:gd name="connsiteX56" fmla="*/ 1031557 w 1314450"/>
                <a:gd name="connsiteY56" fmla="*/ 378142 h 1381125"/>
                <a:gd name="connsiteX57" fmla="*/ 1033462 w 1314450"/>
                <a:gd name="connsiteY57" fmla="*/ 385763 h 1381125"/>
                <a:gd name="connsiteX58" fmla="*/ 1039178 w 1314450"/>
                <a:gd name="connsiteY58" fmla="*/ 408623 h 1381125"/>
                <a:gd name="connsiteX59" fmla="*/ 1040130 w 1314450"/>
                <a:gd name="connsiteY59" fmla="*/ 415290 h 1381125"/>
                <a:gd name="connsiteX60" fmla="*/ 1040130 w 1314450"/>
                <a:gd name="connsiteY60" fmla="*/ 418148 h 1381125"/>
                <a:gd name="connsiteX61" fmla="*/ 1039178 w 1314450"/>
                <a:gd name="connsiteY61" fmla="*/ 425767 h 1381125"/>
                <a:gd name="connsiteX62" fmla="*/ 1037273 w 1314450"/>
                <a:gd name="connsiteY62" fmla="*/ 440055 h 1381125"/>
                <a:gd name="connsiteX63" fmla="*/ 1036320 w 1314450"/>
                <a:gd name="connsiteY63" fmla="*/ 451485 h 1381125"/>
                <a:gd name="connsiteX64" fmla="*/ 1036320 w 1314450"/>
                <a:gd name="connsiteY64" fmla="*/ 458153 h 1381125"/>
                <a:gd name="connsiteX65" fmla="*/ 1037273 w 1314450"/>
                <a:gd name="connsiteY65" fmla="*/ 468630 h 1381125"/>
                <a:gd name="connsiteX66" fmla="*/ 1037273 w 1314450"/>
                <a:gd name="connsiteY66" fmla="*/ 471488 h 1381125"/>
                <a:gd name="connsiteX67" fmla="*/ 1033462 w 1314450"/>
                <a:gd name="connsiteY67" fmla="*/ 502920 h 1381125"/>
                <a:gd name="connsiteX68" fmla="*/ 1034415 w 1314450"/>
                <a:gd name="connsiteY68" fmla="*/ 509588 h 1381125"/>
                <a:gd name="connsiteX69" fmla="*/ 1035368 w 1314450"/>
                <a:gd name="connsiteY69" fmla="*/ 512445 h 1381125"/>
                <a:gd name="connsiteX70" fmla="*/ 1038225 w 1314450"/>
                <a:gd name="connsiteY70" fmla="*/ 517207 h 1381125"/>
                <a:gd name="connsiteX71" fmla="*/ 1042035 w 1314450"/>
                <a:gd name="connsiteY71" fmla="*/ 521970 h 1381125"/>
                <a:gd name="connsiteX72" fmla="*/ 1043940 w 1314450"/>
                <a:gd name="connsiteY72" fmla="*/ 522923 h 1381125"/>
                <a:gd name="connsiteX73" fmla="*/ 1048703 w 1314450"/>
                <a:gd name="connsiteY73" fmla="*/ 523875 h 1381125"/>
                <a:gd name="connsiteX74" fmla="*/ 1050608 w 1314450"/>
                <a:gd name="connsiteY74" fmla="*/ 522923 h 1381125"/>
                <a:gd name="connsiteX75" fmla="*/ 1052512 w 1314450"/>
                <a:gd name="connsiteY75" fmla="*/ 521017 h 1381125"/>
                <a:gd name="connsiteX76" fmla="*/ 1054418 w 1314450"/>
                <a:gd name="connsiteY76" fmla="*/ 518160 h 1381125"/>
                <a:gd name="connsiteX77" fmla="*/ 1057275 w 1314450"/>
                <a:gd name="connsiteY77" fmla="*/ 509588 h 1381125"/>
                <a:gd name="connsiteX78" fmla="*/ 1060133 w 1314450"/>
                <a:gd name="connsiteY78" fmla="*/ 503873 h 1381125"/>
                <a:gd name="connsiteX79" fmla="*/ 1062037 w 1314450"/>
                <a:gd name="connsiteY79" fmla="*/ 501967 h 1381125"/>
                <a:gd name="connsiteX80" fmla="*/ 1068705 w 1314450"/>
                <a:gd name="connsiteY80" fmla="*/ 497205 h 1381125"/>
                <a:gd name="connsiteX81" fmla="*/ 1074420 w 1314450"/>
                <a:gd name="connsiteY81" fmla="*/ 495300 h 1381125"/>
                <a:gd name="connsiteX82" fmla="*/ 1080135 w 1314450"/>
                <a:gd name="connsiteY82" fmla="*/ 494348 h 1381125"/>
                <a:gd name="connsiteX83" fmla="*/ 1086803 w 1314450"/>
                <a:gd name="connsiteY83" fmla="*/ 493395 h 1381125"/>
                <a:gd name="connsiteX84" fmla="*/ 1093470 w 1314450"/>
                <a:gd name="connsiteY84" fmla="*/ 494348 h 1381125"/>
                <a:gd name="connsiteX85" fmla="*/ 1104900 w 1314450"/>
                <a:gd name="connsiteY85" fmla="*/ 499110 h 1381125"/>
                <a:gd name="connsiteX86" fmla="*/ 1107758 w 1314450"/>
                <a:gd name="connsiteY86" fmla="*/ 499110 h 1381125"/>
                <a:gd name="connsiteX87" fmla="*/ 1110615 w 1314450"/>
                <a:gd name="connsiteY87" fmla="*/ 499110 h 1381125"/>
                <a:gd name="connsiteX88" fmla="*/ 1113473 w 1314450"/>
                <a:gd name="connsiteY88" fmla="*/ 498157 h 1381125"/>
                <a:gd name="connsiteX89" fmla="*/ 1115378 w 1314450"/>
                <a:gd name="connsiteY89" fmla="*/ 496253 h 1381125"/>
                <a:gd name="connsiteX90" fmla="*/ 1119187 w 1314450"/>
                <a:gd name="connsiteY90" fmla="*/ 492442 h 1381125"/>
                <a:gd name="connsiteX91" fmla="*/ 1121093 w 1314450"/>
                <a:gd name="connsiteY91" fmla="*/ 489585 h 1381125"/>
                <a:gd name="connsiteX92" fmla="*/ 1124903 w 1314450"/>
                <a:gd name="connsiteY92" fmla="*/ 482917 h 1381125"/>
                <a:gd name="connsiteX93" fmla="*/ 1126808 w 1314450"/>
                <a:gd name="connsiteY93" fmla="*/ 480060 h 1381125"/>
                <a:gd name="connsiteX94" fmla="*/ 1128712 w 1314450"/>
                <a:gd name="connsiteY94" fmla="*/ 478155 h 1381125"/>
                <a:gd name="connsiteX95" fmla="*/ 1130618 w 1314450"/>
                <a:gd name="connsiteY95" fmla="*/ 477203 h 1381125"/>
                <a:gd name="connsiteX96" fmla="*/ 1133475 w 1314450"/>
                <a:gd name="connsiteY96" fmla="*/ 477203 h 1381125"/>
                <a:gd name="connsiteX97" fmla="*/ 1135380 w 1314450"/>
                <a:gd name="connsiteY97" fmla="*/ 479107 h 1381125"/>
                <a:gd name="connsiteX98" fmla="*/ 1137285 w 1314450"/>
                <a:gd name="connsiteY98" fmla="*/ 483870 h 1381125"/>
                <a:gd name="connsiteX99" fmla="*/ 1140143 w 1314450"/>
                <a:gd name="connsiteY99" fmla="*/ 488632 h 1381125"/>
                <a:gd name="connsiteX100" fmla="*/ 1145858 w 1314450"/>
                <a:gd name="connsiteY100" fmla="*/ 491490 h 1381125"/>
                <a:gd name="connsiteX101" fmla="*/ 1148715 w 1314450"/>
                <a:gd name="connsiteY101" fmla="*/ 492442 h 1381125"/>
                <a:gd name="connsiteX102" fmla="*/ 1155383 w 1314450"/>
                <a:gd name="connsiteY102" fmla="*/ 492442 h 1381125"/>
                <a:gd name="connsiteX103" fmla="*/ 1159193 w 1314450"/>
                <a:gd name="connsiteY103" fmla="*/ 491490 h 1381125"/>
                <a:gd name="connsiteX104" fmla="*/ 1163955 w 1314450"/>
                <a:gd name="connsiteY104" fmla="*/ 489585 h 1381125"/>
                <a:gd name="connsiteX105" fmla="*/ 1171575 w 1314450"/>
                <a:gd name="connsiteY105" fmla="*/ 481965 h 1381125"/>
                <a:gd name="connsiteX106" fmla="*/ 1173480 w 1314450"/>
                <a:gd name="connsiteY106" fmla="*/ 481013 h 1381125"/>
                <a:gd name="connsiteX107" fmla="*/ 1174433 w 1314450"/>
                <a:gd name="connsiteY107" fmla="*/ 482917 h 1381125"/>
                <a:gd name="connsiteX108" fmla="*/ 1174433 w 1314450"/>
                <a:gd name="connsiteY108" fmla="*/ 490538 h 1381125"/>
                <a:gd name="connsiteX109" fmla="*/ 1169670 w 1314450"/>
                <a:gd name="connsiteY109" fmla="*/ 509588 h 1381125"/>
                <a:gd name="connsiteX110" fmla="*/ 1167765 w 1314450"/>
                <a:gd name="connsiteY110" fmla="*/ 518160 h 1381125"/>
                <a:gd name="connsiteX111" fmla="*/ 1166812 w 1314450"/>
                <a:gd name="connsiteY111" fmla="*/ 524828 h 1381125"/>
                <a:gd name="connsiteX112" fmla="*/ 1167765 w 1314450"/>
                <a:gd name="connsiteY112" fmla="*/ 527685 h 1381125"/>
                <a:gd name="connsiteX113" fmla="*/ 1170623 w 1314450"/>
                <a:gd name="connsiteY113" fmla="*/ 532448 h 1381125"/>
                <a:gd name="connsiteX114" fmla="*/ 1173480 w 1314450"/>
                <a:gd name="connsiteY114" fmla="*/ 537210 h 1381125"/>
                <a:gd name="connsiteX115" fmla="*/ 1179195 w 1314450"/>
                <a:gd name="connsiteY115" fmla="*/ 540068 h 1381125"/>
                <a:gd name="connsiteX116" fmla="*/ 1188720 w 1314450"/>
                <a:gd name="connsiteY116" fmla="*/ 544830 h 1381125"/>
                <a:gd name="connsiteX117" fmla="*/ 1191578 w 1314450"/>
                <a:gd name="connsiteY117" fmla="*/ 547688 h 1381125"/>
                <a:gd name="connsiteX118" fmla="*/ 1193483 w 1314450"/>
                <a:gd name="connsiteY118" fmla="*/ 552450 h 1381125"/>
                <a:gd name="connsiteX119" fmla="*/ 1194435 w 1314450"/>
                <a:gd name="connsiteY119" fmla="*/ 559118 h 1381125"/>
                <a:gd name="connsiteX120" fmla="*/ 1194435 w 1314450"/>
                <a:gd name="connsiteY120" fmla="*/ 561975 h 1381125"/>
                <a:gd name="connsiteX121" fmla="*/ 1195387 w 1314450"/>
                <a:gd name="connsiteY121" fmla="*/ 564832 h 1381125"/>
                <a:gd name="connsiteX122" fmla="*/ 1199198 w 1314450"/>
                <a:gd name="connsiteY122" fmla="*/ 568643 h 1381125"/>
                <a:gd name="connsiteX123" fmla="*/ 1214437 w 1314450"/>
                <a:gd name="connsiteY123" fmla="*/ 581025 h 1381125"/>
                <a:gd name="connsiteX124" fmla="*/ 1224915 w 1314450"/>
                <a:gd name="connsiteY124" fmla="*/ 593407 h 1381125"/>
                <a:gd name="connsiteX125" fmla="*/ 1227773 w 1314450"/>
                <a:gd name="connsiteY125" fmla="*/ 598170 h 1381125"/>
                <a:gd name="connsiteX126" fmla="*/ 1231583 w 1314450"/>
                <a:gd name="connsiteY126" fmla="*/ 602932 h 1381125"/>
                <a:gd name="connsiteX127" fmla="*/ 1271587 w 1314450"/>
                <a:gd name="connsiteY127" fmla="*/ 622935 h 1381125"/>
                <a:gd name="connsiteX128" fmla="*/ 1298258 w 1314450"/>
                <a:gd name="connsiteY128" fmla="*/ 649605 h 1381125"/>
                <a:gd name="connsiteX129" fmla="*/ 1300162 w 1314450"/>
                <a:gd name="connsiteY129" fmla="*/ 651510 h 1381125"/>
                <a:gd name="connsiteX130" fmla="*/ 1302068 w 1314450"/>
                <a:gd name="connsiteY130" fmla="*/ 657225 h 1381125"/>
                <a:gd name="connsiteX131" fmla="*/ 1302068 w 1314450"/>
                <a:gd name="connsiteY131" fmla="*/ 661035 h 1381125"/>
                <a:gd name="connsiteX132" fmla="*/ 1301115 w 1314450"/>
                <a:gd name="connsiteY132" fmla="*/ 670560 h 1381125"/>
                <a:gd name="connsiteX133" fmla="*/ 1301115 w 1314450"/>
                <a:gd name="connsiteY133" fmla="*/ 675323 h 1381125"/>
                <a:gd name="connsiteX134" fmla="*/ 1298258 w 1314450"/>
                <a:gd name="connsiteY134" fmla="*/ 681038 h 1381125"/>
                <a:gd name="connsiteX135" fmla="*/ 1293495 w 1314450"/>
                <a:gd name="connsiteY135" fmla="*/ 689610 h 1381125"/>
                <a:gd name="connsiteX136" fmla="*/ 1287780 w 1314450"/>
                <a:gd name="connsiteY136" fmla="*/ 695325 h 1381125"/>
                <a:gd name="connsiteX137" fmla="*/ 1283018 w 1314450"/>
                <a:gd name="connsiteY137" fmla="*/ 699135 h 1381125"/>
                <a:gd name="connsiteX138" fmla="*/ 1245870 w 1314450"/>
                <a:gd name="connsiteY138" fmla="*/ 706755 h 1381125"/>
                <a:gd name="connsiteX139" fmla="*/ 1243965 w 1314450"/>
                <a:gd name="connsiteY139" fmla="*/ 708660 h 1381125"/>
                <a:gd name="connsiteX140" fmla="*/ 1243012 w 1314450"/>
                <a:gd name="connsiteY140" fmla="*/ 713423 h 1381125"/>
                <a:gd name="connsiteX141" fmla="*/ 1240155 w 1314450"/>
                <a:gd name="connsiteY141" fmla="*/ 736282 h 1381125"/>
                <a:gd name="connsiteX142" fmla="*/ 1240155 w 1314450"/>
                <a:gd name="connsiteY142" fmla="*/ 741045 h 1381125"/>
                <a:gd name="connsiteX143" fmla="*/ 1242060 w 1314450"/>
                <a:gd name="connsiteY143" fmla="*/ 742950 h 1381125"/>
                <a:gd name="connsiteX144" fmla="*/ 1244918 w 1314450"/>
                <a:gd name="connsiteY144" fmla="*/ 744855 h 1381125"/>
                <a:gd name="connsiteX145" fmla="*/ 1258253 w 1314450"/>
                <a:gd name="connsiteY145" fmla="*/ 750570 h 1381125"/>
                <a:gd name="connsiteX146" fmla="*/ 1261110 w 1314450"/>
                <a:gd name="connsiteY146" fmla="*/ 750570 h 1381125"/>
                <a:gd name="connsiteX147" fmla="*/ 1263015 w 1314450"/>
                <a:gd name="connsiteY147" fmla="*/ 749618 h 1381125"/>
                <a:gd name="connsiteX148" fmla="*/ 1268730 w 1314450"/>
                <a:gd name="connsiteY148" fmla="*/ 744855 h 1381125"/>
                <a:gd name="connsiteX149" fmla="*/ 1269683 w 1314450"/>
                <a:gd name="connsiteY149" fmla="*/ 743903 h 1381125"/>
                <a:gd name="connsiteX150" fmla="*/ 1275398 w 1314450"/>
                <a:gd name="connsiteY150" fmla="*/ 742950 h 1381125"/>
                <a:gd name="connsiteX151" fmla="*/ 1281112 w 1314450"/>
                <a:gd name="connsiteY151" fmla="*/ 741998 h 1381125"/>
                <a:gd name="connsiteX152" fmla="*/ 1285875 w 1314450"/>
                <a:gd name="connsiteY152" fmla="*/ 744855 h 1381125"/>
                <a:gd name="connsiteX153" fmla="*/ 1290637 w 1314450"/>
                <a:gd name="connsiteY153" fmla="*/ 748665 h 1381125"/>
                <a:gd name="connsiteX154" fmla="*/ 1299210 w 1314450"/>
                <a:gd name="connsiteY154" fmla="*/ 758190 h 1381125"/>
                <a:gd name="connsiteX155" fmla="*/ 1307783 w 1314450"/>
                <a:gd name="connsiteY155" fmla="*/ 773430 h 1381125"/>
                <a:gd name="connsiteX156" fmla="*/ 1309687 w 1314450"/>
                <a:gd name="connsiteY156" fmla="*/ 778193 h 1381125"/>
                <a:gd name="connsiteX157" fmla="*/ 1310640 w 1314450"/>
                <a:gd name="connsiteY157" fmla="*/ 784860 h 1381125"/>
                <a:gd name="connsiteX158" fmla="*/ 1310640 w 1314450"/>
                <a:gd name="connsiteY158" fmla="*/ 787718 h 1381125"/>
                <a:gd name="connsiteX159" fmla="*/ 1315403 w 1314450"/>
                <a:gd name="connsiteY159" fmla="*/ 794385 h 1381125"/>
                <a:gd name="connsiteX160" fmla="*/ 1317308 w 1314450"/>
                <a:gd name="connsiteY160" fmla="*/ 800100 h 1381125"/>
                <a:gd name="connsiteX161" fmla="*/ 1318260 w 1314450"/>
                <a:gd name="connsiteY161" fmla="*/ 810578 h 1381125"/>
                <a:gd name="connsiteX162" fmla="*/ 1319212 w 1314450"/>
                <a:gd name="connsiteY162" fmla="*/ 816293 h 1381125"/>
                <a:gd name="connsiteX163" fmla="*/ 1318260 w 1314450"/>
                <a:gd name="connsiteY163" fmla="*/ 820103 h 1381125"/>
                <a:gd name="connsiteX164" fmla="*/ 1316355 w 1314450"/>
                <a:gd name="connsiteY164" fmla="*/ 823913 h 1381125"/>
                <a:gd name="connsiteX165" fmla="*/ 1308735 w 1314450"/>
                <a:gd name="connsiteY165" fmla="*/ 829628 h 1381125"/>
                <a:gd name="connsiteX166" fmla="*/ 1304925 w 1314450"/>
                <a:gd name="connsiteY166" fmla="*/ 831532 h 1381125"/>
                <a:gd name="connsiteX167" fmla="*/ 1300162 w 1314450"/>
                <a:gd name="connsiteY167" fmla="*/ 833438 h 1381125"/>
                <a:gd name="connsiteX168" fmla="*/ 1263015 w 1314450"/>
                <a:gd name="connsiteY168" fmla="*/ 838200 h 1381125"/>
                <a:gd name="connsiteX169" fmla="*/ 1260158 w 1314450"/>
                <a:gd name="connsiteY169" fmla="*/ 841057 h 1381125"/>
                <a:gd name="connsiteX170" fmla="*/ 1257300 w 1314450"/>
                <a:gd name="connsiteY170" fmla="*/ 843915 h 1381125"/>
                <a:gd name="connsiteX171" fmla="*/ 1255395 w 1314450"/>
                <a:gd name="connsiteY171" fmla="*/ 849630 h 1381125"/>
                <a:gd name="connsiteX172" fmla="*/ 1255395 w 1314450"/>
                <a:gd name="connsiteY172" fmla="*/ 853440 h 1381125"/>
                <a:gd name="connsiteX173" fmla="*/ 1257300 w 1314450"/>
                <a:gd name="connsiteY173" fmla="*/ 856298 h 1381125"/>
                <a:gd name="connsiteX174" fmla="*/ 1259205 w 1314450"/>
                <a:gd name="connsiteY174" fmla="*/ 858203 h 1381125"/>
                <a:gd name="connsiteX175" fmla="*/ 1267778 w 1314450"/>
                <a:gd name="connsiteY175" fmla="*/ 864870 h 1381125"/>
                <a:gd name="connsiteX176" fmla="*/ 1269683 w 1314450"/>
                <a:gd name="connsiteY176" fmla="*/ 867728 h 1381125"/>
                <a:gd name="connsiteX177" fmla="*/ 1271587 w 1314450"/>
                <a:gd name="connsiteY177" fmla="*/ 870585 h 1381125"/>
                <a:gd name="connsiteX178" fmla="*/ 1274445 w 1314450"/>
                <a:gd name="connsiteY178" fmla="*/ 873443 h 1381125"/>
                <a:gd name="connsiteX179" fmla="*/ 1275398 w 1314450"/>
                <a:gd name="connsiteY179" fmla="*/ 875348 h 1381125"/>
                <a:gd name="connsiteX180" fmla="*/ 1276350 w 1314450"/>
                <a:gd name="connsiteY180" fmla="*/ 878205 h 1381125"/>
                <a:gd name="connsiteX181" fmla="*/ 1276350 w 1314450"/>
                <a:gd name="connsiteY181" fmla="*/ 884873 h 1381125"/>
                <a:gd name="connsiteX182" fmla="*/ 1274445 w 1314450"/>
                <a:gd name="connsiteY182" fmla="*/ 891540 h 1381125"/>
                <a:gd name="connsiteX183" fmla="*/ 1272540 w 1314450"/>
                <a:gd name="connsiteY183" fmla="*/ 894398 h 1381125"/>
                <a:gd name="connsiteX184" fmla="*/ 1259205 w 1314450"/>
                <a:gd name="connsiteY184" fmla="*/ 906780 h 1381125"/>
                <a:gd name="connsiteX185" fmla="*/ 1252537 w 1314450"/>
                <a:gd name="connsiteY185" fmla="*/ 917257 h 1381125"/>
                <a:gd name="connsiteX186" fmla="*/ 1250633 w 1314450"/>
                <a:gd name="connsiteY186" fmla="*/ 922973 h 1381125"/>
                <a:gd name="connsiteX187" fmla="*/ 1251585 w 1314450"/>
                <a:gd name="connsiteY187" fmla="*/ 926782 h 1381125"/>
                <a:gd name="connsiteX188" fmla="*/ 1253490 w 1314450"/>
                <a:gd name="connsiteY188" fmla="*/ 927735 h 1381125"/>
                <a:gd name="connsiteX189" fmla="*/ 1265873 w 1314450"/>
                <a:gd name="connsiteY189" fmla="*/ 934403 h 1381125"/>
                <a:gd name="connsiteX190" fmla="*/ 1268730 w 1314450"/>
                <a:gd name="connsiteY190" fmla="*/ 936307 h 1381125"/>
                <a:gd name="connsiteX191" fmla="*/ 1270635 w 1314450"/>
                <a:gd name="connsiteY191" fmla="*/ 940118 h 1381125"/>
                <a:gd name="connsiteX192" fmla="*/ 1270635 w 1314450"/>
                <a:gd name="connsiteY192" fmla="*/ 942023 h 1381125"/>
                <a:gd name="connsiteX193" fmla="*/ 1266825 w 1314450"/>
                <a:gd name="connsiteY193" fmla="*/ 947737 h 1381125"/>
                <a:gd name="connsiteX194" fmla="*/ 1264920 w 1314450"/>
                <a:gd name="connsiteY194" fmla="*/ 949643 h 1381125"/>
                <a:gd name="connsiteX195" fmla="*/ 1262062 w 1314450"/>
                <a:gd name="connsiteY195" fmla="*/ 950595 h 1381125"/>
                <a:gd name="connsiteX196" fmla="*/ 1257300 w 1314450"/>
                <a:gd name="connsiteY196" fmla="*/ 951548 h 1381125"/>
                <a:gd name="connsiteX197" fmla="*/ 1247775 w 1314450"/>
                <a:gd name="connsiteY197" fmla="*/ 948690 h 1381125"/>
                <a:gd name="connsiteX198" fmla="*/ 1241108 w 1314450"/>
                <a:gd name="connsiteY198" fmla="*/ 948690 h 1381125"/>
                <a:gd name="connsiteX199" fmla="*/ 1238250 w 1314450"/>
                <a:gd name="connsiteY199" fmla="*/ 949643 h 1381125"/>
                <a:gd name="connsiteX200" fmla="*/ 1234440 w 1314450"/>
                <a:gd name="connsiteY200" fmla="*/ 952500 h 1381125"/>
                <a:gd name="connsiteX201" fmla="*/ 1210628 w 1314450"/>
                <a:gd name="connsiteY201" fmla="*/ 971550 h 1381125"/>
                <a:gd name="connsiteX202" fmla="*/ 1208723 w 1314450"/>
                <a:gd name="connsiteY202" fmla="*/ 972503 h 1381125"/>
                <a:gd name="connsiteX203" fmla="*/ 1205865 w 1314450"/>
                <a:gd name="connsiteY203" fmla="*/ 974407 h 1381125"/>
                <a:gd name="connsiteX204" fmla="*/ 1203008 w 1314450"/>
                <a:gd name="connsiteY204" fmla="*/ 977265 h 1381125"/>
                <a:gd name="connsiteX205" fmla="*/ 1200150 w 1314450"/>
                <a:gd name="connsiteY205" fmla="*/ 983932 h 1381125"/>
                <a:gd name="connsiteX206" fmla="*/ 1199198 w 1314450"/>
                <a:gd name="connsiteY206" fmla="*/ 986790 h 1381125"/>
                <a:gd name="connsiteX207" fmla="*/ 1197293 w 1314450"/>
                <a:gd name="connsiteY207" fmla="*/ 1024890 h 1381125"/>
                <a:gd name="connsiteX208" fmla="*/ 1200150 w 1314450"/>
                <a:gd name="connsiteY208" fmla="*/ 1041082 h 1381125"/>
                <a:gd name="connsiteX209" fmla="*/ 1200150 w 1314450"/>
                <a:gd name="connsiteY209" fmla="*/ 1047750 h 1381125"/>
                <a:gd name="connsiteX210" fmla="*/ 1200150 w 1314450"/>
                <a:gd name="connsiteY210" fmla="*/ 1054418 h 1381125"/>
                <a:gd name="connsiteX211" fmla="*/ 1199198 w 1314450"/>
                <a:gd name="connsiteY211" fmla="*/ 1060133 h 1381125"/>
                <a:gd name="connsiteX212" fmla="*/ 1195387 w 1314450"/>
                <a:gd name="connsiteY212" fmla="*/ 1066800 h 1381125"/>
                <a:gd name="connsiteX213" fmla="*/ 1191578 w 1314450"/>
                <a:gd name="connsiteY213" fmla="*/ 1070610 h 1381125"/>
                <a:gd name="connsiteX214" fmla="*/ 1188720 w 1314450"/>
                <a:gd name="connsiteY214" fmla="*/ 1077278 h 1381125"/>
                <a:gd name="connsiteX215" fmla="*/ 1186815 w 1314450"/>
                <a:gd name="connsiteY215" fmla="*/ 1080135 h 1381125"/>
                <a:gd name="connsiteX216" fmla="*/ 1182053 w 1314450"/>
                <a:gd name="connsiteY216" fmla="*/ 1107758 h 1381125"/>
                <a:gd name="connsiteX217" fmla="*/ 1180148 w 1314450"/>
                <a:gd name="connsiteY217" fmla="*/ 1110615 h 1381125"/>
                <a:gd name="connsiteX218" fmla="*/ 1177290 w 1314450"/>
                <a:gd name="connsiteY218" fmla="*/ 1111568 h 1381125"/>
                <a:gd name="connsiteX219" fmla="*/ 1172528 w 1314450"/>
                <a:gd name="connsiteY219" fmla="*/ 1112520 h 1381125"/>
                <a:gd name="connsiteX220" fmla="*/ 1168718 w 1314450"/>
                <a:gd name="connsiteY220" fmla="*/ 1111568 h 1381125"/>
                <a:gd name="connsiteX221" fmla="*/ 1164908 w 1314450"/>
                <a:gd name="connsiteY221" fmla="*/ 1110615 h 1381125"/>
                <a:gd name="connsiteX222" fmla="*/ 1161098 w 1314450"/>
                <a:gd name="connsiteY222" fmla="*/ 1106805 h 1381125"/>
                <a:gd name="connsiteX223" fmla="*/ 1149668 w 1314450"/>
                <a:gd name="connsiteY223" fmla="*/ 1095375 h 1381125"/>
                <a:gd name="connsiteX224" fmla="*/ 1145858 w 1314450"/>
                <a:gd name="connsiteY224" fmla="*/ 1091565 h 1381125"/>
                <a:gd name="connsiteX225" fmla="*/ 1140143 w 1314450"/>
                <a:gd name="connsiteY225" fmla="*/ 1088708 h 1381125"/>
                <a:gd name="connsiteX226" fmla="*/ 1119187 w 1314450"/>
                <a:gd name="connsiteY226" fmla="*/ 1085850 h 1381125"/>
                <a:gd name="connsiteX227" fmla="*/ 1117283 w 1314450"/>
                <a:gd name="connsiteY227" fmla="*/ 1083945 h 1381125"/>
                <a:gd name="connsiteX228" fmla="*/ 1115378 w 1314450"/>
                <a:gd name="connsiteY228" fmla="*/ 1082040 h 1381125"/>
                <a:gd name="connsiteX229" fmla="*/ 1116330 w 1314450"/>
                <a:gd name="connsiteY229" fmla="*/ 1077278 h 1381125"/>
                <a:gd name="connsiteX230" fmla="*/ 1116330 w 1314450"/>
                <a:gd name="connsiteY230" fmla="*/ 1074420 h 1381125"/>
                <a:gd name="connsiteX231" fmla="*/ 1114425 w 1314450"/>
                <a:gd name="connsiteY231" fmla="*/ 1071562 h 1381125"/>
                <a:gd name="connsiteX232" fmla="*/ 1103948 w 1314450"/>
                <a:gd name="connsiteY232" fmla="*/ 1059180 h 1381125"/>
                <a:gd name="connsiteX233" fmla="*/ 1096328 w 1314450"/>
                <a:gd name="connsiteY233" fmla="*/ 1051560 h 1381125"/>
                <a:gd name="connsiteX234" fmla="*/ 1093470 w 1314450"/>
                <a:gd name="connsiteY234" fmla="*/ 1050608 h 1381125"/>
                <a:gd name="connsiteX235" fmla="*/ 1086803 w 1314450"/>
                <a:gd name="connsiteY235" fmla="*/ 1048703 h 1381125"/>
                <a:gd name="connsiteX236" fmla="*/ 1059180 w 1314450"/>
                <a:gd name="connsiteY236" fmla="*/ 1048703 h 1381125"/>
                <a:gd name="connsiteX237" fmla="*/ 1048703 w 1314450"/>
                <a:gd name="connsiteY237" fmla="*/ 1054418 h 1381125"/>
                <a:gd name="connsiteX238" fmla="*/ 1037273 w 1314450"/>
                <a:gd name="connsiteY238" fmla="*/ 1062990 h 1381125"/>
                <a:gd name="connsiteX239" fmla="*/ 1017270 w 1314450"/>
                <a:gd name="connsiteY239" fmla="*/ 1074420 h 1381125"/>
                <a:gd name="connsiteX240" fmla="*/ 999173 w 1314450"/>
                <a:gd name="connsiteY240" fmla="*/ 1081087 h 1381125"/>
                <a:gd name="connsiteX241" fmla="*/ 982980 w 1314450"/>
                <a:gd name="connsiteY241" fmla="*/ 1090612 h 1381125"/>
                <a:gd name="connsiteX242" fmla="*/ 978218 w 1314450"/>
                <a:gd name="connsiteY242" fmla="*/ 1092518 h 1381125"/>
                <a:gd name="connsiteX243" fmla="*/ 973455 w 1314450"/>
                <a:gd name="connsiteY243" fmla="*/ 1092518 h 1381125"/>
                <a:gd name="connsiteX244" fmla="*/ 960120 w 1314450"/>
                <a:gd name="connsiteY244" fmla="*/ 1089660 h 1381125"/>
                <a:gd name="connsiteX245" fmla="*/ 949643 w 1314450"/>
                <a:gd name="connsiteY245" fmla="*/ 1084898 h 1381125"/>
                <a:gd name="connsiteX246" fmla="*/ 942975 w 1314450"/>
                <a:gd name="connsiteY246" fmla="*/ 1081087 h 1381125"/>
                <a:gd name="connsiteX247" fmla="*/ 934403 w 1314450"/>
                <a:gd name="connsiteY247" fmla="*/ 1073468 h 1381125"/>
                <a:gd name="connsiteX248" fmla="*/ 933450 w 1314450"/>
                <a:gd name="connsiteY248" fmla="*/ 1072515 h 1381125"/>
                <a:gd name="connsiteX249" fmla="*/ 930593 w 1314450"/>
                <a:gd name="connsiteY249" fmla="*/ 1073468 h 1381125"/>
                <a:gd name="connsiteX250" fmla="*/ 930593 w 1314450"/>
                <a:gd name="connsiteY250" fmla="*/ 1077278 h 1381125"/>
                <a:gd name="connsiteX251" fmla="*/ 930593 w 1314450"/>
                <a:gd name="connsiteY251" fmla="*/ 1080135 h 1381125"/>
                <a:gd name="connsiteX252" fmla="*/ 933450 w 1314450"/>
                <a:gd name="connsiteY252" fmla="*/ 1088708 h 1381125"/>
                <a:gd name="connsiteX253" fmla="*/ 933450 w 1314450"/>
                <a:gd name="connsiteY253" fmla="*/ 1092518 h 1381125"/>
                <a:gd name="connsiteX254" fmla="*/ 931545 w 1314450"/>
                <a:gd name="connsiteY254" fmla="*/ 1096328 h 1381125"/>
                <a:gd name="connsiteX255" fmla="*/ 927735 w 1314450"/>
                <a:gd name="connsiteY255" fmla="*/ 1102043 h 1381125"/>
                <a:gd name="connsiteX256" fmla="*/ 926782 w 1314450"/>
                <a:gd name="connsiteY256" fmla="*/ 1107758 h 1381125"/>
                <a:gd name="connsiteX257" fmla="*/ 927735 w 1314450"/>
                <a:gd name="connsiteY257" fmla="*/ 1111568 h 1381125"/>
                <a:gd name="connsiteX258" fmla="*/ 929640 w 1314450"/>
                <a:gd name="connsiteY258" fmla="*/ 1113473 h 1381125"/>
                <a:gd name="connsiteX259" fmla="*/ 941070 w 1314450"/>
                <a:gd name="connsiteY259" fmla="*/ 1121093 h 1381125"/>
                <a:gd name="connsiteX260" fmla="*/ 942975 w 1314450"/>
                <a:gd name="connsiteY260" fmla="*/ 1122998 h 1381125"/>
                <a:gd name="connsiteX261" fmla="*/ 943928 w 1314450"/>
                <a:gd name="connsiteY261" fmla="*/ 1125855 h 1381125"/>
                <a:gd name="connsiteX262" fmla="*/ 942975 w 1314450"/>
                <a:gd name="connsiteY262" fmla="*/ 1127760 h 1381125"/>
                <a:gd name="connsiteX263" fmla="*/ 938212 w 1314450"/>
                <a:gd name="connsiteY263" fmla="*/ 1129665 h 1381125"/>
                <a:gd name="connsiteX264" fmla="*/ 934403 w 1314450"/>
                <a:gd name="connsiteY264" fmla="*/ 1130618 h 1381125"/>
                <a:gd name="connsiteX265" fmla="*/ 897255 w 1314450"/>
                <a:gd name="connsiteY265" fmla="*/ 1124903 h 1381125"/>
                <a:gd name="connsiteX266" fmla="*/ 894398 w 1314450"/>
                <a:gd name="connsiteY266" fmla="*/ 1126808 h 1381125"/>
                <a:gd name="connsiteX267" fmla="*/ 892493 w 1314450"/>
                <a:gd name="connsiteY267" fmla="*/ 1128712 h 1381125"/>
                <a:gd name="connsiteX268" fmla="*/ 891540 w 1314450"/>
                <a:gd name="connsiteY268" fmla="*/ 1134428 h 1381125"/>
                <a:gd name="connsiteX269" fmla="*/ 892493 w 1314450"/>
                <a:gd name="connsiteY269" fmla="*/ 1138237 h 1381125"/>
                <a:gd name="connsiteX270" fmla="*/ 899160 w 1314450"/>
                <a:gd name="connsiteY270" fmla="*/ 1150620 h 1381125"/>
                <a:gd name="connsiteX271" fmla="*/ 902018 w 1314450"/>
                <a:gd name="connsiteY271" fmla="*/ 1158240 h 1381125"/>
                <a:gd name="connsiteX272" fmla="*/ 902018 w 1314450"/>
                <a:gd name="connsiteY272" fmla="*/ 1162050 h 1381125"/>
                <a:gd name="connsiteX273" fmla="*/ 902018 w 1314450"/>
                <a:gd name="connsiteY273" fmla="*/ 1168718 h 1381125"/>
                <a:gd name="connsiteX274" fmla="*/ 902018 w 1314450"/>
                <a:gd name="connsiteY274" fmla="*/ 1171575 h 1381125"/>
                <a:gd name="connsiteX275" fmla="*/ 901065 w 1314450"/>
                <a:gd name="connsiteY275" fmla="*/ 1176337 h 1381125"/>
                <a:gd name="connsiteX276" fmla="*/ 898207 w 1314450"/>
                <a:gd name="connsiteY276" fmla="*/ 1180148 h 1381125"/>
                <a:gd name="connsiteX277" fmla="*/ 892493 w 1314450"/>
                <a:gd name="connsiteY277" fmla="*/ 1184910 h 1381125"/>
                <a:gd name="connsiteX278" fmla="*/ 888682 w 1314450"/>
                <a:gd name="connsiteY278" fmla="*/ 1186815 h 1381125"/>
                <a:gd name="connsiteX279" fmla="*/ 883920 w 1314450"/>
                <a:gd name="connsiteY279" fmla="*/ 1187768 h 1381125"/>
                <a:gd name="connsiteX280" fmla="*/ 843915 w 1314450"/>
                <a:gd name="connsiteY280" fmla="*/ 1183958 h 1381125"/>
                <a:gd name="connsiteX281" fmla="*/ 819150 w 1314450"/>
                <a:gd name="connsiteY281" fmla="*/ 1177290 h 1381125"/>
                <a:gd name="connsiteX282" fmla="*/ 817245 w 1314450"/>
                <a:gd name="connsiteY282" fmla="*/ 1177290 h 1381125"/>
                <a:gd name="connsiteX283" fmla="*/ 814387 w 1314450"/>
                <a:gd name="connsiteY283" fmla="*/ 1178243 h 1381125"/>
                <a:gd name="connsiteX284" fmla="*/ 811530 w 1314450"/>
                <a:gd name="connsiteY284" fmla="*/ 1180148 h 1381125"/>
                <a:gd name="connsiteX285" fmla="*/ 805815 w 1314450"/>
                <a:gd name="connsiteY285" fmla="*/ 1187768 h 1381125"/>
                <a:gd name="connsiteX286" fmla="*/ 804862 w 1314450"/>
                <a:gd name="connsiteY286" fmla="*/ 1190625 h 1381125"/>
                <a:gd name="connsiteX287" fmla="*/ 803910 w 1314450"/>
                <a:gd name="connsiteY287" fmla="*/ 1194435 h 1381125"/>
                <a:gd name="connsiteX288" fmla="*/ 806768 w 1314450"/>
                <a:gd name="connsiteY288" fmla="*/ 1198245 h 1381125"/>
                <a:gd name="connsiteX289" fmla="*/ 808673 w 1314450"/>
                <a:gd name="connsiteY289" fmla="*/ 1201103 h 1381125"/>
                <a:gd name="connsiteX290" fmla="*/ 823912 w 1314450"/>
                <a:gd name="connsiteY290" fmla="*/ 1212533 h 1381125"/>
                <a:gd name="connsiteX291" fmla="*/ 829628 w 1314450"/>
                <a:gd name="connsiteY291" fmla="*/ 1218248 h 1381125"/>
                <a:gd name="connsiteX292" fmla="*/ 830580 w 1314450"/>
                <a:gd name="connsiteY292" fmla="*/ 1220153 h 1381125"/>
                <a:gd name="connsiteX293" fmla="*/ 829628 w 1314450"/>
                <a:gd name="connsiteY293" fmla="*/ 1222058 h 1381125"/>
                <a:gd name="connsiteX294" fmla="*/ 821055 w 1314450"/>
                <a:gd name="connsiteY294" fmla="*/ 1238250 h 1381125"/>
                <a:gd name="connsiteX295" fmla="*/ 817245 w 1314450"/>
                <a:gd name="connsiteY295" fmla="*/ 1243965 h 1381125"/>
                <a:gd name="connsiteX296" fmla="*/ 813435 w 1314450"/>
                <a:gd name="connsiteY296" fmla="*/ 1247775 h 1381125"/>
                <a:gd name="connsiteX297" fmla="*/ 811530 w 1314450"/>
                <a:gd name="connsiteY297" fmla="*/ 1248728 h 1381125"/>
                <a:gd name="connsiteX298" fmla="*/ 808673 w 1314450"/>
                <a:gd name="connsiteY298" fmla="*/ 1249680 h 1381125"/>
                <a:gd name="connsiteX299" fmla="*/ 805815 w 1314450"/>
                <a:gd name="connsiteY299" fmla="*/ 1249680 h 1381125"/>
                <a:gd name="connsiteX300" fmla="*/ 795337 w 1314450"/>
                <a:gd name="connsiteY300" fmla="*/ 1248728 h 1381125"/>
                <a:gd name="connsiteX301" fmla="*/ 792480 w 1314450"/>
                <a:gd name="connsiteY301" fmla="*/ 1248728 h 1381125"/>
                <a:gd name="connsiteX302" fmla="*/ 790575 w 1314450"/>
                <a:gd name="connsiteY302" fmla="*/ 1249680 h 1381125"/>
                <a:gd name="connsiteX303" fmla="*/ 789623 w 1314450"/>
                <a:gd name="connsiteY303" fmla="*/ 1252537 h 1381125"/>
                <a:gd name="connsiteX304" fmla="*/ 790575 w 1314450"/>
                <a:gd name="connsiteY304" fmla="*/ 1256348 h 1381125"/>
                <a:gd name="connsiteX305" fmla="*/ 792480 w 1314450"/>
                <a:gd name="connsiteY305" fmla="*/ 1258253 h 1381125"/>
                <a:gd name="connsiteX306" fmla="*/ 794385 w 1314450"/>
                <a:gd name="connsiteY306" fmla="*/ 1261110 h 1381125"/>
                <a:gd name="connsiteX307" fmla="*/ 803910 w 1314450"/>
                <a:gd name="connsiteY307" fmla="*/ 1266825 h 1381125"/>
                <a:gd name="connsiteX308" fmla="*/ 811530 w 1314450"/>
                <a:gd name="connsiteY308" fmla="*/ 1274445 h 1381125"/>
                <a:gd name="connsiteX309" fmla="*/ 816293 w 1314450"/>
                <a:gd name="connsiteY309" fmla="*/ 1281112 h 1381125"/>
                <a:gd name="connsiteX310" fmla="*/ 829628 w 1314450"/>
                <a:gd name="connsiteY310" fmla="*/ 1304925 h 1381125"/>
                <a:gd name="connsiteX311" fmla="*/ 831532 w 1314450"/>
                <a:gd name="connsiteY311" fmla="*/ 1306830 h 1381125"/>
                <a:gd name="connsiteX312" fmla="*/ 834390 w 1314450"/>
                <a:gd name="connsiteY312" fmla="*/ 1307783 h 1381125"/>
                <a:gd name="connsiteX313" fmla="*/ 843915 w 1314450"/>
                <a:gd name="connsiteY313" fmla="*/ 1309687 h 1381125"/>
                <a:gd name="connsiteX314" fmla="*/ 846773 w 1314450"/>
                <a:gd name="connsiteY314" fmla="*/ 1310640 h 1381125"/>
                <a:gd name="connsiteX315" fmla="*/ 847725 w 1314450"/>
                <a:gd name="connsiteY315" fmla="*/ 1313498 h 1381125"/>
                <a:gd name="connsiteX316" fmla="*/ 848678 w 1314450"/>
                <a:gd name="connsiteY316" fmla="*/ 1316355 h 1381125"/>
                <a:gd name="connsiteX317" fmla="*/ 848678 w 1314450"/>
                <a:gd name="connsiteY317" fmla="*/ 1320165 h 1381125"/>
                <a:gd name="connsiteX318" fmla="*/ 847725 w 1314450"/>
                <a:gd name="connsiteY318" fmla="*/ 1323975 h 1381125"/>
                <a:gd name="connsiteX319" fmla="*/ 843915 w 1314450"/>
                <a:gd name="connsiteY319" fmla="*/ 1328737 h 1381125"/>
                <a:gd name="connsiteX320" fmla="*/ 837248 w 1314450"/>
                <a:gd name="connsiteY320" fmla="*/ 1332548 h 1381125"/>
                <a:gd name="connsiteX321" fmla="*/ 832485 w 1314450"/>
                <a:gd name="connsiteY321" fmla="*/ 1333500 h 1381125"/>
                <a:gd name="connsiteX322" fmla="*/ 827723 w 1314450"/>
                <a:gd name="connsiteY322" fmla="*/ 1335405 h 1381125"/>
                <a:gd name="connsiteX323" fmla="*/ 822960 w 1314450"/>
                <a:gd name="connsiteY323" fmla="*/ 1338262 h 1381125"/>
                <a:gd name="connsiteX324" fmla="*/ 817245 w 1314450"/>
                <a:gd name="connsiteY324" fmla="*/ 1347787 h 1381125"/>
                <a:gd name="connsiteX325" fmla="*/ 805815 w 1314450"/>
                <a:gd name="connsiteY325" fmla="*/ 1361123 h 1381125"/>
                <a:gd name="connsiteX326" fmla="*/ 774382 w 1314450"/>
                <a:gd name="connsiteY326" fmla="*/ 1390650 h 1381125"/>
                <a:gd name="connsiteX327" fmla="*/ 776287 w 1314450"/>
                <a:gd name="connsiteY327" fmla="*/ 1366837 h 1381125"/>
                <a:gd name="connsiteX328" fmla="*/ 775335 w 1314450"/>
                <a:gd name="connsiteY328" fmla="*/ 1358265 h 1381125"/>
                <a:gd name="connsiteX329" fmla="*/ 772478 w 1314450"/>
                <a:gd name="connsiteY329" fmla="*/ 1352550 h 1381125"/>
                <a:gd name="connsiteX330" fmla="*/ 769620 w 1314450"/>
                <a:gd name="connsiteY330" fmla="*/ 1349693 h 1381125"/>
                <a:gd name="connsiteX331" fmla="*/ 766762 w 1314450"/>
                <a:gd name="connsiteY331" fmla="*/ 1347787 h 1381125"/>
                <a:gd name="connsiteX332" fmla="*/ 764857 w 1314450"/>
                <a:gd name="connsiteY332" fmla="*/ 1345883 h 1381125"/>
                <a:gd name="connsiteX333" fmla="*/ 759143 w 1314450"/>
                <a:gd name="connsiteY333" fmla="*/ 1345883 h 1381125"/>
                <a:gd name="connsiteX334" fmla="*/ 742950 w 1314450"/>
                <a:gd name="connsiteY334" fmla="*/ 1348740 h 1381125"/>
                <a:gd name="connsiteX335" fmla="*/ 732473 w 1314450"/>
                <a:gd name="connsiteY335" fmla="*/ 1343025 h 1381125"/>
                <a:gd name="connsiteX336" fmla="*/ 717232 w 1314450"/>
                <a:gd name="connsiteY336" fmla="*/ 1333500 h 1381125"/>
                <a:gd name="connsiteX337" fmla="*/ 710565 w 1314450"/>
                <a:gd name="connsiteY337" fmla="*/ 1329690 h 1381125"/>
                <a:gd name="connsiteX338" fmla="*/ 705803 w 1314450"/>
                <a:gd name="connsiteY338" fmla="*/ 1328737 h 1381125"/>
                <a:gd name="connsiteX339" fmla="*/ 703898 w 1314450"/>
                <a:gd name="connsiteY339" fmla="*/ 1330643 h 1381125"/>
                <a:gd name="connsiteX340" fmla="*/ 703898 w 1314450"/>
                <a:gd name="connsiteY340" fmla="*/ 1333500 h 1381125"/>
                <a:gd name="connsiteX341" fmla="*/ 704850 w 1314450"/>
                <a:gd name="connsiteY341" fmla="*/ 1343025 h 1381125"/>
                <a:gd name="connsiteX342" fmla="*/ 701040 w 1314450"/>
                <a:gd name="connsiteY342" fmla="*/ 1345883 h 1381125"/>
                <a:gd name="connsiteX343" fmla="*/ 694373 w 1314450"/>
                <a:gd name="connsiteY343" fmla="*/ 1346835 h 1381125"/>
                <a:gd name="connsiteX344" fmla="*/ 661035 w 1314450"/>
                <a:gd name="connsiteY344" fmla="*/ 1341120 h 1381125"/>
                <a:gd name="connsiteX345" fmla="*/ 649605 w 1314450"/>
                <a:gd name="connsiteY345" fmla="*/ 1343978 h 1381125"/>
                <a:gd name="connsiteX346" fmla="*/ 643890 w 1314450"/>
                <a:gd name="connsiteY346" fmla="*/ 1345883 h 1381125"/>
                <a:gd name="connsiteX347" fmla="*/ 639128 w 1314450"/>
                <a:gd name="connsiteY347" fmla="*/ 1347787 h 1381125"/>
                <a:gd name="connsiteX348" fmla="*/ 634365 w 1314450"/>
                <a:gd name="connsiteY348" fmla="*/ 1350645 h 1381125"/>
                <a:gd name="connsiteX349" fmla="*/ 629603 w 1314450"/>
                <a:gd name="connsiteY349" fmla="*/ 1352550 h 1381125"/>
                <a:gd name="connsiteX350" fmla="*/ 621982 w 1314450"/>
                <a:gd name="connsiteY350" fmla="*/ 1352550 h 1381125"/>
                <a:gd name="connsiteX351" fmla="*/ 595312 w 1314450"/>
                <a:gd name="connsiteY351" fmla="*/ 1350645 h 1381125"/>
                <a:gd name="connsiteX352" fmla="*/ 589598 w 1314450"/>
                <a:gd name="connsiteY352" fmla="*/ 1348740 h 1381125"/>
                <a:gd name="connsiteX353" fmla="*/ 585787 w 1314450"/>
                <a:gd name="connsiteY353" fmla="*/ 1345883 h 1381125"/>
                <a:gd name="connsiteX354" fmla="*/ 584835 w 1314450"/>
                <a:gd name="connsiteY354" fmla="*/ 1343025 h 1381125"/>
                <a:gd name="connsiteX355" fmla="*/ 583882 w 1314450"/>
                <a:gd name="connsiteY355" fmla="*/ 1340168 h 1381125"/>
                <a:gd name="connsiteX356" fmla="*/ 584835 w 1314450"/>
                <a:gd name="connsiteY356" fmla="*/ 1333500 h 1381125"/>
                <a:gd name="connsiteX357" fmla="*/ 581978 w 1314450"/>
                <a:gd name="connsiteY357" fmla="*/ 1328737 h 1381125"/>
                <a:gd name="connsiteX358" fmla="*/ 577215 w 1314450"/>
                <a:gd name="connsiteY358" fmla="*/ 1323023 h 1381125"/>
                <a:gd name="connsiteX359" fmla="*/ 555307 w 1314450"/>
                <a:gd name="connsiteY359" fmla="*/ 1309687 h 1381125"/>
                <a:gd name="connsiteX360" fmla="*/ 551498 w 1314450"/>
                <a:gd name="connsiteY360" fmla="*/ 1305878 h 1381125"/>
                <a:gd name="connsiteX361" fmla="*/ 550545 w 1314450"/>
                <a:gd name="connsiteY361" fmla="*/ 1300162 h 1381125"/>
                <a:gd name="connsiteX362" fmla="*/ 550545 w 1314450"/>
                <a:gd name="connsiteY362" fmla="*/ 1296353 h 1381125"/>
                <a:gd name="connsiteX363" fmla="*/ 548640 w 1314450"/>
                <a:gd name="connsiteY363" fmla="*/ 1292543 h 1381125"/>
                <a:gd name="connsiteX364" fmla="*/ 545782 w 1314450"/>
                <a:gd name="connsiteY364" fmla="*/ 1291590 h 1381125"/>
                <a:gd name="connsiteX365" fmla="*/ 542925 w 1314450"/>
                <a:gd name="connsiteY365" fmla="*/ 1290637 h 1381125"/>
                <a:gd name="connsiteX366" fmla="*/ 525780 w 1314450"/>
                <a:gd name="connsiteY366" fmla="*/ 1289685 h 1381125"/>
                <a:gd name="connsiteX367" fmla="*/ 521970 w 1314450"/>
                <a:gd name="connsiteY367" fmla="*/ 1288733 h 1381125"/>
                <a:gd name="connsiteX368" fmla="*/ 519112 w 1314450"/>
                <a:gd name="connsiteY368" fmla="*/ 1285875 h 1381125"/>
                <a:gd name="connsiteX369" fmla="*/ 516255 w 1314450"/>
                <a:gd name="connsiteY369" fmla="*/ 1280160 h 1381125"/>
                <a:gd name="connsiteX370" fmla="*/ 514350 w 1314450"/>
                <a:gd name="connsiteY370" fmla="*/ 1277303 h 1381125"/>
                <a:gd name="connsiteX371" fmla="*/ 511493 w 1314450"/>
                <a:gd name="connsiteY371" fmla="*/ 1273493 h 1381125"/>
                <a:gd name="connsiteX372" fmla="*/ 508635 w 1314450"/>
                <a:gd name="connsiteY372" fmla="*/ 1271587 h 1381125"/>
                <a:gd name="connsiteX373" fmla="*/ 505778 w 1314450"/>
                <a:gd name="connsiteY373" fmla="*/ 1271587 h 1381125"/>
                <a:gd name="connsiteX374" fmla="*/ 503873 w 1314450"/>
                <a:gd name="connsiteY374" fmla="*/ 1273493 h 1381125"/>
                <a:gd name="connsiteX375" fmla="*/ 501968 w 1314450"/>
                <a:gd name="connsiteY375" fmla="*/ 1276350 h 1381125"/>
                <a:gd name="connsiteX376" fmla="*/ 501968 w 1314450"/>
                <a:gd name="connsiteY376" fmla="*/ 1280160 h 1381125"/>
                <a:gd name="connsiteX377" fmla="*/ 501968 w 1314450"/>
                <a:gd name="connsiteY377" fmla="*/ 1289685 h 1381125"/>
                <a:gd name="connsiteX378" fmla="*/ 500062 w 1314450"/>
                <a:gd name="connsiteY378" fmla="*/ 1294448 h 1381125"/>
                <a:gd name="connsiteX379" fmla="*/ 497205 w 1314450"/>
                <a:gd name="connsiteY379" fmla="*/ 1297305 h 1381125"/>
                <a:gd name="connsiteX380" fmla="*/ 493395 w 1314450"/>
                <a:gd name="connsiteY380" fmla="*/ 1298258 h 1381125"/>
                <a:gd name="connsiteX381" fmla="*/ 485775 w 1314450"/>
                <a:gd name="connsiteY381" fmla="*/ 1299210 h 1381125"/>
                <a:gd name="connsiteX382" fmla="*/ 481965 w 1314450"/>
                <a:gd name="connsiteY382" fmla="*/ 1297305 h 1381125"/>
                <a:gd name="connsiteX383" fmla="*/ 480060 w 1314450"/>
                <a:gd name="connsiteY383" fmla="*/ 1295400 h 1381125"/>
                <a:gd name="connsiteX384" fmla="*/ 479107 w 1314450"/>
                <a:gd name="connsiteY384" fmla="*/ 1292543 h 1381125"/>
                <a:gd name="connsiteX385" fmla="*/ 480060 w 1314450"/>
                <a:gd name="connsiteY385" fmla="*/ 1288733 h 1381125"/>
                <a:gd name="connsiteX386" fmla="*/ 481012 w 1314450"/>
                <a:gd name="connsiteY386" fmla="*/ 1283018 h 1381125"/>
                <a:gd name="connsiteX387" fmla="*/ 481012 w 1314450"/>
                <a:gd name="connsiteY387" fmla="*/ 1279208 h 1381125"/>
                <a:gd name="connsiteX388" fmla="*/ 480060 w 1314450"/>
                <a:gd name="connsiteY388" fmla="*/ 1274445 h 1381125"/>
                <a:gd name="connsiteX389" fmla="*/ 477203 w 1314450"/>
                <a:gd name="connsiteY389" fmla="*/ 1270635 h 1381125"/>
                <a:gd name="connsiteX390" fmla="*/ 455295 w 1314450"/>
                <a:gd name="connsiteY390" fmla="*/ 1252537 h 1381125"/>
                <a:gd name="connsiteX391" fmla="*/ 452437 w 1314450"/>
                <a:gd name="connsiteY391" fmla="*/ 1248728 h 1381125"/>
                <a:gd name="connsiteX392" fmla="*/ 451485 w 1314450"/>
                <a:gd name="connsiteY392" fmla="*/ 1245870 h 1381125"/>
                <a:gd name="connsiteX393" fmla="*/ 452437 w 1314450"/>
                <a:gd name="connsiteY393" fmla="*/ 1243012 h 1381125"/>
                <a:gd name="connsiteX394" fmla="*/ 453390 w 1314450"/>
                <a:gd name="connsiteY394" fmla="*/ 1241108 h 1381125"/>
                <a:gd name="connsiteX395" fmla="*/ 458153 w 1314450"/>
                <a:gd name="connsiteY395" fmla="*/ 1238250 h 1381125"/>
                <a:gd name="connsiteX396" fmla="*/ 484823 w 1314450"/>
                <a:gd name="connsiteY396" fmla="*/ 1231583 h 1381125"/>
                <a:gd name="connsiteX397" fmla="*/ 489585 w 1314450"/>
                <a:gd name="connsiteY397" fmla="*/ 1229678 h 1381125"/>
                <a:gd name="connsiteX398" fmla="*/ 493395 w 1314450"/>
                <a:gd name="connsiteY398" fmla="*/ 1225868 h 1381125"/>
                <a:gd name="connsiteX399" fmla="*/ 496253 w 1314450"/>
                <a:gd name="connsiteY399" fmla="*/ 1221105 h 1381125"/>
                <a:gd name="connsiteX400" fmla="*/ 497205 w 1314450"/>
                <a:gd name="connsiteY400" fmla="*/ 1218248 h 1381125"/>
                <a:gd name="connsiteX401" fmla="*/ 498157 w 1314450"/>
                <a:gd name="connsiteY401" fmla="*/ 1211580 h 1381125"/>
                <a:gd name="connsiteX402" fmla="*/ 496253 w 1314450"/>
                <a:gd name="connsiteY402" fmla="*/ 1205865 h 1381125"/>
                <a:gd name="connsiteX403" fmla="*/ 493395 w 1314450"/>
                <a:gd name="connsiteY403" fmla="*/ 1201103 h 1381125"/>
                <a:gd name="connsiteX404" fmla="*/ 478155 w 1314450"/>
                <a:gd name="connsiteY404" fmla="*/ 1183005 h 1381125"/>
                <a:gd name="connsiteX405" fmla="*/ 473393 w 1314450"/>
                <a:gd name="connsiteY405" fmla="*/ 1180148 h 1381125"/>
                <a:gd name="connsiteX406" fmla="*/ 467678 w 1314450"/>
                <a:gd name="connsiteY406" fmla="*/ 1178243 h 1381125"/>
                <a:gd name="connsiteX407" fmla="*/ 464820 w 1314450"/>
                <a:gd name="connsiteY407" fmla="*/ 1179195 h 1381125"/>
                <a:gd name="connsiteX408" fmla="*/ 455295 w 1314450"/>
                <a:gd name="connsiteY408" fmla="*/ 1182053 h 1381125"/>
                <a:gd name="connsiteX409" fmla="*/ 449580 w 1314450"/>
                <a:gd name="connsiteY409" fmla="*/ 1183005 h 1381125"/>
                <a:gd name="connsiteX410" fmla="*/ 445770 w 1314450"/>
                <a:gd name="connsiteY410" fmla="*/ 1182053 h 1381125"/>
                <a:gd name="connsiteX411" fmla="*/ 442912 w 1314450"/>
                <a:gd name="connsiteY411" fmla="*/ 1180148 h 1381125"/>
                <a:gd name="connsiteX412" fmla="*/ 427673 w 1314450"/>
                <a:gd name="connsiteY412" fmla="*/ 1164908 h 1381125"/>
                <a:gd name="connsiteX413" fmla="*/ 426720 w 1314450"/>
                <a:gd name="connsiteY413" fmla="*/ 1163003 h 1381125"/>
                <a:gd name="connsiteX414" fmla="*/ 426720 w 1314450"/>
                <a:gd name="connsiteY414" fmla="*/ 1159193 h 1381125"/>
                <a:gd name="connsiteX415" fmla="*/ 426720 w 1314450"/>
                <a:gd name="connsiteY415" fmla="*/ 1156335 h 1381125"/>
                <a:gd name="connsiteX416" fmla="*/ 426720 w 1314450"/>
                <a:gd name="connsiteY416" fmla="*/ 1152525 h 1381125"/>
                <a:gd name="connsiteX417" fmla="*/ 423863 w 1314450"/>
                <a:gd name="connsiteY417" fmla="*/ 1146810 h 1381125"/>
                <a:gd name="connsiteX418" fmla="*/ 414338 w 1314450"/>
                <a:gd name="connsiteY418" fmla="*/ 1137285 h 1381125"/>
                <a:gd name="connsiteX419" fmla="*/ 407670 w 1314450"/>
                <a:gd name="connsiteY419" fmla="*/ 1132523 h 1381125"/>
                <a:gd name="connsiteX420" fmla="*/ 402907 w 1314450"/>
                <a:gd name="connsiteY420" fmla="*/ 1129665 h 1381125"/>
                <a:gd name="connsiteX421" fmla="*/ 398145 w 1314450"/>
                <a:gd name="connsiteY421" fmla="*/ 1129665 h 1381125"/>
                <a:gd name="connsiteX422" fmla="*/ 396240 w 1314450"/>
                <a:gd name="connsiteY422" fmla="*/ 1130618 h 1381125"/>
                <a:gd name="connsiteX423" fmla="*/ 393382 w 1314450"/>
                <a:gd name="connsiteY423" fmla="*/ 1134428 h 1381125"/>
                <a:gd name="connsiteX424" fmla="*/ 390525 w 1314450"/>
                <a:gd name="connsiteY424" fmla="*/ 1139190 h 1381125"/>
                <a:gd name="connsiteX425" fmla="*/ 385763 w 1314450"/>
                <a:gd name="connsiteY425" fmla="*/ 1143000 h 1381125"/>
                <a:gd name="connsiteX426" fmla="*/ 383857 w 1314450"/>
                <a:gd name="connsiteY426" fmla="*/ 1143953 h 1381125"/>
                <a:gd name="connsiteX427" fmla="*/ 370523 w 1314450"/>
                <a:gd name="connsiteY427" fmla="*/ 1145858 h 1381125"/>
                <a:gd name="connsiteX428" fmla="*/ 364807 w 1314450"/>
                <a:gd name="connsiteY428" fmla="*/ 1147762 h 1381125"/>
                <a:gd name="connsiteX429" fmla="*/ 360045 w 1314450"/>
                <a:gd name="connsiteY429" fmla="*/ 1150620 h 1381125"/>
                <a:gd name="connsiteX430" fmla="*/ 350520 w 1314450"/>
                <a:gd name="connsiteY430" fmla="*/ 1152525 h 1381125"/>
                <a:gd name="connsiteX431" fmla="*/ 350520 w 1314450"/>
                <a:gd name="connsiteY431" fmla="*/ 1158240 h 1381125"/>
                <a:gd name="connsiteX432" fmla="*/ 344805 w 1314450"/>
                <a:gd name="connsiteY432" fmla="*/ 1153478 h 1381125"/>
                <a:gd name="connsiteX433" fmla="*/ 335280 w 1314450"/>
                <a:gd name="connsiteY433" fmla="*/ 1149668 h 1381125"/>
                <a:gd name="connsiteX434" fmla="*/ 328613 w 1314450"/>
                <a:gd name="connsiteY434" fmla="*/ 1146810 h 1381125"/>
                <a:gd name="connsiteX435" fmla="*/ 323850 w 1314450"/>
                <a:gd name="connsiteY435" fmla="*/ 1141095 h 1381125"/>
                <a:gd name="connsiteX436" fmla="*/ 320992 w 1314450"/>
                <a:gd name="connsiteY436" fmla="*/ 1132523 h 1381125"/>
                <a:gd name="connsiteX437" fmla="*/ 316230 w 1314450"/>
                <a:gd name="connsiteY437" fmla="*/ 1126808 h 1381125"/>
                <a:gd name="connsiteX438" fmla="*/ 308610 w 1314450"/>
                <a:gd name="connsiteY438" fmla="*/ 1123950 h 1381125"/>
                <a:gd name="connsiteX439" fmla="*/ 303848 w 1314450"/>
                <a:gd name="connsiteY439" fmla="*/ 1120140 h 1381125"/>
                <a:gd name="connsiteX440" fmla="*/ 300990 w 1314450"/>
                <a:gd name="connsiteY440" fmla="*/ 1104900 h 1381125"/>
                <a:gd name="connsiteX441" fmla="*/ 294323 w 1314450"/>
                <a:gd name="connsiteY441" fmla="*/ 1101090 h 1381125"/>
                <a:gd name="connsiteX442" fmla="*/ 286703 w 1314450"/>
                <a:gd name="connsiteY442" fmla="*/ 1101090 h 1381125"/>
                <a:gd name="connsiteX443" fmla="*/ 280035 w 1314450"/>
                <a:gd name="connsiteY443" fmla="*/ 1102995 h 1381125"/>
                <a:gd name="connsiteX444" fmla="*/ 275273 w 1314450"/>
                <a:gd name="connsiteY444" fmla="*/ 1106805 h 1381125"/>
                <a:gd name="connsiteX445" fmla="*/ 271463 w 1314450"/>
                <a:gd name="connsiteY445" fmla="*/ 1112520 h 1381125"/>
                <a:gd name="connsiteX446" fmla="*/ 258127 w 1314450"/>
                <a:gd name="connsiteY446" fmla="*/ 1080135 h 1381125"/>
                <a:gd name="connsiteX447" fmla="*/ 253365 w 1314450"/>
                <a:gd name="connsiteY447" fmla="*/ 1062990 h 1381125"/>
                <a:gd name="connsiteX448" fmla="*/ 257175 w 1314450"/>
                <a:gd name="connsiteY448" fmla="*/ 1043940 h 1381125"/>
                <a:gd name="connsiteX449" fmla="*/ 242888 w 1314450"/>
                <a:gd name="connsiteY449" fmla="*/ 1040130 h 1381125"/>
                <a:gd name="connsiteX450" fmla="*/ 228600 w 1314450"/>
                <a:gd name="connsiteY450" fmla="*/ 1031557 h 1381125"/>
                <a:gd name="connsiteX451" fmla="*/ 220980 w 1314450"/>
                <a:gd name="connsiteY451" fmla="*/ 1018223 h 1381125"/>
                <a:gd name="connsiteX452" fmla="*/ 227648 w 1314450"/>
                <a:gd name="connsiteY452" fmla="*/ 1003935 h 1381125"/>
                <a:gd name="connsiteX453" fmla="*/ 227648 w 1314450"/>
                <a:gd name="connsiteY453" fmla="*/ 999173 h 1381125"/>
                <a:gd name="connsiteX454" fmla="*/ 213360 w 1314450"/>
                <a:gd name="connsiteY454" fmla="*/ 997268 h 1381125"/>
                <a:gd name="connsiteX455" fmla="*/ 200025 w 1314450"/>
                <a:gd name="connsiteY455" fmla="*/ 991553 h 1381125"/>
                <a:gd name="connsiteX456" fmla="*/ 192405 w 1314450"/>
                <a:gd name="connsiteY456" fmla="*/ 981075 h 1381125"/>
                <a:gd name="connsiteX457" fmla="*/ 191452 w 1314450"/>
                <a:gd name="connsiteY457" fmla="*/ 964882 h 1381125"/>
                <a:gd name="connsiteX458" fmla="*/ 198120 w 1314450"/>
                <a:gd name="connsiteY458" fmla="*/ 950595 h 1381125"/>
                <a:gd name="connsiteX459" fmla="*/ 210502 w 1314450"/>
                <a:gd name="connsiteY459" fmla="*/ 941070 h 1381125"/>
                <a:gd name="connsiteX460" fmla="*/ 224790 w 1314450"/>
                <a:gd name="connsiteY460" fmla="*/ 939165 h 1381125"/>
                <a:gd name="connsiteX461" fmla="*/ 239077 w 1314450"/>
                <a:gd name="connsiteY461" fmla="*/ 946785 h 1381125"/>
                <a:gd name="connsiteX462" fmla="*/ 249555 w 1314450"/>
                <a:gd name="connsiteY462" fmla="*/ 942023 h 1381125"/>
                <a:gd name="connsiteX463" fmla="*/ 266700 w 1314450"/>
                <a:gd name="connsiteY463" fmla="*/ 942023 h 1381125"/>
                <a:gd name="connsiteX464" fmla="*/ 282892 w 1314450"/>
                <a:gd name="connsiteY464" fmla="*/ 939165 h 1381125"/>
                <a:gd name="connsiteX465" fmla="*/ 289560 w 1314450"/>
                <a:gd name="connsiteY465" fmla="*/ 923925 h 1381125"/>
                <a:gd name="connsiteX466" fmla="*/ 282892 w 1314450"/>
                <a:gd name="connsiteY466" fmla="*/ 913448 h 1381125"/>
                <a:gd name="connsiteX467" fmla="*/ 239077 w 1314450"/>
                <a:gd name="connsiteY467" fmla="*/ 889635 h 1381125"/>
                <a:gd name="connsiteX468" fmla="*/ 202882 w 1314450"/>
                <a:gd name="connsiteY468" fmla="*/ 856298 h 1381125"/>
                <a:gd name="connsiteX469" fmla="*/ 195263 w 1314450"/>
                <a:gd name="connsiteY469" fmla="*/ 842963 h 1381125"/>
                <a:gd name="connsiteX470" fmla="*/ 192405 w 1314450"/>
                <a:gd name="connsiteY470" fmla="*/ 832485 h 1381125"/>
                <a:gd name="connsiteX471" fmla="*/ 191452 w 1314450"/>
                <a:gd name="connsiteY471" fmla="*/ 824865 h 1381125"/>
                <a:gd name="connsiteX472" fmla="*/ 190500 w 1314450"/>
                <a:gd name="connsiteY472" fmla="*/ 818198 h 1381125"/>
                <a:gd name="connsiteX473" fmla="*/ 184785 w 1314450"/>
                <a:gd name="connsiteY473" fmla="*/ 808673 h 1381125"/>
                <a:gd name="connsiteX474" fmla="*/ 178117 w 1314450"/>
                <a:gd name="connsiteY474" fmla="*/ 804863 h 1381125"/>
                <a:gd name="connsiteX475" fmla="*/ 171450 w 1314450"/>
                <a:gd name="connsiteY475" fmla="*/ 802005 h 1381125"/>
                <a:gd name="connsiteX476" fmla="*/ 167640 w 1314450"/>
                <a:gd name="connsiteY476" fmla="*/ 798195 h 1381125"/>
                <a:gd name="connsiteX477" fmla="*/ 169545 w 1314450"/>
                <a:gd name="connsiteY477" fmla="*/ 791528 h 1381125"/>
                <a:gd name="connsiteX478" fmla="*/ 169545 w 1314450"/>
                <a:gd name="connsiteY478" fmla="*/ 786765 h 1381125"/>
                <a:gd name="connsiteX479" fmla="*/ 163830 w 1314450"/>
                <a:gd name="connsiteY479" fmla="*/ 751523 h 1381125"/>
                <a:gd name="connsiteX480" fmla="*/ 159067 w 1314450"/>
                <a:gd name="connsiteY480" fmla="*/ 740093 h 1381125"/>
                <a:gd name="connsiteX481" fmla="*/ 144780 w 1314450"/>
                <a:gd name="connsiteY481" fmla="*/ 718185 h 1381125"/>
                <a:gd name="connsiteX482" fmla="*/ 137160 w 1314450"/>
                <a:gd name="connsiteY482" fmla="*/ 701993 h 1381125"/>
                <a:gd name="connsiteX483" fmla="*/ 139065 w 1314450"/>
                <a:gd name="connsiteY483" fmla="*/ 694373 h 1381125"/>
                <a:gd name="connsiteX484" fmla="*/ 147638 w 1314450"/>
                <a:gd name="connsiteY484" fmla="*/ 689610 h 1381125"/>
                <a:gd name="connsiteX485" fmla="*/ 141923 w 1314450"/>
                <a:gd name="connsiteY485" fmla="*/ 679132 h 1381125"/>
                <a:gd name="connsiteX486" fmla="*/ 117157 w 1314450"/>
                <a:gd name="connsiteY486" fmla="*/ 653415 h 1381125"/>
                <a:gd name="connsiteX487" fmla="*/ 90488 w 1314450"/>
                <a:gd name="connsiteY487" fmla="*/ 637223 h 1381125"/>
                <a:gd name="connsiteX488" fmla="*/ 78105 w 1314450"/>
                <a:gd name="connsiteY488" fmla="*/ 621982 h 1381125"/>
                <a:gd name="connsiteX489" fmla="*/ 49530 w 1314450"/>
                <a:gd name="connsiteY489" fmla="*/ 558165 h 1381125"/>
                <a:gd name="connsiteX490" fmla="*/ 40005 w 1314450"/>
                <a:gd name="connsiteY490" fmla="*/ 552450 h 1381125"/>
                <a:gd name="connsiteX491" fmla="*/ 29527 w 1314450"/>
                <a:gd name="connsiteY491" fmla="*/ 552450 h 1381125"/>
                <a:gd name="connsiteX492" fmla="*/ 21907 w 1314450"/>
                <a:gd name="connsiteY492" fmla="*/ 547688 h 1381125"/>
                <a:gd name="connsiteX493" fmla="*/ 18098 w 1314450"/>
                <a:gd name="connsiteY493" fmla="*/ 529590 h 1381125"/>
                <a:gd name="connsiteX494" fmla="*/ 20955 w 1314450"/>
                <a:gd name="connsiteY494" fmla="*/ 518160 h 1381125"/>
                <a:gd name="connsiteX495" fmla="*/ 28575 w 1314450"/>
                <a:gd name="connsiteY495" fmla="*/ 505778 h 1381125"/>
                <a:gd name="connsiteX496" fmla="*/ 38100 w 1314450"/>
                <a:gd name="connsiteY496" fmla="*/ 496253 h 1381125"/>
                <a:gd name="connsiteX497" fmla="*/ 47625 w 1314450"/>
                <a:gd name="connsiteY497" fmla="*/ 492442 h 1381125"/>
                <a:gd name="connsiteX498" fmla="*/ 43815 w 1314450"/>
                <a:gd name="connsiteY498" fmla="*/ 481013 h 1381125"/>
                <a:gd name="connsiteX499" fmla="*/ 44767 w 1314450"/>
                <a:gd name="connsiteY499" fmla="*/ 472440 h 1381125"/>
                <a:gd name="connsiteX500" fmla="*/ 48577 w 1314450"/>
                <a:gd name="connsiteY500" fmla="*/ 466725 h 1381125"/>
                <a:gd name="connsiteX501" fmla="*/ 54292 w 1314450"/>
                <a:gd name="connsiteY501" fmla="*/ 463867 h 1381125"/>
                <a:gd name="connsiteX502" fmla="*/ 50482 w 1314450"/>
                <a:gd name="connsiteY502" fmla="*/ 453390 h 1381125"/>
                <a:gd name="connsiteX503" fmla="*/ 28575 w 1314450"/>
                <a:gd name="connsiteY503" fmla="*/ 421957 h 1381125"/>
                <a:gd name="connsiteX504" fmla="*/ 27623 w 1314450"/>
                <a:gd name="connsiteY504" fmla="*/ 416242 h 1381125"/>
                <a:gd name="connsiteX505" fmla="*/ 36195 w 1314450"/>
                <a:gd name="connsiteY505" fmla="*/ 399098 h 1381125"/>
                <a:gd name="connsiteX506" fmla="*/ 28575 w 1314450"/>
                <a:gd name="connsiteY506" fmla="*/ 394335 h 1381125"/>
                <a:gd name="connsiteX507" fmla="*/ 19050 w 1314450"/>
                <a:gd name="connsiteY507" fmla="*/ 390525 h 1381125"/>
                <a:gd name="connsiteX508" fmla="*/ 10477 w 1314450"/>
                <a:gd name="connsiteY508" fmla="*/ 384810 h 1381125"/>
                <a:gd name="connsiteX509" fmla="*/ 7620 w 1314450"/>
                <a:gd name="connsiteY509" fmla="*/ 373380 h 1381125"/>
                <a:gd name="connsiteX510" fmla="*/ 6667 w 1314450"/>
                <a:gd name="connsiteY510" fmla="*/ 367665 h 1381125"/>
                <a:gd name="connsiteX511" fmla="*/ 11430 w 1314450"/>
                <a:gd name="connsiteY511" fmla="*/ 371475 h 1381125"/>
                <a:gd name="connsiteX512" fmla="*/ 16192 w 1314450"/>
                <a:gd name="connsiteY512" fmla="*/ 369570 h 1381125"/>
                <a:gd name="connsiteX513" fmla="*/ 18098 w 1314450"/>
                <a:gd name="connsiteY513" fmla="*/ 356235 h 1381125"/>
                <a:gd name="connsiteX514" fmla="*/ 17145 w 1314450"/>
                <a:gd name="connsiteY514" fmla="*/ 347663 h 1381125"/>
                <a:gd name="connsiteX515" fmla="*/ 2857 w 1314450"/>
                <a:gd name="connsiteY515" fmla="*/ 306705 h 1381125"/>
                <a:gd name="connsiteX516" fmla="*/ 0 w 1314450"/>
                <a:gd name="connsiteY516" fmla="*/ 300038 h 1381125"/>
                <a:gd name="connsiteX517" fmla="*/ 0 w 1314450"/>
                <a:gd name="connsiteY517" fmla="*/ 293370 h 1381125"/>
                <a:gd name="connsiteX518" fmla="*/ 6667 w 1314450"/>
                <a:gd name="connsiteY518" fmla="*/ 281940 h 1381125"/>
                <a:gd name="connsiteX519" fmla="*/ 11430 w 1314450"/>
                <a:gd name="connsiteY519" fmla="*/ 276225 h 1381125"/>
                <a:gd name="connsiteX520" fmla="*/ 18098 w 1314450"/>
                <a:gd name="connsiteY520" fmla="*/ 273367 h 1381125"/>
                <a:gd name="connsiteX521" fmla="*/ 69532 w 1314450"/>
                <a:gd name="connsiteY521" fmla="*/ 260032 h 1381125"/>
                <a:gd name="connsiteX522" fmla="*/ 81915 w 1314450"/>
                <a:gd name="connsiteY522" fmla="*/ 260032 h 1381125"/>
                <a:gd name="connsiteX523" fmla="*/ 119063 w 1314450"/>
                <a:gd name="connsiteY523" fmla="*/ 271463 h 1381125"/>
                <a:gd name="connsiteX524" fmla="*/ 132398 w 1314450"/>
                <a:gd name="connsiteY524" fmla="*/ 272415 h 1381125"/>
                <a:gd name="connsiteX525" fmla="*/ 153352 w 1314450"/>
                <a:gd name="connsiteY525" fmla="*/ 280988 h 1381125"/>
                <a:gd name="connsiteX526" fmla="*/ 167640 w 1314450"/>
                <a:gd name="connsiteY526" fmla="*/ 299085 h 1381125"/>
                <a:gd name="connsiteX527" fmla="*/ 182880 w 1314450"/>
                <a:gd name="connsiteY527" fmla="*/ 313373 h 1381125"/>
                <a:gd name="connsiteX528" fmla="*/ 203835 w 1314450"/>
                <a:gd name="connsiteY528" fmla="*/ 309563 h 1381125"/>
                <a:gd name="connsiteX529" fmla="*/ 282892 w 1314450"/>
                <a:gd name="connsiteY529" fmla="*/ 238125 h 1381125"/>
                <a:gd name="connsiteX530" fmla="*/ 342900 w 1314450"/>
                <a:gd name="connsiteY530" fmla="*/ 197167 h 1381125"/>
                <a:gd name="connsiteX531" fmla="*/ 357188 w 1314450"/>
                <a:gd name="connsiteY531" fmla="*/ 176213 h 1381125"/>
                <a:gd name="connsiteX532" fmla="*/ 370523 w 1314450"/>
                <a:gd name="connsiteY532" fmla="*/ 120967 h 1381125"/>
                <a:gd name="connsiteX533" fmla="*/ 378142 w 1314450"/>
                <a:gd name="connsiteY533" fmla="*/ 103822 h 1381125"/>
                <a:gd name="connsiteX534" fmla="*/ 397192 w 1314450"/>
                <a:gd name="connsiteY534" fmla="*/ 75247 h 1381125"/>
                <a:gd name="connsiteX535" fmla="*/ 408623 w 1314450"/>
                <a:gd name="connsiteY535" fmla="*/ 63817 h 1381125"/>
                <a:gd name="connsiteX536" fmla="*/ 420053 w 1314450"/>
                <a:gd name="connsiteY536" fmla="*/ 59055 h 1381125"/>
                <a:gd name="connsiteX537" fmla="*/ 551498 w 1314450"/>
                <a:gd name="connsiteY537" fmla="*/ 48577 h 1381125"/>
                <a:gd name="connsiteX538" fmla="*/ 583882 w 1314450"/>
                <a:gd name="connsiteY538" fmla="*/ 57150 h 1381125"/>
                <a:gd name="connsiteX539" fmla="*/ 594360 w 1314450"/>
                <a:gd name="connsiteY539" fmla="*/ 57150 h 1381125"/>
                <a:gd name="connsiteX540" fmla="*/ 742950 w 1314450"/>
                <a:gd name="connsiteY540" fmla="*/ 33338 h 1381125"/>
                <a:gd name="connsiteX541" fmla="*/ 790575 w 1314450"/>
                <a:gd name="connsiteY541" fmla="*/ 7620 h 1381125"/>
                <a:gd name="connsiteX542" fmla="*/ 814387 w 1314450"/>
                <a:gd name="connsiteY542" fmla="*/ 0 h 1381125"/>
                <a:gd name="connsiteX543" fmla="*/ 838200 w 1314450"/>
                <a:gd name="connsiteY543" fmla="*/ 0 h 1381125"/>
                <a:gd name="connsiteX544" fmla="*/ 926782 w 1314450"/>
                <a:gd name="connsiteY544" fmla="*/ 23813 h 1381125"/>
                <a:gd name="connsiteX545" fmla="*/ 1029653 w 1314450"/>
                <a:gd name="connsiteY545" fmla="*/ 25717 h 138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</a:cxnLst>
              <a:rect l="l" t="t" r="r" b="b"/>
              <a:pathLst>
                <a:path w="1314450" h="1381125">
                  <a:moveTo>
                    <a:pt x="1029653" y="25717"/>
                  </a:moveTo>
                  <a:lnTo>
                    <a:pt x="1032510" y="40957"/>
                  </a:lnTo>
                  <a:lnTo>
                    <a:pt x="1039178" y="44767"/>
                  </a:lnTo>
                  <a:lnTo>
                    <a:pt x="1086803" y="47625"/>
                  </a:lnTo>
                  <a:lnTo>
                    <a:pt x="1089660" y="48577"/>
                  </a:lnTo>
                  <a:lnTo>
                    <a:pt x="1090612" y="50482"/>
                  </a:lnTo>
                  <a:lnTo>
                    <a:pt x="1088708" y="52388"/>
                  </a:lnTo>
                  <a:lnTo>
                    <a:pt x="1081087" y="57150"/>
                  </a:lnTo>
                  <a:lnTo>
                    <a:pt x="1077278" y="60007"/>
                  </a:lnTo>
                  <a:lnTo>
                    <a:pt x="1075373" y="62865"/>
                  </a:lnTo>
                  <a:lnTo>
                    <a:pt x="1074420" y="65722"/>
                  </a:lnTo>
                  <a:lnTo>
                    <a:pt x="1073468" y="70485"/>
                  </a:lnTo>
                  <a:lnTo>
                    <a:pt x="1073468" y="76200"/>
                  </a:lnTo>
                  <a:lnTo>
                    <a:pt x="1074420" y="81915"/>
                  </a:lnTo>
                  <a:lnTo>
                    <a:pt x="1075373" y="86677"/>
                  </a:lnTo>
                  <a:lnTo>
                    <a:pt x="1079183" y="95250"/>
                  </a:lnTo>
                  <a:lnTo>
                    <a:pt x="1080135" y="100965"/>
                  </a:lnTo>
                  <a:lnTo>
                    <a:pt x="1080135" y="104775"/>
                  </a:lnTo>
                  <a:lnTo>
                    <a:pt x="1079183" y="108585"/>
                  </a:lnTo>
                  <a:lnTo>
                    <a:pt x="1078230" y="113347"/>
                  </a:lnTo>
                  <a:lnTo>
                    <a:pt x="1072515" y="123825"/>
                  </a:lnTo>
                  <a:lnTo>
                    <a:pt x="1065848" y="134302"/>
                  </a:lnTo>
                  <a:lnTo>
                    <a:pt x="1062037" y="138113"/>
                  </a:lnTo>
                  <a:lnTo>
                    <a:pt x="1042987" y="154305"/>
                  </a:lnTo>
                  <a:lnTo>
                    <a:pt x="1017270" y="191452"/>
                  </a:lnTo>
                  <a:lnTo>
                    <a:pt x="1013460" y="200025"/>
                  </a:lnTo>
                  <a:lnTo>
                    <a:pt x="1011555" y="205740"/>
                  </a:lnTo>
                  <a:lnTo>
                    <a:pt x="1010603" y="214313"/>
                  </a:lnTo>
                  <a:lnTo>
                    <a:pt x="1007745" y="231458"/>
                  </a:lnTo>
                  <a:lnTo>
                    <a:pt x="1007745" y="245745"/>
                  </a:lnTo>
                  <a:lnTo>
                    <a:pt x="1008698" y="262890"/>
                  </a:lnTo>
                  <a:lnTo>
                    <a:pt x="1008698" y="273367"/>
                  </a:lnTo>
                  <a:lnTo>
                    <a:pt x="1009650" y="280035"/>
                  </a:lnTo>
                  <a:lnTo>
                    <a:pt x="1012507" y="284798"/>
                  </a:lnTo>
                  <a:lnTo>
                    <a:pt x="1017270" y="287655"/>
                  </a:lnTo>
                  <a:lnTo>
                    <a:pt x="1023937" y="288607"/>
                  </a:lnTo>
                  <a:lnTo>
                    <a:pt x="1027748" y="288607"/>
                  </a:lnTo>
                  <a:lnTo>
                    <a:pt x="1033462" y="287655"/>
                  </a:lnTo>
                  <a:lnTo>
                    <a:pt x="1035368" y="286703"/>
                  </a:lnTo>
                  <a:lnTo>
                    <a:pt x="1037273" y="288607"/>
                  </a:lnTo>
                  <a:lnTo>
                    <a:pt x="1039178" y="298132"/>
                  </a:lnTo>
                  <a:lnTo>
                    <a:pt x="1040130" y="300038"/>
                  </a:lnTo>
                  <a:lnTo>
                    <a:pt x="1042987" y="301942"/>
                  </a:lnTo>
                  <a:lnTo>
                    <a:pt x="1052512" y="304800"/>
                  </a:lnTo>
                  <a:lnTo>
                    <a:pt x="1056323" y="307657"/>
                  </a:lnTo>
                  <a:lnTo>
                    <a:pt x="1059180" y="313373"/>
                  </a:lnTo>
                  <a:lnTo>
                    <a:pt x="1059180" y="317182"/>
                  </a:lnTo>
                  <a:lnTo>
                    <a:pt x="1058228" y="322898"/>
                  </a:lnTo>
                  <a:lnTo>
                    <a:pt x="1053465" y="331470"/>
                  </a:lnTo>
                  <a:lnTo>
                    <a:pt x="1050608" y="335280"/>
                  </a:lnTo>
                  <a:lnTo>
                    <a:pt x="1041082" y="343853"/>
                  </a:lnTo>
                  <a:lnTo>
                    <a:pt x="1037273" y="347663"/>
                  </a:lnTo>
                  <a:lnTo>
                    <a:pt x="1034415" y="352425"/>
                  </a:lnTo>
                  <a:lnTo>
                    <a:pt x="1033462" y="356235"/>
                  </a:lnTo>
                  <a:lnTo>
                    <a:pt x="1032510" y="360998"/>
                  </a:lnTo>
                  <a:lnTo>
                    <a:pt x="1031557" y="374332"/>
                  </a:lnTo>
                  <a:lnTo>
                    <a:pt x="1031557" y="378142"/>
                  </a:lnTo>
                  <a:lnTo>
                    <a:pt x="1033462" y="385763"/>
                  </a:lnTo>
                  <a:lnTo>
                    <a:pt x="1039178" y="408623"/>
                  </a:lnTo>
                  <a:lnTo>
                    <a:pt x="1040130" y="415290"/>
                  </a:lnTo>
                  <a:lnTo>
                    <a:pt x="1040130" y="418148"/>
                  </a:lnTo>
                  <a:lnTo>
                    <a:pt x="1039178" y="425767"/>
                  </a:lnTo>
                  <a:lnTo>
                    <a:pt x="1037273" y="440055"/>
                  </a:lnTo>
                  <a:lnTo>
                    <a:pt x="1036320" y="451485"/>
                  </a:lnTo>
                  <a:lnTo>
                    <a:pt x="1036320" y="458153"/>
                  </a:lnTo>
                  <a:lnTo>
                    <a:pt x="1037273" y="468630"/>
                  </a:lnTo>
                  <a:lnTo>
                    <a:pt x="1037273" y="471488"/>
                  </a:lnTo>
                  <a:lnTo>
                    <a:pt x="1033462" y="502920"/>
                  </a:lnTo>
                  <a:lnTo>
                    <a:pt x="1034415" y="509588"/>
                  </a:lnTo>
                  <a:lnTo>
                    <a:pt x="1035368" y="512445"/>
                  </a:lnTo>
                  <a:lnTo>
                    <a:pt x="1038225" y="517207"/>
                  </a:lnTo>
                  <a:lnTo>
                    <a:pt x="1042035" y="521970"/>
                  </a:lnTo>
                  <a:lnTo>
                    <a:pt x="1043940" y="522923"/>
                  </a:lnTo>
                  <a:lnTo>
                    <a:pt x="1048703" y="523875"/>
                  </a:lnTo>
                  <a:lnTo>
                    <a:pt x="1050608" y="522923"/>
                  </a:lnTo>
                  <a:lnTo>
                    <a:pt x="1052512" y="521017"/>
                  </a:lnTo>
                  <a:lnTo>
                    <a:pt x="1054418" y="518160"/>
                  </a:lnTo>
                  <a:lnTo>
                    <a:pt x="1057275" y="509588"/>
                  </a:lnTo>
                  <a:lnTo>
                    <a:pt x="1060133" y="503873"/>
                  </a:lnTo>
                  <a:lnTo>
                    <a:pt x="1062037" y="501967"/>
                  </a:lnTo>
                  <a:lnTo>
                    <a:pt x="1068705" y="497205"/>
                  </a:lnTo>
                  <a:lnTo>
                    <a:pt x="1074420" y="495300"/>
                  </a:lnTo>
                  <a:lnTo>
                    <a:pt x="1080135" y="494348"/>
                  </a:lnTo>
                  <a:lnTo>
                    <a:pt x="1086803" y="493395"/>
                  </a:lnTo>
                  <a:lnTo>
                    <a:pt x="1093470" y="494348"/>
                  </a:lnTo>
                  <a:lnTo>
                    <a:pt x="1104900" y="499110"/>
                  </a:lnTo>
                  <a:lnTo>
                    <a:pt x="1107758" y="499110"/>
                  </a:lnTo>
                  <a:lnTo>
                    <a:pt x="1110615" y="499110"/>
                  </a:lnTo>
                  <a:lnTo>
                    <a:pt x="1113473" y="498157"/>
                  </a:lnTo>
                  <a:lnTo>
                    <a:pt x="1115378" y="496253"/>
                  </a:lnTo>
                  <a:lnTo>
                    <a:pt x="1119187" y="492442"/>
                  </a:lnTo>
                  <a:lnTo>
                    <a:pt x="1121093" y="489585"/>
                  </a:lnTo>
                  <a:lnTo>
                    <a:pt x="1124903" y="482917"/>
                  </a:lnTo>
                  <a:lnTo>
                    <a:pt x="1126808" y="480060"/>
                  </a:lnTo>
                  <a:lnTo>
                    <a:pt x="1128712" y="478155"/>
                  </a:lnTo>
                  <a:lnTo>
                    <a:pt x="1130618" y="477203"/>
                  </a:lnTo>
                  <a:lnTo>
                    <a:pt x="1133475" y="477203"/>
                  </a:lnTo>
                  <a:lnTo>
                    <a:pt x="1135380" y="479107"/>
                  </a:lnTo>
                  <a:lnTo>
                    <a:pt x="1137285" y="483870"/>
                  </a:lnTo>
                  <a:lnTo>
                    <a:pt x="1140143" y="488632"/>
                  </a:lnTo>
                  <a:lnTo>
                    <a:pt x="1145858" y="491490"/>
                  </a:lnTo>
                  <a:lnTo>
                    <a:pt x="1148715" y="492442"/>
                  </a:lnTo>
                  <a:lnTo>
                    <a:pt x="1155383" y="492442"/>
                  </a:lnTo>
                  <a:lnTo>
                    <a:pt x="1159193" y="491490"/>
                  </a:lnTo>
                  <a:lnTo>
                    <a:pt x="1163955" y="489585"/>
                  </a:lnTo>
                  <a:lnTo>
                    <a:pt x="1171575" y="481965"/>
                  </a:lnTo>
                  <a:lnTo>
                    <a:pt x="1173480" y="481013"/>
                  </a:lnTo>
                  <a:lnTo>
                    <a:pt x="1174433" y="482917"/>
                  </a:lnTo>
                  <a:lnTo>
                    <a:pt x="1174433" y="490538"/>
                  </a:lnTo>
                  <a:lnTo>
                    <a:pt x="1169670" y="509588"/>
                  </a:lnTo>
                  <a:lnTo>
                    <a:pt x="1167765" y="518160"/>
                  </a:lnTo>
                  <a:lnTo>
                    <a:pt x="1166812" y="524828"/>
                  </a:lnTo>
                  <a:lnTo>
                    <a:pt x="1167765" y="527685"/>
                  </a:lnTo>
                  <a:lnTo>
                    <a:pt x="1170623" y="532448"/>
                  </a:lnTo>
                  <a:lnTo>
                    <a:pt x="1173480" y="537210"/>
                  </a:lnTo>
                  <a:lnTo>
                    <a:pt x="1179195" y="540068"/>
                  </a:lnTo>
                  <a:lnTo>
                    <a:pt x="1188720" y="544830"/>
                  </a:lnTo>
                  <a:lnTo>
                    <a:pt x="1191578" y="547688"/>
                  </a:lnTo>
                  <a:lnTo>
                    <a:pt x="1193483" y="552450"/>
                  </a:lnTo>
                  <a:lnTo>
                    <a:pt x="1194435" y="559118"/>
                  </a:lnTo>
                  <a:lnTo>
                    <a:pt x="1194435" y="561975"/>
                  </a:lnTo>
                  <a:lnTo>
                    <a:pt x="1195387" y="564832"/>
                  </a:lnTo>
                  <a:lnTo>
                    <a:pt x="1199198" y="568643"/>
                  </a:lnTo>
                  <a:lnTo>
                    <a:pt x="1214437" y="581025"/>
                  </a:lnTo>
                  <a:lnTo>
                    <a:pt x="1224915" y="593407"/>
                  </a:lnTo>
                  <a:lnTo>
                    <a:pt x="1227773" y="598170"/>
                  </a:lnTo>
                  <a:lnTo>
                    <a:pt x="1231583" y="602932"/>
                  </a:lnTo>
                  <a:lnTo>
                    <a:pt x="1271587" y="622935"/>
                  </a:lnTo>
                  <a:lnTo>
                    <a:pt x="1298258" y="649605"/>
                  </a:lnTo>
                  <a:lnTo>
                    <a:pt x="1300162" y="651510"/>
                  </a:lnTo>
                  <a:lnTo>
                    <a:pt x="1302068" y="657225"/>
                  </a:lnTo>
                  <a:lnTo>
                    <a:pt x="1302068" y="661035"/>
                  </a:lnTo>
                  <a:lnTo>
                    <a:pt x="1301115" y="670560"/>
                  </a:lnTo>
                  <a:lnTo>
                    <a:pt x="1301115" y="675323"/>
                  </a:lnTo>
                  <a:lnTo>
                    <a:pt x="1298258" y="681038"/>
                  </a:lnTo>
                  <a:lnTo>
                    <a:pt x="1293495" y="689610"/>
                  </a:lnTo>
                  <a:lnTo>
                    <a:pt x="1287780" y="695325"/>
                  </a:lnTo>
                  <a:lnTo>
                    <a:pt x="1283018" y="699135"/>
                  </a:lnTo>
                  <a:lnTo>
                    <a:pt x="1245870" y="706755"/>
                  </a:lnTo>
                  <a:lnTo>
                    <a:pt x="1243965" y="708660"/>
                  </a:lnTo>
                  <a:lnTo>
                    <a:pt x="1243012" y="713423"/>
                  </a:lnTo>
                  <a:lnTo>
                    <a:pt x="1240155" y="736282"/>
                  </a:lnTo>
                  <a:lnTo>
                    <a:pt x="1240155" y="741045"/>
                  </a:lnTo>
                  <a:lnTo>
                    <a:pt x="1242060" y="742950"/>
                  </a:lnTo>
                  <a:lnTo>
                    <a:pt x="1244918" y="744855"/>
                  </a:lnTo>
                  <a:lnTo>
                    <a:pt x="1258253" y="750570"/>
                  </a:lnTo>
                  <a:lnTo>
                    <a:pt x="1261110" y="750570"/>
                  </a:lnTo>
                  <a:lnTo>
                    <a:pt x="1263015" y="749618"/>
                  </a:lnTo>
                  <a:lnTo>
                    <a:pt x="1268730" y="744855"/>
                  </a:lnTo>
                  <a:lnTo>
                    <a:pt x="1269683" y="743903"/>
                  </a:lnTo>
                  <a:lnTo>
                    <a:pt x="1275398" y="742950"/>
                  </a:lnTo>
                  <a:lnTo>
                    <a:pt x="1281112" y="741998"/>
                  </a:lnTo>
                  <a:lnTo>
                    <a:pt x="1285875" y="744855"/>
                  </a:lnTo>
                  <a:lnTo>
                    <a:pt x="1290637" y="748665"/>
                  </a:lnTo>
                  <a:lnTo>
                    <a:pt x="1299210" y="758190"/>
                  </a:lnTo>
                  <a:lnTo>
                    <a:pt x="1307783" y="773430"/>
                  </a:lnTo>
                  <a:lnTo>
                    <a:pt x="1309687" y="778193"/>
                  </a:lnTo>
                  <a:lnTo>
                    <a:pt x="1310640" y="784860"/>
                  </a:lnTo>
                  <a:lnTo>
                    <a:pt x="1310640" y="787718"/>
                  </a:lnTo>
                  <a:lnTo>
                    <a:pt x="1315403" y="794385"/>
                  </a:lnTo>
                  <a:lnTo>
                    <a:pt x="1317308" y="800100"/>
                  </a:lnTo>
                  <a:lnTo>
                    <a:pt x="1318260" y="810578"/>
                  </a:lnTo>
                  <a:lnTo>
                    <a:pt x="1319212" y="816293"/>
                  </a:lnTo>
                  <a:lnTo>
                    <a:pt x="1318260" y="820103"/>
                  </a:lnTo>
                  <a:lnTo>
                    <a:pt x="1316355" y="823913"/>
                  </a:lnTo>
                  <a:lnTo>
                    <a:pt x="1308735" y="829628"/>
                  </a:lnTo>
                  <a:lnTo>
                    <a:pt x="1304925" y="831532"/>
                  </a:lnTo>
                  <a:lnTo>
                    <a:pt x="1300162" y="833438"/>
                  </a:lnTo>
                  <a:lnTo>
                    <a:pt x="1263015" y="838200"/>
                  </a:lnTo>
                  <a:lnTo>
                    <a:pt x="1260158" y="841057"/>
                  </a:lnTo>
                  <a:lnTo>
                    <a:pt x="1257300" y="843915"/>
                  </a:lnTo>
                  <a:lnTo>
                    <a:pt x="1255395" y="849630"/>
                  </a:lnTo>
                  <a:lnTo>
                    <a:pt x="1255395" y="853440"/>
                  </a:lnTo>
                  <a:lnTo>
                    <a:pt x="1257300" y="856298"/>
                  </a:lnTo>
                  <a:lnTo>
                    <a:pt x="1259205" y="858203"/>
                  </a:lnTo>
                  <a:lnTo>
                    <a:pt x="1267778" y="864870"/>
                  </a:lnTo>
                  <a:lnTo>
                    <a:pt x="1269683" y="867728"/>
                  </a:lnTo>
                  <a:lnTo>
                    <a:pt x="1271587" y="870585"/>
                  </a:lnTo>
                  <a:lnTo>
                    <a:pt x="1274445" y="873443"/>
                  </a:lnTo>
                  <a:lnTo>
                    <a:pt x="1275398" y="875348"/>
                  </a:lnTo>
                  <a:lnTo>
                    <a:pt x="1276350" y="878205"/>
                  </a:lnTo>
                  <a:lnTo>
                    <a:pt x="1276350" y="884873"/>
                  </a:lnTo>
                  <a:lnTo>
                    <a:pt x="1274445" y="891540"/>
                  </a:lnTo>
                  <a:lnTo>
                    <a:pt x="1272540" y="894398"/>
                  </a:lnTo>
                  <a:lnTo>
                    <a:pt x="1259205" y="906780"/>
                  </a:lnTo>
                  <a:lnTo>
                    <a:pt x="1252537" y="917257"/>
                  </a:lnTo>
                  <a:lnTo>
                    <a:pt x="1250633" y="922973"/>
                  </a:lnTo>
                  <a:lnTo>
                    <a:pt x="1251585" y="926782"/>
                  </a:lnTo>
                  <a:lnTo>
                    <a:pt x="1253490" y="927735"/>
                  </a:lnTo>
                  <a:lnTo>
                    <a:pt x="1265873" y="934403"/>
                  </a:lnTo>
                  <a:lnTo>
                    <a:pt x="1268730" y="936307"/>
                  </a:lnTo>
                  <a:lnTo>
                    <a:pt x="1270635" y="940118"/>
                  </a:lnTo>
                  <a:lnTo>
                    <a:pt x="1270635" y="942023"/>
                  </a:lnTo>
                  <a:lnTo>
                    <a:pt x="1266825" y="947737"/>
                  </a:lnTo>
                  <a:lnTo>
                    <a:pt x="1264920" y="949643"/>
                  </a:lnTo>
                  <a:lnTo>
                    <a:pt x="1262062" y="950595"/>
                  </a:lnTo>
                  <a:lnTo>
                    <a:pt x="1257300" y="951548"/>
                  </a:lnTo>
                  <a:lnTo>
                    <a:pt x="1247775" y="948690"/>
                  </a:lnTo>
                  <a:lnTo>
                    <a:pt x="1241108" y="948690"/>
                  </a:lnTo>
                  <a:lnTo>
                    <a:pt x="1238250" y="949643"/>
                  </a:lnTo>
                  <a:lnTo>
                    <a:pt x="1234440" y="952500"/>
                  </a:lnTo>
                  <a:lnTo>
                    <a:pt x="1210628" y="971550"/>
                  </a:lnTo>
                  <a:lnTo>
                    <a:pt x="1208723" y="972503"/>
                  </a:lnTo>
                  <a:lnTo>
                    <a:pt x="1205865" y="974407"/>
                  </a:lnTo>
                  <a:lnTo>
                    <a:pt x="1203008" y="977265"/>
                  </a:lnTo>
                  <a:lnTo>
                    <a:pt x="1200150" y="983932"/>
                  </a:lnTo>
                  <a:lnTo>
                    <a:pt x="1199198" y="986790"/>
                  </a:lnTo>
                  <a:lnTo>
                    <a:pt x="1197293" y="1024890"/>
                  </a:lnTo>
                  <a:lnTo>
                    <a:pt x="1200150" y="1041082"/>
                  </a:lnTo>
                  <a:lnTo>
                    <a:pt x="1200150" y="1047750"/>
                  </a:lnTo>
                  <a:lnTo>
                    <a:pt x="1200150" y="1054418"/>
                  </a:lnTo>
                  <a:lnTo>
                    <a:pt x="1199198" y="1060133"/>
                  </a:lnTo>
                  <a:lnTo>
                    <a:pt x="1195387" y="1066800"/>
                  </a:lnTo>
                  <a:lnTo>
                    <a:pt x="1191578" y="1070610"/>
                  </a:lnTo>
                  <a:lnTo>
                    <a:pt x="1188720" y="1077278"/>
                  </a:lnTo>
                  <a:lnTo>
                    <a:pt x="1186815" y="1080135"/>
                  </a:lnTo>
                  <a:lnTo>
                    <a:pt x="1182053" y="1107758"/>
                  </a:lnTo>
                  <a:lnTo>
                    <a:pt x="1180148" y="1110615"/>
                  </a:lnTo>
                  <a:lnTo>
                    <a:pt x="1177290" y="1111568"/>
                  </a:lnTo>
                  <a:lnTo>
                    <a:pt x="1172528" y="1112520"/>
                  </a:lnTo>
                  <a:lnTo>
                    <a:pt x="1168718" y="1111568"/>
                  </a:lnTo>
                  <a:lnTo>
                    <a:pt x="1164908" y="1110615"/>
                  </a:lnTo>
                  <a:lnTo>
                    <a:pt x="1161098" y="1106805"/>
                  </a:lnTo>
                  <a:lnTo>
                    <a:pt x="1149668" y="1095375"/>
                  </a:lnTo>
                  <a:lnTo>
                    <a:pt x="1145858" y="1091565"/>
                  </a:lnTo>
                  <a:lnTo>
                    <a:pt x="1140143" y="1088708"/>
                  </a:lnTo>
                  <a:lnTo>
                    <a:pt x="1119187" y="1085850"/>
                  </a:lnTo>
                  <a:lnTo>
                    <a:pt x="1117283" y="1083945"/>
                  </a:lnTo>
                  <a:lnTo>
                    <a:pt x="1115378" y="1082040"/>
                  </a:lnTo>
                  <a:lnTo>
                    <a:pt x="1116330" y="1077278"/>
                  </a:lnTo>
                  <a:lnTo>
                    <a:pt x="1116330" y="1074420"/>
                  </a:lnTo>
                  <a:lnTo>
                    <a:pt x="1114425" y="1071562"/>
                  </a:lnTo>
                  <a:lnTo>
                    <a:pt x="1103948" y="1059180"/>
                  </a:lnTo>
                  <a:lnTo>
                    <a:pt x="1096328" y="1051560"/>
                  </a:lnTo>
                  <a:lnTo>
                    <a:pt x="1093470" y="1050608"/>
                  </a:lnTo>
                  <a:lnTo>
                    <a:pt x="1086803" y="1048703"/>
                  </a:lnTo>
                  <a:lnTo>
                    <a:pt x="1059180" y="1048703"/>
                  </a:lnTo>
                  <a:lnTo>
                    <a:pt x="1048703" y="1054418"/>
                  </a:lnTo>
                  <a:lnTo>
                    <a:pt x="1037273" y="1062990"/>
                  </a:lnTo>
                  <a:lnTo>
                    <a:pt x="1017270" y="1074420"/>
                  </a:lnTo>
                  <a:lnTo>
                    <a:pt x="999173" y="1081087"/>
                  </a:lnTo>
                  <a:lnTo>
                    <a:pt x="982980" y="1090612"/>
                  </a:lnTo>
                  <a:lnTo>
                    <a:pt x="978218" y="1092518"/>
                  </a:lnTo>
                  <a:lnTo>
                    <a:pt x="973455" y="1092518"/>
                  </a:lnTo>
                  <a:lnTo>
                    <a:pt x="960120" y="1089660"/>
                  </a:lnTo>
                  <a:lnTo>
                    <a:pt x="949643" y="1084898"/>
                  </a:lnTo>
                  <a:lnTo>
                    <a:pt x="942975" y="1081087"/>
                  </a:lnTo>
                  <a:lnTo>
                    <a:pt x="934403" y="1073468"/>
                  </a:lnTo>
                  <a:lnTo>
                    <a:pt x="933450" y="1072515"/>
                  </a:lnTo>
                  <a:lnTo>
                    <a:pt x="930593" y="1073468"/>
                  </a:lnTo>
                  <a:lnTo>
                    <a:pt x="930593" y="1077278"/>
                  </a:lnTo>
                  <a:lnTo>
                    <a:pt x="930593" y="1080135"/>
                  </a:lnTo>
                  <a:lnTo>
                    <a:pt x="933450" y="1088708"/>
                  </a:lnTo>
                  <a:lnTo>
                    <a:pt x="933450" y="1092518"/>
                  </a:lnTo>
                  <a:lnTo>
                    <a:pt x="931545" y="1096328"/>
                  </a:lnTo>
                  <a:lnTo>
                    <a:pt x="927735" y="1102043"/>
                  </a:lnTo>
                  <a:lnTo>
                    <a:pt x="926782" y="1107758"/>
                  </a:lnTo>
                  <a:lnTo>
                    <a:pt x="927735" y="1111568"/>
                  </a:lnTo>
                  <a:lnTo>
                    <a:pt x="929640" y="1113473"/>
                  </a:lnTo>
                  <a:lnTo>
                    <a:pt x="941070" y="1121093"/>
                  </a:lnTo>
                  <a:lnTo>
                    <a:pt x="942975" y="1122998"/>
                  </a:lnTo>
                  <a:lnTo>
                    <a:pt x="943928" y="1125855"/>
                  </a:lnTo>
                  <a:lnTo>
                    <a:pt x="942975" y="1127760"/>
                  </a:lnTo>
                  <a:lnTo>
                    <a:pt x="938212" y="1129665"/>
                  </a:lnTo>
                  <a:lnTo>
                    <a:pt x="934403" y="1130618"/>
                  </a:lnTo>
                  <a:lnTo>
                    <a:pt x="897255" y="1124903"/>
                  </a:lnTo>
                  <a:lnTo>
                    <a:pt x="894398" y="1126808"/>
                  </a:lnTo>
                  <a:lnTo>
                    <a:pt x="892493" y="1128712"/>
                  </a:lnTo>
                  <a:lnTo>
                    <a:pt x="891540" y="1134428"/>
                  </a:lnTo>
                  <a:lnTo>
                    <a:pt x="892493" y="1138237"/>
                  </a:lnTo>
                  <a:lnTo>
                    <a:pt x="899160" y="1150620"/>
                  </a:lnTo>
                  <a:lnTo>
                    <a:pt x="902018" y="1158240"/>
                  </a:lnTo>
                  <a:lnTo>
                    <a:pt x="902018" y="1162050"/>
                  </a:lnTo>
                  <a:lnTo>
                    <a:pt x="902018" y="1168718"/>
                  </a:lnTo>
                  <a:lnTo>
                    <a:pt x="902018" y="1171575"/>
                  </a:lnTo>
                  <a:lnTo>
                    <a:pt x="901065" y="1176337"/>
                  </a:lnTo>
                  <a:lnTo>
                    <a:pt x="898207" y="1180148"/>
                  </a:lnTo>
                  <a:lnTo>
                    <a:pt x="892493" y="1184910"/>
                  </a:lnTo>
                  <a:lnTo>
                    <a:pt x="888682" y="1186815"/>
                  </a:lnTo>
                  <a:lnTo>
                    <a:pt x="883920" y="1187768"/>
                  </a:lnTo>
                  <a:lnTo>
                    <a:pt x="843915" y="1183958"/>
                  </a:lnTo>
                  <a:lnTo>
                    <a:pt x="819150" y="1177290"/>
                  </a:lnTo>
                  <a:lnTo>
                    <a:pt x="817245" y="1177290"/>
                  </a:lnTo>
                  <a:lnTo>
                    <a:pt x="814387" y="1178243"/>
                  </a:lnTo>
                  <a:lnTo>
                    <a:pt x="811530" y="1180148"/>
                  </a:lnTo>
                  <a:lnTo>
                    <a:pt x="805815" y="1187768"/>
                  </a:lnTo>
                  <a:lnTo>
                    <a:pt x="804862" y="1190625"/>
                  </a:lnTo>
                  <a:lnTo>
                    <a:pt x="803910" y="1194435"/>
                  </a:lnTo>
                  <a:lnTo>
                    <a:pt x="806768" y="1198245"/>
                  </a:lnTo>
                  <a:lnTo>
                    <a:pt x="808673" y="1201103"/>
                  </a:lnTo>
                  <a:lnTo>
                    <a:pt x="823912" y="1212533"/>
                  </a:lnTo>
                  <a:lnTo>
                    <a:pt x="829628" y="1218248"/>
                  </a:lnTo>
                  <a:lnTo>
                    <a:pt x="830580" y="1220153"/>
                  </a:lnTo>
                  <a:lnTo>
                    <a:pt x="829628" y="1222058"/>
                  </a:lnTo>
                  <a:lnTo>
                    <a:pt x="821055" y="1238250"/>
                  </a:lnTo>
                  <a:lnTo>
                    <a:pt x="817245" y="1243965"/>
                  </a:lnTo>
                  <a:lnTo>
                    <a:pt x="813435" y="1247775"/>
                  </a:lnTo>
                  <a:lnTo>
                    <a:pt x="811530" y="1248728"/>
                  </a:lnTo>
                  <a:lnTo>
                    <a:pt x="808673" y="1249680"/>
                  </a:lnTo>
                  <a:lnTo>
                    <a:pt x="805815" y="1249680"/>
                  </a:lnTo>
                  <a:lnTo>
                    <a:pt x="795337" y="1248728"/>
                  </a:lnTo>
                  <a:lnTo>
                    <a:pt x="792480" y="1248728"/>
                  </a:lnTo>
                  <a:lnTo>
                    <a:pt x="790575" y="1249680"/>
                  </a:lnTo>
                  <a:lnTo>
                    <a:pt x="789623" y="1252537"/>
                  </a:lnTo>
                  <a:lnTo>
                    <a:pt x="790575" y="1256348"/>
                  </a:lnTo>
                  <a:lnTo>
                    <a:pt x="792480" y="1258253"/>
                  </a:lnTo>
                  <a:lnTo>
                    <a:pt x="794385" y="1261110"/>
                  </a:lnTo>
                  <a:lnTo>
                    <a:pt x="803910" y="1266825"/>
                  </a:lnTo>
                  <a:lnTo>
                    <a:pt x="811530" y="1274445"/>
                  </a:lnTo>
                  <a:lnTo>
                    <a:pt x="816293" y="1281112"/>
                  </a:lnTo>
                  <a:lnTo>
                    <a:pt x="829628" y="1304925"/>
                  </a:lnTo>
                  <a:lnTo>
                    <a:pt x="831532" y="1306830"/>
                  </a:lnTo>
                  <a:lnTo>
                    <a:pt x="834390" y="1307783"/>
                  </a:lnTo>
                  <a:lnTo>
                    <a:pt x="843915" y="1309687"/>
                  </a:lnTo>
                  <a:lnTo>
                    <a:pt x="846773" y="1310640"/>
                  </a:lnTo>
                  <a:lnTo>
                    <a:pt x="847725" y="1313498"/>
                  </a:lnTo>
                  <a:lnTo>
                    <a:pt x="848678" y="1316355"/>
                  </a:lnTo>
                  <a:lnTo>
                    <a:pt x="848678" y="1320165"/>
                  </a:lnTo>
                  <a:lnTo>
                    <a:pt x="847725" y="1323975"/>
                  </a:lnTo>
                  <a:lnTo>
                    <a:pt x="843915" y="1328737"/>
                  </a:lnTo>
                  <a:lnTo>
                    <a:pt x="837248" y="1332548"/>
                  </a:lnTo>
                  <a:lnTo>
                    <a:pt x="832485" y="1333500"/>
                  </a:lnTo>
                  <a:lnTo>
                    <a:pt x="827723" y="1335405"/>
                  </a:lnTo>
                  <a:lnTo>
                    <a:pt x="822960" y="1338262"/>
                  </a:lnTo>
                  <a:lnTo>
                    <a:pt x="817245" y="1347787"/>
                  </a:lnTo>
                  <a:lnTo>
                    <a:pt x="805815" y="1361123"/>
                  </a:lnTo>
                  <a:lnTo>
                    <a:pt x="774382" y="1390650"/>
                  </a:lnTo>
                  <a:lnTo>
                    <a:pt x="776287" y="1366837"/>
                  </a:lnTo>
                  <a:lnTo>
                    <a:pt x="775335" y="1358265"/>
                  </a:lnTo>
                  <a:lnTo>
                    <a:pt x="772478" y="1352550"/>
                  </a:lnTo>
                  <a:lnTo>
                    <a:pt x="769620" y="1349693"/>
                  </a:lnTo>
                  <a:lnTo>
                    <a:pt x="766762" y="1347787"/>
                  </a:lnTo>
                  <a:lnTo>
                    <a:pt x="764857" y="1345883"/>
                  </a:lnTo>
                  <a:lnTo>
                    <a:pt x="759143" y="1345883"/>
                  </a:lnTo>
                  <a:lnTo>
                    <a:pt x="742950" y="1348740"/>
                  </a:lnTo>
                  <a:lnTo>
                    <a:pt x="732473" y="1343025"/>
                  </a:lnTo>
                  <a:lnTo>
                    <a:pt x="717232" y="1333500"/>
                  </a:lnTo>
                  <a:lnTo>
                    <a:pt x="710565" y="1329690"/>
                  </a:lnTo>
                  <a:lnTo>
                    <a:pt x="705803" y="1328737"/>
                  </a:lnTo>
                  <a:lnTo>
                    <a:pt x="703898" y="1330643"/>
                  </a:lnTo>
                  <a:lnTo>
                    <a:pt x="703898" y="1333500"/>
                  </a:lnTo>
                  <a:lnTo>
                    <a:pt x="704850" y="1343025"/>
                  </a:lnTo>
                  <a:lnTo>
                    <a:pt x="701040" y="1345883"/>
                  </a:lnTo>
                  <a:lnTo>
                    <a:pt x="694373" y="1346835"/>
                  </a:lnTo>
                  <a:lnTo>
                    <a:pt x="661035" y="1341120"/>
                  </a:lnTo>
                  <a:lnTo>
                    <a:pt x="649605" y="1343978"/>
                  </a:lnTo>
                  <a:lnTo>
                    <a:pt x="643890" y="1345883"/>
                  </a:lnTo>
                  <a:lnTo>
                    <a:pt x="639128" y="1347787"/>
                  </a:lnTo>
                  <a:lnTo>
                    <a:pt x="634365" y="1350645"/>
                  </a:lnTo>
                  <a:lnTo>
                    <a:pt x="629603" y="1352550"/>
                  </a:lnTo>
                  <a:lnTo>
                    <a:pt x="621982" y="1352550"/>
                  </a:lnTo>
                  <a:lnTo>
                    <a:pt x="595312" y="1350645"/>
                  </a:lnTo>
                  <a:lnTo>
                    <a:pt x="589598" y="1348740"/>
                  </a:lnTo>
                  <a:lnTo>
                    <a:pt x="585787" y="1345883"/>
                  </a:lnTo>
                  <a:lnTo>
                    <a:pt x="584835" y="1343025"/>
                  </a:lnTo>
                  <a:lnTo>
                    <a:pt x="583882" y="1340168"/>
                  </a:lnTo>
                  <a:lnTo>
                    <a:pt x="584835" y="1333500"/>
                  </a:lnTo>
                  <a:lnTo>
                    <a:pt x="581978" y="1328737"/>
                  </a:lnTo>
                  <a:lnTo>
                    <a:pt x="577215" y="1323023"/>
                  </a:lnTo>
                  <a:lnTo>
                    <a:pt x="555307" y="1309687"/>
                  </a:lnTo>
                  <a:lnTo>
                    <a:pt x="551498" y="1305878"/>
                  </a:lnTo>
                  <a:lnTo>
                    <a:pt x="550545" y="1300162"/>
                  </a:lnTo>
                  <a:lnTo>
                    <a:pt x="550545" y="1296353"/>
                  </a:lnTo>
                  <a:lnTo>
                    <a:pt x="548640" y="1292543"/>
                  </a:lnTo>
                  <a:lnTo>
                    <a:pt x="545782" y="1291590"/>
                  </a:lnTo>
                  <a:lnTo>
                    <a:pt x="542925" y="1290637"/>
                  </a:lnTo>
                  <a:lnTo>
                    <a:pt x="525780" y="1289685"/>
                  </a:lnTo>
                  <a:lnTo>
                    <a:pt x="521970" y="1288733"/>
                  </a:lnTo>
                  <a:lnTo>
                    <a:pt x="519112" y="1285875"/>
                  </a:lnTo>
                  <a:lnTo>
                    <a:pt x="516255" y="1280160"/>
                  </a:lnTo>
                  <a:lnTo>
                    <a:pt x="514350" y="1277303"/>
                  </a:lnTo>
                  <a:lnTo>
                    <a:pt x="511493" y="1273493"/>
                  </a:lnTo>
                  <a:lnTo>
                    <a:pt x="508635" y="1271587"/>
                  </a:lnTo>
                  <a:lnTo>
                    <a:pt x="505778" y="1271587"/>
                  </a:lnTo>
                  <a:lnTo>
                    <a:pt x="503873" y="1273493"/>
                  </a:lnTo>
                  <a:lnTo>
                    <a:pt x="501968" y="1276350"/>
                  </a:lnTo>
                  <a:lnTo>
                    <a:pt x="501968" y="1280160"/>
                  </a:lnTo>
                  <a:lnTo>
                    <a:pt x="501968" y="1289685"/>
                  </a:lnTo>
                  <a:lnTo>
                    <a:pt x="500062" y="1294448"/>
                  </a:lnTo>
                  <a:lnTo>
                    <a:pt x="497205" y="1297305"/>
                  </a:lnTo>
                  <a:lnTo>
                    <a:pt x="493395" y="1298258"/>
                  </a:lnTo>
                  <a:lnTo>
                    <a:pt x="485775" y="1299210"/>
                  </a:lnTo>
                  <a:lnTo>
                    <a:pt x="481965" y="1297305"/>
                  </a:lnTo>
                  <a:lnTo>
                    <a:pt x="480060" y="1295400"/>
                  </a:lnTo>
                  <a:lnTo>
                    <a:pt x="479107" y="1292543"/>
                  </a:lnTo>
                  <a:lnTo>
                    <a:pt x="480060" y="1288733"/>
                  </a:lnTo>
                  <a:lnTo>
                    <a:pt x="481012" y="1283018"/>
                  </a:lnTo>
                  <a:lnTo>
                    <a:pt x="481012" y="1279208"/>
                  </a:lnTo>
                  <a:lnTo>
                    <a:pt x="480060" y="1274445"/>
                  </a:lnTo>
                  <a:lnTo>
                    <a:pt x="477203" y="1270635"/>
                  </a:lnTo>
                  <a:lnTo>
                    <a:pt x="455295" y="1252537"/>
                  </a:lnTo>
                  <a:lnTo>
                    <a:pt x="452437" y="1248728"/>
                  </a:lnTo>
                  <a:lnTo>
                    <a:pt x="451485" y="1245870"/>
                  </a:lnTo>
                  <a:lnTo>
                    <a:pt x="452437" y="1243012"/>
                  </a:lnTo>
                  <a:lnTo>
                    <a:pt x="453390" y="1241108"/>
                  </a:lnTo>
                  <a:lnTo>
                    <a:pt x="458153" y="1238250"/>
                  </a:lnTo>
                  <a:lnTo>
                    <a:pt x="484823" y="1231583"/>
                  </a:lnTo>
                  <a:lnTo>
                    <a:pt x="489585" y="1229678"/>
                  </a:lnTo>
                  <a:lnTo>
                    <a:pt x="493395" y="1225868"/>
                  </a:lnTo>
                  <a:lnTo>
                    <a:pt x="496253" y="1221105"/>
                  </a:lnTo>
                  <a:lnTo>
                    <a:pt x="497205" y="1218248"/>
                  </a:lnTo>
                  <a:lnTo>
                    <a:pt x="498157" y="1211580"/>
                  </a:lnTo>
                  <a:lnTo>
                    <a:pt x="496253" y="1205865"/>
                  </a:lnTo>
                  <a:lnTo>
                    <a:pt x="493395" y="1201103"/>
                  </a:lnTo>
                  <a:lnTo>
                    <a:pt x="478155" y="1183005"/>
                  </a:lnTo>
                  <a:lnTo>
                    <a:pt x="473393" y="1180148"/>
                  </a:lnTo>
                  <a:lnTo>
                    <a:pt x="467678" y="1178243"/>
                  </a:lnTo>
                  <a:lnTo>
                    <a:pt x="464820" y="1179195"/>
                  </a:lnTo>
                  <a:lnTo>
                    <a:pt x="455295" y="1182053"/>
                  </a:lnTo>
                  <a:lnTo>
                    <a:pt x="449580" y="1183005"/>
                  </a:lnTo>
                  <a:lnTo>
                    <a:pt x="445770" y="1182053"/>
                  </a:lnTo>
                  <a:lnTo>
                    <a:pt x="442912" y="1180148"/>
                  </a:lnTo>
                  <a:lnTo>
                    <a:pt x="427673" y="1164908"/>
                  </a:lnTo>
                  <a:lnTo>
                    <a:pt x="426720" y="1163003"/>
                  </a:lnTo>
                  <a:lnTo>
                    <a:pt x="426720" y="1159193"/>
                  </a:lnTo>
                  <a:lnTo>
                    <a:pt x="426720" y="1156335"/>
                  </a:lnTo>
                  <a:lnTo>
                    <a:pt x="426720" y="1152525"/>
                  </a:lnTo>
                  <a:lnTo>
                    <a:pt x="423863" y="1146810"/>
                  </a:lnTo>
                  <a:lnTo>
                    <a:pt x="414338" y="1137285"/>
                  </a:lnTo>
                  <a:lnTo>
                    <a:pt x="407670" y="1132523"/>
                  </a:lnTo>
                  <a:lnTo>
                    <a:pt x="402907" y="1129665"/>
                  </a:lnTo>
                  <a:lnTo>
                    <a:pt x="398145" y="1129665"/>
                  </a:lnTo>
                  <a:lnTo>
                    <a:pt x="396240" y="1130618"/>
                  </a:lnTo>
                  <a:lnTo>
                    <a:pt x="393382" y="1134428"/>
                  </a:lnTo>
                  <a:lnTo>
                    <a:pt x="390525" y="1139190"/>
                  </a:lnTo>
                  <a:lnTo>
                    <a:pt x="385763" y="1143000"/>
                  </a:lnTo>
                  <a:lnTo>
                    <a:pt x="383857" y="1143953"/>
                  </a:lnTo>
                  <a:lnTo>
                    <a:pt x="370523" y="1145858"/>
                  </a:lnTo>
                  <a:lnTo>
                    <a:pt x="364807" y="1147762"/>
                  </a:lnTo>
                  <a:lnTo>
                    <a:pt x="360045" y="1150620"/>
                  </a:lnTo>
                  <a:lnTo>
                    <a:pt x="350520" y="1152525"/>
                  </a:lnTo>
                  <a:lnTo>
                    <a:pt x="350520" y="1158240"/>
                  </a:lnTo>
                  <a:lnTo>
                    <a:pt x="344805" y="1153478"/>
                  </a:lnTo>
                  <a:lnTo>
                    <a:pt x="335280" y="1149668"/>
                  </a:lnTo>
                  <a:lnTo>
                    <a:pt x="328613" y="1146810"/>
                  </a:lnTo>
                  <a:lnTo>
                    <a:pt x="323850" y="1141095"/>
                  </a:lnTo>
                  <a:lnTo>
                    <a:pt x="320992" y="1132523"/>
                  </a:lnTo>
                  <a:lnTo>
                    <a:pt x="316230" y="1126808"/>
                  </a:lnTo>
                  <a:lnTo>
                    <a:pt x="308610" y="1123950"/>
                  </a:lnTo>
                  <a:lnTo>
                    <a:pt x="303848" y="1120140"/>
                  </a:lnTo>
                  <a:lnTo>
                    <a:pt x="300990" y="1104900"/>
                  </a:lnTo>
                  <a:lnTo>
                    <a:pt x="294323" y="1101090"/>
                  </a:lnTo>
                  <a:lnTo>
                    <a:pt x="286703" y="1101090"/>
                  </a:lnTo>
                  <a:lnTo>
                    <a:pt x="280035" y="1102995"/>
                  </a:lnTo>
                  <a:lnTo>
                    <a:pt x="275273" y="1106805"/>
                  </a:lnTo>
                  <a:lnTo>
                    <a:pt x="271463" y="1112520"/>
                  </a:lnTo>
                  <a:lnTo>
                    <a:pt x="258127" y="1080135"/>
                  </a:lnTo>
                  <a:lnTo>
                    <a:pt x="253365" y="1062990"/>
                  </a:lnTo>
                  <a:lnTo>
                    <a:pt x="257175" y="1043940"/>
                  </a:lnTo>
                  <a:lnTo>
                    <a:pt x="242888" y="1040130"/>
                  </a:lnTo>
                  <a:lnTo>
                    <a:pt x="228600" y="1031557"/>
                  </a:lnTo>
                  <a:lnTo>
                    <a:pt x="220980" y="1018223"/>
                  </a:lnTo>
                  <a:lnTo>
                    <a:pt x="227648" y="1003935"/>
                  </a:lnTo>
                  <a:lnTo>
                    <a:pt x="227648" y="999173"/>
                  </a:lnTo>
                  <a:lnTo>
                    <a:pt x="213360" y="997268"/>
                  </a:lnTo>
                  <a:lnTo>
                    <a:pt x="200025" y="991553"/>
                  </a:lnTo>
                  <a:lnTo>
                    <a:pt x="192405" y="981075"/>
                  </a:lnTo>
                  <a:lnTo>
                    <a:pt x="191452" y="964882"/>
                  </a:lnTo>
                  <a:lnTo>
                    <a:pt x="198120" y="950595"/>
                  </a:lnTo>
                  <a:lnTo>
                    <a:pt x="210502" y="941070"/>
                  </a:lnTo>
                  <a:lnTo>
                    <a:pt x="224790" y="939165"/>
                  </a:lnTo>
                  <a:lnTo>
                    <a:pt x="239077" y="946785"/>
                  </a:lnTo>
                  <a:lnTo>
                    <a:pt x="249555" y="942023"/>
                  </a:lnTo>
                  <a:lnTo>
                    <a:pt x="266700" y="942023"/>
                  </a:lnTo>
                  <a:lnTo>
                    <a:pt x="282892" y="939165"/>
                  </a:lnTo>
                  <a:lnTo>
                    <a:pt x="289560" y="923925"/>
                  </a:lnTo>
                  <a:lnTo>
                    <a:pt x="282892" y="913448"/>
                  </a:lnTo>
                  <a:lnTo>
                    <a:pt x="239077" y="889635"/>
                  </a:lnTo>
                  <a:lnTo>
                    <a:pt x="202882" y="856298"/>
                  </a:lnTo>
                  <a:lnTo>
                    <a:pt x="195263" y="842963"/>
                  </a:lnTo>
                  <a:lnTo>
                    <a:pt x="192405" y="832485"/>
                  </a:lnTo>
                  <a:lnTo>
                    <a:pt x="191452" y="824865"/>
                  </a:lnTo>
                  <a:lnTo>
                    <a:pt x="190500" y="818198"/>
                  </a:lnTo>
                  <a:lnTo>
                    <a:pt x="184785" y="808673"/>
                  </a:lnTo>
                  <a:lnTo>
                    <a:pt x="178117" y="804863"/>
                  </a:lnTo>
                  <a:lnTo>
                    <a:pt x="171450" y="802005"/>
                  </a:lnTo>
                  <a:lnTo>
                    <a:pt x="167640" y="798195"/>
                  </a:lnTo>
                  <a:lnTo>
                    <a:pt x="169545" y="791528"/>
                  </a:lnTo>
                  <a:lnTo>
                    <a:pt x="169545" y="786765"/>
                  </a:lnTo>
                  <a:lnTo>
                    <a:pt x="163830" y="751523"/>
                  </a:lnTo>
                  <a:lnTo>
                    <a:pt x="159067" y="740093"/>
                  </a:lnTo>
                  <a:lnTo>
                    <a:pt x="144780" y="718185"/>
                  </a:lnTo>
                  <a:lnTo>
                    <a:pt x="137160" y="701993"/>
                  </a:lnTo>
                  <a:lnTo>
                    <a:pt x="139065" y="694373"/>
                  </a:lnTo>
                  <a:lnTo>
                    <a:pt x="147638" y="689610"/>
                  </a:lnTo>
                  <a:lnTo>
                    <a:pt x="141923" y="679132"/>
                  </a:lnTo>
                  <a:lnTo>
                    <a:pt x="117157" y="653415"/>
                  </a:lnTo>
                  <a:lnTo>
                    <a:pt x="90488" y="637223"/>
                  </a:lnTo>
                  <a:lnTo>
                    <a:pt x="78105" y="621982"/>
                  </a:lnTo>
                  <a:lnTo>
                    <a:pt x="49530" y="558165"/>
                  </a:lnTo>
                  <a:lnTo>
                    <a:pt x="40005" y="552450"/>
                  </a:lnTo>
                  <a:lnTo>
                    <a:pt x="29527" y="552450"/>
                  </a:lnTo>
                  <a:lnTo>
                    <a:pt x="21907" y="547688"/>
                  </a:lnTo>
                  <a:lnTo>
                    <a:pt x="18098" y="529590"/>
                  </a:lnTo>
                  <a:lnTo>
                    <a:pt x="20955" y="518160"/>
                  </a:lnTo>
                  <a:lnTo>
                    <a:pt x="28575" y="505778"/>
                  </a:lnTo>
                  <a:lnTo>
                    <a:pt x="38100" y="496253"/>
                  </a:lnTo>
                  <a:lnTo>
                    <a:pt x="47625" y="492442"/>
                  </a:lnTo>
                  <a:lnTo>
                    <a:pt x="43815" y="481013"/>
                  </a:lnTo>
                  <a:lnTo>
                    <a:pt x="44767" y="472440"/>
                  </a:lnTo>
                  <a:lnTo>
                    <a:pt x="48577" y="466725"/>
                  </a:lnTo>
                  <a:lnTo>
                    <a:pt x="54292" y="463867"/>
                  </a:lnTo>
                  <a:lnTo>
                    <a:pt x="50482" y="453390"/>
                  </a:lnTo>
                  <a:lnTo>
                    <a:pt x="28575" y="421957"/>
                  </a:lnTo>
                  <a:lnTo>
                    <a:pt x="27623" y="416242"/>
                  </a:lnTo>
                  <a:lnTo>
                    <a:pt x="36195" y="399098"/>
                  </a:lnTo>
                  <a:lnTo>
                    <a:pt x="28575" y="394335"/>
                  </a:lnTo>
                  <a:lnTo>
                    <a:pt x="19050" y="390525"/>
                  </a:lnTo>
                  <a:lnTo>
                    <a:pt x="10477" y="384810"/>
                  </a:lnTo>
                  <a:lnTo>
                    <a:pt x="7620" y="373380"/>
                  </a:lnTo>
                  <a:lnTo>
                    <a:pt x="6667" y="367665"/>
                  </a:lnTo>
                  <a:lnTo>
                    <a:pt x="11430" y="371475"/>
                  </a:lnTo>
                  <a:lnTo>
                    <a:pt x="16192" y="369570"/>
                  </a:lnTo>
                  <a:lnTo>
                    <a:pt x="18098" y="356235"/>
                  </a:lnTo>
                  <a:lnTo>
                    <a:pt x="17145" y="347663"/>
                  </a:lnTo>
                  <a:lnTo>
                    <a:pt x="2857" y="306705"/>
                  </a:lnTo>
                  <a:lnTo>
                    <a:pt x="0" y="300038"/>
                  </a:lnTo>
                  <a:lnTo>
                    <a:pt x="0" y="293370"/>
                  </a:lnTo>
                  <a:lnTo>
                    <a:pt x="6667" y="281940"/>
                  </a:lnTo>
                  <a:lnTo>
                    <a:pt x="11430" y="276225"/>
                  </a:lnTo>
                  <a:lnTo>
                    <a:pt x="18098" y="273367"/>
                  </a:lnTo>
                  <a:lnTo>
                    <a:pt x="69532" y="260032"/>
                  </a:lnTo>
                  <a:lnTo>
                    <a:pt x="81915" y="260032"/>
                  </a:lnTo>
                  <a:lnTo>
                    <a:pt x="119063" y="271463"/>
                  </a:lnTo>
                  <a:lnTo>
                    <a:pt x="132398" y="272415"/>
                  </a:lnTo>
                  <a:lnTo>
                    <a:pt x="153352" y="280988"/>
                  </a:lnTo>
                  <a:lnTo>
                    <a:pt x="167640" y="299085"/>
                  </a:lnTo>
                  <a:lnTo>
                    <a:pt x="182880" y="313373"/>
                  </a:lnTo>
                  <a:lnTo>
                    <a:pt x="203835" y="309563"/>
                  </a:lnTo>
                  <a:lnTo>
                    <a:pt x="282892" y="238125"/>
                  </a:lnTo>
                  <a:lnTo>
                    <a:pt x="342900" y="197167"/>
                  </a:lnTo>
                  <a:lnTo>
                    <a:pt x="357188" y="176213"/>
                  </a:lnTo>
                  <a:lnTo>
                    <a:pt x="370523" y="120967"/>
                  </a:lnTo>
                  <a:lnTo>
                    <a:pt x="378142" y="103822"/>
                  </a:lnTo>
                  <a:lnTo>
                    <a:pt x="397192" y="75247"/>
                  </a:lnTo>
                  <a:lnTo>
                    <a:pt x="408623" y="63817"/>
                  </a:lnTo>
                  <a:lnTo>
                    <a:pt x="420053" y="59055"/>
                  </a:lnTo>
                  <a:lnTo>
                    <a:pt x="551498" y="48577"/>
                  </a:lnTo>
                  <a:lnTo>
                    <a:pt x="583882" y="57150"/>
                  </a:lnTo>
                  <a:lnTo>
                    <a:pt x="594360" y="57150"/>
                  </a:lnTo>
                  <a:lnTo>
                    <a:pt x="742950" y="33338"/>
                  </a:lnTo>
                  <a:lnTo>
                    <a:pt x="790575" y="7620"/>
                  </a:lnTo>
                  <a:lnTo>
                    <a:pt x="814387" y="0"/>
                  </a:lnTo>
                  <a:lnTo>
                    <a:pt x="838200" y="0"/>
                  </a:lnTo>
                  <a:lnTo>
                    <a:pt x="926782" y="23813"/>
                  </a:lnTo>
                  <a:lnTo>
                    <a:pt x="1029653" y="25717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2" name="Полилиния: фигура 14">
              <a:extLst>
                <a:ext uri="{FF2B5EF4-FFF2-40B4-BE49-F238E27FC236}">
                  <a16:creationId xmlns:a16="http://schemas.microsoft.com/office/drawing/2014/main" id="{0F2BAFAB-1A14-0362-420C-7DC3B805194E}"/>
                </a:ext>
              </a:extLst>
            </p:cNvPr>
            <p:cNvSpPr/>
            <p:nvPr/>
          </p:nvSpPr>
          <p:spPr>
            <a:xfrm>
              <a:off x="5276850" y="2035492"/>
              <a:ext cx="1714500" cy="1447800"/>
            </a:xfrm>
            <a:custGeom>
              <a:avLst/>
              <a:gdLst>
                <a:gd name="connsiteX0" fmla="*/ 1305877 w 1714500"/>
                <a:gd name="connsiteY0" fmla="*/ 10478 h 1447800"/>
                <a:gd name="connsiteX1" fmla="*/ 1311593 w 1714500"/>
                <a:gd name="connsiteY1" fmla="*/ 11430 h 1447800"/>
                <a:gd name="connsiteX2" fmla="*/ 1316355 w 1714500"/>
                <a:gd name="connsiteY2" fmla="*/ 11430 h 1447800"/>
                <a:gd name="connsiteX3" fmla="*/ 1319213 w 1714500"/>
                <a:gd name="connsiteY3" fmla="*/ 11430 h 1447800"/>
                <a:gd name="connsiteX4" fmla="*/ 1322070 w 1714500"/>
                <a:gd name="connsiteY4" fmla="*/ 14288 h 1447800"/>
                <a:gd name="connsiteX5" fmla="*/ 1324927 w 1714500"/>
                <a:gd name="connsiteY5" fmla="*/ 20003 h 1447800"/>
                <a:gd name="connsiteX6" fmla="*/ 1327785 w 1714500"/>
                <a:gd name="connsiteY6" fmla="*/ 28575 h 1447800"/>
                <a:gd name="connsiteX7" fmla="*/ 1335405 w 1714500"/>
                <a:gd name="connsiteY7" fmla="*/ 38100 h 1447800"/>
                <a:gd name="connsiteX8" fmla="*/ 1337310 w 1714500"/>
                <a:gd name="connsiteY8" fmla="*/ 40005 h 1447800"/>
                <a:gd name="connsiteX9" fmla="*/ 1339215 w 1714500"/>
                <a:gd name="connsiteY9" fmla="*/ 42863 h 1447800"/>
                <a:gd name="connsiteX10" fmla="*/ 1340168 w 1714500"/>
                <a:gd name="connsiteY10" fmla="*/ 46673 h 1447800"/>
                <a:gd name="connsiteX11" fmla="*/ 1342073 w 1714500"/>
                <a:gd name="connsiteY11" fmla="*/ 52388 h 1447800"/>
                <a:gd name="connsiteX12" fmla="*/ 1343977 w 1714500"/>
                <a:gd name="connsiteY12" fmla="*/ 57150 h 1447800"/>
                <a:gd name="connsiteX13" fmla="*/ 1347788 w 1714500"/>
                <a:gd name="connsiteY13" fmla="*/ 60960 h 1447800"/>
                <a:gd name="connsiteX14" fmla="*/ 1350645 w 1714500"/>
                <a:gd name="connsiteY14" fmla="*/ 62865 h 1447800"/>
                <a:gd name="connsiteX15" fmla="*/ 1362075 w 1714500"/>
                <a:gd name="connsiteY15" fmla="*/ 64770 h 1447800"/>
                <a:gd name="connsiteX16" fmla="*/ 1367790 w 1714500"/>
                <a:gd name="connsiteY16" fmla="*/ 67628 h 1447800"/>
                <a:gd name="connsiteX17" fmla="*/ 1370648 w 1714500"/>
                <a:gd name="connsiteY17" fmla="*/ 69533 h 1447800"/>
                <a:gd name="connsiteX18" fmla="*/ 1380173 w 1714500"/>
                <a:gd name="connsiteY18" fmla="*/ 83820 h 1447800"/>
                <a:gd name="connsiteX19" fmla="*/ 1383030 w 1714500"/>
                <a:gd name="connsiteY19" fmla="*/ 85725 h 1447800"/>
                <a:gd name="connsiteX20" fmla="*/ 1385888 w 1714500"/>
                <a:gd name="connsiteY20" fmla="*/ 85725 h 1447800"/>
                <a:gd name="connsiteX21" fmla="*/ 1390650 w 1714500"/>
                <a:gd name="connsiteY21" fmla="*/ 82867 h 1447800"/>
                <a:gd name="connsiteX22" fmla="*/ 1395413 w 1714500"/>
                <a:gd name="connsiteY22" fmla="*/ 80010 h 1447800"/>
                <a:gd name="connsiteX23" fmla="*/ 1398270 w 1714500"/>
                <a:gd name="connsiteY23" fmla="*/ 76200 h 1447800"/>
                <a:gd name="connsiteX24" fmla="*/ 1403032 w 1714500"/>
                <a:gd name="connsiteY24" fmla="*/ 73342 h 1447800"/>
                <a:gd name="connsiteX25" fmla="*/ 1405890 w 1714500"/>
                <a:gd name="connsiteY25" fmla="*/ 73342 h 1447800"/>
                <a:gd name="connsiteX26" fmla="*/ 1407795 w 1714500"/>
                <a:gd name="connsiteY26" fmla="*/ 74295 h 1447800"/>
                <a:gd name="connsiteX27" fmla="*/ 1411605 w 1714500"/>
                <a:gd name="connsiteY27" fmla="*/ 78105 h 1447800"/>
                <a:gd name="connsiteX28" fmla="*/ 1412557 w 1714500"/>
                <a:gd name="connsiteY28" fmla="*/ 80963 h 1447800"/>
                <a:gd name="connsiteX29" fmla="*/ 1413510 w 1714500"/>
                <a:gd name="connsiteY29" fmla="*/ 84773 h 1447800"/>
                <a:gd name="connsiteX30" fmla="*/ 1414463 w 1714500"/>
                <a:gd name="connsiteY30" fmla="*/ 94298 h 1447800"/>
                <a:gd name="connsiteX31" fmla="*/ 1412557 w 1714500"/>
                <a:gd name="connsiteY31" fmla="*/ 99060 h 1447800"/>
                <a:gd name="connsiteX32" fmla="*/ 1410652 w 1714500"/>
                <a:gd name="connsiteY32" fmla="*/ 101917 h 1447800"/>
                <a:gd name="connsiteX33" fmla="*/ 1392555 w 1714500"/>
                <a:gd name="connsiteY33" fmla="*/ 107633 h 1447800"/>
                <a:gd name="connsiteX34" fmla="*/ 1390650 w 1714500"/>
                <a:gd name="connsiteY34" fmla="*/ 109538 h 1447800"/>
                <a:gd name="connsiteX35" fmla="*/ 1391602 w 1714500"/>
                <a:gd name="connsiteY35" fmla="*/ 114300 h 1447800"/>
                <a:gd name="connsiteX36" fmla="*/ 1402080 w 1714500"/>
                <a:gd name="connsiteY36" fmla="*/ 151448 h 1447800"/>
                <a:gd name="connsiteX37" fmla="*/ 1403985 w 1714500"/>
                <a:gd name="connsiteY37" fmla="*/ 155258 h 1447800"/>
                <a:gd name="connsiteX38" fmla="*/ 1407795 w 1714500"/>
                <a:gd name="connsiteY38" fmla="*/ 158115 h 1447800"/>
                <a:gd name="connsiteX39" fmla="*/ 1411605 w 1714500"/>
                <a:gd name="connsiteY39" fmla="*/ 160020 h 1447800"/>
                <a:gd name="connsiteX40" fmla="*/ 1423988 w 1714500"/>
                <a:gd name="connsiteY40" fmla="*/ 165735 h 1447800"/>
                <a:gd name="connsiteX41" fmla="*/ 1426845 w 1714500"/>
                <a:gd name="connsiteY41" fmla="*/ 165735 h 1447800"/>
                <a:gd name="connsiteX42" fmla="*/ 1429702 w 1714500"/>
                <a:gd name="connsiteY42" fmla="*/ 165735 h 1447800"/>
                <a:gd name="connsiteX43" fmla="*/ 1437323 w 1714500"/>
                <a:gd name="connsiteY43" fmla="*/ 162878 h 1447800"/>
                <a:gd name="connsiteX44" fmla="*/ 1440180 w 1714500"/>
                <a:gd name="connsiteY44" fmla="*/ 162878 h 1447800"/>
                <a:gd name="connsiteX45" fmla="*/ 1443038 w 1714500"/>
                <a:gd name="connsiteY45" fmla="*/ 163830 h 1447800"/>
                <a:gd name="connsiteX46" fmla="*/ 1466850 w 1714500"/>
                <a:gd name="connsiteY46" fmla="*/ 211455 h 1447800"/>
                <a:gd name="connsiteX47" fmla="*/ 1470660 w 1714500"/>
                <a:gd name="connsiteY47" fmla="*/ 217170 h 1447800"/>
                <a:gd name="connsiteX48" fmla="*/ 1472565 w 1714500"/>
                <a:gd name="connsiteY48" fmla="*/ 219075 h 1447800"/>
                <a:gd name="connsiteX49" fmla="*/ 1484948 w 1714500"/>
                <a:gd name="connsiteY49" fmla="*/ 226695 h 1447800"/>
                <a:gd name="connsiteX50" fmla="*/ 1486852 w 1714500"/>
                <a:gd name="connsiteY50" fmla="*/ 229553 h 1447800"/>
                <a:gd name="connsiteX51" fmla="*/ 1488757 w 1714500"/>
                <a:gd name="connsiteY51" fmla="*/ 233363 h 1447800"/>
                <a:gd name="connsiteX52" fmla="*/ 1489710 w 1714500"/>
                <a:gd name="connsiteY52" fmla="*/ 240983 h 1447800"/>
                <a:gd name="connsiteX53" fmla="*/ 1488757 w 1714500"/>
                <a:gd name="connsiteY53" fmla="*/ 245745 h 1447800"/>
                <a:gd name="connsiteX54" fmla="*/ 1488757 w 1714500"/>
                <a:gd name="connsiteY54" fmla="*/ 250508 h 1447800"/>
                <a:gd name="connsiteX55" fmla="*/ 1483995 w 1714500"/>
                <a:gd name="connsiteY55" fmla="*/ 267653 h 1447800"/>
                <a:gd name="connsiteX56" fmla="*/ 1483995 w 1714500"/>
                <a:gd name="connsiteY56" fmla="*/ 275273 h 1447800"/>
                <a:gd name="connsiteX57" fmla="*/ 1484948 w 1714500"/>
                <a:gd name="connsiteY57" fmla="*/ 289560 h 1447800"/>
                <a:gd name="connsiteX58" fmla="*/ 1483995 w 1714500"/>
                <a:gd name="connsiteY58" fmla="*/ 294323 h 1447800"/>
                <a:gd name="connsiteX59" fmla="*/ 1482090 w 1714500"/>
                <a:gd name="connsiteY59" fmla="*/ 297180 h 1447800"/>
                <a:gd name="connsiteX60" fmla="*/ 1478280 w 1714500"/>
                <a:gd name="connsiteY60" fmla="*/ 299085 h 1447800"/>
                <a:gd name="connsiteX61" fmla="*/ 1476375 w 1714500"/>
                <a:gd name="connsiteY61" fmla="*/ 299085 h 1447800"/>
                <a:gd name="connsiteX62" fmla="*/ 1471613 w 1714500"/>
                <a:gd name="connsiteY62" fmla="*/ 297180 h 1447800"/>
                <a:gd name="connsiteX63" fmla="*/ 1468755 w 1714500"/>
                <a:gd name="connsiteY63" fmla="*/ 296228 h 1447800"/>
                <a:gd name="connsiteX64" fmla="*/ 1465898 w 1714500"/>
                <a:gd name="connsiteY64" fmla="*/ 297180 h 1447800"/>
                <a:gd name="connsiteX65" fmla="*/ 1463993 w 1714500"/>
                <a:gd name="connsiteY65" fmla="*/ 299085 h 1447800"/>
                <a:gd name="connsiteX66" fmla="*/ 1462088 w 1714500"/>
                <a:gd name="connsiteY66" fmla="*/ 300990 h 1447800"/>
                <a:gd name="connsiteX67" fmla="*/ 1461135 w 1714500"/>
                <a:gd name="connsiteY67" fmla="*/ 303848 h 1447800"/>
                <a:gd name="connsiteX68" fmla="*/ 1463040 w 1714500"/>
                <a:gd name="connsiteY68" fmla="*/ 310515 h 1447800"/>
                <a:gd name="connsiteX69" fmla="*/ 1465898 w 1714500"/>
                <a:gd name="connsiteY69" fmla="*/ 318135 h 1447800"/>
                <a:gd name="connsiteX70" fmla="*/ 1484948 w 1714500"/>
                <a:gd name="connsiteY70" fmla="*/ 352425 h 1447800"/>
                <a:gd name="connsiteX71" fmla="*/ 1494473 w 1714500"/>
                <a:gd name="connsiteY71" fmla="*/ 364808 h 1447800"/>
                <a:gd name="connsiteX72" fmla="*/ 1499235 w 1714500"/>
                <a:gd name="connsiteY72" fmla="*/ 367665 h 1447800"/>
                <a:gd name="connsiteX73" fmla="*/ 1501140 w 1714500"/>
                <a:gd name="connsiteY73" fmla="*/ 367665 h 1447800"/>
                <a:gd name="connsiteX74" fmla="*/ 1503998 w 1714500"/>
                <a:gd name="connsiteY74" fmla="*/ 367665 h 1447800"/>
                <a:gd name="connsiteX75" fmla="*/ 1508760 w 1714500"/>
                <a:gd name="connsiteY75" fmla="*/ 364808 h 1447800"/>
                <a:gd name="connsiteX76" fmla="*/ 1511618 w 1714500"/>
                <a:gd name="connsiteY76" fmla="*/ 363855 h 1447800"/>
                <a:gd name="connsiteX77" fmla="*/ 1513523 w 1714500"/>
                <a:gd name="connsiteY77" fmla="*/ 363855 h 1447800"/>
                <a:gd name="connsiteX78" fmla="*/ 1516380 w 1714500"/>
                <a:gd name="connsiteY78" fmla="*/ 364808 h 1447800"/>
                <a:gd name="connsiteX79" fmla="*/ 1518285 w 1714500"/>
                <a:gd name="connsiteY79" fmla="*/ 366713 h 1447800"/>
                <a:gd name="connsiteX80" fmla="*/ 1525905 w 1714500"/>
                <a:gd name="connsiteY80" fmla="*/ 374333 h 1447800"/>
                <a:gd name="connsiteX81" fmla="*/ 1529715 w 1714500"/>
                <a:gd name="connsiteY81" fmla="*/ 380048 h 1447800"/>
                <a:gd name="connsiteX82" fmla="*/ 1531620 w 1714500"/>
                <a:gd name="connsiteY82" fmla="*/ 383858 h 1447800"/>
                <a:gd name="connsiteX83" fmla="*/ 1534477 w 1714500"/>
                <a:gd name="connsiteY83" fmla="*/ 386715 h 1447800"/>
                <a:gd name="connsiteX84" fmla="*/ 1539240 w 1714500"/>
                <a:gd name="connsiteY84" fmla="*/ 385763 h 1447800"/>
                <a:gd name="connsiteX85" fmla="*/ 1544002 w 1714500"/>
                <a:gd name="connsiteY85" fmla="*/ 383858 h 1447800"/>
                <a:gd name="connsiteX86" fmla="*/ 1545907 w 1714500"/>
                <a:gd name="connsiteY86" fmla="*/ 382905 h 1447800"/>
                <a:gd name="connsiteX87" fmla="*/ 1548765 w 1714500"/>
                <a:gd name="connsiteY87" fmla="*/ 383858 h 1447800"/>
                <a:gd name="connsiteX88" fmla="*/ 1565910 w 1714500"/>
                <a:gd name="connsiteY88" fmla="*/ 398145 h 1447800"/>
                <a:gd name="connsiteX89" fmla="*/ 1567815 w 1714500"/>
                <a:gd name="connsiteY89" fmla="*/ 401003 h 1447800"/>
                <a:gd name="connsiteX90" fmla="*/ 1568768 w 1714500"/>
                <a:gd name="connsiteY90" fmla="*/ 405765 h 1447800"/>
                <a:gd name="connsiteX91" fmla="*/ 1569720 w 1714500"/>
                <a:gd name="connsiteY91" fmla="*/ 414338 h 1447800"/>
                <a:gd name="connsiteX92" fmla="*/ 1569720 w 1714500"/>
                <a:gd name="connsiteY92" fmla="*/ 419100 h 1447800"/>
                <a:gd name="connsiteX93" fmla="*/ 1568768 w 1714500"/>
                <a:gd name="connsiteY93" fmla="*/ 441008 h 1447800"/>
                <a:gd name="connsiteX94" fmla="*/ 1570673 w 1714500"/>
                <a:gd name="connsiteY94" fmla="*/ 447675 h 1447800"/>
                <a:gd name="connsiteX95" fmla="*/ 1574482 w 1714500"/>
                <a:gd name="connsiteY95" fmla="*/ 450533 h 1447800"/>
                <a:gd name="connsiteX96" fmla="*/ 1577340 w 1714500"/>
                <a:gd name="connsiteY96" fmla="*/ 453390 h 1447800"/>
                <a:gd name="connsiteX97" fmla="*/ 1634490 w 1714500"/>
                <a:gd name="connsiteY97" fmla="*/ 475298 h 1447800"/>
                <a:gd name="connsiteX98" fmla="*/ 1637348 w 1714500"/>
                <a:gd name="connsiteY98" fmla="*/ 479108 h 1447800"/>
                <a:gd name="connsiteX99" fmla="*/ 1639252 w 1714500"/>
                <a:gd name="connsiteY99" fmla="*/ 483870 h 1447800"/>
                <a:gd name="connsiteX100" fmla="*/ 1640205 w 1714500"/>
                <a:gd name="connsiteY100" fmla="*/ 507683 h 1447800"/>
                <a:gd name="connsiteX101" fmla="*/ 1641157 w 1714500"/>
                <a:gd name="connsiteY101" fmla="*/ 511492 h 1447800"/>
                <a:gd name="connsiteX102" fmla="*/ 1644015 w 1714500"/>
                <a:gd name="connsiteY102" fmla="*/ 517208 h 1447800"/>
                <a:gd name="connsiteX103" fmla="*/ 1645920 w 1714500"/>
                <a:gd name="connsiteY103" fmla="*/ 521017 h 1447800"/>
                <a:gd name="connsiteX104" fmla="*/ 1648777 w 1714500"/>
                <a:gd name="connsiteY104" fmla="*/ 522923 h 1447800"/>
                <a:gd name="connsiteX105" fmla="*/ 1662113 w 1714500"/>
                <a:gd name="connsiteY105" fmla="*/ 533400 h 1447800"/>
                <a:gd name="connsiteX106" fmla="*/ 1665923 w 1714500"/>
                <a:gd name="connsiteY106" fmla="*/ 539115 h 1447800"/>
                <a:gd name="connsiteX107" fmla="*/ 1669732 w 1714500"/>
                <a:gd name="connsiteY107" fmla="*/ 553403 h 1447800"/>
                <a:gd name="connsiteX108" fmla="*/ 1669732 w 1714500"/>
                <a:gd name="connsiteY108" fmla="*/ 557213 h 1447800"/>
                <a:gd name="connsiteX109" fmla="*/ 1669732 w 1714500"/>
                <a:gd name="connsiteY109" fmla="*/ 562928 h 1447800"/>
                <a:gd name="connsiteX110" fmla="*/ 1668780 w 1714500"/>
                <a:gd name="connsiteY110" fmla="*/ 571500 h 1447800"/>
                <a:gd name="connsiteX111" fmla="*/ 1666875 w 1714500"/>
                <a:gd name="connsiteY111" fmla="*/ 576263 h 1447800"/>
                <a:gd name="connsiteX112" fmla="*/ 1664970 w 1714500"/>
                <a:gd name="connsiteY112" fmla="*/ 580073 h 1447800"/>
                <a:gd name="connsiteX113" fmla="*/ 1664018 w 1714500"/>
                <a:gd name="connsiteY113" fmla="*/ 581978 h 1447800"/>
                <a:gd name="connsiteX114" fmla="*/ 1652588 w 1714500"/>
                <a:gd name="connsiteY114" fmla="*/ 588645 h 1447800"/>
                <a:gd name="connsiteX115" fmla="*/ 1647825 w 1714500"/>
                <a:gd name="connsiteY115" fmla="*/ 592455 h 1447800"/>
                <a:gd name="connsiteX116" fmla="*/ 1646873 w 1714500"/>
                <a:gd name="connsiteY116" fmla="*/ 594360 h 1447800"/>
                <a:gd name="connsiteX117" fmla="*/ 1625918 w 1714500"/>
                <a:gd name="connsiteY117" fmla="*/ 629603 h 1447800"/>
                <a:gd name="connsiteX118" fmla="*/ 1625918 w 1714500"/>
                <a:gd name="connsiteY118" fmla="*/ 633413 h 1447800"/>
                <a:gd name="connsiteX119" fmla="*/ 1626870 w 1714500"/>
                <a:gd name="connsiteY119" fmla="*/ 638175 h 1447800"/>
                <a:gd name="connsiteX120" fmla="*/ 1631632 w 1714500"/>
                <a:gd name="connsiteY120" fmla="*/ 647700 h 1447800"/>
                <a:gd name="connsiteX121" fmla="*/ 1637348 w 1714500"/>
                <a:gd name="connsiteY121" fmla="*/ 655320 h 1447800"/>
                <a:gd name="connsiteX122" fmla="*/ 1640205 w 1714500"/>
                <a:gd name="connsiteY122" fmla="*/ 659130 h 1447800"/>
                <a:gd name="connsiteX123" fmla="*/ 1661160 w 1714500"/>
                <a:gd name="connsiteY123" fmla="*/ 686752 h 1447800"/>
                <a:gd name="connsiteX124" fmla="*/ 1664018 w 1714500"/>
                <a:gd name="connsiteY124" fmla="*/ 691515 h 1447800"/>
                <a:gd name="connsiteX125" fmla="*/ 1685925 w 1714500"/>
                <a:gd name="connsiteY125" fmla="*/ 749618 h 1447800"/>
                <a:gd name="connsiteX126" fmla="*/ 1686877 w 1714500"/>
                <a:gd name="connsiteY126" fmla="*/ 756285 h 1447800"/>
                <a:gd name="connsiteX127" fmla="*/ 1686877 w 1714500"/>
                <a:gd name="connsiteY127" fmla="*/ 769620 h 1447800"/>
                <a:gd name="connsiteX128" fmla="*/ 1684973 w 1714500"/>
                <a:gd name="connsiteY128" fmla="*/ 807720 h 1447800"/>
                <a:gd name="connsiteX129" fmla="*/ 1679257 w 1714500"/>
                <a:gd name="connsiteY129" fmla="*/ 830580 h 1447800"/>
                <a:gd name="connsiteX130" fmla="*/ 1678305 w 1714500"/>
                <a:gd name="connsiteY130" fmla="*/ 833438 h 1447800"/>
                <a:gd name="connsiteX131" fmla="*/ 1665923 w 1714500"/>
                <a:gd name="connsiteY131" fmla="*/ 867727 h 1447800"/>
                <a:gd name="connsiteX132" fmla="*/ 1665923 w 1714500"/>
                <a:gd name="connsiteY132" fmla="*/ 870585 h 1447800"/>
                <a:gd name="connsiteX133" fmla="*/ 1665923 w 1714500"/>
                <a:gd name="connsiteY133" fmla="*/ 873443 h 1447800"/>
                <a:gd name="connsiteX134" fmla="*/ 1669732 w 1714500"/>
                <a:gd name="connsiteY134" fmla="*/ 877252 h 1447800"/>
                <a:gd name="connsiteX135" fmla="*/ 1675448 w 1714500"/>
                <a:gd name="connsiteY135" fmla="*/ 882015 h 1447800"/>
                <a:gd name="connsiteX136" fmla="*/ 1679257 w 1714500"/>
                <a:gd name="connsiteY136" fmla="*/ 886777 h 1447800"/>
                <a:gd name="connsiteX137" fmla="*/ 1682115 w 1714500"/>
                <a:gd name="connsiteY137" fmla="*/ 890588 h 1447800"/>
                <a:gd name="connsiteX138" fmla="*/ 1685925 w 1714500"/>
                <a:gd name="connsiteY138" fmla="*/ 901065 h 1447800"/>
                <a:gd name="connsiteX139" fmla="*/ 1689735 w 1714500"/>
                <a:gd name="connsiteY139" fmla="*/ 920115 h 1447800"/>
                <a:gd name="connsiteX140" fmla="*/ 1690688 w 1714500"/>
                <a:gd name="connsiteY140" fmla="*/ 928688 h 1447800"/>
                <a:gd name="connsiteX141" fmla="*/ 1690688 w 1714500"/>
                <a:gd name="connsiteY141" fmla="*/ 950595 h 1447800"/>
                <a:gd name="connsiteX142" fmla="*/ 1690688 w 1714500"/>
                <a:gd name="connsiteY142" fmla="*/ 956310 h 1447800"/>
                <a:gd name="connsiteX143" fmla="*/ 1691640 w 1714500"/>
                <a:gd name="connsiteY143" fmla="*/ 959168 h 1447800"/>
                <a:gd name="connsiteX144" fmla="*/ 1704023 w 1714500"/>
                <a:gd name="connsiteY144" fmla="*/ 994410 h 1447800"/>
                <a:gd name="connsiteX145" fmla="*/ 1705927 w 1714500"/>
                <a:gd name="connsiteY145" fmla="*/ 996315 h 1447800"/>
                <a:gd name="connsiteX146" fmla="*/ 1707832 w 1714500"/>
                <a:gd name="connsiteY146" fmla="*/ 998220 h 1447800"/>
                <a:gd name="connsiteX147" fmla="*/ 1717357 w 1714500"/>
                <a:gd name="connsiteY147" fmla="*/ 1001077 h 1447800"/>
                <a:gd name="connsiteX148" fmla="*/ 1719263 w 1714500"/>
                <a:gd name="connsiteY148" fmla="*/ 1002030 h 1447800"/>
                <a:gd name="connsiteX149" fmla="*/ 1720215 w 1714500"/>
                <a:gd name="connsiteY149" fmla="*/ 1003935 h 1447800"/>
                <a:gd name="connsiteX150" fmla="*/ 1720215 w 1714500"/>
                <a:gd name="connsiteY150" fmla="*/ 1010602 h 1447800"/>
                <a:gd name="connsiteX151" fmla="*/ 1718310 w 1714500"/>
                <a:gd name="connsiteY151" fmla="*/ 1014413 h 1447800"/>
                <a:gd name="connsiteX152" fmla="*/ 1714500 w 1714500"/>
                <a:gd name="connsiteY152" fmla="*/ 1018223 h 1447800"/>
                <a:gd name="connsiteX153" fmla="*/ 1690688 w 1714500"/>
                <a:gd name="connsiteY153" fmla="*/ 1038225 h 1447800"/>
                <a:gd name="connsiteX154" fmla="*/ 1686877 w 1714500"/>
                <a:gd name="connsiteY154" fmla="*/ 1042035 h 1447800"/>
                <a:gd name="connsiteX155" fmla="*/ 1684973 w 1714500"/>
                <a:gd name="connsiteY155" fmla="*/ 1045845 h 1447800"/>
                <a:gd name="connsiteX156" fmla="*/ 1682115 w 1714500"/>
                <a:gd name="connsiteY156" fmla="*/ 1048702 h 1447800"/>
                <a:gd name="connsiteX157" fmla="*/ 1678305 w 1714500"/>
                <a:gd name="connsiteY157" fmla="*/ 1049655 h 1447800"/>
                <a:gd name="connsiteX158" fmla="*/ 1669732 w 1714500"/>
                <a:gd name="connsiteY158" fmla="*/ 1049655 h 1447800"/>
                <a:gd name="connsiteX159" fmla="*/ 1662113 w 1714500"/>
                <a:gd name="connsiteY159" fmla="*/ 1046798 h 1447800"/>
                <a:gd name="connsiteX160" fmla="*/ 1655445 w 1714500"/>
                <a:gd name="connsiteY160" fmla="*/ 1041083 h 1447800"/>
                <a:gd name="connsiteX161" fmla="*/ 1642110 w 1714500"/>
                <a:gd name="connsiteY161" fmla="*/ 1031558 h 1447800"/>
                <a:gd name="connsiteX162" fmla="*/ 1636395 w 1714500"/>
                <a:gd name="connsiteY162" fmla="*/ 1029652 h 1447800"/>
                <a:gd name="connsiteX163" fmla="*/ 1632585 w 1714500"/>
                <a:gd name="connsiteY163" fmla="*/ 1028700 h 1447800"/>
                <a:gd name="connsiteX164" fmla="*/ 1629727 w 1714500"/>
                <a:gd name="connsiteY164" fmla="*/ 1029652 h 1447800"/>
                <a:gd name="connsiteX165" fmla="*/ 1625918 w 1714500"/>
                <a:gd name="connsiteY165" fmla="*/ 1033463 h 1447800"/>
                <a:gd name="connsiteX166" fmla="*/ 1624013 w 1714500"/>
                <a:gd name="connsiteY166" fmla="*/ 1036320 h 1447800"/>
                <a:gd name="connsiteX167" fmla="*/ 1621155 w 1714500"/>
                <a:gd name="connsiteY167" fmla="*/ 1042988 h 1447800"/>
                <a:gd name="connsiteX168" fmla="*/ 1618298 w 1714500"/>
                <a:gd name="connsiteY168" fmla="*/ 1047750 h 1447800"/>
                <a:gd name="connsiteX169" fmla="*/ 1613535 w 1714500"/>
                <a:gd name="connsiteY169" fmla="*/ 1054418 h 1447800"/>
                <a:gd name="connsiteX170" fmla="*/ 1604010 w 1714500"/>
                <a:gd name="connsiteY170" fmla="*/ 1062038 h 1447800"/>
                <a:gd name="connsiteX171" fmla="*/ 1601152 w 1714500"/>
                <a:gd name="connsiteY171" fmla="*/ 1063943 h 1447800"/>
                <a:gd name="connsiteX172" fmla="*/ 1596390 w 1714500"/>
                <a:gd name="connsiteY172" fmla="*/ 1063943 h 1447800"/>
                <a:gd name="connsiteX173" fmla="*/ 1589723 w 1714500"/>
                <a:gd name="connsiteY173" fmla="*/ 1063943 h 1447800"/>
                <a:gd name="connsiteX174" fmla="*/ 1585913 w 1714500"/>
                <a:gd name="connsiteY174" fmla="*/ 1062990 h 1447800"/>
                <a:gd name="connsiteX175" fmla="*/ 1583055 w 1714500"/>
                <a:gd name="connsiteY175" fmla="*/ 1061085 h 1447800"/>
                <a:gd name="connsiteX176" fmla="*/ 1576388 w 1714500"/>
                <a:gd name="connsiteY176" fmla="*/ 1056323 h 1447800"/>
                <a:gd name="connsiteX177" fmla="*/ 1571625 w 1714500"/>
                <a:gd name="connsiteY177" fmla="*/ 1053465 h 1447800"/>
                <a:gd name="connsiteX178" fmla="*/ 1568768 w 1714500"/>
                <a:gd name="connsiteY178" fmla="*/ 1052513 h 1447800"/>
                <a:gd name="connsiteX179" fmla="*/ 1565910 w 1714500"/>
                <a:gd name="connsiteY179" fmla="*/ 1053465 h 1447800"/>
                <a:gd name="connsiteX180" fmla="*/ 1562100 w 1714500"/>
                <a:gd name="connsiteY180" fmla="*/ 1057275 h 1447800"/>
                <a:gd name="connsiteX181" fmla="*/ 1560195 w 1714500"/>
                <a:gd name="connsiteY181" fmla="*/ 1063943 h 1447800"/>
                <a:gd name="connsiteX182" fmla="*/ 1561148 w 1714500"/>
                <a:gd name="connsiteY182" fmla="*/ 1066800 h 1447800"/>
                <a:gd name="connsiteX183" fmla="*/ 1560195 w 1714500"/>
                <a:gd name="connsiteY183" fmla="*/ 1073468 h 1447800"/>
                <a:gd name="connsiteX184" fmla="*/ 1558290 w 1714500"/>
                <a:gd name="connsiteY184" fmla="*/ 1075373 h 1447800"/>
                <a:gd name="connsiteX185" fmla="*/ 1554480 w 1714500"/>
                <a:gd name="connsiteY185" fmla="*/ 1077277 h 1447800"/>
                <a:gd name="connsiteX186" fmla="*/ 1546860 w 1714500"/>
                <a:gd name="connsiteY186" fmla="*/ 1077277 h 1447800"/>
                <a:gd name="connsiteX187" fmla="*/ 1543050 w 1714500"/>
                <a:gd name="connsiteY187" fmla="*/ 1076325 h 1447800"/>
                <a:gd name="connsiteX188" fmla="*/ 1541145 w 1714500"/>
                <a:gd name="connsiteY188" fmla="*/ 1074420 h 1447800"/>
                <a:gd name="connsiteX189" fmla="*/ 1540193 w 1714500"/>
                <a:gd name="connsiteY189" fmla="*/ 1068705 h 1447800"/>
                <a:gd name="connsiteX190" fmla="*/ 1539240 w 1714500"/>
                <a:gd name="connsiteY190" fmla="*/ 1053465 h 1447800"/>
                <a:gd name="connsiteX191" fmla="*/ 1537335 w 1714500"/>
                <a:gd name="connsiteY191" fmla="*/ 1045845 h 1447800"/>
                <a:gd name="connsiteX192" fmla="*/ 1533525 w 1714500"/>
                <a:gd name="connsiteY192" fmla="*/ 1039177 h 1447800"/>
                <a:gd name="connsiteX193" fmla="*/ 1513523 w 1714500"/>
                <a:gd name="connsiteY193" fmla="*/ 1011555 h 1447800"/>
                <a:gd name="connsiteX194" fmla="*/ 1509713 w 1714500"/>
                <a:gd name="connsiteY194" fmla="*/ 1003935 h 1447800"/>
                <a:gd name="connsiteX195" fmla="*/ 1508760 w 1714500"/>
                <a:gd name="connsiteY195" fmla="*/ 1002030 h 1447800"/>
                <a:gd name="connsiteX196" fmla="*/ 1508760 w 1714500"/>
                <a:gd name="connsiteY196" fmla="*/ 999173 h 1447800"/>
                <a:gd name="connsiteX197" fmla="*/ 1509713 w 1714500"/>
                <a:gd name="connsiteY197" fmla="*/ 979170 h 1447800"/>
                <a:gd name="connsiteX198" fmla="*/ 1508760 w 1714500"/>
                <a:gd name="connsiteY198" fmla="*/ 976313 h 1447800"/>
                <a:gd name="connsiteX199" fmla="*/ 1507807 w 1714500"/>
                <a:gd name="connsiteY199" fmla="*/ 973455 h 1447800"/>
                <a:gd name="connsiteX200" fmla="*/ 1505902 w 1714500"/>
                <a:gd name="connsiteY200" fmla="*/ 972502 h 1447800"/>
                <a:gd name="connsiteX201" fmla="*/ 1503045 w 1714500"/>
                <a:gd name="connsiteY201" fmla="*/ 973455 h 1447800"/>
                <a:gd name="connsiteX202" fmla="*/ 1498282 w 1714500"/>
                <a:gd name="connsiteY202" fmla="*/ 977265 h 1447800"/>
                <a:gd name="connsiteX203" fmla="*/ 1491615 w 1714500"/>
                <a:gd name="connsiteY203" fmla="*/ 983933 h 1447800"/>
                <a:gd name="connsiteX204" fmla="*/ 1488757 w 1714500"/>
                <a:gd name="connsiteY204" fmla="*/ 984885 h 1447800"/>
                <a:gd name="connsiteX205" fmla="*/ 1484948 w 1714500"/>
                <a:gd name="connsiteY205" fmla="*/ 985838 h 1447800"/>
                <a:gd name="connsiteX206" fmla="*/ 1478280 w 1714500"/>
                <a:gd name="connsiteY206" fmla="*/ 985838 h 1447800"/>
                <a:gd name="connsiteX207" fmla="*/ 1469707 w 1714500"/>
                <a:gd name="connsiteY207" fmla="*/ 983933 h 1447800"/>
                <a:gd name="connsiteX208" fmla="*/ 1463993 w 1714500"/>
                <a:gd name="connsiteY208" fmla="*/ 982027 h 1447800"/>
                <a:gd name="connsiteX209" fmla="*/ 1462088 w 1714500"/>
                <a:gd name="connsiteY209" fmla="*/ 980123 h 1447800"/>
                <a:gd name="connsiteX210" fmla="*/ 1460182 w 1714500"/>
                <a:gd name="connsiteY210" fmla="*/ 978218 h 1447800"/>
                <a:gd name="connsiteX211" fmla="*/ 1459230 w 1714500"/>
                <a:gd name="connsiteY211" fmla="*/ 972502 h 1447800"/>
                <a:gd name="connsiteX212" fmla="*/ 1458277 w 1714500"/>
                <a:gd name="connsiteY212" fmla="*/ 969645 h 1447800"/>
                <a:gd name="connsiteX213" fmla="*/ 1456373 w 1714500"/>
                <a:gd name="connsiteY213" fmla="*/ 967740 h 1447800"/>
                <a:gd name="connsiteX214" fmla="*/ 1451610 w 1714500"/>
                <a:gd name="connsiteY214" fmla="*/ 964883 h 1447800"/>
                <a:gd name="connsiteX215" fmla="*/ 1450657 w 1714500"/>
                <a:gd name="connsiteY215" fmla="*/ 962977 h 1447800"/>
                <a:gd name="connsiteX216" fmla="*/ 1449705 w 1714500"/>
                <a:gd name="connsiteY216" fmla="*/ 960120 h 1447800"/>
                <a:gd name="connsiteX217" fmla="*/ 1450657 w 1714500"/>
                <a:gd name="connsiteY217" fmla="*/ 954405 h 1447800"/>
                <a:gd name="connsiteX218" fmla="*/ 1450657 w 1714500"/>
                <a:gd name="connsiteY218" fmla="*/ 951548 h 1447800"/>
                <a:gd name="connsiteX219" fmla="*/ 1449705 w 1714500"/>
                <a:gd name="connsiteY219" fmla="*/ 948690 h 1447800"/>
                <a:gd name="connsiteX220" fmla="*/ 1446848 w 1714500"/>
                <a:gd name="connsiteY220" fmla="*/ 947738 h 1447800"/>
                <a:gd name="connsiteX221" fmla="*/ 1443990 w 1714500"/>
                <a:gd name="connsiteY221" fmla="*/ 946785 h 1447800"/>
                <a:gd name="connsiteX222" fmla="*/ 1442085 w 1714500"/>
                <a:gd name="connsiteY222" fmla="*/ 947738 h 1447800"/>
                <a:gd name="connsiteX223" fmla="*/ 1434465 w 1714500"/>
                <a:gd name="connsiteY223" fmla="*/ 954405 h 1447800"/>
                <a:gd name="connsiteX224" fmla="*/ 1428750 w 1714500"/>
                <a:gd name="connsiteY224" fmla="*/ 956310 h 1447800"/>
                <a:gd name="connsiteX225" fmla="*/ 1422082 w 1714500"/>
                <a:gd name="connsiteY225" fmla="*/ 962977 h 1447800"/>
                <a:gd name="connsiteX226" fmla="*/ 1420177 w 1714500"/>
                <a:gd name="connsiteY226" fmla="*/ 965835 h 1447800"/>
                <a:gd name="connsiteX227" fmla="*/ 1419225 w 1714500"/>
                <a:gd name="connsiteY227" fmla="*/ 967740 h 1447800"/>
                <a:gd name="connsiteX228" fmla="*/ 1421130 w 1714500"/>
                <a:gd name="connsiteY228" fmla="*/ 976313 h 1447800"/>
                <a:gd name="connsiteX229" fmla="*/ 1421130 w 1714500"/>
                <a:gd name="connsiteY229" fmla="*/ 979170 h 1447800"/>
                <a:gd name="connsiteX230" fmla="*/ 1419225 w 1714500"/>
                <a:gd name="connsiteY230" fmla="*/ 980123 h 1447800"/>
                <a:gd name="connsiteX231" fmla="*/ 1416368 w 1714500"/>
                <a:gd name="connsiteY231" fmla="*/ 981075 h 1447800"/>
                <a:gd name="connsiteX232" fmla="*/ 1408748 w 1714500"/>
                <a:gd name="connsiteY232" fmla="*/ 979170 h 1447800"/>
                <a:gd name="connsiteX233" fmla="*/ 1403032 w 1714500"/>
                <a:gd name="connsiteY233" fmla="*/ 977265 h 1447800"/>
                <a:gd name="connsiteX234" fmla="*/ 1400175 w 1714500"/>
                <a:gd name="connsiteY234" fmla="*/ 976313 h 1447800"/>
                <a:gd name="connsiteX235" fmla="*/ 1396365 w 1714500"/>
                <a:gd name="connsiteY235" fmla="*/ 977265 h 1447800"/>
                <a:gd name="connsiteX236" fmla="*/ 1392555 w 1714500"/>
                <a:gd name="connsiteY236" fmla="*/ 981075 h 1447800"/>
                <a:gd name="connsiteX237" fmla="*/ 1390650 w 1714500"/>
                <a:gd name="connsiteY237" fmla="*/ 982980 h 1447800"/>
                <a:gd name="connsiteX238" fmla="*/ 1382077 w 1714500"/>
                <a:gd name="connsiteY238" fmla="*/ 999173 h 1447800"/>
                <a:gd name="connsiteX239" fmla="*/ 1377315 w 1714500"/>
                <a:gd name="connsiteY239" fmla="*/ 1006793 h 1447800"/>
                <a:gd name="connsiteX240" fmla="*/ 1370648 w 1714500"/>
                <a:gd name="connsiteY240" fmla="*/ 1019175 h 1447800"/>
                <a:gd name="connsiteX241" fmla="*/ 1366838 w 1714500"/>
                <a:gd name="connsiteY241" fmla="*/ 1022985 h 1447800"/>
                <a:gd name="connsiteX242" fmla="*/ 1347788 w 1714500"/>
                <a:gd name="connsiteY242" fmla="*/ 1035368 h 1447800"/>
                <a:gd name="connsiteX243" fmla="*/ 1344930 w 1714500"/>
                <a:gd name="connsiteY243" fmla="*/ 1038225 h 1447800"/>
                <a:gd name="connsiteX244" fmla="*/ 1342073 w 1714500"/>
                <a:gd name="connsiteY244" fmla="*/ 1042035 h 1447800"/>
                <a:gd name="connsiteX245" fmla="*/ 1340168 w 1714500"/>
                <a:gd name="connsiteY245" fmla="*/ 1047750 h 1447800"/>
                <a:gd name="connsiteX246" fmla="*/ 1339215 w 1714500"/>
                <a:gd name="connsiteY246" fmla="*/ 1050608 h 1447800"/>
                <a:gd name="connsiteX247" fmla="*/ 1340168 w 1714500"/>
                <a:gd name="connsiteY247" fmla="*/ 1052513 h 1447800"/>
                <a:gd name="connsiteX248" fmla="*/ 1344930 w 1714500"/>
                <a:gd name="connsiteY248" fmla="*/ 1058227 h 1447800"/>
                <a:gd name="connsiteX249" fmla="*/ 1346835 w 1714500"/>
                <a:gd name="connsiteY249" fmla="*/ 1061085 h 1447800"/>
                <a:gd name="connsiteX250" fmla="*/ 1345882 w 1714500"/>
                <a:gd name="connsiteY250" fmla="*/ 1063943 h 1447800"/>
                <a:gd name="connsiteX251" fmla="*/ 1344930 w 1714500"/>
                <a:gd name="connsiteY251" fmla="*/ 1070610 h 1447800"/>
                <a:gd name="connsiteX252" fmla="*/ 1341120 w 1714500"/>
                <a:gd name="connsiteY252" fmla="*/ 1083945 h 1447800"/>
                <a:gd name="connsiteX253" fmla="*/ 1340168 w 1714500"/>
                <a:gd name="connsiteY253" fmla="*/ 1086802 h 1447800"/>
                <a:gd name="connsiteX254" fmla="*/ 1337310 w 1714500"/>
                <a:gd name="connsiteY254" fmla="*/ 1089660 h 1447800"/>
                <a:gd name="connsiteX255" fmla="*/ 1333500 w 1714500"/>
                <a:gd name="connsiteY255" fmla="*/ 1091565 h 1447800"/>
                <a:gd name="connsiteX256" fmla="*/ 1323975 w 1714500"/>
                <a:gd name="connsiteY256" fmla="*/ 1091565 h 1447800"/>
                <a:gd name="connsiteX257" fmla="*/ 1320165 w 1714500"/>
                <a:gd name="connsiteY257" fmla="*/ 1090613 h 1447800"/>
                <a:gd name="connsiteX258" fmla="*/ 1317307 w 1714500"/>
                <a:gd name="connsiteY258" fmla="*/ 1088708 h 1447800"/>
                <a:gd name="connsiteX259" fmla="*/ 1315402 w 1714500"/>
                <a:gd name="connsiteY259" fmla="*/ 1083945 h 1447800"/>
                <a:gd name="connsiteX260" fmla="*/ 1311593 w 1714500"/>
                <a:gd name="connsiteY260" fmla="*/ 1083945 h 1447800"/>
                <a:gd name="connsiteX261" fmla="*/ 1296352 w 1714500"/>
                <a:gd name="connsiteY261" fmla="*/ 1086802 h 1447800"/>
                <a:gd name="connsiteX262" fmla="*/ 1293495 w 1714500"/>
                <a:gd name="connsiteY262" fmla="*/ 1085850 h 1447800"/>
                <a:gd name="connsiteX263" fmla="*/ 1291590 w 1714500"/>
                <a:gd name="connsiteY263" fmla="*/ 1083945 h 1447800"/>
                <a:gd name="connsiteX264" fmla="*/ 1290638 w 1714500"/>
                <a:gd name="connsiteY264" fmla="*/ 1080135 h 1447800"/>
                <a:gd name="connsiteX265" fmla="*/ 1285875 w 1714500"/>
                <a:gd name="connsiteY265" fmla="*/ 1077277 h 1447800"/>
                <a:gd name="connsiteX266" fmla="*/ 1283018 w 1714500"/>
                <a:gd name="connsiteY266" fmla="*/ 1077277 h 1447800"/>
                <a:gd name="connsiteX267" fmla="*/ 1280160 w 1714500"/>
                <a:gd name="connsiteY267" fmla="*/ 1078230 h 1447800"/>
                <a:gd name="connsiteX268" fmla="*/ 1270635 w 1714500"/>
                <a:gd name="connsiteY268" fmla="*/ 1087755 h 1447800"/>
                <a:gd name="connsiteX269" fmla="*/ 1267777 w 1714500"/>
                <a:gd name="connsiteY269" fmla="*/ 1089660 h 1447800"/>
                <a:gd name="connsiteX270" fmla="*/ 1244918 w 1714500"/>
                <a:gd name="connsiteY270" fmla="*/ 1097280 h 1447800"/>
                <a:gd name="connsiteX271" fmla="*/ 1237298 w 1714500"/>
                <a:gd name="connsiteY271" fmla="*/ 1102043 h 1447800"/>
                <a:gd name="connsiteX272" fmla="*/ 1233488 w 1714500"/>
                <a:gd name="connsiteY272" fmla="*/ 1105852 h 1447800"/>
                <a:gd name="connsiteX273" fmla="*/ 1230630 w 1714500"/>
                <a:gd name="connsiteY273" fmla="*/ 1111568 h 1447800"/>
                <a:gd name="connsiteX274" fmla="*/ 1226820 w 1714500"/>
                <a:gd name="connsiteY274" fmla="*/ 1116330 h 1447800"/>
                <a:gd name="connsiteX275" fmla="*/ 1220152 w 1714500"/>
                <a:gd name="connsiteY275" fmla="*/ 1122045 h 1447800"/>
                <a:gd name="connsiteX276" fmla="*/ 1217295 w 1714500"/>
                <a:gd name="connsiteY276" fmla="*/ 1126808 h 1447800"/>
                <a:gd name="connsiteX277" fmla="*/ 1214438 w 1714500"/>
                <a:gd name="connsiteY277" fmla="*/ 1129665 h 1447800"/>
                <a:gd name="connsiteX278" fmla="*/ 1209675 w 1714500"/>
                <a:gd name="connsiteY278" fmla="*/ 1131570 h 1447800"/>
                <a:gd name="connsiteX279" fmla="*/ 1203007 w 1714500"/>
                <a:gd name="connsiteY279" fmla="*/ 1130618 h 1447800"/>
                <a:gd name="connsiteX280" fmla="*/ 1200150 w 1714500"/>
                <a:gd name="connsiteY280" fmla="*/ 1126808 h 1447800"/>
                <a:gd name="connsiteX281" fmla="*/ 1198245 w 1714500"/>
                <a:gd name="connsiteY281" fmla="*/ 1122998 h 1447800"/>
                <a:gd name="connsiteX282" fmla="*/ 1195388 w 1714500"/>
                <a:gd name="connsiteY282" fmla="*/ 1109663 h 1447800"/>
                <a:gd name="connsiteX283" fmla="*/ 1192530 w 1714500"/>
                <a:gd name="connsiteY283" fmla="*/ 1101090 h 1447800"/>
                <a:gd name="connsiteX284" fmla="*/ 1190625 w 1714500"/>
                <a:gd name="connsiteY284" fmla="*/ 1097280 h 1447800"/>
                <a:gd name="connsiteX285" fmla="*/ 1185863 w 1714500"/>
                <a:gd name="connsiteY285" fmla="*/ 1091565 h 1447800"/>
                <a:gd name="connsiteX286" fmla="*/ 1169670 w 1714500"/>
                <a:gd name="connsiteY286" fmla="*/ 1080135 h 1447800"/>
                <a:gd name="connsiteX287" fmla="*/ 1127760 w 1714500"/>
                <a:gd name="connsiteY287" fmla="*/ 1064895 h 1447800"/>
                <a:gd name="connsiteX288" fmla="*/ 1123950 w 1714500"/>
                <a:gd name="connsiteY288" fmla="*/ 1063943 h 1447800"/>
                <a:gd name="connsiteX289" fmla="*/ 1105852 w 1714500"/>
                <a:gd name="connsiteY289" fmla="*/ 1063943 h 1447800"/>
                <a:gd name="connsiteX290" fmla="*/ 1102995 w 1714500"/>
                <a:gd name="connsiteY290" fmla="*/ 1064895 h 1447800"/>
                <a:gd name="connsiteX291" fmla="*/ 1099185 w 1714500"/>
                <a:gd name="connsiteY291" fmla="*/ 1067752 h 1447800"/>
                <a:gd name="connsiteX292" fmla="*/ 1095375 w 1714500"/>
                <a:gd name="connsiteY292" fmla="*/ 1073468 h 1447800"/>
                <a:gd name="connsiteX293" fmla="*/ 1093470 w 1714500"/>
                <a:gd name="connsiteY293" fmla="*/ 1079183 h 1447800"/>
                <a:gd name="connsiteX294" fmla="*/ 1090613 w 1714500"/>
                <a:gd name="connsiteY294" fmla="*/ 1082993 h 1447800"/>
                <a:gd name="connsiteX295" fmla="*/ 1085850 w 1714500"/>
                <a:gd name="connsiteY295" fmla="*/ 1085850 h 1447800"/>
                <a:gd name="connsiteX296" fmla="*/ 1054418 w 1714500"/>
                <a:gd name="connsiteY296" fmla="*/ 1084898 h 1447800"/>
                <a:gd name="connsiteX297" fmla="*/ 1038225 w 1714500"/>
                <a:gd name="connsiteY297" fmla="*/ 1079183 h 1447800"/>
                <a:gd name="connsiteX298" fmla="*/ 1033463 w 1714500"/>
                <a:gd name="connsiteY298" fmla="*/ 1078230 h 1447800"/>
                <a:gd name="connsiteX299" fmla="*/ 1028700 w 1714500"/>
                <a:gd name="connsiteY299" fmla="*/ 1080135 h 1447800"/>
                <a:gd name="connsiteX300" fmla="*/ 1023938 w 1714500"/>
                <a:gd name="connsiteY300" fmla="*/ 1085850 h 1447800"/>
                <a:gd name="connsiteX301" fmla="*/ 1022032 w 1714500"/>
                <a:gd name="connsiteY301" fmla="*/ 1090613 h 1447800"/>
                <a:gd name="connsiteX302" fmla="*/ 1021080 w 1714500"/>
                <a:gd name="connsiteY302" fmla="*/ 1096327 h 1447800"/>
                <a:gd name="connsiteX303" fmla="*/ 1021080 w 1714500"/>
                <a:gd name="connsiteY303" fmla="*/ 1106805 h 1447800"/>
                <a:gd name="connsiteX304" fmla="*/ 1022985 w 1714500"/>
                <a:gd name="connsiteY304" fmla="*/ 1122045 h 1447800"/>
                <a:gd name="connsiteX305" fmla="*/ 1022985 w 1714500"/>
                <a:gd name="connsiteY305" fmla="*/ 1137285 h 1447800"/>
                <a:gd name="connsiteX306" fmla="*/ 1022032 w 1714500"/>
                <a:gd name="connsiteY306" fmla="*/ 1142048 h 1447800"/>
                <a:gd name="connsiteX307" fmla="*/ 1020127 w 1714500"/>
                <a:gd name="connsiteY307" fmla="*/ 1151573 h 1447800"/>
                <a:gd name="connsiteX308" fmla="*/ 1018223 w 1714500"/>
                <a:gd name="connsiteY308" fmla="*/ 1155383 h 1447800"/>
                <a:gd name="connsiteX309" fmla="*/ 1014413 w 1714500"/>
                <a:gd name="connsiteY309" fmla="*/ 1159193 h 1447800"/>
                <a:gd name="connsiteX310" fmla="*/ 1001077 w 1714500"/>
                <a:gd name="connsiteY310" fmla="*/ 1170623 h 1447800"/>
                <a:gd name="connsiteX311" fmla="*/ 995363 w 1714500"/>
                <a:gd name="connsiteY311" fmla="*/ 1176338 h 1447800"/>
                <a:gd name="connsiteX312" fmla="*/ 994410 w 1714500"/>
                <a:gd name="connsiteY312" fmla="*/ 1180148 h 1447800"/>
                <a:gd name="connsiteX313" fmla="*/ 992505 w 1714500"/>
                <a:gd name="connsiteY313" fmla="*/ 1184910 h 1447800"/>
                <a:gd name="connsiteX314" fmla="*/ 992505 w 1714500"/>
                <a:gd name="connsiteY314" fmla="*/ 1189673 h 1447800"/>
                <a:gd name="connsiteX315" fmla="*/ 989648 w 1714500"/>
                <a:gd name="connsiteY315" fmla="*/ 1198245 h 1447800"/>
                <a:gd name="connsiteX316" fmla="*/ 985838 w 1714500"/>
                <a:gd name="connsiteY316" fmla="*/ 1210627 h 1447800"/>
                <a:gd name="connsiteX317" fmla="*/ 982027 w 1714500"/>
                <a:gd name="connsiteY317" fmla="*/ 1214438 h 1447800"/>
                <a:gd name="connsiteX318" fmla="*/ 975360 w 1714500"/>
                <a:gd name="connsiteY318" fmla="*/ 1219200 h 1447800"/>
                <a:gd name="connsiteX319" fmla="*/ 958215 w 1714500"/>
                <a:gd name="connsiteY319" fmla="*/ 1223963 h 1447800"/>
                <a:gd name="connsiteX320" fmla="*/ 947738 w 1714500"/>
                <a:gd name="connsiteY320" fmla="*/ 1228725 h 1447800"/>
                <a:gd name="connsiteX321" fmla="*/ 935355 w 1714500"/>
                <a:gd name="connsiteY321" fmla="*/ 1232535 h 1447800"/>
                <a:gd name="connsiteX322" fmla="*/ 928688 w 1714500"/>
                <a:gd name="connsiteY322" fmla="*/ 1232535 h 1447800"/>
                <a:gd name="connsiteX323" fmla="*/ 924878 w 1714500"/>
                <a:gd name="connsiteY323" fmla="*/ 1233488 h 1447800"/>
                <a:gd name="connsiteX324" fmla="*/ 920115 w 1714500"/>
                <a:gd name="connsiteY324" fmla="*/ 1239202 h 1447800"/>
                <a:gd name="connsiteX325" fmla="*/ 917257 w 1714500"/>
                <a:gd name="connsiteY325" fmla="*/ 1240155 h 1447800"/>
                <a:gd name="connsiteX326" fmla="*/ 915353 w 1714500"/>
                <a:gd name="connsiteY326" fmla="*/ 1239202 h 1447800"/>
                <a:gd name="connsiteX327" fmla="*/ 913447 w 1714500"/>
                <a:gd name="connsiteY327" fmla="*/ 1237298 h 1447800"/>
                <a:gd name="connsiteX328" fmla="*/ 909638 w 1714500"/>
                <a:gd name="connsiteY328" fmla="*/ 1229677 h 1447800"/>
                <a:gd name="connsiteX329" fmla="*/ 906780 w 1714500"/>
                <a:gd name="connsiteY329" fmla="*/ 1226820 h 1447800"/>
                <a:gd name="connsiteX330" fmla="*/ 904875 w 1714500"/>
                <a:gd name="connsiteY330" fmla="*/ 1224915 h 1447800"/>
                <a:gd name="connsiteX331" fmla="*/ 897255 w 1714500"/>
                <a:gd name="connsiteY331" fmla="*/ 1222058 h 1447800"/>
                <a:gd name="connsiteX332" fmla="*/ 890588 w 1714500"/>
                <a:gd name="connsiteY332" fmla="*/ 1221105 h 1447800"/>
                <a:gd name="connsiteX333" fmla="*/ 881063 w 1714500"/>
                <a:gd name="connsiteY333" fmla="*/ 1222058 h 1447800"/>
                <a:gd name="connsiteX334" fmla="*/ 878205 w 1714500"/>
                <a:gd name="connsiteY334" fmla="*/ 1222058 h 1447800"/>
                <a:gd name="connsiteX335" fmla="*/ 866775 w 1714500"/>
                <a:gd name="connsiteY335" fmla="*/ 1217295 h 1447800"/>
                <a:gd name="connsiteX336" fmla="*/ 860107 w 1714500"/>
                <a:gd name="connsiteY336" fmla="*/ 1216343 h 1447800"/>
                <a:gd name="connsiteX337" fmla="*/ 841057 w 1714500"/>
                <a:gd name="connsiteY337" fmla="*/ 1217295 h 1447800"/>
                <a:gd name="connsiteX338" fmla="*/ 837247 w 1714500"/>
                <a:gd name="connsiteY338" fmla="*/ 1219200 h 1447800"/>
                <a:gd name="connsiteX339" fmla="*/ 811530 w 1714500"/>
                <a:gd name="connsiteY339" fmla="*/ 1234440 h 1447800"/>
                <a:gd name="connsiteX340" fmla="*/ 802957 w 1714500"/>
                <a:gd name="connsiteY340" fmla="*/ 1237298 h 1447800"/>
                <a:gd name="connsiteX341" fmla="*/ 782003 w 1714500"/>
                <a:gd name="connsiteY341" fmla="*/ 1237298 h 1447800"/>
                <a:gd name="connsiteX342" fmla="*/ 777240 w 1714500"/>
                <a:gd name="connsiteY342" fmla="*/ 1237298 h 1447800"/>
                <a:gd name="connsiteX343" fmla="*/ 770572 w 1714500"/>
                <a:gd name="connsiteY343" fmla="*/ 1237298 h 1447800"/>
                <a:gd name="connsiteX344" fmla="*/ 768668 w 1714500"/>
                <a:gd name="connsiteY344" fmla="*/ 1235393 h 1447800"/>
                <a:gd name="connsiteX345" fmla="*/ 762953 w 1714500"/>
                <a:gd name="connsiteY345" fmla="*/ 1230630 h 1447800"/>
                <a:gd name="connsiteX346" fmla="*/ 752475 w 1714500"/>
                <a:gd name="connsiteY346" fmla="*/ 1224915 h 1447800"/>
                <a:gd name="connsiteX347" fmla="*/ 737235 w 1714500"/>
                <a:gd name="connsiteY347" fmla="*/ 1220152 h 1447800"/>
                <a:gd name="connsiteX348" fmla="*/ 723900 w 1714500"/>
                <a:gd name="connsiteY348" fmla="*/ 1219200 h 1447800"/>
                <a:gd name="connsiteX349" fmla="*/ 715328 w 1714500"/>
                <a:gd name="connsiteY349" fmla="*/ 1215390 h 1447800"/>
                <a:gd name="connsiteX350" fmla="*/ 709613 w 1714500"/>
                <a:gd name="connsiteY350" fmla="*/ 1214438 h 1447800"/>
                <a:gd name="connsiteX351" fmla="*/ 682943 w 1714500"/>
                <a:gd name="connsiteY351" fmla="*/ 1216343 h 1447800"/>
                <a:gd name="connsiteX352" fmla="*/ 677228 w 1714500"/>
                <a:gd name="connsiteY352" fmla="*/ 1214438 h 1447800"/>
                <a:gd name="connsiteX353" fmla="*/ 672465 w 1714500"/>
                <a:gd name="connsiteY353" fmla="*/ 1214438 h 1447800"/>
                <a:gd name="connsiteX354" fmla="*/ 653415 w 1714500"/>
                <a:gd name="connsiteY354" fmla="*/ 1219200 h 1447800"/>
                <a:gd name="connsiteX355" fmla="*/ 646747 w 1714500"/>
                <a:gd name="connsiteY355" fmla="*/ 1220152 h 1447800"/>
                <a:gd name="connsiteX356" fmla="*/ 642938 w 1714500"/>
                <a:gd name="connsiteY356" fmla="*/ 1219200 h 1447800"/>
                <a:gd name="connsiteX357" fmla="*/ 641032 w 1714500"/>
                <a:gd name="connsiteY357" fmla="*/ 1217295 h 1447800"/>
                <a:gd name="connsiteX358" fmla="*/ 638175 w 1714500"/>
                <a:gd name="connsiteY358" fmla="*/ 1212533 h 1447800"/>
                <a:gd name="connsiteX359" fmla="*/ 636270 w 1714500"/>
                <a:gd name="connsiteY359" fmla="*/ 1211580 h 1447800"/>
                <a:gd name="connsiteX360" fmla="*/ 631507 w 1714500"/>
                <a:gd name="connsiteY360" fmla="*/ 1210627 h 1447800"/>
                <a:gd name="connsiteX361" fmla="*/ 624840 w 1714500"/>
                <a:gd name="connsiteY361" fmla="*/ 1211580 h 1447800"/>
                <a:gd name="connsiteX362" fmla="*/ 621030 w 1714500"/>
                <a:gd name="connsiteY362" fmla="*/ 1211580 h 1447800"/>
                <a:gd name="connsiteX363" fmla="*/ 617220 w 1714500"/>
                <a:gd name="connsiteY363" fmla="*/ 1209675 h 1447800"/>
                <a:gd name="connsiteX364" fmla="*/ 612457 w 1714500"/>
                <a:gd name="connsiteY364" fmla="*/ 1207770 h 1447800"/>
                <a:gd name="connsiteX365" fmla="*/ 608647 w 1714500"/>
                <a:gd name="connsiteY365" fmla="*/ 1206818 h 1447800"/>
                <a:gd name="connsiteX366" fmla="*/ 601028 w 1714500"/>
                <a:gd name="connsiteY366" fmla="*/ 1207770 h 1447800"/>
                <a:gd name="connsiteX367" fmla="*/ 594360 w 1714500"/>
                <a:gd name="connsiteY367" fmla="*/ 1205865 h 1447800"/>
                <a:gd name="connsiteX368" fmla="*/ 590550 w 1714500"/>
                <a:gd name="connsiteY368" fmla="*/ 1205865 h 1447800"/>
                <a:gd name="connsiteX369" fmla="*/ 584835 w 1714500"/>
                <a:gd name="connsiteY369" fmla="*/ 1207770 h 1447800"/>
                <a:gd name="connsiteX370" fmla="*/ 567690 w 1714500"/>
                <a:gd name="connsiteY370" fmla="*/ 1217295 h 1447800"/>
                <a:gd name="connsiteX371" fmla="*/ 551497 w 1714500"/>
                <a:gd name="connsiteY371" fmla="*/ 1232535 h 1447800"/>
                <a:gd name="connsiteX372" fmla="*/ 539115 w 1714500"/>
                <a:gd name="connsiteY372" fmla="*/ 1242060 h 1447800"/>
                <a:gd name="connsiteX373" fmla="*/ 534353 w 1714500"/>
                <a:gd name="connsiteY373" fmla="*/ 1247775 h 1447800"/>
                <a:gd name="connsiteX374" fmla="*/ 533400 w 1714500"/>
                <a:gd name="connsiteY374" fmla="*/ 1251585 h 1447800"/>
                <a:gd name="connsiteX375" fmla="*/ 536257 w 1714500"/>
                <a:gd name="connsiteY375" fmla="*/ 1256348 h 1447800"/>
                <a:gd name="connsiteX376" fmla="*/ 536257 w 1714500"/>
                <a:gd name="connsiteY376" fmla="*/ 1259205 h 1447800"/>
                <a:gd name="connsiteX377" fmla="*/ 537210 w 1714500"/>
                <a:gd name="connsiteY377" fmla="*/ 1263968 h 1447800"/>
                <a:gd name="connsiteX378" fmla="*/ 537210 w 1714500"/>
                <a:gd name="connsiteY378" fmla="*/ 1265873 h 1447800"/>
                <a:gd name="connsiteX379" fmla="*/ 531495 w 1714500"/>
                <a:gd name="connsiteY379" fmla="*/ 1288733 h 1447800"/>
                <a:gd name="connsiteX380" fmla="*/ 530543 w 1714500"/>
                <a:gd name="connsiteY380" fmla="*/ 1291590 h 1447800"/>
                <a:gd name="connsiteX381" fmla="*/ 526732 w 1714500"/>
                <a:gd name="connsiteY381" fmla="*/ 1296352 h 1447800"/>
                <a:gd name="connsiteX382" fmla="*/ 506730 w 1714500"/>
                <a:gd name="connsiteY382" fmla="*/ 1313498 h 1447800"/>
                <a:gd name="connsiteX383" fmla="*/ 501968 w 1714500"/>
                <a:gd name="connsiteY383" fmla="*/ 1320165 h 1447800"/>
                <a:gd name="connsiteX384" fmla="*/ 500063 w 1714500"/>
                <a:gd name="connsiteY384" fmla="*/ 1323975 h 1447800"/>
                <a:gd name="connsiteX385" fmla="*/ 503872 w 1714500"/>
                <a:gd name="connsiteY385" fmla="*/ 1327785 h 1447800"/>
                <a:gd name="connsiteX386" fmla="*/ 514350 w 1714500"/>
                <a:gd name="connsiteY386" fmla="*/ 1332548 h 1447800"/>
                <a:gd name="connsiteX387" fmla="*/ 517207 w 1714500"/>
                <a:gd name="connsiteY387" fmla="*/ 1334452 h 1447800"/>
                <a:gd name="connsiteX388" fmla="*/ 518160 w 1714500"/>
                <a:gd name="connsiteY388" fmla="*/ 1336358 h 1447800"/>
                <a:gd name="connsiteX389" fmla="*/ 519113 w 1714500"/>
                <a:gd name="connsiteY389" fmla="*/ 1338263 h 1447800"/>
                <a:gd name="connsiteX390" fmla="*/ 519113 w 1714500"/>
                <a:gd name="connsiteY390" fmla="*/ 1354455 h 1447800"/>
                <a:gd name="connsiteX391" fmla="*/ 519113 w 1714500"/>
                <a:gd name="connsiteY391" fmla="*/ 1361123 h 1447800"/>
                <a:gd name="connsiteX392" fmla="*/ 517207 w 1714500"/>
                <a:gd name="connsiteY392" fmla="*/ 1366838 h 1447800"/>
                <a:gd name="connsiteX393" fmla="*/ 514350 w 1714500"/>
                <a:gd name="connsiteY393" fmla="*/ 1369695 h 1447800"/>
                <a:gd name="connsiteX394" fmla="*/ 508635 w 1714500"/>
                <a:gd name="connsiteY394" fmla="*/ 1372552 h 1447800"/>
                <a:gd name="connsiteX395" fmla="*/ 470535 w 1714500"/>
                <a:gd name="connsiteY395" fmla="*/ 1376363 h 1447800"/>
                <a:gd name="connsiteX396" fmla="*/ 467678 w 1714500"/>
                <a:gd name="connsiteY396" fmla="*/ 1376363 h 1447800"/>
                <a:gd name="connsiteX397" fmla="*/ 463868 w 1714500"/>
                <a:gd name="connsiteY397" fmla="*/ 1372552 h 1447800"/>
                <a:gd name="connsiteX398" fmla="*/ 462915 w 1714500"/>
                <a:gd name="connsiteY398" fmla="*/ 1370648 h 1447800"/>
                <a:gd name="connsiteX399" fmla="*/ 460057 w 1714500"/>
                <a:gd name="connsiteY399" fmla="*/ 1365885 h 1447800"/>
                <a:gd name="connsiteX400" fmla="*/ 458153 w 1714500"/>
                <a:gd name="connsiteY400" fmla="*/ 1363980 h 1447800"/>
                <a:gd name="connsiteX401" fmla="*/ 455295 w 1714500"/>
                <a:gd name="connsiteY401" fmla="*/ 1363027 h 1447800"/>
                <a:gd name="connsiteX402" fmla="*/ 445770 w 1714500"/>
                <a:gd name="connsiteY402" fmla="*/ 1361123 h 1447800"/>
                <a:gd name="connsiteX403" fmla="*/ 433388 w 1714500"/>
                <a:gd name="connsiteY403" fmla="*/ 1362075 h 1447800"/>
                <a:gd name="connsiteX404" fmla="*/ 430530 w 1714500"/>
                <a:gd name="connsiteY404" fmla="*/ 1363027 h 1447800"/>
                <a:gd name="connsiteX405" fmla="*/ 427672 w 1714500"/>
                <a:gd name="connsiteY405" fmla="*/ 1365885 h 1447800"/>
                <a:gd name="connsiteX406" fmla="*/ 423863 w 1714500"/>
                <a:gd name="connsiteY406" fmla="*/ 1370648 h 1447800"/>
                <a:gd name="connsiteX407" fmla="*/ 421957 w 1714500"/>
                <a:gd name="connsiteY407" fmla="*/ 1374458 h 1447800"/>
                <a:gd name="connsiteX408" fmla="*/ 421005 w 1714500"/>
                <a:gd name="connsiteY408" fmla="*/ 1379220 h 1447800"/>
                <a:gd name="connsiteX409" fmla="*/ 420053 w 1714500"/>
                <a:gd name="connsiteY409" fmla="*/ 1388745 h 1447800"/>
                <a:gd name="connsiteX410" fmla="*/ 418147 w 1714500"/>
                <a:gd name="connsiteY410" fmla="*/ 1394460 h 1447800"/>
                <a:gd name="connsiteX411" fmla="*/ 349568 w 1714500"/>
                <a:gd name="connsiteY411" fmla="*/ 1430655 h 1447800"/>
                <a:gd name="connsiteX412" fmla="*/ 344805 w 1714500"/>
                <a:gd name="connsiteY412" fmla="*/ 1437323 h 1447800"/>
                <a:gd name="connsiteX413" fmla="*/ 342900 w 1714500"/>
                <a:gd name="connsiteY413" fmla="*/ 1437323 h 1447800"/>
                <a:gd name="connsiteX414" fmla="*/ 339090 w 1714500"/>
                <a:gd name="connsiteY414" fmla="*/ 1437323 h 1447800"/>
                <a:gd name="connsiteX415" fmla="*/ 331470 w 1714500"/>
                <a:gd name="connsiteY415" fmla="*/ 1435418 h 1447800"/>
                <a:gd name="connsiteX416" fmla="*/ 327660 w 1714500"/>
                <a:gd name="connsiteY416" fmla="*/ 1433513 h 1447800"/>
                <a:gd name="connsiteX417" fmla="*/ 324803 w 1714500"/>
                <a:gd name="connsiteY417" fmla="*/ 1431608 h 1447800"/>
                <a:gd name="connsiteX418" fmla="*/ 321945 w 1714500"/>
                <a:gd name="connsiteY418" fmla="*/ 1426845 h 1447800"/>
                <a:gd name="connsiteX419" fmla="*/ 320040 w 1714500"/>
                <a:gd name="connsiteY419" fmla="*/ 1424940 h 1447800"/>
                <a:gd name="connsiteX420" fmla="*/ 317182 w 1714500"/>
                <a:gd name="connsiteY420" fmla="*/ 1423988 h 1447800"/>
                <a:gd name="connsiteX421" fmla="*/ 312420 w 1714500"/>
                <a:gd name="connsiteY421" fmla="*/ 1424940 h 1447800"/>
                <a:gd name="connsiteX422" fmla="*/ 306705 w 1714500"/>
                <a:gd name="connsiteY422" fmla="*/ 1427798 h 1447800"/>
                <a:gd name="connsiteX423" fmla="*/ 291465 w 1714500"/>
                <a:gd name="connsiteY423" fmla="*/ 1439227 h 1447800"/>
                <a:gd name="connsiteX424" fmla="*/ 278130 w 1714500"/>
                <a:gd name="connsiteY424" fmla="*/ 1453515 h 1447800"/>
                <a:gd name="connsiteX425" fmla="*/ 271463 w 1714500"/>
                <a:gd name="connsiteY425" fmla="*/ 1456373 h 1447800"/>
                <a:gd name="connsiteX426" fmla="*/ 255270 w 1714500"/>
                <a:gd name="connsiteY426" fmla="*/ 1454468 h 1447800"/>
                <a:gd name="connsiteX427" fmla="*/ 246697 w 1714500"/>
                <a:gd name="connsiteY427" fmla="*/ 1446848 h 1447800"/>
                <a:gd name="connsiteX428" fmla="*/ 241935 w 1714500"/>
                <a:gd name="connsiteY428" fmla="*/ 1442085 h 1447800"/>
                <a:gd name="connsiteX429" fmla="*/ 237172 w 1714500"/>
                <a:gd name="connsiteY429" fmla="*/ 1440180 h 1447800"/>
                <a:gd name="connsiteX430" fmla="*/ 231457 w 1714500"/>
                <a:gd name="connsiteY430" fmla="*/ 1440180 h 1447800"/>
                <a:gd name="connsiteX431" fmla="*/ 225743 w 1714500"/>
                <a:gd name="connsiteY431" fmla="*/ 1442085 h 1447800"/>
                <a:gd name="connsiteX432" fmla="*/ 200978 w 1714500"/>
                <a:gd name="connsiteY432" fmla="*/ 1452563 h 1447800"/>
                <a:gd name="connsiteX433" fmla="*/ 196215 w 1714500"/>
                <a:gd name="connsiteY433" fmla="*/ 1453515 h 1447800"/>
                <a:gd name="connsiteX434" fmla="*/ 194310 w 1714500"/>
                <a:gd name="connsiteY434" fmla="*/ 1453515 h 1447800"/>
                <a:gd name="connsiteX435" fmla="*/ 192405 w 1714500"/>
                <a:gd name="connsiteY435" fmla="*/ 1451610 h 1447800"/>
                <a:gd name="connsiteX436" fmla="*/ 191453 w 1714500"/>
                <a:gd name="connsiteY436" fmla="*/ 1448752 h 1447800"/>
                <a:gd name="connsiteX437" fmla="*/ 192405 w 1714500"/>
                <a:gd name="connsiteY437" fmla="*/ 1443038 h 1447800"/>
                <a:gd name="connsiteX438" fmla="*/ 193357 w 1714500"/>
                <a:gd name="connsiteY438" fmla="*/ 1440180 h 1447800"/>
                <a:gd name="connsiteX439" fmla="*/ 194310 w 1714500"/>
                <a:gd name="connsiteY439" fmla="*/ 1438275 h 1447800"/>
                <a:gd name="connsiteX440" fmla="*/ 203835 w 1714500"/>
                <a:gd name="connsiteY440" fmla="*/ 1429702 h 1447800"/>
                <a:gd name="connsiteX441" fmla="*/ 205740 w 1714500"/>
                <a:gd name="connsiteY441" fmla="*/ 1427798 h 1447800"/>
                <a:gd name="connsiteX442" fmla="*/ 208597 w 1714500"/>
                <a:gd name="connsiteY442" fmla="*/ 1423035 h 1447800"/>
                <a:gd name="connsiteX443" fmla="*/ 210503 w 1714500"/>
                <a:gd name="connsiteY443" fmla="*/ 1419225 h 1447800"/>
                <a:gd name="connsiteX444" fmla="*/ 211455 w 1714500"/>
                <a:gd name="connsiteY444" fmla="*/ 1414463 h 1447800"/>
                <a:gd name="connsiteX445" fmla="*/ 212407 w 1714500"/>
                <a:gd name="connsiteY445" fmla="*/ 1411605 h 1447800"/>
                <a:gd name="connsiteX446" fmla="*/ 216218 w 1714500"/>
                <a:gd name="connsiteY446" fmla="*/ 1411605 h 1447800"/>
                <a:gd name="connsiteX447" fmla="*/ 218122 w 1714500"/>
                <a:gd name="connsiteY447" fmla="*/ 1410652 h 1447800"/>
                <a:gd name="connsiteX448" fmla="*/ 220980 w 1714500"/>
                <a:gd name="connsiteY448" fmla="*/ 1406843 h 1447800"/>
                <a:gd name="connsiteX449" fmla="*/ 223838 w 1714500"/>
                <a:gd name="connsiteY449" fmla="*/ 1403033 h 1447800"/>
                <a:gd name="connsiteX450" fmla="*/ 225743 w 1714500"/>
                <a:gd name="connsiteY450" fmla="*/ 1399223 h 1447800"/>
                <a:gd name="connsiteX451" fmla="*/ 225743 w 1714500"/>
                <a:gd name="connsiteY451" fmla="*/ 1392555 h 1447800"/>
                <a:gd name="connsiteX452" fmla="*/ 225743 w 1714500"/>
                <a:gd name="connsiteY452" fmla="*/ 1388745 h 1447800"/>
                <a:gd name="connsiteX453" fmla="*/ 222885 w 1714500"/>
                <a:gd name="connsiteY453" fmla="*/ 1378268 h 1447800"/>
                <a:gd name="connsiteX454" fmla="*/ 215265 w 1714500"/>
                <a:gd name="connsiteY454" fmla="*/ 1362075 h 1447800"/>
                <a:gd name="connsiteX455" fmla="*/ 205740 w 1714500"/>
                <a:gd name="connsiteY455" fmla="*/ 1349693 h 1447800"/>
                <a:gd name="connsiteX456" fmla="*/ 200025 w 1714500"/>
                <a:gd name="connsiteY456" fmla="*/ 1341120 h 1447800"/>
                <a:gd name="connsiteX457" fmla="*/ 195263 w 1714500"/>
                <a:gd name="connsiteY457" fmla="*/ 1331595 h 1447800"/>
                <a:gd name="connsiteX458" fmla="*/ 194310 w 1714500"/>
                <a:gd name="connsiteY458" fmla="*/ 1327785 h 1447800"/>
                <a:gd name="connsiteX459" fmla="*/ 193357 w 1714500"/>
                <a:gd name="connsiteY459" fmla="*/ 1321118 h 1447800"/>
                <a:gd name="connsiteX460" fmla="*/ 193357 w 1714500"/>
                <a:gd name="connsiteY460" fmla="*/ 1298258 h 1447800"/>
                <a:gd name="connsiteX461" fmla="*/ 192405 w 1714500"/>
                <a:gd name="connsiteY461" fmla="*/ 1295400 h 1447800"/>
                <a:gd name="connsiteX462" fmla="*/ 191453 w 1714500"/>
                <a:gd name="connsiteY462" fmla="*/ 1292543 h 1447800"/>
                <a:gd name="connsiteX463" fmla="*/ 187643 w 1714500"/>
                <a:gd name="connsiteY463" fmla="*/ 1290638 h 1447800"/>
                <a:gd name="connsiteX464" fmla="*/ 164782 w 1714500"/>
                <a:gd name="connsiteY464" fmla="*/ 1281113 h 1447800"/>
                <a:gd name="connsiteX465" fmla="*/ 147638 w 1714500"/>
                <a:gd name="connsiteY465" fmla="*/ 1268730 h 1447800"/>
                <a:gd name="connsiteX466" fmla="*/ 143828 w 1714500"/>
                <a:gd name="connsiteY466" fmla="*/ 1264920 h 1447800"/>
                <a:gd name="connsiteX467" fmla="*/ 140018 w 1714500"/>
                <a:gd name="connsiteY467" fmla="*/ 1261110 h 1447800"/>
                <a:gd name="connsiteX468" fmla="*/ 139065 w 1714500"/>
                <a:gd name="connsiteY468" fmla="*/ 1257300 h 1447800"/>
                <a:gd name="connsiteX469" fmla="*/ 139065 w 1714500"/>
                <a:gd name="connsiteY469" fmla="*/ 1253490 h 1447800"/>
                <a:gd name="connsiteX470" fmla="*/ 140018 w 1714500"/>
                <a:gd name="connsiteY470" fmla="*/ 1245870 h 1447800"/>
                <a:gd name="connsiteX471" fmla="*/ 140970 w 1714500"/>
                <a:gd name="connsiteY471" fmla="*/ 1242060 h 1447800"/>
                <a:gd name="connsiteX472" fmla="*/ 143828 w 1714500"/>
                <a:gd name="connsiteY472" fmla="*/ 1239202 h 1447800"/>
                <a:gd name="connsiteX473" fmla="*/ 152400 w 1714500"/>
                <a:gd name="connsiteY473" fmla="*/ 1234440 h 1447800"/>
                <a:gd name="connsiteX474" fmla="*/ 154305 w 1714500"/>
                <a:gd name="connsiteY474" fmla="*/ 1232535 h 1447800"/>
                <a:gd name="connsiteX475" fmla="*/ 155257 w 1714500"/>
                <a:gd name="connsiteY475" fmla="*/ 1230630 h 1447800"/>
                <a:gd name="connsiteX476" fmla="*/ 156210 w 1714500"/>
                <a:gd name="connsiteY476" fmla="*/ 1227773 h 1447800"/>
                <a:gd name="connsiteX477" fmla="*/ 153353 w 1714500"/>
                <a:gd name="connsiteY477" fmla="*/ 1224915 h 1447800"/>
                <a:gd name="connsiteX478" fmla="*/ 151447 w 1714500"/>
                <a:gd name="connsiteY478" fmla="*/ 1223010 h 1447800"/>
                <a:gd name="connsiteX479" fmla="*/ 148590 w 1714500"/>
                <a:gd name="connsiteY479" fmla="*/ 1222058 h 1447800"/>
                <a:gd name="connsiteX480" fmla="*/ 144780 w 1714500"/>
                <a:gd name="connsiteY480" fmla="*/ 1219200 h 1447800"/>
                <a:gd name="connsiteX481" fmla="*/ 141922 w 1714500"/>
                <a:gd name="connsiteY481" fmla="*/ 1216343 h 1447800"/>
                <a:gd name="connsiteX482" fmla="*/ 137160 w 1714500"/>
                <a:gd name="connsiteY482" fmla="*/ 1209675 h 1447800"/>
                <a:gd name="connsiteX483" fmla="*/ 133350 w 1714500"/>
                <a:gd name="connsiteY483" fmla="*/ 1207770 h 1447800"/>
                <a:gd name="connsiteX484" fmla="*/ 130493 w 1714500"/>
                <a:gd name="connsiteY484" fmla="*/ 1206818 h 1447800"/>
                <a:gd name="connsiteX485" fmla="*/ 116205 w 1714500"/>
                <a:gd name="connsiteY485" fmla="*/ 1207770 h 1447800"/>
                <a:gd name="connsiteX486" fmla="*/ 97155 w 1714500"/>
                <a:gd name="connsiteY486" fmla="*/ 1204913 h 1447800"/>
                <a:gd name="connsiteX487" fmla="*/ 94297 w 1714500"/>
                <a:gd name="connsiteY487" fmla="*/ 1203960 h 1447800"/>
                <a:gd name="connsiteX488" fmla="*/ 92393 w 1714500"/>
                <a:gd name="connsiteY488" fmla="*/ 1197293 h 1447800"/>
                <a:gd name="connsiteX489" fmla="*/ 82868 w 1714500"/>
                <a:gd name="connsiteY489" fmla="*/ 1147763 h 1447800"/>
                <a:gd name="connsiteX490" fmla="*/ 80010 w 1714500"/>
                <a:gd name="connsiteY490" fmla="*/ 1141095 h 1447800"/>
                <a:gd name="connsiteX491" fmla="*/ 78105 w 1714500"/>
                <a:gd name="connsiteY491" fmla="*/ 1139190 h 1447800"/>
                <a:gd name="connsiteX492" fmla="*/ 64770 w 1714500"/>
                <a:gd name="connsiteY492" fmla="*/ 1136333 h 1447800"/>
                <a:gd name="connsiteX493" fmla="*/ 60960 w 1714500"/>
                <a:gd name="connsiteY493" fmla="*/ 1132523 h 1447800"/>
                <a:gd name="connsiteX494" fmla="*/ 58103 w 1714500"/>
                <a:gd name="connsiteY494" fmla="*/ 1125855 h 1447800"/>
                <a:gd name="connsiteX495" fmla="*/ 57150 w 1714500"/>
                <a:gd name="connsiteY495" fmla="*/ 1119188 h 1447800"/>
                <a:gd name="connsiteX496" fmla="*/ 57150 w 1714500"/>
                <a:gd name="connsiteY496" fmla="*/ 1115377 h 1447800"/>
                <a:gd name="connsiteX497" fmla="*/ 59055 w 1714500"/>
                <a:gd name="connsiteY497" fmla="*/ 1111568 h 1447800"/>
                <a:gd name="connsiteX498" fmla="*/ 60960 w 1714500"/>
                <a:gd name="connsiteY498" fmla="*/ 1109663 h 1447800"/>
                <a:gd name="connsiteX499" fmla="*/ 66675 w 1714500"/>
                <a:gd name="connsiteY499" fmla="*/ 1104900 h 1447800"/>
                <a:gd name="connsiteX500" fmla="*/ 68580 w 1714500"/>
                <a:gd name="connsiteY500" fmla="*/ 1102043 h 1447800"/>
                <a:gd name="connsiteX501" fmla="*/ 68580 w 1714500"/>
                <a:gd name="connsiteY501" fmla="*/ 1098233 h 1447800"/>
                <a:gd name="connsiteX502" fmla="*/ 66675 w 1714500"/>
                <a:gd name="connsiteY502" fmla="*/ 1091565 h 1447800"/>
                <a:gd name="connsiteX503" fmla="*/ 63818 w 1714500"/>
                <a:gd name="connsiteY503" fmla="*/ 1084898 h 1447800"/>
                <a:gd name="connsiteX504" fmla="*/ 60007 w 1714500"/>
                <a:gd name="connsiteY504" fmla="*/ 1081088 h 1447800"/>
                <a:gd name="connsiteX505" fmla="*/ 55245 w 1714500"/>
                <a:gd name="connsiteY505" fmla="*/ 1078230 h 1447800"/>
                <a:gd name="connsiteX506" fmla="*/ 52388 w 1714500"/>
                <a:gd name="connsiteY506" fmla="*/ 1077277 h 1447800"/>
                <a:gd name="connsiteX507" fmla="*/ 43815 w 1714500"/>
                <a:gd name="connsiteY507" fmla="*/ 1077277 h 1447800"/>
                <a:gd name="connsiteX508" fmla="*/ 41910 w 1714500"/>
                <a:gd name="connsiteY508" fmla="*/ 1076325 h 1447800"/>
                <a:gd name="connsiteX509" fmla="*/ 34290 w 1714500"/>
                <a:gd name="connsiteY509" fmla="*/ 1069658 h 1447800"/>
                <a:gd name="connsiteX510" fmla="*/ 23813 w 1714500"/>
                <a:gd name="connsiteY510" fmla="*/ 1063943 h 1447800"/>
                <a:gd name="connsiteX511" fmla="*/ 22860 w 1714500"/>
                <a:gd name="connsiteY511" fmla="*/ 1062038 h 1447800"/>
                <a:gd name="connsiteX512" fmla="*/ 22860 w 1714500"/>
                <a:gd name="connsiteY512" fmla="*/ 1059180 h 1447800"/>
                <a:gd name="connsiteX513" fmla="*/ 25718 w 1714500"/>
                <a:gd name="connsiteY513" fmla="*/ 1054418 h 1447800"/>
                <a:gd name="connsiteX514" fmla="*/ 27622 w 1714500"/>
                <a:gd name="connsiteY514" fmla="*/ 1050608 h 1447800"/>
                <a:gd name="connsiteX515" fmla="*/ 31432 w 1714500"/>
                <a:gd name="connsiteY515" fmla="*/ 1039177 h 1447800"/>
                <a:gd name="connsiteX516" fmla="*/ 34290 w 1714500"/>
                <a:gd name="connsiteY516" fmla="*/ 1036320 h 1447800"/>
                <a:gd name="connsiteX517" fmla="*/ 37147 w 1714500"/>
                <a:gd name="connsiteY517" fmla="*/ 1034415 h 1447800"/>
                <a:gd name="connsiteX518" fmla="*/ 40005 w 1714500"/>
                <a:gd name="connsiteY518" fmla="*/ 1034415 h 1447800"/>
                <a:gd name="connsiteX519" fmla="*/ 41910 w 1714500"/>
                <a:gd name="connsiteY519" fmla="*/ 1032510 h 1447800"/>
                <a:gd name="connsiteX520" fmla="*/ 42863 w 1714500"/>
                <a:gd name="connsiteY520" fmla="*/ 1028700 h 1447800"/>
                <a:gd name="connsiteX521" fmla="*/ 41910 w 1714500"/>
                <a:gd name="connsiteY521" fmla="*/ 1020127 h 1447800"/>
                <a:gd name="connsiteX522" fmla="*/ 39053 w 1714500"/>
                <a:gd name="connsiteY522" fmla="*/ 1014413 h 1447800"/>
                <a:gd name="connsiteX523" fmla="*/ 35243 w 1714500"/>
                <a:gd name="connsiteY523" fmla="*/ 1010602 h 1447800"/>
                <a:gd name="connsiteX524" fmla="*/ 29528 w 1714500"/>
                <a:gd name="connsiteY524" fmla="*/ 1008698 h 1447800"/>
                <a:gd name="connsiteX525" fmla="*/ 13335 w 1714500"/>
                <a:gd name="connsiteY525" fmla="*/ 1008698 h 1447800"/>
                <a:gd name="connsiteX526" fmla="*/ 10478 w 1714500"/>
                <a:gd name="connsiteY526" fmla="*/ 1007745 h 1447800"/>
                <a:gd name="connsiteX527" fmla="*/ 5715 w 1714500"/>
                <a:gd name="connsiteY527" fmla="*/ 1004888 h 1447800"/>
                <a:gd name="connsiteX528" fmla="*/ 1905 w 1714500"/>
                <a:gd name="connsiteY528" fmla="*/ 1000125 h 1447800"/>
                <a:gd name="connsiteX529" fmla="*/ 0 w 1714500"/>
                <a:gd name="connsiteY529" fmla="*/ 993458 h 1447800"/>
                <a:gd name="connsiteX530" fmla="*/ 0 w 1714500"/>
                <a:gd name="connsiteY530" fmla="*/ 987743 h 1447800"/>
                <a:gd name="connsiteX531" fmla="*/ 953 w 1714500"/>
                <a:gd name="connsiteY531" fmla="*/ 982980 h 1447800"/>
                <a:gd name="connsiteX532" fmla="*/ 2857 w 1714500"/>
                <a:gd name="connsiteY532" fmla="*/ 978218 h 1447800"/>
                <a:gd name="connsiteX533" fmla="*/ 8572 w 1714500"/>
                <a:gd name="connsiteY533" fmla="*/ 968693 h 1447800"/>
                <a:gd name="connsiteX534" fmla="*/ 13335 w 1714500"/>
                <a:gd name="connsiteY534" fmla="*/ 965835 h 1447800"/>
                <a:gd name="connsiteX535" fmla="*/ 31432 w 1714500"/>
                <a:gd name="connsiteY535" fmla="*/ 954405 h 1447800"/>
                <a:gd name="connsiteX536" fmla="*/ 40957 w 1714500"/>
                <a:gd name="connsiteY536" fmla="*/ 950595 h 1447800"/>
                <a:gd name="connsiteX537" fmla="*/ 42863 w 1714500"/>
                <a:gd name="connsiteY537" fmla="*/ 947738 h 1447800"/>
                <a:gd name="connsiteX538" fmla="*/ 43815 w 1714500"/>
                <a:gd name="connsiteY538" fmla="*/ 943927 h 1447800"/>
                <a:gd name="connsiteX539" fmla="*/ 42863 w 1714500"/>
                <a:gd name="connsiteY539" fmla="*/ 930593 h 1447800"/>
                <a:gd name="connsiteX540" fmla="*/ 42863 w 1714500"/>
                <a:gd name="connsiteY540" fmla="*/ 926783 h 1447800"/>
                <a:gd name="connsiteX541" fmla="*/ 46672 w 1714500"/>
                <a:gd name="connsiteY541" fmla="*/ 922973 h 1447800"/>
                <a:gd name="connsiteX542" fmla="*/ 48578 w 1714500"/>
                <a:gd name="connsiteY542" fmla="*/ 921068 h 1447800"/>
                <a:gd name="connsiteX543" fmla="*/ 59055 w 1714500"/>
                <a:gd name="connsiteY543" fmla="*/ 915352 h 1447800"/>
                <a:gd name="connsiteX544" fmla="*/ 60007 w 1714500"/>
                <a:gd name="connsiteY544" fmla="*/ 913448 h 1447800"/>
                <a:gd name="connsiteX545" fmla="*/ 60960 w 1714500"/>
                <a:gd name="connsiteY545" fmla="*/ 909638 h 1447800"/>
                <a:gd name="connsiteX546" fmla="*/ 59055 w 1714500"/>
                <a:gd name="connsiteY546" fmla="*/ 901065 h 1447800"/>
                <a:gd name="connsiteX547" fmla="*/ 58103 w 1714500"/>
                <a:gd name="connsiteY547" fmla="*/ 896302 h 1447800"/>
                <a:gd name="connsiteX548" fmla="*/ 57150 w 1714500"/>
                <a:gd name="connsiteY548" fmla="*/ 892493 h 1447800"/>
                <a:gd name="connsiteX549" fmla="*/ 57150 w 1714500"/>
                <a:gd name="connsiteY549" fmla="*/ 888683 h 1447800"/>
                <a:gd name="connsiteX550" fmla="*/ 59055 w 1714500"/>
                <a:gd name="connsiteY550" fmla="*/ 884873 h 1447800"/>
                <a:gd name="connsiteX551" fmla="*/ 62865 w 1714500"/>
                <a:gd name="connsiteY551" fmla="*/ 879158 h 1447800"/>
                <a:gd name="connsiteX552" fmla="*/ 62865 w 1714500"/>
                <a:gd name="connsiteY552" fmla="*/ 875348 h 1447800"/>
                <a:gd name="connsiteX553" fmla="*/ 61913 w 1714500"/>
                <a:gd name="connsiteY553" fmla="*/ 871538 h 1447800"/>
                <a:gd name="connsiteX554" fmla="*/ 59055 w 1714500"/>
                <a:gd name="connsiteY554" fmla="*/ 866775 h 1447800"/>
                <a:gd name="connsiteX555" fmla="*/ 56197 w 1714500"/>
                <a:gd name="connsiteY555" fmla="*/ 863918 h 1447800"/>
                <a:gd name="connsiteX556" fmla="*/ 53340 w 1714500"/>
                <a:gd name="connsiteY556" fmla="*/ 862013 h 1447800"/>
                <a:gd name="connsiteX557" fmla="*/ 45720 w 1714500"/>
                <a:gd name="connsiteY557" fmla="*/ 857250 h 1447800"/>
                <a:gd name="connsiteX558" fmla="*/ 42863 w 1714500"/>
                <a:gd name="connsiteY558" fmla="*/ 856298 h 1447800"/>
                <a:gd name="connsiteX559" fmla="*/ 42863 w 1714500"/>
                <a:gd name="connsiteY559" fmla="*/ 849630 h 1447800"/>
                <a:gd name="connsiteX560" fmla="*/ 55245 w 1714500"/>
                <a:gd name="connsiteY560" fmla="*/ 836295 h 1447800"/>
                <a:gd name="connsiteX561" fmla="*/ 75247 w 1714500"/>
                <a:gd name="connsiteY561" fmla="*/ 842010 h 1447800"/>
                <a:gd name="connsiteX562" fmla="*/ 80010 w 1714500"/>
                <a:gd name="connsiteY562" fmla="*/ 846773 h 1447800"/>
                <a:gd name="connsiteX563" fmla="*/ 79057 w 1714500"/>
                <a:gd name="connsiteY563" fmla="*/ 849630 h 1447800"/>
                <a:gd name="connsiteX564" fmla="*/ 75247 w 1714500"/>
                <a:gd name="connsiteY564" fmla="*/ 851535 h 1447800"/>
                <a:gd name="connsiteX565" fmla="*/ 72390 w 1714500"/>
                <a:gd name="connsiteY565" fmla="*/ 853440 h 1447800"/>
                <a:gd name="connsiteX566" fmla="*/ 71438 w 1714500"/>
                <a:gd name="connsiteY566" fmla="*/ 856298 h 1447800"/>
                <a:gd name="connsiteX567" fmla="*/ 72390 w 1714500"/>
                <a:gd name="connsiteY567" fmla="*/ 862013 h 1447800"/>
                <a:gd name="connsiteX568" fmla="*/ 74295 w 1714500"/>
                <a:gd name="connsiteY568" fmla="*/ 865823 h 1447800"/>
                <a:gd name="connsiteX569" fmla="*/ 78105 w 1714500"/>
                <a:gd name="connsiteY569" fmla="*/ 870585 h 1447800"/>
                <a:gd name="connsiteX570" fmla="*/ 88582 w 1714500"/>
                <a:gd name="connsiteY570" fmla="*/ 878205 h 1447800"/>
                <a:gd name="connsiteX571" fmla="*/ 97155 w 1714500"/>
                <a:gd name="connsiteY571" fmla="*/ 882015 h 1447800"/>
                <a:gd name="connsiteX572" fmla="*/ 128588 w 1714500"/>
                <a:gd name="connsiteY572" fmla="*/ 878205 h 1447800"/>
                <a:gd name="connsiteX573" fmla="*/ 141922 w 1714500"/>
                <a:gd name="connsiteY573" fmla="*/ 879158 h 1447800"/>
                <a:gd name="connsiteX574" fmla="*/ 145732 w 1714500"/>
                <a:gd name="connsiteY574" fmla="*/ 877252 h 1447800"/>
                <a:gd name="connsiteX575" fmla="*/ 147638 w 1714500"/>
                <a:gd name="connsiteY575" fmla="*/ 874395 h 1447800"/>
                <a:gd name="connsiteX576" fmla="*/ 145732 w 1714500"/>
                <a:gd name="connsiteY576" fmla="*/ 865823 h 1447800"/>
                <a:gd name="connsiteX577" fmla="*/ 146685 w 1714500"/>
                <a:gd name="connsiteY577" fmla="*/ 862965 h 1447800"/>
                <a:gd name="connsiteX578" fmla="*/ 146685 w 1714500"/>
                <a:gd name="connsiteY578" fmla="*/ 860108 h 1447800"/>
                <a:gd name="connsiteX579" fmla="*/ 149543 w 1714500"/>
                <a:gd name="connsiteY579" fmla="*/ 856298 h 1447800"/>
                <a:gd name="connsiteX580" fmla="*/ 157163 w 1714500"/>
                <a:gd name="connsiteY580" fmla="*/ 848677 h 1447800"/>
                <a:gd name="connsiteX581" fmla="*/ 160972 w 1714500"/>
                <a:gd name="connsiteY581" fmla="*/ 844868 h 1447800"/>
                <a:gd name="connsiteX582" fmla="*/ 165735 w 1714500"/>
                <a:gd name="connsiteY582" fmla="*/ 837248 h 1447800"/>
                <a:gd name="connsiteX583" fmla="*/ 166688 w 1714500"/>
                <a:gd name="connsiteY583" fmla="*/ 833438 h 1447800"/>
                <a:gd name="connsiteX584" fmla="*/ 169545 w 1714500"/>
                <a:gd name="connsiteY584" fmla="*/ 824865 h 1447800"/>
                <a:gd name="connsiteX585" fmla="*/ 172403 w 1714500"/>
                <a:gd name="connsiteY585" fmla="*/ 820102 h 1447800"/>
                <a:gd name="connsiteX586" fmla="*/ 179070 w 1714500"/>
                <a:gd name="connsiteY586" fmla="*/ 817245 h 1447800"/>
                <a:gd name="connsiteX587" fmla="*/ 190500 w 1714500"/>
                <a:gd name="connsiteY587" fmla="*/ 808673 h 1447800"/>
                <a:gd name="connsiteX588" fmla="*/ 195263 w 1714500"/>
                <a:gd name="connsiteY588" fmla="*/ 806768 h 1447800"/>
                <a:gd name="connsiteX589" fmla="*/ 213360 w 1714500"/>
                <a:gd name="connsiteY589" fmla="*/ 806768 h 1447800"/>
                <a:gd name="connsiteX590" fmla="*/ 218122 w 1714500"/>
                <a:gd name="connsiteY590" fmla="*/ 805815 h 1447800"/>
                <a:gd name="connsiteX591" fmla="*/ 221932 w 1714500"/>
                <a:gd name="connsiteY591" fmla="*/ 803910 h 1447800"/>
                <a:gd name="connsiteX592" fmla="*/ 227647 w 1714500"/>
                <a:gd name="connsiteY592" fmla="*/ 795338 h 1447800"/>
                <a:gd name="connsiteX593" fmla="*/ 231457 w 1714500"/>
                <a:gd name="connsiteY593" fmla="*/ 790575 h 1447800"/>
                <a:gd name="connsiteX594" fmla="*/ 235268 w 1714500"/>
                <a:gd name="connsiteY594" fmla="*/ 788670 h 1447800"/>
                <a:gd name="connsiteX595" fmla="*/ 239078 w 1714500"/>
                <a:gd name="connsiteY595" fmla="*/ 789623 h 1447800"/>
                <a:gd name="connsiteX596" fmla="*/ 242888 w 1714500"/>
                <a:gd name="connsiteY596" fmla="*/ 790575 h 1447800"/>
                <a:gd name="connsiteX597" fmla="*/ 258128 w 1714500"/>
                <a:gd name="connsiteY597" fmla="*/ 791527 h 1447800"/>
                <a:gd name="connsiteX598" fmla="*/ 260985 w 1714500"/>
                <a:gd name="connsiteY598" fmla="*/ 792480 h 1447800"/>
                <a:gd name="connsiteX599" fmla="*/ 266700 w 1714500"/>
                <a:gd name="connsiteY599" fmla="*/ 795338 h 1447800"/>
                <a:gd name="connsiteX600" fmla="*/ 268605 w 1714500"/>
                <a:gd name="connsiteY600" fmla="*/ 796290 h 1447800"/>
                <a:gd name="connsiteX601" fmla="*/ 273368 w 1714500"/>
                <a:gd name="connsiteY601" fmla="*/ 797243 h 1447800"/>
                <a:gd name="connsiteX602" fmla="*/ 276225 w 1714500"/>
                <a:gd name="connsiteY602" fmla="*/ 796290 h 1447800"/>
                <a:gd name="connsiteX603" fmla="*/ 276225 w 1714500"/>
                <a:gd name="connsiteY603" fmla="*/ 793433 h 1447800"/>
                <a:gd name="connsiteX604" fmla="*/ 274320 w 1714500"/>
                <a:gd name="connsiteY604" fmla="*/ 788670 h 1447800"/>
                <a:gd name="connsiteX605" fmla="*/ 271463 w 1714500"/>
                <a:gd name="connsiteY605" fmla="*/ 782002 h 1447800"/>
                <a:gd name="connsiteX606" fmla="*/ 269557 w 1714500"/>
                <a:gd name="connsiteY606" fmla="*/ 778193 h 1447800"/>
                <a:gd name="connsiteX607" fmla="*/ 269557 w 1714500"/>
                <a:gd name="connsiteY607" fmla="*/ 776288 h 1447800"/>
                <a:gd name="connsiteX608" fmla="*/ 271463 w 1714500"/>
                <a:gd name="connsiteY608" fmla="*/ 773430 h 1447800"/>
                <a:gd name="connsiteX609" fmla="*/ 275272 w 1714500"/>
                <a:gd name="connsiteY609" fmla="*/ 769620 h 1447800"/>
                <a:gd name="connsiteX610" fmla="*/ 282893 w 1714500"/>
                <a:gd name="connsiteY610" fmla="*/ 765810 h 1447800"/>
                <a:gd name="connsiteX611" fmla="*/ 286703 w 1714500"/>
                <a:gd name="connsiteY611" fmla="*/ 761048 h 1447800"/>
                <a:gd name="connsiteX612" fmla="*/ 292418 w 1714500"/>
                <a:gd name="connsiteY612" fmla="*/ 754380 h 1447800"/>
                <a:gd name="connsiteX613" fmla="*/ 295275 w 1714500"/>
                <a:gd name="connsiteY613" fmla="*/ 753427 h 1447800"/>
                <a:gd name="connsiteX614" fmla="*/ 298132 w 1714500"/>
                <a:gd name="connsiteY614" fmla="*/ 753427 h 1447800"/>
                <a:gd name="connsiteX615" fmla="*/ 309563 w 1714500"/>
                <a:gd name="connsiteY615" fmla="*/ 758190 h 1447800"/>
                <a:gd name="connsiteX616" fmla="*/ 311468 w 1714500"/>
                <a:gd name="connsiteY616" fmla="*/ 760095 h 1447800"/>
                <a:gd name="connsiteX617" fmla="*/ 311468 w 1714500"/>
                <a:gd name="connsiteY617" fmla="*/ 762000 h 1447800"/>
                <a:gd name="connsiteX618" fmla="*/ 310515 w 1714500"/>
                <a:gd name="connsiteY618" fmla="*/ 764858 h 1447800"/>
                <a:gd name="connsiteX619" fmla="*/ 304800 w 1714500"/>
                <a:gd name="connsiteY619" fmla="*/ 774383 h 1447800"/>
                <a:gd name="connsiteX620" fmla="*/ 301943 w 1714500"/>
                <a:gd name="connsiteY620" fmla="*/ 779145 h 1447800"/>
                <a:gd name="connsiteX621" fmla="*/ 300990 w 1714500"/>
                <a:gd name="connsiteY621" fmla="*/ 782955 h 1447800"/>
                <a:gd name="connsiteX622" fmla="*/ 300990 w 1714500"/>
                <a:gd name="connsiteY622" fmla="*/ 785813 h 1447800"/>
                <a:gd name="connsiteX623" fmla="*/ 301943 w 1714500"/>
                <a:gd name="connsiteY623" fmla="*/ 787718 h 1447800"/>
                <a:gd name="connsiteX624" fmla="*/ 303847 w 1714500"/>
                <a:gd name="connsiteY624" fmla="*/ 789623 h 1447800"/>
                <a:gd name="connsiteX625" fmla="*/ 306705 w 1714500"/>
                <a:gd name="connsiteY625" fmla="*/ 791527 h 1447800"/>
                <a:gd name="connsiteX626" fmla="*/ 399097 w 1714500"/>
                <a:gd name="connsiteY626" fmla="*/ 810577 h 1447800"/>
                <a:gd name="connsiteX627" fmla="*/ 402907 w 1714500"/>
                <a:gd name="connsiteY627" fmla="*/ 813435 h 1447800"/>
                <a:gd name="connsiteX628" fmla="*/ 403860 w 1714500"/>
                <a:gd name="connsiteY628" fmla="*/ 815340 h 1447800"/>
                <a:gd name="connsiteX629" fmla="*/ 403860 w 1714500"/>
                <a:gd name="connsiteY629" fmla="*/ 822008 h 1447800"/>
                <a:gd name="connsiteX630" fmla="*/ 403860 w 1714500"/>
                <a:gd name="connsiteY630" fmla="*/ 824865 h 1447800"/>
                <a:gd name="connsiteX631" fmla="*/ 406718 w 1714500"/>
                <a:gd name="connsiteY631" fmla="*/ 828675 h 1447800"/>
                <a:gd name="connsiteX632" fmla="*/ 411480 w 1714500"/>
                <a:gd name="connsiteY632" fmla="*/ 831533 h 1447800"/>
                <a:gd name="connsiteX633" fmla="*/ 416243 w 1714500"/>
                <a:gd name="connsiteY633" fmla="*/ 831533 h 1447800"/>
                <a:gd name="connsiteX634" fmla="*/ 419100 w 1714500"/>
                <a:gd name="connsiteY634" fmla="*/ 829627 h 1447800"/>
                <a:gd name="connsiteX635" fmla="*/ 420053 w 1714500"/>
                <a:gd name="connsiteY635" fmla="*/ 826770 h 1447800"/>
                <a:gd name="connsiteX636" fmla="*/ 430530 w 1714500"/>
                <a:gd name="connsiteY636" fmla="*/ 782955 h 1447800"/>
                <a:gd name="connsiteX637" fmla="*/ 433388 w 1714500"/>
                <a:gd name="connsiteY637" fmla="*/ 773430 h 1447800"/>
                <a:gd name="connsiteX638" fmla="*/ 434340 w 1714500"/>
                <a:gd name="connsiteY638" fmla="*/ 770573 h 1447800"/>
                <a:gd name="connsiteX639" fmla="*/ 434340 w 1714500"/>
                <a:gd name="connsiteY639" fmla="*/ 761048 h 1447800"/>
                <a:gd name="connsiteX640" fmla="*/ 434340 w 1714500"/>
                <a:gd name="connsiteY640" fmla="*/ 754380 h 1447800"/>
                <a:gd name="connsiteX641" fmla="*/ 436245 w 1714500"/>
                <a:gd name="connsiteY641" fmla="*/ 747713 h 1447800"/>
                <a:gd name="connsiteX642" fmla="*/ 438150 w 1714500"/>
                <a:gd name="connsiteY642" fmla="*/ 744855 h 1447800"/>
                <a:gd name="connsiteX643" fmla="*/ 440055 w 1714500"/>
                <a:gd name="connsiteY643" fmla="*/ 741045 h 1447800"/>
                <a:gd name="connsiteX644" fmla="*/ 445770 w 1714500"/>
                <a:gd name="connsiteY644" fmla="*/ 738188 h 1447800"/>
                <a:gd name="connsiteX645" fmla="*/ 449580 w 1714500"/>
                <a:gd name="connsiteY645" fmla="*/ 736283 h 1447800"/>
                <a:gd name="connsiteX646" fmla="*/ 453390 w 1714500"/>
                <a:gd name="connsiteY646" fmla="*/ 736283 h 1447800"/>
                <a:gd name="connsiteX647" fmla="*/ 456247 w 1714500"/>
                <a:gd name="connsiteY647" fmla="*/ 737235 h 1447800"/>
                <a:gd name="connsiteX648" fmla="*/ 461010 w 1714500"/>
                <a:gd name="connsiteY648" fmla="*/ 740093 h 1447800"/>
                <a:gd name="connsiteX649" fmla="*/ 466725 w 1714500"/>
                <a:gd name="connsiteY649" fmla="*/ 745808 h 1447800"/>
                <a:gd name="connsiteX650" fmla="*/ 471488 w 1714500"/>
                <a:gd name="connsiteY650" fmla="*/ 753427 h 1447800"/>
                <a:gd name="connsiteX651" fmla="*/ 475297 w 1714500"/>
                <a:gd name="connsiteY651" fmla="*/ 757238 h 1447800"/>
                <a:gd name="connsiteX652" fmla="*/ 479107 w 1714500"/>
                <a:gd name="connsiteY652" fmla="*/ 757238 h 1447800"/>
                <a:gd name="connsiteX653" fmla="*/ 496253 w 1714500"/>
                <a:gd name="connsiteY653" fmla="*/ 751523 h 1447800"/>
                <a:gd name="connsiteX654" fmla="*/ 499110 w 1714500"/>
                <a:gd name="connsiteY654" fmla="*/ 749618 h 1447800"/>
                <a:gd name="connsiteX655" fmla="*/ 504825 w 1714500"/>
                <a:gd name="connsiteY655" fmla="*/ 743902 h 1447800"/>
                <a:gd name="connsiteX656" fmla="*/ 507682 w 1714500"/>
                <a:gd name="connsiteY656" fmla="*/ 743902 h 1447800"/>
                <a:gd name="connsiteX657" fmla="*/ 509588 w 1714500"/>
                <a:gd name="connsiteY657" fmla="*/ 744855 h 1447800"/>
                <a:gd name="connsiteX658" fmla="*/ 524828 w 1714500"/>
                <a:gd name="connsiteY658" fmla="*/ 753427 h 1447800"/>
                <a:gd name="connsiteX659" fmla="*/ 527685 w 1714500"/>
                <a:gd name="connsiteY659" fmla="*/ 752475 h 1447800"/>
                <a:gd name="connsiteX660" fmla="*/ 529590 w 1714500"/>
                <a:gd name="connsiteY660" fmla="*/ 751523 h 1447800"/>
                <a:gd name="connsiteX661" fmla="*/ 532447 w 1714500"/>
                <a:gd name="connsiteY661" fmla="*/ 746760 h 1447800"/>
                <a:gd name="connsiteX662" fmla="*/ 539115 w 1714500"/>
                <a:gd name="connsiteY662" fmla="*/ 732473 h 1447800"/>
                <a:gd name="connsiteX663" fmla="*/ 541020 w 1714500"/>
                <a:gd name="connsiteY663" fmla="*/ 729615 h 1447800"/>
                <a:gd name="connsiteX664" fmla="*/ 543878 w 1714500"/>
                <a:gd name="connsiteY664" fmla="*/ 729615 h 1447800"/>
                <a:gd name="connsiteX665" fmla="*/ 545782 w 1714500"/>
                <a:gd name="connsiteY665" fmla="*/ 730568 h 1447800"/>
                <a:gd name="connsiteX666" fmla="*/ 549593 w 1714500"/>
                <a:gd name="connsiteY666" fmla="*/ 734377 h 1447800"/>
                <a:gd name="connsiteX667" fmla="*/ 553403 w 1714500"/>
                <a:gd name="connsiteY667" fmla="*/ 735330 h 1447800"/>
                <a:gd name="connsiteX668" fmla="*/ 560070 w 1714500"/>
                <a:gd name="connsiteY668" fmla="*/ 736283 h 1447800"/>
                <a:gd name="connsiteX669" fmla="*/ 567690 w 1714500"/>
                <a:gd name="connsiteY669" fmla="*/ 733425 h 1447800"/>
                <a:gd name="connsiteX670" fmla="*/ 572453 w 1714500"/>
                <a:gd name="connsiteY670" fmla="*/ 733425 h 1447800"/>
                <a:gd name="connsiteX671" fmla="*/ 575310 w 1714500"/>
                <a:gd name="connsiteY671" fmla="*/ 733425 h 1447800"/>
                <a:gd name="connsiteX672" fmla="*/ 579120 w 1714500"/>
                <a:gd name="connsiteY672" fmla="*/ 737235 h 1447800"/>
                <a:gd name="connsiteX673" fmla="*/ 589597 w 1714500"/>
                <a:gd name="connsiteY673" fmla="*/ 755333 h 1447800"/>
                <a:gd name="connsiteX674" fmla="*/ 591503 w 1714500"/>
                <a:gd name="connsiteY674" fmla="*/ 758190 h 1447800"/>
                <a:gd name="connsiteX675" fmla="*/ 594360 w 1714500"/>
                <a:gd name="connsiteY675" fmla="*/ 760095 h 1447800"/>
                <a:gd name="connsiteX676" fmla="*/ 597218 w 1714500"/>
                <a:gd name="connsiteY676" fmla="*/ 760095 h 1447800"/>
                <a:gd name="connsiteX677" fmla="*/ 600075 w 1714500"/>
                <a:gd name="connsiteY677" fmla="*/ 760095 h 1447800"/>
                <a:gd name="connsiteX678" fmla="*/ 609600 w 1714500"/>
                <a:gd name="connsiteY678" fmla="*/ 753427 h 1447800"/>
                <a:gd name="connsiteX679" fmla="*/ 626745 w 1714500"/>
                <a:gd name="connsiteY679" fmla="*/ 748665 h 1447800"/>
                <a:gd name="connsiteX680" fmla="*/ 628650 w 1714500"/>
                <a:gd name="connsiteY680" fmla="*/ 746760 h 1447800"/>
                <a:gd name="connsiteX681" fmla="*/ 634365 w 1714500"/>
                <a:gd name="connsiteY681" fmla="*/ 740093 h 1447800"/>
                <a:gd name="connsiteX682" fmla="*/ 637222 w 1714500"/>
                <a:gd name="connsiteY682" fmla="*/ 737235 h 1447800"/>
                <a:gd name="connsiteX683" fmla="*/ 641985 w 1714500"/>
                <a:gd name="connsiteY683" fmla="*/ 734377 h 1447800"/>
                <a:gd name="connsiteX684" fmla="*/ 644843 w 1714500"/>
                <a:gd name="connsiteY684" fmla="*/ 735330 h 1447800"/>
                <a:gd name="connsiteX685" fmla="*/ 653415 w 1714500"/>
                <a:gd name="connsiteY685" fmla="*/ 739140 h 1447800"/>
                <a:gd name="connsiteX686" fmla="*/ 659130 w 1714500"/>
                <a:gd name="connsiteY686" fmla="*/ 738188 h 1447800"/>
                <a:gd name="connsiteX687" fmla="*/ 661988 w 1714500"/>
                <a:gd name="connsiteY687" fmla="*/ 737235 h 1447800"/>
                <a:gd name="connsiteX688" fmla="*/ 667703 w 1714500"/>
                <a:gd name="connsiteY688" fmla="*/ 731520 h 1447800"/>
                <a:gd name="connsiteX689" fmla="*/ 672465 w 1714500"/>
                <a:gd name="connsiteY689" fmla="*/ 727710 h 1447800"/>
                <a:gd name="connsiteX690" fmla="*/ 676275 w 1714500"/>
                <a:gd name="connsiteY690" fmla="*/ 727710 h 1447800"/>
                <a:gd name="connsiteX691" fmla="*/ 678180 w 1714500"/>
                <a:gd name="connsiteY691" fmla="*/ 728663 h 1447800"/>
                <a:gd name="connsiteX692" fmla="*/ 681038 w 1714500"/>
                <a:gd name="connsiteY692" fmla="*/ 733425 h 1447800"/>
                <a:gd name="connsiteX693" fmla="*/ 682943 w 1714500"/>
                <a:gd name="connsiteY693" fmla="*/ 736283 h 1447800"/>
                <a:gd name="connsiteX694" fmla="*/ 686753 w 1714500"/>
                <a:gd name="connsiteY694" fmla="*/ 738188 h 1447800"/>
                <a:gd name="connsiteX695" fmla="*/ 693420 w 1714500"/>
                <a:gd name="connsiteY695" fmla="*/ 740093 h 1447800"/>
                <a:gd name="connsiteX696" fmla="*/ 697230 w 1714500"/>
                <a:gd name="connsiteY696" fmla="*/ 736283 h 1447800"/>
                <a:gd name="connsiteX697" fmla="*/ 699135 w 1714500"/>
                <a:gd name="connsiteY697" fmla="*/ 732473 h 1447800"/>
                <a:gd name="connsiteX698" fmla="*/ 699135 w 1714500"/>
                <a:gd name="connsiteY698" fmla="*/ 729615 h 1447800"/>
                <a:gd name="connsiteX699" fmla="*/ 699135 w 1714500"/>
                <a:gd name="connsiteY699" fmla="*/ 720090 h 1447800"/>
                <a:gd name="connsiteX700" fmla="*/ 699135 w 1714500"/>
                <a:gd name="connsiteY700" fmla="*/ 717233 h 1447800"/>
                <a:gd name="connsiteX701" fmla="*/ 701040 w 1714500"/>
                <a:gd name="connsiteY701" fmla="*/ 710565 h 1447800"/>
                <a:gd name="connsiteX702" fmla="*/ 713422 w 1714500"/>
                <a:gd name="connsiteY702" fmla="*/ 687705 h 1447800"/>
                <a:gd name="connsiteX703" fmla="*/ 719138 w 1714500"/>
                <a:gd name="connsiteY703" fmla="*/ 681038 h 1447800"/>
                <a:gd name="connsiteX704" fmla="*/ 728663 w 1714500"/>
                <a:gd name="connsiteY704" fmla="*/ 673418 h 1447800"/>
                <a:gd name="connsiteX705" fmla="*/ 730568 w 1714500"/>
                <a:gd name="connsiteY705" fmla="*/ 671513 h 1447800"/>
                <a:gd name="connsiteX706" fmla="*/ 735330 w 1714500"/>
                <a:gd name="connsiteY706" fmla="*/ 663893 h 1447800"/>
                <a:gd name="connsiteX707" fmla="*/ 741045 w 1714500"/>
                <a:gd name="connsiteY707" fmla="*/ 658177 h 1447800"/>
                <a:gd name="connsiteX708" fmla="*/ 754380 w 1714500"/>
                <a:gd name="connsiteY708" fmla="*/ 645795 h 1447800"/>
                <a:gd name="connsiteX709" fmla="*/ 757238 w 1714500"/>
                <a:gd name="connsiteY709" fmla="*/ 641033 h 1447800"/>
                <a:gd name="connsiteX710" fmla="*/ 760095 w 1714500"/>
                <a:gd name="connsiteY710" fmla="*/ 638175 h 1447800"/>
                <a:gd name="connsiteX711" fmla="*/ 782955 w 1714500"/>
                <a:gd name="connsiteY711" fmla="*/ 622935 h 1447800"/>
                <a:gd name="connsiteX712" fmla="*/ 785813 w 1714500"/>
                <a:gd name="connsiteY712" fmla="*/ 618173 h 1447800"/>
                <a:gd name="connsiteX713" fmla="*/ 788670 w 1714500"/>
                <a:gd name="connsiteY713" fmla="*/ 614363 h 1447800"/>
                <a:gd name="connsiteX714" fmla="*/ 797243 w 1714500"/>
                <a:gd name="connsiteY714" fmla="*/ 592455 h 1447800"/>
                <a:gd name="connsiteX715" fmla="*/ 800100 w 1714500"/>
                <a:gd name="connsiteY715" fmla="*/ 588645 h 1447800"/>
                <a:gd name="connsiteX716" fmla="*/ 804863 w 1714500"/>
                <a:gd name="connsiteY716" fmla="*/ 583883 h 1447800"/>
                <a:gd name="connsiteX717" fmla="*/ 821055 w 1714500"/>
                <a:gd name="connsiteY717" fmla="*/ 572453 h 1447800"/>
                <a:gd name="connsiteX718" fmla="*/ 823913 w 1714500"/>
                <a:gd name="connsiteY718" fmla="*/ 569595 h 1447800"/>
                <a:gd name="connsiteX719" fmla="*/ 824865 w 1714500"/>
                <a:gd name="connsiteY719" fmla="*/ 563880 h 1447800"/>
                <a:gd name="connsiteX720" fmla="*/ 825818 w 1714500"/>
                <a:gd name="connsiteY720" fmla="*/ 554355 h 1447800"/>
                <a:gd name="connsiteX721" fmla="*/ 825818 w 1714500"/>
                <a:gd name="connsiteY721" fmla="*/ 548640 h 1447800"/>
                <a:gd name="connsiteX722" fmla="*/ 824865 w 1714500"/>
                <a:gd name="connsiteY722" fmla="*/ 545783 h 1447800"/>
                <a:gd name="connsiteX723" fmla="*/ 822960 w 1714500"/>
                <a:gd name="connsiteY723" fmla="*/ 543878 h 1447800"/>
                <a:gd name="connsiteX724" fmla="*/ 821055 w 1714500"/>
                <a:gd name="connsiteY724" fmla="*/ 541973 h 1447800"/>
                <a:gd name="connsiteX725" fmla="*/ 814388 w 1714500"/>
                <a:gd name="connsiteY725" fmla="*/ 540068 h 1447800"/>
                <a:gd name="connsiteX726" fmla="*/ 812482 w 1714500"/>
                <a:gd name="connsiteY726" fmla="*/ 539115 h 1447800"/>
                <a:gd name="connsiteX727" fmla="*/ 810578 w 1714500"/>
                <a:gd name="connsiteY727" fmla="*/ 537210 h 1447800"/>
                <a:gd name="connsiteX728" fmla="*/ 809625 w 1714500"/>
                <a:gd name="connsiteY728" fmla="*/ 531495 h 1447800"/>
                <a:gd name="connsiteX729" fmla="*/ 809625 w 1714500"/>
                <a:gd name="connsiteY729" fmla="*/ 521970 h 1447800"/>
                <a:gd name="connsiteX730" fmla="*/ 810578 w 1714500"/>
                <a:gd name="connsiteY730" fmla="*/ 519113 h 1447800"/>
                <a:gd name="connsiteX731" fmla="*/ 813435 w 1714500"/>
                <a:gd name="connsiteY731" fmla="*/ 515303 h 1447800"/>
                <a:gd name="connsiteX732" fmla="*/ 819150 w 1714500"/>
                <a:gd name="connsiteY732" fmla="*/ 509588 h 1447800"/>
                <a:gd name="connsiteX733" fmla="*/ 821055 w 1714500"/>
                <a:gd name="connsiteY733" fmla="*/ 506730 h 1447800"/>
                <a:gd name="connsiteX734" fmla="*/ 827722 w 1714500"/>
                <a:gd name="connsiteY734" fmla="*/ 488633 h 1447800"/>
                <a:gd name="connsiteX735" fmla="*/ 833438 w 1714500"/>
                <a:gd name="connsiteY735" fmla="*/ 478155 h 1447800"/>
                <a:gd name="connsiteX736" fmla="*/ 834390 w 1714500"/>
                <a:gd name="connsiteY736" fmla="*/ 471488 h 1447800"/>
                <a:gd name="connsiteX737" fmla="*/ 834390 w 1714500"/>
                <a:gd name="connsiteY737" fmla="*/ 468630 h 1447800"/>
                <a:gd name="connsiteX738" fmla="*/ 831532 w 1714500"/>
                <a:gd name="connsiteY738" fmla="*/ 461010 h 1447800"/>
                <a:gd name="connsiteX739" fmla="*/ 831532 w 1714500"/>
                <a:gd name="connsiteY739" fmla="*/ 459105 h 1447800"/>
                <a:gd name="connsiteX740" fmla="*/ 831532 w 1714500"/>
                <a:gd name="connsiteY740" fmla="*/ 456248 h 1447800"/>
                <a:gd name="connsiteX741" fmla="*/ 832485 w 1714500"/>
                <a:gd name="connsiteY741" fmla="*/ 453390 h 1447800"/>
                <a:gd name="connsiteX742" fmla="*/ 840105 w 1714500"/>
                <a:gd name="connsiteY742" fmla="*/ 441008 h 1447800"/>
                <a:gd name="connsiteX743" fmla="*/ 841057 w 1714500"/>
                <a:gd name="connsiteY743" fmla="*/ 438150 h 1447800"/>
                <a:gd name="connsiteX744" fmla="*/ 845820 w 1714500"/>
                <a:gd name="connsiteY744" fmla="*/ 408623 h 1447800"/>
                <a:gd name="connsiteX745" fmla="*/ 845820 w 1714500"/>
                <a:gd name="connsiteY745" fmla="*/ 405765 h 1447800"/>
                <a:gd name="connsiteX746" fmla="*/ 844868 w 1714500"/>
                <a:gd name="connsiteY746" fmla="*/ 402908 h 1447800"/>
                <a:gd name="connsiteX747" fmla="*/ 843915 w 1714500"/>
                <a:gd name="connsiteY747" fmla="*/ 401003 h 1447800"/>
                <a:gd name="connsiteX748" fmla="*/ 839153 w 1714500"/>
                <a:gd name="connsiteY748" fmla="*/ 397192 h 1447800"/>
                <a:gd name="connsiteX749" fmla="*/ 838200 w 1714500"/>
                <a:gd name="connsiteY749" fmla="*/ 395288 h 1447800"/>
                <a:gd name="connsiteX750" fmla="*/ 838200 w 1714500"/>
                <a:gd name="connsiteY750" fmla="*/ 388620 h 1447800"/>
                <a:gd name="connsiteX751" fmla="*/ 840105 w 1714500"/>
                <a:gd name="connsiteY751" fmla="*/ 384810 h 1447800"/>
                <a:gd name="connsiteX752" fmla="*/ 845820 w 1714500"/>
                <a:gd name="connsiteY752" fmla="*/ 372428 h 1447800"/>
                <a:gd name="connsiteX753" fmla="*/ 846772 w 1714500"/>
                <a:gd name="connsiteY753" fmla="*/ 366713 h 1447800"/>
                <a:gd name="connsiteX754" fmla="*/ 845820 w 1714500"/>
                <a:gd name="connsiteY754" fmla="*/ 364808 h 1447800"/>
                <a:gd name="connsiteX755" fmla="*/ 839153 w 1714500"/>
                <a:gd name="connsiteY755" fmla="*/ 360045 h 1447800"/>
                <a:gd name="connsiteX756" fmla="*/ 837247 w 1714500"/>
                <a:gd name="connsiteY756" fmla="*/ 358140 h 1447800"/>
                <a:gd name="connsiteX757" fmla="*/ 836295 w 1714500"/>
                <a:gd name="connsiteY757" fmla="*/ 355283 h 1447800"/>
                <a:gd name="connsiteX758" fmla="*/ 836295 w 1714500"/>
                <a:gd name="connsiteY758" fmla="*/ 353378 h 1447800"/>
                <a:gd name="connsiteX759" fmla="*/ 838200 w 1714500"/>
                <a:gd name="connsiteY759" fmla="*/ 350520 h 1447800"/>
                <a:gd name="connsiteX760" fmla="*/ 844868 w 1714500"/>
                <a:gd name="connsiteY760" fmla="*/ 341948 h 1447800"/>
                <a:gd name="connsiteX761" fmla="*/ 849630 w 1714500"/>
                <a:gd name="connsiteY761" fmla="*/ 331470 h 1447800"/>
                <a:gd name="connsiteX762" fmla="*/ 853440 w 1714500"/>
                <a:gd name="connsiteY762" fmla="*/ 326708 h 1447800"/>
                <a:gd name="connsiteX763" fmla="*/ 857250 w 1714500"/>
                <a:gd name="connsiteY763" fmla="*/ 323850 h 1447800"/>
                <a:gd name="connsiteX764" fmla="*/ 860107 w 1714500"/>
                <a:gd name="connsiteY764" fmla="*/ 321945 h 1447800"/>
                <a:gd name="connsiteX765" fmla="*/ 878205 w 1714500"/>
                <a:gd name="connsiteY765" fmla="*/ 320040 h 1447800"/>
                <a:gd name="connsiteX766" fmla="*/ 919163 w 1714500"/>
                <a:gd name="connsiteY766" fmla="*/ 291465 h 1447800"/>
                <a:gd name="connsiteX767" fmla="*/ 924878 w 1714500"/>
                <a:gd name="connsiteY767" fmla="*/ 289560 h 1447800"/>
                <a:gd name="connsiteX768" fmla="*/ 930593 w 1714500"/>
                <a:gd name="connsiteY768" fmla="*/ 288608 h 1447800"/>
                <a:gd name="connsiteX769" fmla="*/ 949643 w 1714500"/>
                <a:gd name="connsiteY769" fmla="*/ 288608 h 1447800"/>
                <a:gd name="connsiteX770" fmla="*/ 955357 w 1714500"/>
                <a:gd name="connsiteY770" fmla="*/ 287655 h 1447800"/>
                <a:gd name="connsiteX771" fmla="*/ 964882 w 1714500"/>
                <a:gd name="connsiteY771" fmla="*/ 284798 h 1447800"/>
                <a:gd name="connsiteX772" fmla="*/ 968693 w 1714500"/>
                <a:gd name="connsiteY772" fmla="*/ 283845 h 1447800"/>
                <a:gd name="connsiteX773" fmla="*/ 974407 w 1714500"/>
                <a:gd name="connsiteY773" fmla="*/ 284798 h 1447800"/>
                <a:gd name="connsiteX774" fmla="*/ 976313 w 1714500"/>
                <a:gd name="connsiteY774" fmla="*/ 285750 h 1447800"/>
                <a:gd name="connsiteX775" fmla="*/ 978218 w 1714500"/>
                <a:gd name="connsiteY775" fmla="*/ 287655 h 1447800"/>
                <a:gd name="connsiteX776" fmla="*/ 979170 w 1714500"/>
                <a:gd name="connsiteY776" fmla="*/ 296228 h 1447800"/>
                <a:gd name="connsiteX777" fmla="*/ 980123 w 1714500"/>
                <a:gd name="connsiteY777" fmla="*/ 299085 h 1447800"/>
                <a:gd name="connsiteX778" fmla="*/ 982980 w 1714500"/>
                <a:gd name="connsiteY778" fmla="*/ 303848 h 1447800"/>
                <a:gd name="connsiteX779" fmla="*/ 988695 w 1714500"/>
                <a:gd name="connsiteY779" fmla="*/ 309563 h 1447800"/>
                <a:gd name="connsiteX780" fmla="*/ 990600 w 1714500"/>
                <a:gd name="connsiteY780" fmla="*/ 314325 h 1447800"/>
                <a:gd name="connsiteX781" fmla="*/ 990600 w 1714500"/>
                <a:gd name="connsiteY781" fmla="*/ 320992 h 1447800"/>
                <a:gd name="connsiteX782" fmla="*/ 993457 w 1714500"/>
                <a:gd name="connsiteY782" fmla="*/ 325755 h 1447800"/>
                <a:gd name="connsiteX783" fmla="*/ 997268 w 1714500"/>
                <a:gd name="connsiteY783" fmla="*/ 330517 h 1447800"/>
                <a:gd name="connsiteX784" fmla="*/ 1001077 w 1714500"/>
                <a:gd name="connsiteY784" fmla="*/ 336233 h 1447800"/>
                <a:gd name="connsiteX785" fmla="*/ 1003935 w 1714500"/>
                <a:gd name="connsiteY785" fmla="*/ 338138 h 1447800"/>
                <a:gd name="connsiteX786" fmla="*/ 1006793 w 1714500"/>
                <a:gd name="connsiteY786" fmla="*/ 336233 h 1447800"/>
                <a:gd name="connsiteX787" fmla="*/ 1007745 w 1714500"/>
                <a:gd name="connsiteY787" fmla="*/ 333375 h 1447800"/>
                <a:gd name="connsiteX788" fmla="*/ 1008698 w 1714500"/>
                <a:gd name="connsiteY788" fmla="*/ 325755 h 1447800"/>
                <a:gd name="connsiteX789" fmla="*/ 1010602 w 1714500"/>
                <a:gd name="connsiteY789" fmla="*/ 321945 h 1447800"/>
                <a:gd name="connsiteX790" fmla="*/ 1013460 w 1714500"/>
                <a:gd name="connsiteY790" fmla="*/ 317183 h 1447800"/>
                <a:gd name="connsiteX791" fmla="*/ 1016318 w 1714500"/>
                <a:gd name="connsiteY791" fmla="*/ 316230 h 1447800"/>
                <a:gd name="connsiteX792" fmla="*/ 1018223 w 1714500"/>
                <a:gd name="connsiteY792" fmla="*/ 316230 h 1447800"/>
                <a:gd name="connsiteX793" fmla="*/ 1022985 w 1714500"/>
                <a:gd name="connsiteY793" fmla="*/ 320040 h 1447800"/>
                <a:gd name="connsiteX794" fmla="*/ 1025843 w 1714500"/>
                <a:gd name="connsiteY794" fmla="*/ 321945 h 1447800"/>
                <a:gd name="connsiteX795" fmla="*/ 1029652 w 1714500"/>
                <a:gd name="connsiteY795" fmla="*/ 322898 h 1447800"/>
                <a:gd name="connsiteX796" fmla="*/ 1036320 w 1714500"/>
                <a:gd name="connsiteY796" fmla="*/ 321945 h 1447800"/>
                <a:gd name="connsiteX797" fmla="*/ 1040130 w 1714500"/>
                <a:gd name="connsiteY797" fmla="*/ 320992 h 1447800"/>
                <a:gd name="connsiteX798" fmla="*/ 1042988 w 1714500"/>
                <a:gd name="connsiteY798" fmla="*/ 319088 h 1447800"/>
                <a:gd name="connsiteX799" fmla="*/ 1045845 w 1714500"/>
                <a:gd name="connsiteY799" fmla="*/ 314325 h 1447800"/>
                <a:gd name="connsiteX800" fmla="*/ 1046798 w 1714500"/>
                <a:gd name="connsiteY800" fmla="*/ 311467 h 1447800"/>
                <a:gd name="connsiteX801" fmla="*/ 1049655 w 1714500"/>
                <a:gd name="connsiteY801" fmla="*/ 296228 h 1447800"/>
                <a:gd name="connsiteX802" fmla="*/ 1051560 w 1714500"/>
                <a:gd name="connsiteY802" fmla="*/ 292417 h 1447800"/>
                <a:gd name="connsiteX803" fmla="*/ 1053465 w 1714500"/>
                <a:gd name="connsiteY803" fmla="*/ 290513 h 1447800"/>
                <a:gd name="connsiteX804" fmla="*/ 1056323 w 1714500"/>
                <a:gd name="connsiteY804" fmla="*/ 290513 h 1447800"/>
                <a:gd name="connsiteX805" fmla="*/ 1059180 w 1714500"/>
                <a:gd name="connsiteY805" fmla="*/ 291465 h 1447800"/>
                <a:gd name="connsiteX806" fmla="*/ 1061085 w 1714500"/>
                <a:gd name="connsiteY806" fmla="*/ 294323 h 1447800"/>
                <a:gd name="connsiteX807" fmla="*/ 1062038 w 1714500"/>
                <a:gd name="connsiteY807" fmla="*/ 299085 h 1447800"/>
                <a:gd name="connsiteX808" fmla="*/ 1061085 w 1714500"/>
                <a:gd name="connsiteY808" fmla="*/ 316230 h 1447800"/>
                <a:gd name="connsiteX809" fmla="*/ 1062038 w 1714500"/>
                <a:gd name="connsiteY809" fmla="*/ 319088 h 1447800"/>
                <a:gd name="connsiteX810" fmla="*/ 1062990 w 1714500"/>
                <a:gd name="connsiteY810" fmla="*/ 320992 h 1447800"/>
                <a:gd name="connsiteX811" fmla="*/ 1065848 w 1714500"/>
                <a:gd name="connsiteY811" fmla="*/ 322898 h 1447800"/>
                <a:gd name="connsiteX812" fmla="*/ 1115377 w 1714500"/>
                <a:gd name="connsiteY812" fmla="*/ 332423 h 1447800"/>
                <a:gd name="connsiteX813" fmla="*/ 1120140 w 1714500"/>
                <a:gd name="connsiteY813" fmla="*/ 330517 h 1447800"/>
                <a:gd name="connsiteX814" fmla="*/ 1122045 w 1714500"/>
                <a:gd name="connsiteY814" fmla="*/ 326708 h 1447800"/>
                <a:gd name="connsiteX815" fmla="*/ 1127760 w 1714500"/>
                <a:gd name="connsiteY815" fmla="*/ 315278 h 1447800"/>
                <a:gd name="connsiteX816" fmla="*/ 1133475 w 1714500"/>
                <a:gd name="connsiteY816" fmla="*/ 305753 h 1447800"/>
                <a:gd name="connsiteX817" fmla="*/ 1143000 w 1714500"/>
                <a:gd name="connsiteY817" fmla="*/ 296228 h 1447800"/>
                <a:gd name="connsiteX818" fmla="*/ 1143952 w 1714500"/>
                <a:gd name="connsiteY818" fmla="*/ 294323 h 1447800"/>
                <a:gd name="connsiteX819" fmla="*/ 1145857 w 1714500"/>
                <a:gd name="connsiteY819" fmla="*/ 287655 h 1447800"/>
                <a:gd name="connsiteX820" fmla="*/ 1144905 w 1714500"/>
                <a:gd name="connsiteY820" fmla="*/ 279083 h 1447800"/>
                <a:gd name="connsiteX821" fmla="*/ 1146810 w 1714500"/>
                <a:gd name="connsiteY821" fmla="*/ 274320 h 1447800"/>
                <a:gd name="connsiteX822" fmla="*/ 1160145 w 1714500"/>
                <a:gd name="connsiteY822" fmla="*/ 256223 h 1447800"/>
                <a:gd name="connsiteX823" fmla="*/ 1164907 w 1714500"/>
                <a:gd name="connsiteY823" fmla="*/ 244792 h 1447800"/>
                <a:gd name="connsiteX824" fmla="*/ 1167765 w 1714500"/>
                <a:gd name="connsiteY824" fmla="*/ 239078 h 1447800"/>
                <a:gd name="connsiteX825" fmla="*/ 1168718 w 1714500"/>
                <a:gd name="connsiteY825" fmla="*/ 232410 h 1447800"/>
                <a:gd name="connsiteX826" fmla="*/ 1168718 w 1714500"/>
                <a:gd name="connsiteY826" fmla="*/ 225742 h 1447800"/>
                <a:gd name="connsiteX827" fmla="*/ 1168718 w 1714500"/>
                <a:gd name="connsiteY827" fmla="*/ 219075 h 1447800"/>
                <a:gd name="connsiteX828" fmla="*/ 1166813 w 1714500"/>
                <a:gd name="connsiteY828" fmla="*/ 207645 h 1447800"/>
                <a:gd name="connsiteX829" fmla="*/ 1167765 w 1714500"/>
                <a:gd name="connsiteY829" fmla="*/ 205740 h 1447800"/>
                <a:gd name="connsiteX830" fmla="*/ 1169670 w 1714500"/>
                <a:gd name="connsiteY830" fmla="*/ 201930 h 1447800"/>
                <a:gd name="connsiteX831" fmla="*/ 1171575 w 1714500"/>
                <a:gd name="connsiteY831" fmla="*/ 200025 h 1447800"/>
                <a:gd name="connsiteX832" fmla="*/ 1174432 w 1714500"/>
                <a:gd name="connsiteY832" fmla="*/ 199073 h 1447800"/>
                <a:gd name="connsiteX833" fmla="*/ 1194435 w 1714500"/>
                <a:gd name="connsiteY833" fmla="*/ 192405 h 1447800"/>
                <a:gd name="connsiteX834" fmla="*/ 1199198 w 1714500"/>
                <a:gd name="connsiteY834" fmla="*/ 190500 h 1447800"/>
                <a:gd name="connsiteX835" fmla="*/ 1202055 w 1714500"/>
                <a:gd name="connsiteY835" fmla="*/ 187642 h 1447800"/>
                <a:gd name="connsiteX836" fmla="*/ 1203007 w 1714500"/>
                <a:gd name="connsiteY836" fmla="*/ 180975 h 1447800"/>
                <a:gd name="connsiteX837" fmla="*/ 1201102 w 1714500"/>
                <a:gd name="connsiteY837" fmla="*/ 176213 h 1447800"/>
                <a:gd name="connsiteX838" fmla="*/ 1198245 w 1714500"/>
                <a:gd name="connsiteY838" fmla="*/ 165735 h 1447800"/>
                <a:gd name="connsiteX839" fmla="*/ 1195388 w 1714500"/>
                <a:gd name="connsiteY839" fmla="*/ 154305 h 1447800"/>
                <a:gd name="connsiteX840" fmla="*/ 1195388 w 1714500"/>
                <a:gd name="connsiteY840" fmla="*/ 147638 h 1447800"/>
                <a:gd name="connsiteX841" fmla="*/ 1194435 w 1714500"/>
                <a:gd name="connsiteY841" fmla="*/ 141923 h 1447800"/>
                <a:gd name="connsiteX842" fmla="*/ 1190625 w 1714500"/>
                <a:gd name="connsiteY842" fmla="*/ 131445 h 1447800"/>
                <a:gd name="connsiteX843" fmla="*/ 1189673 w 1714500"/>
                <a:gd name="connsiteY843" fmla="*/ 128588 h 1447800"/>
                <a:gd name="connsiteX844" fmla="*/ 1192530 w 1714500"/>
                <a:gd name="connsiteY844" fmla="*/ 124778 h 1447800"/>
                <a:gd name="connsiteX845" fmla="*/ 1196340 w 1714500"/>
                <a:gd name="connsiteY845" fmla="*/ 120015 h 1447800"/>
                <a:gd name="connsiteX846" fmla="*/ 1213485 w 1714500"/>
                <a:gd name="connsiteY846" fmla="*/ 106680 h 1447800"/>
                <a:gd name="connsiteX847" fmla="*/ 1216343 w 1714500"/>
                <a:gd name="connsiteY847" fmla="*/ 103823 h 1447800"/>
                <a:gd name="connsiteX848" fmla="*/ 1219200 w 1714500"/>
                <a:gd name="connsiteY848" fmla="*/ 98108 h 1447800"/>
                <a:gd name="connsiteX849" fmla="*/ 1222057 w 1714500"/>
                <a:gd name="connsiteY849" fmla="*/ 90488 h 1447800"/>
                <a:gd name="connsiteX850" fmla="*/ 1223963 w 1714500"/>
                <a:gd name="connsiteY850" fmla="*/ 85725 h 1447800"/>
                <a:gd name="connsiteX851" fmla="*/ 1226820 w 1714500"/>
                <a:gd name="connsiteY851" fmla="*/ 84773 h 1447800"/>
                <a:gd name="connsiteX852" fmla="*/ 1231582 w 1714500"/>
                <a:gd name="connsiteY852" fmla="*/ 87630 h 1447800"/>
                <a:gd name="connsiteX853" fmla="*/ 1235393 w 1714500"/>
                <a:gd name="connsiteY853" fmla="*/ 87630 h 1447800"/>
                <a:gd name="connsiteX854" fmla="*/ 1242060 w 1714500"/>
                <a:gd name="connsiteY854" fmla="*/ 86678 h 1447800"/>
                <a:gd name="connsiteX855" fmla="*/ 1248727 w 1714500"/>
                <a:gd name="connsiteY855" fmla="*/ 83820 h 1447800"/>
                <a:gd name="connsiteX856" fmla="*/ 1259205 w 1714500"/>
                <a:gd name="connsiteY856" fmla="*/ 72390 h 1447800"/>
                <a:gd name="connsiteX857" fmla="*/ 1263015 w 1714500"/>
                <a:gd name="connsiteY857" fmla="*/ 67628 h 1447800"/>
                <a:gd name="connsiteX858" fmla="*/ 1265873 w 1714500"/>
                <a:gd name="connsiteY858" fmla="*/ 61913 h 1447800"/>
                <a:gd name="connsiteX859" fmla="*/ 1266825 w 1714500"/>
                <a:gd name="connsiteY859" fmla="*/ 59055 h 1447800"/>
                <a:gd name="connsiteX860" fmla="*/ 1266825 w 1714500"/>
                <a:gd name="connsiteY860" fmla="*/ 53340 h 1447800"/>
                <a:gd name="connsiteX861" fmla="*/ 1264920 w 1714500"/>
                <a:gd name="connsiteY861" fmla="*/ 48578 h 1447800"/>
                <a:gd name="connsiteX862" fmla="*/ 1257300 w 1714500"/>
                <a:gd name="connsiteY862" fmla="*/ 38100 h 1447800"/>
                <a:gd name="connsiteX863" fmla="*/ 1255395 w 1714500"/>
                <a:gd name="connsiteY863" fmla="*/ 34290 h 1447800"/>
                <a:gd name="connsiteX864" fmla="*/ 1255395 w 1714500"/>
                <a:gd name="connsiteY864" fmla="*/ 28575 h 1447800"/>
                <a:gd name="connsiteX865" fmla="*/ 1256348 w 1714500"/>
                <a:gd name="connsiteY865" fmla="*/ 21908 h 1447800"/>
                <a:gd name="connsiteX866" fmla="*/ 1258252 w 1714500"/>
                <a:gd name="connsiteY866" fmla="*/ 18098 h 1447800"/>
                <a:gd name="connsiteX867" fmla="*/ 1261110 w 1714500"/>
                <a:gd name="connsiteY867" fmla="*/ 13335 h 1447800"/>
                <a:gd name="connsiteX868" fmla="*/ 1266825 w 1714500"/>
                <a:gd name="connsiteY868" fmla="*/ 6667 h 1447800"/>
                <a:gd name="connsiteX869" fmla="*/ 1268730 w 1714500"/>
                <a:gd name="connsiteY869" fmla="*/ 3810 h 1447800"/>
                <a:gd name="connsiteX870" fmla="*/ 1271588 w 1714500"/>
                <a:gd name="connsiteY870" fmla="*/ 1905 h 1447800"/>
                <a:gd name="connsiteX871" fmla="*/ 1276350 w 1714500"/>
                <a:gd name="connsiteY871" fmla="*/ 0 h 1447800"/>
                <a:gd name="connsiteX872" fmla="*/ 1279207 w 1714500"/>
                <a:gd name="connsiteY872" fmla="*/ 0 h 1447800"/>
                <a:gd name="connsiteX873" fmla="*/ 1285875 w 1714500"/>
                <a:gd name="connsiteY873" fmla="*/ 0 h 1447800"/>
                <a:gd name="connsiteX874" fmla="*/ 1289685 w 1714500"/>
                <a:gd name="connsiteY874" fmla="*/ 1905 h 1447800"/>
                <a:gd name="connsiteX875" fmla="*/ 1294448 w 1714500"/>
                <a:gd name="connsiteY875" fmla="*/ 4763 h 1447800"/>
                <a:gd name="connsiteX876" fmla="*/ 1299210 w 1714500"/>
                <a:gd name="connsiteY876" fmla="*/ 7620 h 1447800"/>
                <a:gd name="connsiteX877" fmla="*/ 1305877 w 1714500"/>
                <a:gd name="connsiteY877" fmla="*/ 10478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</a:cxnLst>
              <a:rect l="l" t="t" r="r" b="b"/>
              <a:pathLst>
                <a:path w="1714500" h="1447800">
                  <a:moveTo>
                    <a:pt x="1305877" y="10478"/>
                  </a:moveTo>
                  <a:lnTo>
                    <a:pt x="1311593" y="11430"/>
                  </a:lnTo>
                  <a:lnTo>
                    <a:pt x="1316355" y="11430"/>
                  </a:lnTo>
                  <a:lnTo>
                    <a:pt x="1319213" y="11430"/>
                  </a:lnTo>
                  <a:lnTo>
                    <a:pt x="1322070" y="14288"/>
                  </a:lnTo>
                  <a:lnTo>
                    <a:pt x="1324927" y="20003"/>
                  </a:lnTo>
                  <a:lnTo>
                    <a:pt x="1327785" y="28575"/>
                  </a:lnTo>
                  <a:lnTo>
                    <a:pt x="1335405" y="38100"/>
                  </a:lnTo>
                  <a:lnTo>
                    <a:pt x="1337310" y="40005"/>
                  </a:lnTo>
                  <a:lnTo>
                    <a:pt x="1339215" y="42863"/>
                  </a:lnTo>
                  <a:lnTo>
                    <a:pt x="1340168" y="46673"/>
                  </a:lnTo>
                  <a:lnTo>
                    <a:pt x="1342073" y="52388"/>
                  </a:lnTo>
                  <a:lnTo>
                    <a:pt x="1343977" y="57150"/>
                  </a:lnTo>
                  <a:lnTo>
                    <a:pt x="1347788" y="60960"/>
                  </a:lnTo>
                  <a:lnTo>
                    <a:pt x="1350645" y="62865"/>
                  </a:lnTo>
                  <a:lnTo>
                    <a:pt x="1362075" y="64770"/>
                  </a:lnTo>
                  <a:lnTo>
                    <a:pt x="1367790" y="67628"/>
                  </a:lnTo>
                  <a:lnTo>
                    <a:pt x="1370648" y="69533"/>
                  </a:lnTo>
                  <a:lnTo>
                    <a:pt x="1380173" y="83820"/>
                  </a:lnTo>
                  <a:lnTo>
                    <a:pt x="1383030" y="85725"/>
                  </a:lnTo>
                  <a:lnTo>
                    <a:pt x="1385888" y="85725"/>
                  </a:lnTo>
                  <a:lnTo>
                    <a:pt x="1390650" y="82867"/>
                  </a:lnTo>
                  <a:lnTo>
                    <a:pt x="1395413" y="80010"/>
                  </a:lnTo>
                  <a:lnTo>
                    <a:pt x="1398270" y="76200"/>
                  </a:lnTo>
                  <a:lnTo>
                    <a:pt x="1403032" y="73342"/>
                  </a:lnTo>
                  <a:lnTo>
                    <a:pt x="1405890" y="73342"/>
                  </a:lnTo>
                  <a:lnTo>
                    <a:pt x="1407795" y="74295"/>
                  </a:lnTo>
                  <a:lnTo>
                    <a:pt x="1411605" y="78105"/>
                  </a:lnTo>
                  <a:lnTo>
                    <a:pt x="1412557" y="80963"/>
                  </a:lnTo>
                  <a:lnTo>
                    <a:pt x="1413510" y="84773"/>
                  </a:lnTo>
                  <a:lnTo>
                    <a:pt x="1414463" y="94298"/>
                  </a:lnTo>
                  <a:lnTo>
                    <a:pt x="1412557" y="99060"/>
                  </a:lnTo>
                  <a:lnTo>
                    <a:pt x="1410652" y="101917"/>
                  </a:lnTo>
                  <a:lnTo>
                    <a:pt x="1392555" y="107633"/>
                  </a:lnTo>
                  <a:lnTo>
                    <a:pt x="1390650" y="109538"/>
                  </a:lnTo>
                  <a:lnTo>
                    <a:pt x="1391602" y="114300"/>
                  </a:lnTo>
                  <a:lnTo>
                    <a:pt x="1402080" y="151448"/>
                  </a:lnTo>
                  <a:lnTo>
                    <a:pt x="1403985" y="155258"/>
                  </a:lnTo>
                  <a:lnTo>
                    <a:pt x="1407795" y="158115"/>
                  </a:lnTo>
                  <a:lnTo>
                    <a:pt x="1411605" y="160020"/>
                  </a:lnTo>
                  <a:lnTo>
                    <a:pt x="1423988" y="165735"/>
                  </a:lnTo>
                  <a:lnTo>
                    <a:pt x="1426845" y="165735"/>
                  </a:lnTo>
                  <a:lnTo>
                    <a:pt x="1429702" y="165735"/>
                  </a:lnTo>
                  <a:lnTo>
                    <a:pt x="1437323" y="162878"/>
                  </a:lnTo>
                  <a:lnTo>
                    <a:pt x="1440180" y="162878"/>
                  </a:lnTo>
                  <a:lnTo>
                    <a:pt x="1443038" y="163830"/>
                  </a:lnTo>
                  <a:lnTo>
                    <a:pt x="1466850" y="211455"/>
                  </a:lnTo>
                  <a:lnTo>
                    <a:pt x="1470660" y="217170"/>
                  </a:lnTo>
                  <a:lnTo>
                    <a:pt x="1472565" y="219075"/>
                  </a:lnTo>
                  <a:lnTo>
                    <a:pt x="1484948" y="226695"/>
                  </a:lnTo>
                  <a:lnTo>
                    <a:pt x="1486852" y="229553"/>
                  </a:lnTo>
                  <a:lnTo>
                    <a:pt x="1488757" y="233363"/>
                  </a:lnTo>
                  <a:lnTo>
                    <a:pt x="1489710" y="240983"/>
                  </a:lnTo>
                  <a:lnTo>
                    <a:pt x="1488757" y="245745"/>
                  </a:lnTo>
                  <a:lnTo>
                    <a:pt x="1488757" y="250508"/>
                  </a:lnTo>
                  <a:lnTo>
                    <a:pt x="1483995" y="267653"/>
                  </a:lnTo>
                  <a:lnTo>
                    <a:pt x="1483995" y="275273"/>
                  </a:lnTo>
                  <a:lnTo>
                    <a:pt x="1484948" y="289560"/>
                  </a:lnTo>
                  <a:lnTo>
                    <a:pt x="1483995" y="294323"/>
                  </a:lnTo>
                  <a:lnTo>
                    <a:pt x="1482090" y="297180"/>
                  </a:lnTo>
                  <a:lnTo>
                    <a:pt x="1478280" y="299085"/>
                  </a:lnTo>
                  <a:lnTo>
                    <a:pt x="1476375" y="299085"/>
                  </a:lnTo>
                  <a:lnTo>
                    <a:pt x="1471613" y="297180"/>
                  </a:lnTo>
                  <a:lnTo>
                    <a:pt x="1468755" y="296228"/>
                  </a:lnTo>
                  <a:lnTo>
                    <a:pt x="1465898" y="297180"/>
                  </a:lnTo>
                  <a:lnTo>
                    <a:pt x="1463993" y="299085"/>
                  </a:lnTo>
                  <a:lnTo>
                    <a:pt x="1462088" y="300990"/>
                  </a:lnTo>
                  <a:lnTo>
                    <a:pt x="1461135" y="303848"/>
                  </a:lnTo>
                  <a:lnTo>
                    <a:pt x="1463040" y="310515"/>
                  </a:lnTo>
                  <a:lnTo>
                    <a:pt x="1465898" y="318135"/>
                  </a:lnTo>
                  <a:lnTo>
                    <a:pt x="1484948" y="352425"/>
                  </a:lnTo>
                  <a:lnTo>
                    <a:pt x="1494473" y="364808"/>
                  </a:lnTo>
                  <a:lnTo>
                    <a:pt x="1499235" y="367665"/>
                  </a:lnTo>
                  <a:lnTo>
                    <a:pt x="1501140" y="367665"/>
                  </a:lnTo>
                  <a:lnTo>
                    <a:pt x="1503998" y="367665"/>
                  </a:lnTo>
                  <a:lnTo>
                    <a:pt x="1508760" y="364808"/>
                  </a:lnTo>
                  <a:lnTo>
                    <a:pt x="1511618" y="363855"/>
                  </a:lnTo>
                  <a:lnTo>
                    <a:pt x="1513523" y="363855"/>
                  </a:lnTo>
                  <a:lnTo>
                    <a:pt x="1516380" y="364808"/>
                  </a:lnTo>
                  <a:lnTo>
                    <a:pt x="1518285" y="366713"/>
                  </a:lnTo>
                  <a:lnTo>
                    <a:pt x="1525905" y="374333"/>
                  </a:lnTo>
                  <a:lnTo>
                    <a:pt x="1529715" y="380048"/>
                  </a:lnTo>
                  <a:lnTo>
                    <a:pt x="1531620" y="383858"/>
                  </a:lnTo>
                  <a:lnTo>
                    <a:pt x="1534477" y="386715"/>
                  </a:lnTo>
                  <a:lnTo>
                    <a:pt x="1539240" y="385763"/>
                  </a:lnTo>
                  <a:lnTo>
                    <a:pt x="1544002" y="383858"/>
                  </a:lnTo>
                  <a:lnTo>
                    <a:pt x="1545907" y="382905"/>
                  </a:lnTo>
                  <a:lnTo>
                    <a:pt x="1548765" y="383858"/>
                  </a:lnTo>
                  <a:lnTo>
                    <a:pt x="1565910" y="398145"/>
                  </a:lnTo>
                  <a:lnTo>
                    <a:pt x="1567815" y="401003"/>
                  </a:lnTo>
                  <a:lnTo>
                    <a:pt x="1568768" y="405765"/>
                  </a:lnTo>
                  <a:lnTo>
                    <a:pt x="1569720" y="414338"/>
                  </a:lnTo>
                  <a:lnTo>
                    <a:pt x="1569720" y="419100"/>
                  </a:lnTo>
                  <a:lnTo>
                    <a:pt x="1568768" y="441008"/>
                  </a:lnTo>
                  <a:lnTo>
                    <a:pt x="1570673" y="447675"/>
                  </a:lnTo>
                  <a:lnTo>
                    <a:pt x="1574482" y="450533"/>
                  </a:lnTo>
                  <a:lnTo>
                    <a:pt x="1577340" y="453390"/>
                  </a:lnTo>
                  <a:lnTo>
                    <a:pt x="1634490" y="475298"/>
                  </a:lnTo>
                  <a:lnTo>
                    <a:pt x="1637348" y="479108"/>
                  </a:lnTo>
                  <a:lnTo>
                    <a:pt x="1639252" y="483870"/>
                  </a:lnTo>
                  <a:lnTo>
                    <a:pt x="1640205" y="507683"/>
                  </a:lnTo>
                  <a:lnTo>
                    <a:pt x="1641157" y="511492"/>
                  </a:lnTo>
                  <a:lnTo>
                    <a:pt x="1644015" y="517208"/>
                  </a:lnTo>
                  <a:lnTo>
                    <a:pt x="1645920" y="521017"/>
                  </a:lnTo>
                  <a:lnTo>
                    <a:pt x="1648777" y="522923"/>
                  </a:lnTo>
                  <a:lnTo>
                    <a:pt x="1662113" y="533400"/>
                  </a:lnTo>
                  <a:lnTo>
                    <a:pt x="1665923" y="539115"/>
                  </a:lnTo>
                  <a:lnTo>
                    <a:pt x="1669732" y="553403"/>
                  </a:lnTo>
                  <a:lnTo>
                    <a:pt x="1669732" y="557213"/>
                  </a:lnTo>
                  <a:lnTo>
                    <a:pt x="1669732" y="562928"/>
                  </a:lnTo>
                  <a:lnTo>
                    <a:pt x="1668780" y="571500"/>
                  </a:lnTo>
                  <a:lnTo>
                    <a:pt x="1666875" y="576263"/>
                  </a:lnTo>
                  <a:lnTo>
                    <a:pt x="1664970" y="580073"/>
                  </a:lnTo>
                  <a:lnTo>
                    <a:pt x="1664018" y="581978"/>
                  </a:lnTo>
                  <a:lnTo>
                    <a:pt x="1652588" y="588645"/>
                  </a:lnTo>
                  <a:lnTo>
                    <a:pt x="1647825" y="592455"/>
                  </a:lnTo>
                  <a:lnTo>
                    <a:pt x="1646873" y="594360"/>
                  </a:lnTo>
                  <a:lnTo>
                    <a:pt x="1625918" y="629603"/>
                  </a:lnTo>
                  <a:lnTo>
                    <a:pt x="1625918" y="633413"/>
                  </a:lnTo>
                  <a:lnTo>
                    <a:pt x="1626870" y="638175"/>
                  </a:lnTo>
                  <a:lnTo>
                    <a:pt x="1631632" y="647700"/>
                  </a:lnTo>
                  <a:lnTo>
                    <a:pt x="1637348" y="655320"/>
                  </a:lnTo>
                  <a:lnTo>
                    <a:pt x="1640205" y="659130"/>
                  </a:lnTo>
                  <a:lnTo>
                    <a:pt x="1661160" y="686752"/>
                  </a:lnTo>
                  <a:lnTo>
                    <a:pt x="1664018" y="691515"/>
                  </a:lnTo>
                  <a:lnTo>
                    <a:pt x="1685925" y="749618"/>
                  </a:lnTo>
                  <a:lnTo>
                    <a:pt x="1686877" y="756285"/>
                  </a:lnTo>
                  <a:lnTo>
                    <a:pt x="1686877" y="769620"/>
                  </a:lnTo>
                  <a:lnTo>
                    <a:pt x="1684973" y="807720"/>
                  </a:lnTo>
                  <a:lnTo>
                    <a:pt x="1679257" y="830580"/>
                  </a:lnTo>
                  <a:lnTo>
                    <a:pt x="1678305" y="833438"/>
                  </a:lnTo>
                  <a:lnTo>
                    <a:pt x="1665923" y="867727"/>
                  </a:lnTo>
                  <a:lnTo>
                    <a:pt x="1665923" y="870585"/>
                  </a:lnTo>
                  <a:lnTo>
                    <a:pt x="1665923" y="873443"/>
                  </a:lnTo>
                  <a:lnTo>
                    <a:pt x="1669732" y="877252"/>
                  </a:lnTo>
                  <a:lnTo>
                    <a:pt x="1675448" y="882015"/>
                  </a:lnTo>
                  <a:lnTo>
                    <a:pt x="1679257" y="886777"/>
                  </a:lnTo>
                  <a:lnTo>
                    <a:pt x="1682115" y="890588"/>
                  </a:lnTo>
                  <a:lnTo>
                    <a:pt x="1685925" y="901065"/>
                  </a:lnTo>
                  <a:lnTo>
                    <a:pt x="1689735" y="920115"/>
                  </a:lnTo>
                  <a:lnTo>
                    <a:pt x="1690688" y="928688"/>
                  </a:lnTo>
                  <a:lnTo>
                    <a:pt x="1690688" y="950595"/>
                  </a:lnTo>
                  <a:lnTo>
                    <a:pt x="1690688" y="956310"/>
                  </a:lnTo>
                  <a:lnTo>
                    <a:pt x="1691640" y="959168"/>
                  </a:lnTo>
                  <a:lnTo>
                    <a:pt x="1704023" y="994410"/>
                  </a:lnTo>
                  <a:lnTo>
                    <a:pt x="1705927" y="996315"/>
                  </a:lnTo>
                  <a:lnTo>
                    <a:pt x="1707832" y="998220"/>
                  </a:lnTo>
                  <a:lnTo>
                    <a:pt x="1717357" y="1001077"/>
                  </a:lnTo>
                  <a:lnTo>
                    <a:pt x="1719263" y="1002030"/>
                  </a:lnTo>
                  <a:lnTo>
                    <a:pt x="1720215" y="1003935"/>
                  </a:lnTo>
                  <a:lnTo>
                    <a:pt x="1720215" y="1010602"/>
                  </a:lnTo>
                  <a:lnTo>
                    <a:pt x="1718310" y="1014413"/>
                  </a:lnTo>
                  <a:lnTo>
                    <a:pt x="1714500" y="1018223"/>
                  </a:lnTo>
                  <a:lnTo>
                    <a:pt x="1690688" y="1038225"/>
                  </a:lnTo>
                  <a:lnTo>
                    <a:pt x="1686877" y="1042035"/>
                  </a:lnTo>
                  <a:lnTo>
                    <a:pt x="1684973" y="1045845"/>
                  </a:lnTo>
                  <a:lnTo>
                    <a:pt x="1682115" y="1048702"/>
                  </a:lnTo>
                  <a:lnTo>
                    <a:pt x="1678305" y="1049655"/>
                  </a:lnTo>
                  <a:lnTo>
                    <a:pt x="1669732" y="1049655"/>
                  </a:lnTo>
                  <a:lnTo>
                    <a:pt x="1662113" y="1046798"/>
                  </a:lnTo>
                  <a:lnTo>
                    <a:pt x="1655445" y="1041083"/>
                  </a:lnTo>
                  <a:lnTo>
                    <a:pt x="1642110" y="1031558"/>
                  </a:lnTo>
                  <a:lnTo>
                    <a:pt x="1636395" y="1029652"/>
                  </a:lnTo>
                  <a:lnTo>
                    <a:pt x="1632585" y="1028700"/>
                  </a:lnTo>
                  <a:lnTo>
                    <a:pt x="1629727" y="1029652"/>
                  </a:lnTo>
                  <a:lnTo>
                    <a:pt x="1625918" y="1033463"/>
                  </a:lnTo>
                  <a:lnTo>
                    <a:pt x="1624013" y="1036320"/>
                  </a:lnTo>
                  <a:lnTo>
                    <a:pt x="1621155" y="1042988"/>
                  </a:lnTo>
                  <a:lnTo>
                    <a:pt x="1618298" y="1047750"/>
                  </a:lnTo>
                  <a:lnTo>
                    <a:pt x="1613535" y="1054418"/>
                  </a:lnTo>
                  <a:lnTo>
                    <a:pt x="1604010" y="1062038"/>
                  </a:lnTo>
                  <a:lnTo>
                    <a:pt x="1601152" y="1063943"/>
                  </a:lnTo>
                  <a:lnTo>
                    <a:pt x="1596390" y="1063943"/>
                  </a:lnTo>
                  <a:lnTo>
                    <a:pt x="1589723" y="1063943"/>
                  </a:lnTo>
                  <a:lnTo>
                    <a:pt x="1585913" y="1062990"/>
                  </a:lnTo>
                  <a:lnTo>
                    <a:pt x="1583055" y="1061085"/>
                  </a:lnTo>
                  <a:lnTo>
                    <a:pt x="1576388" y="1056323"/>
                  </a:lnTo>
                  <a:lnTo>
                    <a:pt x="1571625" y="1053465"/>
                  </a:lnTo>
                  <a:lnTo>
                    <a:pt x="1568768" y="1052513"/>
                  </a:lnTo>
                  <a:lnTo>
                    <a:pt x="1565910" y="1053465"/>
                  </a:lnTo>
                  <a:lnTo>
                    <a:pt x="1562100" y="1057275"/>
                  </a:lnTo>
                  <a:lnTo>
                    <a:pt x="1560195" y="1063943"/>
                  </a:lnTo>
                  <a:lnTo>
                    <a:pt x="1561148" y="1066800"/>
                  </a:lnTo>
                  <a:lnTo>
                    <a:pt x="1560195" y="1073468"/>
                  </a:lnTo>
                  <a:lnTo>
                    <a:pt x="1558290" y="1075373"/>
                  </a:lnTo>
                  <a:lnTo>
                    <a:pt x="1554480" y="1077277"/>
                  </a:lnTo>
                  <a:lnTo>
                    <a:pt x="1546860" y="1077277"/>
                  </a:lnTo>
                  <a:lnTo>
                    <a:pt x="1543050" y="1076325"/>
                  </a:lnTo>
                  <a:lnTo>
                    <a:pt x="1541145" y="1074420"/>
                  </a:lnTo>
                  <a:lnTo>
                    <a:pt x="1540193" y="1068705"/>
                  </a:lnTo>
                  <a:lnTo>
                    <a:pt x="1539240" y="1053465"/>
                  </a:lnTo>
                  <a:lnTo>
                    <a:pt x="1537335" y="1045845"/>
                  </a:lnTo>
                  <a:lnTo>
                    <a:pt x="1533525" y="1039177"/>
                  </a:lnTo>
                  <a:lnTo>
                    <a:pt x="1513523" y="1011555"/>
                  </a:lnTo>
                  <a:lnTo>
                    <a:pt x="1509713" y="1003935"/>
                  </a:lnTo>
                  <a:lnTo>
                    <a:pt x="1508760" y="1002030"/>
                  </a:lnTo>
                  <a:lnTo>
                    <a:pt x="1508760" y="999173"/>
                  </a:lnTo>
                  <a:lnTo>
                    <a:pt x="1509713" y="979170"/>
                  </a:lnTo>
                  <a:lnTo>
                    <a:pt x="1508760" y="976313"/>
                  </a:lnTo>
                  <a:lnTo>
                    <a:pt x="1507807" y="973455"/>
                  </a:lnTo>
                  <a:lnTo>
                    <a:pt x="1505902" y="972502"/>
                  </a:lnTo>
                  <a:lnTo>
                    <a:pt x="1503045" y="973455"/>
                  </a:lnTo>
                  <a:lnTo>
                    <a:pt x="1498282" y="977265"/>
                  </a:lnTo>
                  <a:lnTo>
                    <a:pt x="1491615" y="983933"/>
                  </a:lnTo>
                  <a:lnTo>
                    <a:pt x="1488757" y="984885"/>
                  </a:lnTo>
                  <a:lnTo>
                    <a:pt x="1484948" y="985838"/>
                  </a:lnTo>
                  <a:lnTo>
                    <a:pt x="1478280" y="985838"/>
                  </a:lnTo>
                  <a:lnTo>
                    <a:pt x="1469707" y="983933"/>
                  </a:lnTo>
                  <a:lnTo>
                    <a:pt x="1463993" y="982027"/>
                  </a:lnTo>
                  <a:lnTo>
                    <a:pt x="1462088" y="980123"/>
                  </a:lnTo>
                  <a:lnTo>
                    <a:pt x="1460182" y="978218"/>
                  </a:lnTo>
                  <a:lnTo>
                    <a:pt x="1459230" y="972502"/>
                  </a:lnTo>
                  <a:lnTo>
                    <a:pt x="1458277" y="969645"/>
                  </a:lnTo>
                  <a:lnTo>
                    <a:pt x="1456373" y="967740"/>
                  </a:lnTo>
                  <a:lnTo>
                    <a:pt x="1451610" y="964883"/>
                  </a:lnTo>
                  <a:lnTo>
                    <a:pt x="1450657" y="962977"/>
                  </a:lnTo>
                  <a:lnTo>
                    <a:pt x="1449705" y="960120"/>
                  </a:lnTo>
                  <a:lnTo>
                    <a:pt x="1450657" y="954405"/>
                  </a:lnTo>
                  <a:lnTo>
                    <a:pt x="1450657" y="951548"/>
                  </a:lnTo>
                  <a:lnTo>
                    <a:pt x="1449705" y="948690"/>
                  </a:lnTo>
                  <a:lnTo>
                    <a:pt x="1446848" y="947738"/>
                  </a:lnTo>
                  <a:lnTo>
                    <a:pt x="1443990" y="946785"/>
                  </a:lnTo>
                  <a:lnTo>
                    <a:pt x="1442085" y="947738"/>
                  </a:lnTo>
                  <a:lnTo>
                    <a:pt x="1434465" y="954405"/>
                  </a:lnTo>
                  <a:lnTo>
                    <a:pt x="1428750" y="956310"/>
                  </a:lnTo>
                  <a:lnTo>
                    <a:pt x="1422082" y="962977"/>
                  </a:lnTo>
                  <a:lnTo>
                    <a:pt x="1420177" y="965835"/>
                  </a:lnTo>
                  <a:lnTo>
                    <a:pt x="1419225" y="967740"/>
                  </a:lnTo>
                  <a:lnTo>
                    <a:pt x="1421130" y="976313"/>
                  </a:lnTo>
                  <a:lnTo>
                    <a:pt x="1421130" y="979170"/>
                  </a:lnTo>
                  <a:lnTo>
                    <a:pt x="1419225" y="980123"/>
                  </a:lnTo>
                  <a:lnTo>
                    <a:pt x="1416368" y="981075"/>
                  </a:lnTo>
                  <a:lnTo>
                    <a:pt x="1408748" y="979170"/>
                  </a:lnTo>
                  <a:lnTo>
                    <a:pt x="1403032" y="977265"/>
                  </a:lnTo>
                  <a:lnTo>
                    <a:pt x="1400175" y="976313"/>
                  </a:lnTo>
                  <a:lnTo>
                    <a:pt x="1396365" y="977265"/>
                  </a:lnTo>
                  <a:lnTo>
                    <a:pt x="1392555" y="981075"/>
                  </a:lnTo>
                  <a:lnTo>
                    <a:pt x="1390650" y="982980"/>
                  </a:lnTo>
                  <a:lnTo>
                    <a:pt x="1382077" y="999173"/>
                  </a:lnTo>
                  <a:lnTo>
                    <a:pt x="1377315" y="1006793"/>
                  </a:lnTo>
                  <a:lnTo>
                    <a:pt x="1370648" y="1019175"/>
                  </a:lnTo>
                  <a:lnTo>
                    <a:pt x="1366838" y="1022985"/>
                  </a:lnTo>
                  <a:lnTo>
                    <a:pt x="1347788" y="1035368"/>
                  </a:lnTo>
                  <a:lnTo>
                    <a:pt x="1344930" y="1038225"/>
                  </a:lnTo>
                  <a:lnTo>
                    <a:pt x="1342073" y="1042035"/>
                  </a:lnTo>
                  <a:lnTo>
                    <a:pt x="1340168" y="1047750"/>
                  </a:lnTo>
                  <a:lnTo>
                    <a:pt x="1339215" y="1050608"/>
                  </a:lnTo>
                  <a:lnTo>
                    <a:pt x="1340168" y="1052513"/>
                  </a:lnTo>
                  <a:lnTo>
                    <a:pt x="1344930" y="1058227"/>
                  </a:lnTo>
                  <a:lnTo>
                    <a:pt x="1346835" y="1061085"/>
                  </a:lnTo>
                  <a:lnTo>
                    <a:pt x="1345882" y="1063943"/>
                  </a:lnTo>
                  <a:lnTo>
                    <a:pt x="1344930" y="1070610"/>
                  </a:lnTo>
                  <a:lnTo>
                    <a:pt x="1341120" y="1083945"/>
                  </a:lnTo>
                  <a:lnTo>
                    <a:pt x="1340168" y="1086802"/>
                  </a:lnTo>
                  <a:lnTo>
                    <a:pt x="1337310" y="1089660"/>
                  </a:lnTo>
                  <a:lnTo>
                    <a:pt x="1333500" y="1091565"/>
                  </a:lnTo>
                  <a:lnTo>
                    <a:pt x="1323975" y="1091565"/>
                  </a:lnTo>
                  <a:lnTo>
                    <a:pt x="1320165" y="1090613"/>
                  </a:lnTo>
                  <a:lnTo>
                    <a:pt x="1317307" y="1088708"/>
                  </a:lnTo>
                  <a:lnTo>
                    <a:pt x="1315402" y="1083945"/>
                  </a:lnTo>
                  <a:lnTo>
                    <a:pt x="1311593" y="1083945"/>
                  </a:lnTo>
                  <a:lnTo>
                    <a:pt x="1296352" y="1086802"/>
                  </a:lnTo>
                  <a:lnTo>
                    <a:pt x="1293495" y="1085850"/>
                  </a:lnTo>
                  <a:lnTo>
                    <a:pt x="1291590" y="1083945"/>
                  </a:lnTo>
                  <a:lnTo>
                    <a:pt x="1290638" y="1080135"/>
                  </a:lnTo>
                  <a:lnTo>
                    <a:pt x="1285875" y="1077277"/>
                  </a:lnTo>
                  <a:lnTo>
                    <a:pt x="1283018" y="1077277"/>
                  </a:lnTo>
                  <a:lnTo>
                    <a:pt x="1280160" y="1078230"/>
                  </a:lnTo>
                  <a:lnTo>
                    <a:pt x="1270635" y="1087755"/>
                  </a:lnTo>
                  <a:lnTo>
                    <a:pt x="1267777" y="1089660"/>
                  </a:lnTo>
                  <a:lnTo>
                    <a:pt x="1244918" y="1097280"/>
                  </a:lnTo>
                  <a:lnTo>
                    <a:pt x="1237298" y="1102043"/>
                  </a:lnTo>
                  <a:lnTo>
                    <a:pt x="1233488" y="1105852"/>
                  </a:lnTo>
                  <a:lnTo>
                    <a:pt x="1230630" y="1111568"/>
                  </a:lnTo>
                  <a:lnTo>
                    <a:pt x="1226820" y="1116330"/>
                  </a:lnTo>
                  <a:lnTo>
                    <a:pt x="1220152" y="1122045"/>
                  </a:lnTo>
                  <a:lnTo>
                    <a:pt x="1217295" y="1126808"/>
                  </a:lnTo>
                  <a:lnTo>
                    <a:pt x="1214438" y="1129665"/>
                  </a:lnTo>
                  <a:lnTo>
                    <a:pt x="1209675" y="1131570"/>
                  </a:lnTo>
                  <a:lnTo>
                    <a:pt x="1203007" y="1130618"/>
                  </a:lnTo>
                  <a:lnTo>
                    <a:pt x="1200150" y="1126808"/>
                  </a:lnTo>
                  <a:lnTo>
                    <a:pt x="1198245" y="1122998"/>
                  </a:lnTo>
                  <a:lnTo>
                    <a:pt x="1195388" y="1109663"/>
                  </a:lnTo>
                  <a:lnTo>
                    <a:pt x="1192530" y="1101090"/>
                  </a:lnTo>
                  <a:lnTo>
                    <a:pt x="1190625" y="1097280"/>
                  </a:lnTo>
                  <a:lnTo>
                    <a:pt x="1185863" y="1091565"/>
                  </a:lnTo>
                  <a:lnTo>
                    <a:pt x="1169670" y="1080135"/>
                  </a:lnTo>
                  <a:lnTo>
                    <a:pt x="1127760" y="1064895"/>
                  </a:lnTo>
                  <a:lnTo>
                    <a:pt x="1123950" y="1063943"/>
                  </a:lnTo>
                  <a:lnTo>
                    <a:pt x="1105852" y="1063943"/>
                  </a:lnTo>
                  <a:lnTo>
                    <a:pt x="1102995" y="1064895"/>
                  </a:lnTo>
                  <a:lnTo>
                    <a:pt x="1099185" y="1067752"/>
                  </a:lnTo>
                  <a:lnTo>
                    <a:pt x="1095375" y="1073468"/>
                  </a:lnTo>
                  <a:lnTo>
                    <a:pt x="1093470" y="1079183"/>
                  </a:lnTo>
                  <a:lnTo>
                    <a:pt x="1090613" y="1082993"/>
                  </a:lnTo>
                  <a:lnTo>
                    <a:pt x="1085850" y="1085850"/>
                  </a:lnTo>
                  <a:lnTo>
                    <a:pt x="1054418" y="1084898"/>
                  </a:lnTo>
                  <a:lnTo>
                    <a:pt x="1038225" y="1079183"/>
                  </a:lnTo>
                  <a:lnTo>
                    <a:pt x="1033463" y="1078230"/>
                  </a:lnTo>
                  <a:lnTo>
                    <a:pt x="1028700" y="1080135"/>
                  </a:lnTo>
                  <a:lnTo>
                    <a:pt x="1023938" y="1085850"/>
                  </a:lnTo>
                  <a:lnTo>
                    <a:pt x="1022032" y="1090613"/>
                  </a:lnTo>
                  <a:lnTo>
                    <a:pt x="1021080" y="1096327"/>
                  </a:lnTo>
                  <a:lnTo>
                    <a:pt x="1021080" y="1106805"/>
                  </a:lnTo>
                  <a:lnTo>
                    <a:pt x="1022985" y="1122045"/>
                  </a:lnTo>
                  <a:lnTo>
                    <a:pt x="1022985" y="1137285"/>
                  </a:lnTo>
                  <a:lnTo>
                    <a:pt x="1022032" y="1142048"/>
                  </a:lnTo>
                  <a:lnTo>
                    <a:pt x="1020127" y="1151573"/>
                  </a:lnTo>
                  <a:lnTo>
                    <a:pt x="1018223" y="1155383"/>
                  </a:lnTo>
                  <a:lnTo>
                    <a:pt x="1014413" y="1159193"/>
                  </a:lnTo>
                  <a:lnTo>
                    <a:pt x="1001077" y="1170623"/>
                  </a:lnTo>
                  <a:lnTo>
                    <a:pt x="995363" y="1176338"/>
                  </a:lnTo>
                  <a:lnTo>
                    <a:pt x="994410" y="1180148"/>
                  </a:lnTo>
                  <a:lnTo>
                    <a:pt x="992505" y="1184910"/>
                  </a:lnTo>
                  <a:lnTo>
                    <a:pt x="992505" y="1189673"/>
                  </a:lnTo>
                  <a:lnTo>
                    <a:pt x="989648" y="1198245"/>
                  </a:lnTo>
                  <a:lnTo>
                    <a:pt x="985838" y="1210627"/>
                  </a:lnTo>
                  <a:lnTo>
                    <a:pt x="982027" y="1214438"/>
                  </a:lnTo>
                  <a:lnTo>
                    <a:pt x="975360" y="1219200"/>
                  </a:lnTo>
                  <a:lnTo>
                    <a:pt x="958215" y="1223963"/>
                  </a:lnTo>
                  <a:lnTo>
                    <a:pt x="947738" y="1228725"/>
                  </a:lnTo>
                  <a:lnTo>
                    <a:pt x="935355" y="1232535"/>
                  </a:lnTo>
                  <a:lnTo>
                    <a:pt x="928688" y="1232535"/>
                  </a:lnTo>
                  <a:lnTo>
                    <a:pt x="924878" y="1233488"/>
                  </a:lnTo>
                  <a:lnTo>
                    <a:pt x="920115" y="1239202"/>
                  </a:lnTo>
                  <a:lnTo>
                    <a:pt x="917257" y="1240155"/>
                  </a:lnTo>
                  <a:lnTo>
                    <a:pt x="915353" y="1239202"/>
                  </a:lnTo>
                  <a:lnTo>
                    <a:pt x="913447" y="1237298"/>
                  </a:lnTo>
                  <a:lnTo>
                    <a:pt x="909638" y="1229677"/>
                  </a:lnTo>
                  <a:lnTo>
                    <a:pt x="906780" y="1226820"/>
                  </a:lnTo>
                  <a:lnTo>
                    <a:pt x="904875" y="1224915"/>
                  </a:lnTo>
                  <a:lnTo>
                    <a:pt x="897255" y="1222058"/>
                  </a:lnTo>
                  <a:lnTo>
                    <a:pt x="890588" y="1221105"/>
                  </a:lnTo>
                  <a:lnTo>
                    <a:pt x="881063" y="1222058"/>
                  </a:lnTo>
                  <a:lnTo>
                    <a:pt x="878205" y="1222058"/>
                  </a:lnTo>
                  <a:lnTo>
                    <a:pt x="866775" y="1217295"/>
                  </a:lnTo>
                  <a:lnTo>
                    <a:pt x="860107" y="1216343"/>
                  </a:lnTo>
                  <a:lnTo>
                    <a:pt x="841057" y="1217295"/>
                  </a:lnTo>
                  <a:lnTo>
                    <a:pt x="837247" y="1219200"/>
                  </a:lnTo>
                  <a:lnTo>
                    <a:pt x="811530" y="1234440"/>
                  </a:lnTo>
                  <a:lnTo>
                    <a:pt x="802957" y="1237298"/>
                  </a:lnTo>
                  <a:lnTo>
                    <a:pt x="782003" y="1237298"/>
                  </a:lnTo>
                  <a:lnTo>
                    <a:pt x="777240" y="1237298"/>
                  </a:lnTo>
                  <a:lnTo>
                    <a:pt x="770572" y="1237298"/>
                  </a:lnTo>
                  <a:lnTo>
                    <a:pt x="768668" y="1235393"/>
                  </a:lnTo>
                  <a:lnTo>
                    <a:pt x="762953" y="1230630"/>
                  </a:lnTo>
                  <a:lnTo>
                    <a:pt x="752475" y="1224915"/>
                  </a:lnTo>
                  <a:lnTo>
                    <a:pt x="737235" y="1220152"/>
                  </a:lnTo>
                  <a:lnTo>
                    <a:pt x="723900" y="1219200"/>
                  </a:lnTo>
                  <a:lnTo>
                    <a:pt x="715328" y="1215390"/>
                  </a:lnTo>
                  <a:lnTo>
                    <a:pt x="709613" y="1214438"/>
                  </a:lnTo>
                  <a:lnTo>
                    <a:pt x="682943" y="1216343"/>
                  </a:lnTo>
                  <a:lnTo>
                    <a:pt x="677228" y="1214438"/>
                  </a:lnTo>
                  <a:lnTo>
                    <a:pt x="672465" y="1214438"/>
                  </a:lnTo>
                  <a:lnTo>
                    <a:pt x="653415" y="1219200"/>
                  </a:lnTo>
                  <a:lnTo>
                    <a:pt x="646747" y="1220152"/>
                  </a:lnTo>
                  <a:lnTo>
                    <a:pt x="642938" y="1219200"/>
                  </a:lnTo>
                  <a:lnTo>
                    <a:pt x="641032" y="1217295"/>
                  </a:lnTo>
                  <a:lnTo>
                    <a:pt x="638175" y="1212533"/>
                  </a:lnTo>
                  <a:lnTo>
                    <a:pt x="636270" y="1211580"/>
                  </a:lnTo>
                  <a:lnTo>
                    <a:pt x="631507" y="1210627"/>
                  </a:lnTo>
                  <a:lnTo>
                    <a:pt x="624840" y="1211580"/>
                  </a:lnTo>
                  <a:lnTo>
                    <a:pt x="621030" y="1211580"/>
                  </a:lnTo>
                  <a:lnTo>
                    <a:pt x="617220" y="1209675"/>
                  </a:lnTo>
                  <a:lnTo>
                    <a:pt x="612457" y="1207770"/>
                  </a:lnTo>
                  <a:lnTo>
                    <a:pt x="608647" y="1206818"/>
                  </a:lnTo>
                  <a:lnTo>
                    <a:pt x="601028" y="1207770"/>
                  </a:lnTo>
                  <a:lnTo>
                    <a:pt x="594360" y="1205865"/>
                  </a:lnTo>
                  <a:lnTo>
                    <a:pt x="590550" y="1205865"/>
                  </a:lnTo>
                  <a:lnTo>
                    <a:pt x="584835" y="1207770"/>
                  </a:lnTo>
                  <a:lnTo>
                    <a:pt x="567690" y="1217295"/>
                  </a:lnTo>
                  <a:lnTo>
                    <a:pt x="551497" y="1232535"/>
                  </a:lnTo>
                  <a:lnTo>
                    <a:pt x="539115" y="1242060"/>
                  </a:lnTo>
                  <a:lnTo>
                    <a:pt x="534353" y="1247775"/>
                  </a:lnTo>
                  <a:lnTo>
                    <a:pt x="533400" y="1251585"/>
                  </a:lnTo>
                  <a:lnTo>
                    <a:pt x="536257" y="1256348"/>
                  </a:lnTo>
                  <a:lnTo>
                    <a:pt x="536257" y="1259205"/>
                  </a:lnTo>
                  <a:lnTo>
                    <a:pt x="537210" y="1263968"/>
                  </a:lnTo>
                  <a:lnTo>
                    <a:pt x="537210" y="1265873"/>
                  </a:lnTo>
                  <a:lnTo>
                    <a:pt x="531495" y="1288733"/>
                  </a:lnTo>
                  <a:lnTo>
                    <a:pt x="530543" y="1291590"/>
                  </a:lnTo>
                  <a:lnTo>
                    <a:pt x="526732" y="1296352"/>
                  </a:lnTo>
                  <a:lnTo>
                    <a:pt x="506730" y="1313498"/>
                  </a:lnTo>
                  <a:lnTo>
                    <a:pt x="501968" y="1320165"/>
                  </a:lnTo>
                  <a:lnTo>
                    <a:pt x="500063" y="1323975"/>
                  </a:lnTo>
                  <a:lnTo>
                    <a:pt x="503872" y="1327785"/>
                  </a:lnTo>
                  <a:lnTo>
                    <a:pt x="514350" y="1332548"/>
                  </a:lnTo>
                  <a:lnTo>
                    <a:pt x="517207" y="1334452"/>
                  </a:lnTo>
                  <a:lnTo>
                    <a:pt x="518160" y="1336358"/>
                  </a:lnTo>
                  <a:lnTo>
                    <a:pt x="519113" y="1338263"/>
                  </a:lnTo>
                  <a:lnTo>
                    <a:pt x="519113" y="1354455"/>
                  </a:lnTo>
                  <a:lnTo>
                    <a:pt x="519113" y="1361123"/>
                  </a:lnTo>
                  <a:lnTo>
                    <a:pt x="517207" y="1366838"/>
                  </a:lnTo>
                  <a:lnTo>
                    <a:pt x="514350" y="1369695"/>
                  </a:lnTo>
                  <a:lnTo>
                    <a:pt x="508635" y="1372552"/>
                  </a:lnTo>
                  <a:lnTo>
                    <a:pt x="470535" y="1376363"/>
                  </a:lnTo>
                  <a:lnTo>
                    <a:pt x="467678" y="1376363"/>
                  </a:lnTo>
                  <a:lnTo>
                    <a:pt x="463868" y="1372552"/>
                  </a:lnTo>
                  <a:lnTo>
                    <a:pt x="462915" y="1370648"/>
                  </a:lnTo>
                  <a:lnTo>
                    <a:pt x="460057" y="1365885"/>
                  </a:lnTo>
                  <a:lnTo>
                    <a:pt x="458153" y="1363980"/>
                  </a:lnTo>
                  <a:lnTo>
                    <a:pt x="455295" y="1363027"/>
                  </a:lnTo>
                  <a:lnTo>
                    <a:pt x="445770" y="1361123"/>
                  </a:lnTo>
                  <a:lnTo>
                    <a:pt x="433388" y="1362075"/>
                  </a:lnTo>
                  <a:lnTo>
                    <a:pt x="430530" y="1363027"/>
                  </a:lnTo>
                  <a:lnTo>
                    <a:pt x="427672" y="1365885"/>
                  </a:lnTo>
                  <a:lnTo>
                    <a:pt x="423863" y="1370648"/>
                  </a:lnTo>
                  <a:lnTo>
                    <a:pt x="421957" y="1374458"/>
                  </a:lnTo>
                  <a:lnTo>
                    <a:pt x="421005" y="1379220"/>
                  </a:lnTo>
                  <a:lnTo>
                    <a:pt x="420053" y="1388745"/>
                  </a:lnTo>
                  <a:lnTo>
                    <a:pt x="418147" y="1394460"/>
                  </a:lnTo>
                  <a:lnTo>
                    <a:pt x="349568" y="1430655"/>
                  </a:lnTo>
                  <a:lnTo>
                    <a:pt x="344805" y="1437323"/>
                  </a:lnTo>
                  <a:lnTo>
                    <a:pt x="342900" y="1437323"/>
                  </a:lnTo>
                  <a:lnTo>
                    <a:pt x="339090" y="1437323"/>
                  </a:lnTo>
                  <a:lnTo>
                    <a:pt x="331470" y="1435418"/>
                  </a:lnTo>
                  <a:lnTo>
                    <a:pt x="327660" y="1433513"/>
                  </a:lnTo>
                  <a:lnTo>
                    <a:pt x="324803" y="1431608"/>
                  </a:lnTo>
                  <a:lnTo>
                    <a:pt x="321945" y="1426845"/>
                  </a:lnTo>
                  <a:lnTo>
                    <a:pt x="320040" y="1424940"/>
                  </a:lnTo>
                  <a:lnTo>
                    <a:pt x="317182" y="1423988"/>
                  </a:lnTo>
                  <a:lnTo>
                    <a:pt x="312420" y="1424940"/>
                  </a:lnTo>
                  <a:lnTo>
                    <a:pt x="306705" y="1427798"/>
                  </a:lnTo>
                  <a:lnTo>
                    <a:pt x="291465" y="1439227"/>
                  </a:lnTo>
                  <a:lnTo>
                    <a:pt x="278130" y="1453515"/>
                  </a:lnTo>
                  <a:lnTo>
                    <a:pt x="271463" y="1456373"/>
                  </a:lnTo>
                  <a:lnTo>
                    <a:pt x="255270" y="1454468"/>
                  </a:lnTo>
                  <a:lnTo>
                    <a:pt x="246697" y="1446848"/>
                  </a:lnTo>
                  <a:lnTo>
                    <a:pt x="241935" y="1442085"/>
                  </a:lnTo>
                  <a:lnTo>
                    <a:pt x="237172" y="1440180"/>
                  </a:lnTo>
                  <a:lnTo>
                    <a:pt x="231457" y="1440180"/>
                  </a:lnTo>
                  <a:lnTo>
                    <a:pt x="225743" y="1442085"/>
                  </a:lnTo>
                  <a:lnTo>
                    <a:pt x="200978" y="1452563"/>
                  </a:lnTo>
                  <a:lnTo>
                    <a:pt x="196215" y="1453515"/>
                  </a:lnTo>
                  <a:lnTo>
                    <a:pt x="194310" y="1453515"/>
                  </a:lnTo>
                  <a:lnTo>
                    <a:pt x="192405" y="1451610"/>
                  </a:lnTo>
                  <a:lnTo>
                    <a:pt x="191453" y="1448752"/>
                  </a:lnTo>
                  <a:lnTo>
                    <a:pt x="192405" y="1443038"/>
                  </a:lnTo>
                  <a:lnTo>
                    <a:pt x="193357" y="1440180"/>
                  </a:lnTo>
                  <a:lnTo>
                    <a:pt x="194310" y="1438275"/>
                  </a:lnTo>
                  <a:lnTo>
                    <a:pt x="203835" y="1429702"/>
                  </a:lnTo>
                  <a:lnTo>
                    <a:pt x="205740" y="1427798"/>
                  </a:lnTo>
                  <a:lnTo>
                    <a:pt x="208597" y="1423035"/>
                  </a:lnTo>
                  <a:lnTo>
                    <a:pt x="210503" y="1419225"/>
                  </a:lnTo>
                  <a:lnTo>
                    <a:pt x="211455" y="1414463"/>
                  </a:lnTo>
                  <a:lnTo>
                    <a:pt x="212407" y="1411605"/>
                  </a:lnTo>
                  <a:lnTo>
                    <a:pt x="216218" y="1411605"/>
                  </a:lnTo>
                  <a:lnTo>
                    <a:pt x="218122" y="1410652"/>
                  </a:lnTo>
                  <a:lnTo>
                    <a:pt x="220980" y="1406843"/>
                  </a:lnTo>
                  <a:lnTo>
                    <a:pt x="223838" y="1403033"/>
                  </a:lnTo>
                  <a:lnTo>
                    <a:pt x="225743" y="1399223"/>
                  </a:lnTo>
                  <a:lnTo>
                    <a:pt x="225743" y="1392555"/>
                  </a:lnTo>
                  <a:lnTo>
                    <a:pt x="225743" y="1388745"/>
                  </a:lnTo>
                  <a:lnTo>
                    <a:pt x="222885" y="1378268"/>
                  </a:lnTo>
                  <a:lnTo>
                    <a:pt x="215265" y="1362075"/>
                  </a:lnTo>
                  <a:lnTo>
                    <a:pt x="205740" y="1349693"/>
                  </a:lnTo>
                  <a:lnTo>
                    <a:pt x="200025" y="1341120"/>
                  </a:lnTo>
                  <a:lnTo>
                    <a:pt x="195263" y="1331595"/>
                  </a:lnTo>
                  <a:lnTo>
                    <a:pt x="194310" y="1327785"/>
                  </a:lnTo>
                  <a:lnTo>
                    <a:pt x="193357" y="1321118"/>
                  </a:lnTo>
                  <a:lnTo>
                    <a:pt x="193357" y="1298258"/>
                  </a:lnTo>
                  <a:lnTo>
                    <a:pt x="192405" y="1295400"/>
                  </a:lnTo>
                  <a:lnTo>
                    <a:pt x="191453" y="1292543"/>
                  </a:lnTo>
                  <a:lnTo>
                    <a:pt x="187643" y="1290638"/>
                  </a:lnTo>
                  <a:lnTo>
                    <a:pt x="164782" y="1281113"/>
                  </a:lnTo>
                  <a:lnTo>
                    <a:pt x="147638" y="1268730"/>
                  </a:lnTo>
                  <a:lnTo>
                    <a:pt x="143828" y="1264920"/>
                  </a:lnTo>
                  <a:lnTo>
                    <a:pt x="140018" y="1261110"/>
                  </a:lnTo>
                  <a:lnTo>
                    <a:pt x="139065" y="1257300"/>
                  </a:lnTo>
                  <a:lnTo>
                    <a:pt x="139065" y="1253490"/>
                  </a:lnTo>
                  <a:lnTo>
                    <a:pt x="140018" y="1245870"/>
                  </a:lnTo>
                  <a:lnTo>
                    <a:pt x="140970" y="1242060"/>
                  </a:lnTo>
                  <a:lnTo>
                    <a:pt x="143828" y="1239202"/>
                  </a:lnTo>
                  <a:lnTo>
                    <a:pt x="152400" y="1234440"/>
                  </a:lnTo>
                  <a:lnTo>
                    <a:pt x="154305" y="1232535"/>
                  </a:lnTo>
                  <a:lnTo>
                    <a:pt x="155257" y="1230630"/>
                  </a:lnTo>
                  <a:lnTo>
                    <a:pt x="156210" y="1227773"/>
                  </a:lnTo>
                  <a:lnTo>
                    <a:pt x="153353" y="1224915"/>
                  </a:lnTo>
                  <a:lnTo>
                    <a:pt x="151447" y="1223010"/>
                  </a:lnTo>
                  <a:lnTo>
                    <a:pt x="148590" y="1222058"/>
                  </a:lnTo>
                  <a:lnTo>
                    <a:pt x="144780" y="1219200"/>
                  </a:lnTo>
                  <a:lnTo>
                    <a:pt x="141922" y="1216343"/>
                  </a:lnTo>
                  <a:lnTo>
                    <a:pt x="137160" y="1209675"/>
                  </a:lnTo>
                  <a:lnTo>
                    <a:pt x="133350" y="1207770"/>
                  </a:lnTo>
                  <a:lnTo>
                    <a:pt x="130493" y="1206818"/>
                  </a:lnTo>
                  <a:lnTo>
                    <a:pt x="116205" y="1207770"/>
                  </a:lnTo>
                  <a:lnTo>
                    <a:pt x="97155" y="1204913"/>
                  </a:lnTo>
                  <a:lnTo>
                    <a:pt x="94297" y="1203960"/>
                  </a:lnTo>
                  <a:lnTo>
                    <a:pt x="92393" y="1197293"/>
                  </a:lnTo>
                  <a:lnTo>
                    <a:pt x="82868" y="1147763"/>
                  </a:lnTo>
                  <a:lnTo>
                    <a:pt x="80010" y="1141095"/>
                  </a:lnTo>
                  <a:lnTo>
                    <a:pt x="78105" y="1139190"/>
                  </a:lnTo>
                  <a:lnTo>
                    <a:pt x="64770" y="1136333"/>
                  </a:lnTo>
                  <a:lnTo>
                    <a:pt x="60960" y="1132523"/>
                  </a:lnTo>
                  <a:lnTo>
                    <a:pt x="58103" y="1125855"/>
                  </a:lnTo>
                  <a:lnTo>
                    <a:pt x="57150" y="1119188"/>
                  </a:lnTo>
                  <a:lnTo>
                    <a:pt x="57150" y="1115377"/>
                  </a:lnTo>
                  <a:lnTo>
                    <a:pt x="59055" y="1111568"/>
                  </a:lnTo>
                  <a:lnTo>
                    <a:pt x="60960" y="1109663"/>
                  </a:lnTo>
                  <a:lnTo>
                    <a:pt x="66675" y="1104900"/>
                  </a:lnTo>
                  <a:lnTo>
                    <a:pt x="68580" y="1102043"/>
                  </a:lnTo>
                  <a:lnTo>
                    <a:pt x="68580" y="1098233"/>
                  </a:lnTo>
                  <a:lnTo>
                    <a:pt x="66675" y="1091565"/>
                  </a:lnTo>
                  <a:lnTo>
                    <a:pt x="63818" y="1084898"/>
                  </a:lnTo>
                  <a:lnTo>
                    <a:pt x="60007" y="1081088"/>
                  </a:lnTo>
                  <a:lnTo>
                    <a:pt x="55245" y="1078230"/>
                  </a:lnTo>
                  <a:lnTo>
                    <a:pt x="52388" y="1077277"/>
                  </a:lnTo>
                  <a:lnTo>
                    <a:pt x="43815" y="1077277"/>
                  </a:lnTo>
                  <a:lnTo>
                    <a:pt x="41910" y="1076325"/>
                  </a:lnTo>
                  <a:lnTo>
                    <a:pt x="34290" y="1069658"/>
                  </a:lnTo>
                  <a:lnTo>
                    <a:pt x="23813" y="1063943"/>
                  </a:lnTo>
                  <a:lnTo>
                    <a:pt x="22860" y="1062038"/>
                  </a:lnTo>
                  <a:lnTo>
                    <a:pt x="22860" y="1059180"/>
                  </a:lnTo>
                  <a:lnTo>
                    <a:pt x="25718" y="1054418"/>
                  </a:lnTo>
                  <a:lnTo>
                    <a:pt x="27622" y="1050608"/>
                  </a:lnTo>
                  <a:lnTo>
                    <a:pt x="31432" y="1039177"/>
                  </a:lnTo>
                  <a:lnTo>
                    <a:pt x="34290" y="1036320"/>
                  </a:lnTo>
                  <a:lnTo>
                    <a:pt x="37147" y="1034415"/>
                  </a:lnTo>
                  <a:lnTo>
                    <a:pt x="40005" y="1034415"/>
                  </a:lnTo>
                  <a:lnTo>
                    <a:pt x="41910" y="1032510"/>
                  </a:lnTo>
                  <a:lnTo>
                    <a:pt x="42863" y="1028700"/>
                  </a:lnTo>
                  <a:lnTo>
                    <a:pt x="41910" y="1020127"/>
                  </a:lnTo>
                  <a:lnTo>
                    <a:pt x="39053" y="1014413"/>
                  </a:lnTo>
                  <a:lnTo>
                    <a:pt x="35243" y="1010602"/>
                  </a:lnTo>
                  <a:lnTo>
                    <a:pt x="29528" y="1008698"/>
                  </a:lnTo>
                  <a:lnTo>
                    <a:pt x="13335" y="1008698"/>
                  </a:lnTo>
                  <a:lnTo>
                    <a:pt x="10478" y="1007745"/>
                  </a:lnTo>
                  <a:lnTo>
                    <a:pt x="5715" y="1004888"/>
                  </a:lnTo>
                  <a:lnTo>
                    <a:pt x="1905" y="1000125"/>
                  </a:lnTo>
                  <a:lnTo>
                    <a:pt x="0" y="993458"/>
                  </a:lnTo>
                  <a:lnTo>
                    <a:pt x="0" y="987743"/>
                  </a:lnTo>
                  <a:lnTo>
                    <a:pt x="953" y="982980"/>
                  </a:lnTo>
                  <a:lnTo>
                    <a:pt x="2857" y="978218"/>
                  </a:lnTo>
                  <a:lnTo>
                    <a:pt x="8572" y="968693"/>
                  </a:lnTo>
                  <a:lnTo>
                    <a:pt x="13335" y="965835"/>
                  </a:lnTo>
                  <a:lnTo>
                    <a:pt x="31432" y="954405"/>
                  </a:lnTo>
                  <a:lnTo>
                    <a:pt x="40957" y="950595"/>
                  </a:lnTo>
                  <a:lnTo>
                    <a:pt x="42863" y="947738"/>
                  </a:lnTo>
                  <a:lnTo>
                    <a:pt x="43815" y="943927"/>
                  </a:lnTo>
                  <a:lnTo>
                    <a:pt x="42863" y="930593"/>
                  </a:lnTo>
                  <a:lnTo>
                    <a:pt x="42863" y="926783"/>
                  </a:lnTo>
                  <a:lnTo>
                    <a:pt x="46672" y="922973"/>
                  </a:lnTo>
                  <a:lnTo>
                    <a:pt x="48578" y="921068"/>
                  </a:lnTo>
                  <a:lnTo>
                    <a:pt x="59055" y="915352"/>
                  </a:lnTo>
                  <a:lnTo>
                    <a:pt x="60007" y="913448"/>
                  </a:lnTo>
                  <a:lnTo>
                    <a:pt x="60960" y="909638"/>
                  </a:lnTo>
                  <a:lnTo>
                    <a:pt x="59055" y="901065"/>
                  </a:lnTo>
                  <a:lnTo>
                    <a:pt x="58103" y="896302"/>
                  </a:lnTo>
                  <a:lnTo>
                    <a:pt x="57150" y="892493"/>
                  </a:lnTo>
                  <a:lnTo>
                    <a:pt x="57150" y="888683"/>
                  </a:lnTo>
                  <a:lnTo>
                    <a:pt x="59055" y="884873"/>
                  </a:lnTo>
                  <a:lnTo>
                    <a:pt x="62865" y="879158"/>
                  </a:lnTo>
                  <a:lnTo>
                    <a:pt x="62865" y="875348"/>
                  </a:lnTo>
                  <a:lnTo>
                    <a:pt x="61913" y="871538"/>
                  </a:lnTo>
                  <a:lnTo>
                    <a:pt x="59055" y="866775"/>
                  </a:lnTo>
                  <a:lnTo>
                    <a:pt x="56197" y="863918"/>
                  </a:lnTo>
                  <a:lnTo>
                    <a:pt x="53340" y="862013"/>
                  </a:lnTo>
                  <a:lnTo>
                    <a:pt x="45720" y="857250"/>
                  </a:lnTo>
                  <a:lnTo>
                    <a:pt x="42863" y="856298"/>
                  </a:lnTo>
                  <a:lnTo>
                    <a:pt x="42863" y="849630"/>
                  </a:lnTo>
                  <a:lnTo>
                    <a:pt x="55245" y="836295"/>
                  </a:lnTo>
                  <a:lnTo>
                    <a:pt x="75247" y="842010"/>
                  </a:lnTo>
                  <a:lnTo>
                    <a:pt x="80010" y="846773"/>
                  </a:lnTo>
                  <a:lnTo>
                    <a:pt x="79057" y="849630"/>
                  </a:lnTo>
                  <a:lnTo>
                    <a:pt x="75247" y="851535"/>
                  </a:lnTo>
                  <a:lnTo>
                    <a:pt x="72390" y="853440"/>
                  </a:lnTo>
                  <a:lnTo>
                    <a:pt x="71438" y="856298"/>
                  </a:lnTo>
                  <a:lnTo>
                    <a:pt x="72390" y="862013"/>
                  </a:lnTo>
                  <a:lnTo>
                    <a:pt x="74295" y="865823"/>
                  </a:lnTo>
                  <a:lnTo>
                    <a:pt x="78105" y="870585"/>
                  </a:lnTo>
                  <a:lnTo>
                    <a:pt x="88582" y="878205"/>
                  </a:lnTo>
                  <a:lnTo>
                    <a:pt x="97155" y="882015"/>
                  </a:lnTo>
                  <a:lnTo>
                    <a:pt x="128588" y="878205"/>
                  </a:lnTo>
                  <a:lnTo>
                    <a:pt x="141922" y="879158"/>
                  </a:lnTo>
                  <a:lnTo>
                    <a:pt x="145732" y="877252"/>
                  </a:lnTo>
                  <a:lnTo>
                    <a:pt x="147638" y="874395"/>
                  </a:lnTo>
                  <a:lnTo>
                    <a:pt x="145732" y="865823"/>
                  </a:lnTo>
                  <a:lnTo>
                    <a:pt x="146685" y="862965"/>
                  </a:lnTo>
                  <a:lnTo>
                    <a:pt x="146685" y="860108"/>
                  </a:lnTo>
                  <a:lnTo>
                    <a:pt x="149543" y="856298"/>
                  </a:lnTo>
                  <a:lnTo>
                    <a:pt x="157163" y="848677"/>
                  </a:lnTo>
                  <a:lnTo>
                    <a:pt x="160972" y="844868"/>
                  </a:lnTo>
                  <a:lnTo>
                    <a:pt x="165735" y="837248"/>
                  </a:lnTo>
                  <a:lnTo>
                    <a:pt x="166688" y="833438"/>
                  </a:lnTo>
                  <a:lnTo>
                    <a:pt x="169545" y="824865"/>
                  </a:lnTo>
                  <a:lnTo>
                    <a:pt x="172403" y="820102"/>
                  </a:lnTo>
                  <a:lnTo>
                    <a:pt x="179070" y="817245"/>
                  </a:lnTo>
                  <a:lnTo>
                    <a:pt x="190500" y="808673"/>
                  </a:lnTo>
                  <a:lnTo>
                    <a:pt x="195263" y="806768"/>
                  </a:lnTo>
                  <a:lnTo>
                    <a:pt x="213360" y="806768"/>
                  </a:lnTo>
                  <a:lnTo>
                    <a:pt x="218122" y="805815"/>
                  </a:lnTo>
                  <a:lnTo>
                    <a:pt x="221932" y="803910"/>
                  </a:lnTo>
                  <a:lnTo>
                    <a:pt x="227647" y="795338"/>
                  </a:lnTo>
                  <a:lnTo>
                    <a:pt x="231457" y="790575"/>
                  </a:lnTo>
                  <a:lnTo>
                    <a:pt x="235268" y="788670"/>
                  </a:lnTo>
                  <a:lnTo>
                    <a:pt x="239078" y="789623"/>
                  </a:lnTo>
                  <a:lnTo>
                    <a:pt x="242888" y="790575"/>
                  </a:lnTo>
                  <a:lnTo>
                    <a:pt x="258128" y="791527"/>
                  </a:lnTo>
                  <a:lnTo>
                    <a:pt x="260985" y="792480"/>
                  </a:lnTo>
                  <a:lnTo>
                    <a:pt x="266700" y="795338"/>
                  </a:lnTo>
                  <a:lnTo>
                    <a:pt x="268605" y="796290"/>
                  </a:lnTo>
                  <a:lnTo>
                    <a:pt x="273368" y="797243"/>
                  </a:lnTo>
                  <a:lnTo>
                    <a:pt x="276225" y="796290"/>
                  </a:lnTo>
                  <a:lnTo>
                    <a:pt x="276225" y="793433"/>
                  </a:lnTo>
                  <a:lnTo>
                    <a:pt x="274320" y="788670"/>
                  </a:lnTo>
                  <a:lnTo>
                    <a:pt x="271463" y="782002"/>
                  </a:lnTo>
                  <a:lnTo>
                    <a:pt x="269557" y="778193"/>
                  </a:lnTo>
                  <a:lnTo>
                    <a:pt x="269557" y="776288"/>
                  </a:lnTo>
                  <a:lnTo>
                    <a:pt x="271463" y="773430"/>
                  </a:lnTo>
                  <a:lnTo>
                    <a:pt x="275272" y="769620"/>
                  </a:lnTo>
                  <a:lnTo>
                    <a:pt x="282893" y="765810"/>
                  </a:lnTo>
                  <a:lnTo>
                    <a:pt x="286703" y="761048"/>
                  </a:lnTo>
                  <a:lnTo>
                    <a:pt x="292418" y="754380"/>
                  </a:lnTo>
                  <a:lnTo>
                    <a:pt x="295275" y="753427"/>
                  </a:lnTo>
                  <a:lnTo>
                    <a:pt x="298132" y="753427"/>
                  </a:lnTo>
                  <a:lnTo>
                    <a:pt x="309563" y="758190"/>
                  </a:lnTo>
                  <a:lnTo>
                    <a:pt x="311468" y="760095"/>
                  </a:lnTo>
                  <a:lnTo>
                    <a:pt x="311468" y="762000"/>
                  </a:lnTo>
                  <a:lnTo>
                    <a:pt x="310515" y="764858"/>
                  </a:lnTo>
                  <a:lnTo>
                    <a:pt x="304800" y="774383"/>
                  </a:lnTo>
                  <a:lnTo>
                    <a:pt x="301943" y="779145"/>
                  </a:lnTo>
                  <a:lnTo>
                    <a:pt x="300990" y="782955"/>
                  </a:lnTo>
                  <a:lnTo>
                    <a:pt x="300990" y="785813"/>
                  </a:lnTo>
                  <a:lnTo>
                    <a:pt x="301943" y="787718"/>
                  </a:lnTo>
                  <a:lnTo>
                    <a:pt x="303847" y="789623"/>
                  </a:lnTo>
                  <a:lnTo>
                    <a:pt x="306705" y="791527"/>
                  </a:lnTo>
                  <a:lnTo>
                    <a:pt x="399097" y="810577"/>
                  </a:lnTo>
                  <a:lnTo>
                    <a:pt x="402907" y="813435"/>
                  </a:lnTo>
                  <a:lnTo>
                    <a:pt x="403860" y="815340"/>
                  </a:lnTo>
                  <a:lnTo>
                    <a:pt x="403860" y="822008"/>
                  </a:lnTo>
                  <a:lnTo>
                    <a:pt x="403860" y="824865"/>
                  </a:lnTo>
                  <a:lnTo>
                    <a:pt x="406718" y="828675"/>
                  </a:lnTo>
                  <a:lnTo>
                    <a:pt x="411480" y="831533"/>
                  </a:lnTo>
                  <a:lnTo>
                    <a:pt x="416243" y="831533"/>
                  </a:lnTo>
                  <a:lnTo>
                    <a:pt x="419100" y="829627"/>
                  </a:lnTo>
                  <a:lnTo>
                    <a:pt x="420053" y="826770"/>
                  </a:lnTo>
                  <a:lnTo>
                    <a:pt x="430530" y="782955"/>
                  </a:lnTo>
                  <a:lnTo>
                    <a:pt x="433388" y="773430"/>
                  </a:lnTo>
                  <a:lnTo>
                    <a:pt x="434340" y="770573"/>
                  </a:lnTo>
                  <a:lnTo>
                    <a:pt x="434340" y="761048"/>
                  </a:lnTo>
                  <a:lnTo>
                    <a:pt x="434340" y="754380"/>
                  </a:lnTo>
                  <a:lnTo>
                    <a:pt x="436245" y="747713"/>
                  </a:lnTo>
                  <a:lnTo>
                    <a:pt x="438150" y="744855"/>
                  </a:lnTo>
                  <a:lnTo>
                    <a:pt x="440055" y="741045"/>
                  </a:lnTo>
                  <a:lnTo>
                    <a:pt x="445770" y="738188"/>
                  </a:lnTo>
                  <a:lnTo>
                    <a:pt x="449580" y="736283"/>
                  </a:lnTo>
                  <a:lnTo>
                    <a:pt x="453390" y="736283"/>
                  </a:lnTo>
                  <a:lnTo>
                    <a:pt x="456247" y="737235"/>
                  </a:lnTo>
                  <a:lnTo>
                    <a:pt x="461010" y="740093"/>
                  </a:lnTo>
                  <a:lnTo>
                    <a:pt x="466725" y="745808"/>
                  </a:lnTo>
                  <a:lnTo>
                    <a:pt x="471488" y="753427"/>
                  </a:lnTo>
                  <a:lnTo>
                    <a:pt x="475297" y="757238"/>
                  </a:lnTo>
                  <a:lnTo>
                    <a:pt x="479107" y="757238"/>
                  </a:lnTo>
                  <a:lnTo>
                    <a:pt x="496253" y="751523"/>
                  </a:lnTo>
                  <a:lnTo>
                    <a:pt x="499110" y="749618"/>
                  </a:lnTo>
                  <a:lnTo>
                    <a:pt x="504825" y="743902"/>
                  </a:lnTo>
                  <a:lnTo>
                    <a:pt x="507682" y="743902"/>
                  </a:lnTo>
                  <a:lnTo>
                    <a:pt x="509588" y="744855"/>
                  </a:lnTo>
                  <a:lnTo>
                    <a:pt x="524828" y="753427"/>
                  </a:lnTo>
                  <a:lnTo>
                    <a:pt x="527685" y="752475"/>
                  </a:lnTo>
                  <a:lnTo>
                    <a:pt x="529590" y="751523"/>
                  </a:lnTo>
                  <a:lnTo>
                    <a:pt x="532447" y="746760"/>
                  </a:lnTo>
                  <a:lnTo>
                    <a:pt x="539115" y="732473"/>
                  </a:lnTo>
                  <a:lnTo>
                    <a:pt x="541020" y="729615"/>
                  </a:lnTo>
                  <a:lnTo>
                    <a:pt x="543878" y="729615"/>
                  </a:lnTo>
                  <a:lnTo>
                    <a:pt x="545782" y="730568"/>
                  </a:lnTo>
                  <a:lnTo>
                    <a:pt x="549593" y="734377"/>
                  </a:lnTo>
                  <a:lnTo>
                    <a:pt x="553403" y="735330"/>
                  </a:lnTo>
                  <a:lnTo>
                    <a:pt x="560070" y="736283"/>
                  </a:lnTo>
                  <a:lnTo>
                    <a:pt x="567690" y="733425"/>
                  </a:lnTo>
                  <a:lnTo>
                    <a:pt x="572453" y="733425"/>
                  </a:lnTo>
                  <a:lnTo>
                    <a:pt x="575310" y="733425"/>
                  </a:lnTo>
                  <a:lnTo>
                    <a:pt x="579120" y="737235"/>
                  </a:lnTo>
                  <a:lnTo>
                    <a:pt x="589597" y="755333"/>
                  </a:lnTo>
                  <a:lnTo>
                    <a:pt x="591503" y="758190"/>
                  </a:lnTo>
                  <a:lnTo>
                    <a:pt x="594360" y="760095"/>
                  </a:lnTo>
                  <a:lnTo>
                    <a:pt x="597218" y="760095"/>
                  </a:lnTo>
                  <a:lnTo>
                    <a:pt x="600075" y="760095"/>
                  </a:lnTo>
                  <a:lnTo>
                    <a:pt x="609600" y="753427"/>
                  </a:lnTo>
                  <a:lnTo>
                    <a:pt x="626745" y="748665"/>
                  </a:lnTo>
                  <a:lnTo>
                    <a:pt x="628650" y="746760"/>
                  </a:lnTo>
                  <a:lnTo>
                    <a:pt x="634365" y="740093"/>
                  </a:lnTo>
                  <a:lnTo>
                    <a:pt x="637222" y="737235"/>
                  </a:lnTo>
                  <a:lnTo>
                    <a:pt x="641985" y="734377"/>
                  </a:lnTo>
                  <a:lnTo>
                    <a:pt x="644843" y="735330"/>
                  </a:lnTo>
                  <a:lnTo>
                    <a:pt x="653415" y="739140"/>
                  </a:lnTo>
                  <a:lnTo>
                    <a:pt x="659130" y="738188"/>
                  </a:lnTo>
                  <a:lnTo>
                    <a:pt x="661988" y="737235"/>
                  </a:lnTo>
                  <a:lnTo>
                    <a:pt x="667703" y="731520"/>
                  </a:lnTo>
                  <a:lnTo>
                    <a:pt x="672465" y="727710"/>
                  </a:lnTo>
                  <a:lnTo>
                    <a:pt x="676275" y="727710"/>
                  </a:lnTo>
                  <a:lnTo>
                    <a:pt x="678180" y="728663"/>
                  </a:lnTo>
                  <a:lnTo>
                    <a:pt x="681038" y="733425"/>
                  </a:lnTo>
                  <a:lnTo>
                    <a:pt x="682943" y="736283"/>
                  </a:lnTo>
                  <a:lnTo>
                    <a:pt x="686753" y="738188"/>
                  </a:lnTo>
                  <a:lnTo>
                    <a:pt x="693420" y="740093"/>
                  </a:lnTo>
                  <a:lnTo>
                    <a:pt x="697230" y="736283"/>
                  </a:lnTo>
                  <a:lnTo>
                    <a:pt x="699135" y="732473"/>
                  </a:lnTo>
                  <a:lnTo>
                    <a:pt x="699135" y="729615"/>
                  </a:lnTo>
                  <a:lnTo>
                    <a:pt x="699135" y="720090"/>
                  </a:lnTo>
                  <a:lnTo>
                    <a:pt x="699135" y="717233"/>
                  </a:lnTo>
                  <a:lnTo>
                    <a:pt x="701040" y="710565"/>
                  </a:lnTo>
                  <a:lnTo>
                    <a:pt x="713422" y="687705"/>
                  </a:lnTo>
                  <a:lnTo>
                    <a:pt x="719138" y="681038"/>
                  </a:lnTo>
                  <a:lnTo>
                    <a:pt x="728663" y="673418"/>
                  </a:lnTo>
                  <a:lnTo>
                    <a:pt x="730568" y="671513"/>
                  </a:lnTo>
                  <a:lnTo>
                    <a:pt x="735330" y="663893"/>
                  </a:lnTo>
                  <a:lnTo>
                    <a:pt x="741045" y="658177"/>
                  </a:lnTo>
                  <a:lnTo>
                    <a:pt x="754380" y="645795"/>
                  </a:lnTo>
                  <a:lnTo>
                    <a:pt x="757238" y="641033"/>
                  </a:lnTo>
                  <a:lnTo>
                    <a:pt x="760095" y="638175"/>
                  </a:lnTo>
                  <a:lnTo>
                    <a:pt x="782955" y="622935"/>
                  </a:lnTo>
                  <a:lnTo>
                    <a:pt x="785813" y="618173"/>
                  </a:lnTo>
                  <a:lnTo>
                    <a:pt x="788670" y="614363"/>
                  </a:lnTo>
                  <a:lnTo>
                    <a:pt x="797243" y="592455"/>
                  </a:lnTo>
                  <a:lnTo>
                    <a:pt x="800100" y="588645"/>
                  </a:lnTo>
                  <a:lnTo>
                    <a:pt x="804863" y="583883"/>
                  </a:lnTo>
                  <a:lnTo>
                    <a:pt x="821055" y="572453"/>
                  </a:lnTo>
                  <a:lnTo>
                    <a:pt x="823913" y="569595"/>
                  </a:lnTo>
                  <a:lnTo>
                    <a:pt x="824865" y="563880"/>
                  </a:lnTo>
                  <a:lnTo>
                    <a:pt x="825818" y="554355"/>
                  </a:lnTo>
                  <a:lnTo>
                    <a:pt x="825818" y="548640"/>
                  </a:lnTo>
                  <a:lnTo>
                    <a:pt x="824865" y="545783"/>
                  </a:lnTo>
                  <a:lnTo>
                    <a:pt x="822960" y="543878"/>
                  </a:lnTo>
                  <a:lnTo>
                    <a:pt x="821055" y="541973"/>
                  </a:lnTo>
                  <a:lnTo>
                    <a:pt x="814388" y="540068"/>
                  </a:lnTo>
                  <a:lnTo>
                    <a:pt x="812482" y="539115"/>
                  </a:lnTo>
                  <a:lnTo>
                    <a:pt x="810578" y="537210"/>
                  </a:lnTo>
                  <a:lnTo>
                    <a:pt x="809625" y="531495"/>
                  </a:lnTo>
                  <a:lnTo>
                    <a:pt x="809625" y="521970"/>
                  </a:lnTo>
                  <a:lnTo>
                    <a:pt x="810578" y="519113"/>
                  </a:lnTo>
                  <a:lnTo>
                    <a:pt x="813435" y="515303"/>
                  </a:lnTo>
                  <a:lnTo>
                    <a:pt x="819150" y="509588"/>
                  </a:lnTo>
                  <a:lnTo>
                    <a:pt x="821055" y="506730"/>
                  </a:lnTo>
                  <a:lnTo>
                    <a:pt x="827722" y="488633"/>
                  </a:lnTo>
                  <a:lnTo>
                    <a:pt x="833438" y="478155"/>
                  </a:lnTo>
                  <a:lnTo>
                    <a:pt x="834390" y="471488"/>
                  </a:lnTo>
                  <a:lnTo>
                    <a:pt x="834390" y="468630"/>
                  </a:lnTo>
                  <a:lnTo>
                    <a:pt x="831532" y="461010"/>
                  </a:lnTo>
                  <a:lnTo>
                    <a:pt x="831532" y="459105"/>
                  </a:lnTo>
                  <a:lnTo>
                    <a:pt x="831532" y="456248"/>
                  </a:lnTo>
                  <a:lnTo>
                    <a:pt x="832485" y="453390"/>
                  </a:lnTo>
                  <a:lnTo>
                    <a:pt x="840105" y="441008"/>
                  </a:lnTo>
                  <a:lnTo>
                    <a:pt x="841057" y="438150"/>
                  </a:lnTo>
                  <a:lnTo>
                    <a:pt x="845820" y="408623"/>
                  </a:lnTo>
                  <a:lnTo>
                    <a:pt x="845820" y="405765"/>
                  </a:lnTo>
                  <a:lnTo>
                    <a:pt x="844868" y="402908"/>
                  </a:lnTo>
                  <a:lnTo>
                    <a:pt x="843915" y="401003"/>
                  </a:lnTo>
                  <a:lnTo>
                    <a:pt x="839153" y="397192"/>
                  </a:lnTo>
                  <a:lnTo>
                    <a:pt x="838200" y="395288"/>
                  </a:lnTo>
                  <a:lnTo>
                    <a:pt x="838200" y="388620"/>
                  </a:lnTo>
                  <a:lnTo>
                    <a:pt x="840105" y="384810"/>
                  </a:lnTo>
                  <a:lnTo>
                    <a:pt x="845820" y="372428"/>
                  </a:lnTo>
                  <a:lnTo>
                    <a:pt x="846772" y="366713"/>
                  </a:lnTo>
                  <a:lnTo>
                    <a:pt x="845820" y="364808"/>
                  </a:lnTo>
                  <a:lnTo>
                    <a:pt x="839153" y="360045"/>
                  </a:lnTo>
                  <a:lnTo>
                    <a:pt x="837247" y="358140"/>
                  </a:lnTo>
                  <a:lnTo>
                    <a:pt x="836295" y="355283"/>
                  </a:lnTo>
                  <a:lnTo>
                    <a:pt x="836295" y="353378"/>
                  </a:lnTo>
                  <a:lnTo>
                    <a:pt x="838200" y="350520"/>
                  </a:lnTo>
                  <a:lnTo>
                    <a:pt x="844868" y="341948"/>
                  </a:lnTo>
                  <a:lnTo>
                    <a:pt x="849630" y="331470"/>
                  </a:lnTo>
                  <a:lnTo>
                    <a:pt x="853440" y="326708"/>
                  </a:lnTo>
                  <a:lnTo>
                    <a:pt x="857250" y="323850"/>
                  </a:lnTo>
                  <a:lnTo>
                    <a:pt x="860107" y="321945"/>
                  </a:lnTo>
                  <a:lnTo>
                    <a:pt x="878205" y="320040"/>
                  </a:lnTo>
                  <a:lnTo>
                    <a:pt x="919163" y="291465"/>
                  </a:lnTo>
                  <a:lnTo>
                    <a:pt x="924878" y="289560"/>
                  </a:lnTo>
                  <a:lnTo>
                    <a:pt x="930593" y="288608"/>
                  </a:lnTo>
                  <a:lnTo>
                    <a:pt x="949643" y="288608"/>
                  </a:lnTo>
                  <a:lnTo>
                    <a:pt x="955357" y="287655"/>
                  </a:lnTo>
                  <a:lnTo>
                    <a:pt x="964882" y="284798"/>
                  </a:lnTo>
                  <a:lnTo>
                    <a:pt x="968693" y="283845"/>
                  </a:lnTo>
                  <a:lnTo>
                    <a:pt x="974407" y="284798"/>
                  </a:lnTo>
                  <a:lnTo>
                    <a:pt x="976313" y="285750"/>
                  </a:lnTo>
                  <a:lnTo>
                    <a:pt x="978218" y="287655"/>
                  </a:lnTo>
                  <a:lnTo>
                    <a:pt x="979170" y="296228"/>
                  </a:lnTo>
                  <a:lnTo>
                    <a:pt x="980123" y="299085"/>
                  </a:lnTo>
                  <a:lnTo>
                    <a:pt x="982980" y="303848"/>
                  </a:lnTo>
                  <a:lnTo>
                    <a:pt x="988695" y="309563"/>
                  </a:lnTo>
                  <a:lnTo>
                    <a:pt x="990600" y="314325"/>
                  </a:lnTo>
                  <a:lnTo>
                    <a:pt x="990600" y="320992"/>
                  </a:lnTo>
                  <a:lnTo>
                    <a:pt x="993457" y="325755"/>
                  </a:lnTo>
                  <a:lnTo>
                    <a:pt x="997268" y="330517"/>
                  </a:lnTo>
                  <a:lnTo>
                    <a:pt x="1001077" y="336233"/>
                  </a:lnTo>
                  <a:lnTo>
                    <a:pt x="1003935" y="338138"/>
                  </a:lnTo>
                  <a:lnTo>
                    <a:pt x="1006793" y="336233"/>
                  </a:lnTo>
                  <a:lnTo>
                    <a:pt x="1007745" y="333375"/>
                  </a:lnTo>
                  <a:lnTo>
                    <a:pt x="1008698" y="325755"/>
                  </a:lnTo>
                  <a:lnTo>
                    <a:pt x="1010602" y="321945"/>
                  </a:lnTo>
                  <a:lnTo>
                    <a:pt x="1013460" y="317183"/>
                  </a:lnTo>
                  <a:lnTo>
                    <a:pt x="1016318" y="316230"/>
                  </a:lnTo>
                  <a:lnTo>
                    <a:pt x="1018223" y="316230"/>
                  </a:lnTo>
                  <a:lnTo>
                    <a:pt x="1022985" y="320040"/>
                  </a:lnTo>
                  <a:lnTo>
                    <a:pt x="1025843" y="321945"/>
                  </a:lnTo>
                  <a:lnTo>
                    <a:pt x="1029652" y="322898"/>
                  </a:lnTo>
                  <a:lnTo>
                    <a:pt x="1036320" y="321945"/>
                  </a:lnTo>
                  <a:lnTo>
                    <a:pt x="1040130" y="320992"/>
                  </a:lnTo>
                  <a:lnTo>
                    <a:pt x="1042988" y="319088"/>
                  </a:lnTo>
                  <a:lnTo>
                    <a:pt x="1045845" y="314325"/>
                  </a:lnTo>
                  <a:lnTo>
                    <a:pt x="1046798" y="311467"/>
                  </a:lnTo>
                  <a:lnTo>
                    <a:pt x="1049655" y="296228"/>
                  </a:lnTo>
                  <a:lnTo>
                    <a:pt x="1051560" y="292417"/>
                  </a:lnTo>
                  <a:lnTo>
                    <a:pt x="1053465" y="290513"/>
                  </a:lnTo>
                  <a:lnTo>
                    <a:pt x="1056323" y="290513"/>
                  </a:lnTo>
                  <a:lnTo>
                    <a:pt x="1059180" y="291465"/>
                  </a:lnTo>
                  <a:lnTo>
                    <a:pt x="1061085" y="294323"/>
                  </a:lnTo>
                  <a:lnTo>
                    <a:pt x="1062038" y="299085"/>
                  </a:lnTo>
                  <a:lnTo>
                    <a:pt x="1061085" y="316230"/>
                  </a:lnTo>
                  <a:lnTo>
                    <a:pt x="1062038" y="319088"/>
                  </a:lnTo>
                  <a:lnTo>
                    <a:pt x="1062990" y="320992"/>
                  </a:lnTo>
                  <a:lnTo>
                    <a:pt x="1065848" y="322898"/>
                  </a:lnTo>
                  <a:lnTo>
                    <a:pt x="1115377" y="332423"/>
                  </a:lnTo>
                  <a:lnTo>
                    <a:pt x="1120140" y="330517"/>
                  </a:lnTo>
                  <a:lnTo>
                    <a:pt x="1122045" y="326708"/>
                  </a:lnTo>
                  <a:lnTo>
                    <a:pt x="1127760" y="315278"/>
                  </a:lnTo>
                  <a:lnTo>
                    <a:pt x="1133475" y="305753"/>
                  </a:lnTo>
                  <a:lnTo>
                    <a:pt x="1143000" y="296228"/>
                  </a:lnTo>
                  <a:lnTo>
                    <a:pt x="1143952" y="294323"/>
                  </a:lnTo>
                  <a:lnTo>
                    <a:pt x="1145857" y="287655"/>
                  </a:lnTo>
                  <a:lnTo>
                    <a:pt x="1144905" y="279083"/>
                  </a:lnTo>
                  <a:lnTo>
                    <a:pt x="1146810" y="274320"/>
                  </a:lnTo>
                  <a:lnTo>
                    <a:pt x="1160145" y="256223"/>
                  </a:lnTo>
                  <a:lnTo>
                    <a:pt x="1164907" y="244792"/>
                  </a:lnTo>
                  <a:lnTo>
                    <a:pt x="1167765" y="239078"/>
                  </a:lnTo>
                  <a:lnTo>
                    <a:pt x="1168718" y="232410"/>
                  </a:lnTo>
                  <a:lnTo>
                    <a:pt x="1168718" y="225742"/>
                  </a:lnTo>
                  <a:lnTo>
                    <a:pt x="1168718" y="219075"/>
                  </a:lnTo>
                  <a:lnTo>
                    <a:pt x="1166813" y="207645"/>
                  </a:lnTo>
                  <a:lnTo>
                    <a:pt x="1167765" y="205740"/>
                  </a:lnTo>
                  <a:lnTo>
                    <a:pt x="1169670" y="201930"/>
                  </a:lnTo>
                  <a:lnTo>
                    <a:pt x="1171575" y="200025"/>
                  </a:lnTo>
                  <a:lnTo>
                    <a:pt x="1174432" y="199073"/>
                  </a:lnTo>
                  <a:lnTo>
                    <a:pt x="1194435" y="192405"/>
                  </a:lnTo>
                  <a:lnTo>
                    <a:pt x="1199198" y="190500"/>
                  </a:lnTo>
                  <a:lnTo>
                    <a:pt x="1202055" y="187642"/>
                  </a:lnTo>
                  <a:lnTo>
                    <a:pt x="1203007" y="180975"/>
                  </a:lnTo>
                  <a:lnTo>
                    <a:pt x="1201102" y="176213"/>
                  </a:lnTo>
                  <a:lnTo>
                    <a:pt x="1198245" y="165735"/>
                  </a:lnTo>
                  <a:lnTo>
                    <a:pt x="1195388" y="154305"/>
                  </a:lnTo>
                  <a:lnTo>
                    <a:pt x="1195388" y="147638"/>
                  </a:lnTo>
                  <a:lnTo>
                    <a:pt x="1194435" y="141923"/>
                  </a:lnTo>
                  <a:lnTo>
                    <a:pt x="1190625" y="131445"/>
                  </a:lnTo>
                  <a:lnTo>
                    <a:pt x="1189673" y="128588"/>
                  </a:lnTo>
                  <a:lnTo>
                    <a:pt x="1192530" y="124778"/>
                  </a:lnTo>
                  <a:lnTo>
                    <a:pt x="1196340" y="120015"/>
                  </a:lnTo>
                  <a:lnTo>
                    <a:pt x="1213485" y="106680"/>
                  </a:lnTo>
                  <a:lnTo>
                    <a:pt x="1216343" y="103823"/>
                  </a:lnTo>
                  <a:lnTo>
                    <a:pt x="1219200" y="98108"/>
                  </a:lnTo>
                  <a:lnTo>
                    <a:pt x="1222057" y="90488"/>
                  </a:lnTo>
                  <a:lnTo>
                    <a:pt x="1223963" y="85725"/>
                  </a:lnTo>
                  <a:lnTo>
                    <a:pt x="1226820" y="84773"/>
                  </a:lnTo>
                  <a:lnTo>
                    <a:pt x="1231582" y="87630"/>
                  </a:lnTo>
                  <a:lnTo>
                    <a:pt x="1235393" y="87630"/>
                  </a:lnTo>
                  <a:lnTo>
                    <a:pt x="1242060" y="86678"/>
                  </a:lnTo>
                  <a:lnTo>
                    <a:pt x="1248727" y="83820"/>
                  </a:lnTo>
                  <a:lnTo>
                    <a:pt x="1259205" y="72390"/>
                  </a:lnTo>
                  <a:lnTo>
                    <a:pt x="1263015" y="67628"/>
                  </a:lnTo>
                  <a:lnTo>
                    <a:pt x="1265873" y="61913"/>
                  </a:lnTo>
                  <a:lnTo>
                    <a:pt x="1266825" y="59055"/>
                  </a:lnTo>
                  <a:lnTo>
                    <a:pt x="1266825" y="53340"/>
                  </a:lnTo>
                  <a:lnTo>
                    <a:pt x="1264920" y="48578"/>
                  </a:lnTo>
                  <a:lnTo>
                    <a:pt x="1257300" y="38100"/>
                  </a:lnTo>
                  <a:lnTo>
                    <a:pt x="1255395" y="34290"/>
                  </a:lnTo>
                  <a:lnTo>
                    <a:pt x="1255395" y="28575"/>
                  </a:lnTo>
                  <a:lnTo>
                    <a:pt x="1256348" y="21908"/>
                  </a:lnTo>
                  <a:lnTo>
                    <a:pt x="1258252" y="18098"/>
                  </a:lnTo>
                  <a:lnTo>
                    <a:pt x="1261110" y="13335"/>
                  </a:lnTo>
                  <a:lnTo>
                    <a:pt x="1266825" y="6667"/>
                  </a:lnTo>
                  <a:lnTo>
                    <a:pt x="1268730" y="3810"/>
                  </a:lnTo>
                  <a:lnTo>
                    <a:pt x="1271588" y="1905"/>
                  </a:lnTo>
                  <a:lnTo>
                    <a:pt x="1276350" y="0"/>
                  </a:lnTo>
                  <a:lnTo>
                    <a:pt x="1279207" y="0"/>
                  </a:lnTo>
                  <a:lnTo>
                    <a:pt x="1285875" y="0"/>
                  </a:lnTo>
                  <a:lnTo>
                    <a:pt x="1289685" y="1905"/>
                  </a:lnTo>
                  <a:lnTo>
                    <a:pt x="1294448" y="4763"/>
                  </a:lnTo>
                  <a:lnTo>
                    <a:pt x="1299210" y="7620"/>
                  </a:lnTo>
                  <a:lnTo>
                    <a:pt x="1305877" y="10478"/>
                  </a:lnTo>
                  <a:close/>
                </a:path>
              </a:pathLst>
            </a:custGeom>
            <a:solidFill>
              <a:srgbClr val="2B6AE9"/>
            </a:solidFill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3" name="Полилиния: фигура 15">
              <a:extLst>
                <a:ext uri="{FF2B5EF4-FFF2-40B4-BE49-F238E27FC236}">
                  <a16:creationId xmlns:a16="http://schemas.microsoft.com/office/drawing/2014/main" id="{670430E9-03EB-55FA-3F6F-8F6EAE48F868}"/>
                </a:ext>
              </a:extLst>
            </p:cNvPr>
            <p:cNvSpPr/>
            <p:nvPr/>
          </p:nvSpPr>
          <p:spPr>
            <a:xfrm>
              <a:off x="5353050" y="2843213"/>
              <a:ext cx="2200275" cy="1200150"/>
            </a:xfrm>
            <a:custGeom>
              <a:avLst/>
              <a:gdLst>
                <a:gd name="connsiteX0" fmla="*/ 2205038 w 2200275"/>
                <a:gd name="connsiteY0" fmla="*/ 319088 h 1200150"/>
                <a:gd name="connsiteX1" fmla="*/ 2191702 w 2200275"/>
                <a:gd name="connsiteY1" fmla="*/ 340043 h 1200150"/>
                <a:gd name="connsiteX2" fmla="*/ 2188845 w 2200275"/>
                <a:gd name="connsiteY2" fmla="*/ 349568 h 1200150"/>
                <a:gd name="connsiteX3" fmla="*/ 2187893 w 2200275"/>
                <a:gd name="connsiteY3" fmla="*/ 353378 h 1200150"/>
                <a:gd name="connsiteX4" fmla="*/ 2186940 w 2200275"/>
                <a:gd name="connsiteY4" fmla="*/ 356235 h 1200150"/>
                <a:gd name="connsiteX5" fmla="*/ 2185035 w 2200275"/>
                <a:gd name="connsiteY5" fmla="*/ 360045 h 1200150"/>
                <a:gd name="connsiteX6" fmla="*/ 2180273 w 2200275"/>
                <a:gd name="connsiteY6" fmla="*/ 363855 h 1200150"/>
                <a:gd name="connsiteX7" fmla="*/ 2176463 w 2200275"/>
                <a:gd name="connsiteY7" fmla="*/ 370522 h 1200150"/>
                <a:gd name="connsiteX8" fmla="*/ 2173605 w 2200275"/>
                <a:gd name="connsiteY8" fmla="*/ 374332 h 1200150"/>
                <a:gd name="connsiteX9" fmla="*/ 2168843 w 2200275"/>
                <a:gd name="connsiteY9" fmla="*/ 377190 h 1200150"/>
                <a:gd name="connsiteX10" fmla="*/ 2165033 w 2200275"/>
                <a:gd name="connsiteY10" fmla="*/ 383857 h 1200150"/>
                <a:gd name="connsiteX11" fmla="*/ 2161223 w 2200275"/>
                <a:gd name="connsiteY11" fmla="*/ 397193 h 1200150"/>
                <a:gd name="connsiteX12" fmla="*/ 2158365 w 2200275"/>
                <a:gd name="connsiteY12" fmla="*/ 401955 h 1200150"/>
                <a:gd name="connsiteX13" fmla="*/ 2155508 w 2200275"/>
                <a:gd name="connsiteY13" fmla="*/ 403860 h 1200150"/>
                <a:gd name="connsiteX14" fmla="*/ 2152650 w 2200275"/>
                <a:gd name="connsiteY14" fmla="*/ 404813 h 1200150"/>
                <a:gd name="connsiteX15" fmla="*/ 2147888 w 2200275"/>
                <a:gd name="connsiteY15" fmla="*/ 401955 h 1200150"/>
                <a:gd name="connsiteX16" fmla="*/ 2147888 w 2200275"/>
                <a:gd name="connsiteY16" fmla="*/ 394335 h 1200150"/>
                <a:gd name="connsiteX17" fmla="*/ 2145030 w 2200275"/>
                <a:gd name="connsiteY17" fmla="*/ 388620 h 1200150"/>
                <a:gd name="connsiteX18" fmla="*/ 2145030 w 2200275"/>
                <a:gd name="connsiteY18" fmla="*/ 386715 h 1200150"/>
                <a:gd name="connsiteX19" fmla="*/ 2144077 w 2200275"/>
                <a:gd name="connsiteY19" fmla="*/ 377190 h 1200150"/>
                <a:gd name="connsiteX20" fmla="*/ 2143125 w 2200275"/>
                <a:gd name="connsiteY20" fmla="*/ 375285 h 1200150"/>
                <a:gd name="connsiteX21" fmla="*/ 2141220 w 2200275"/>
                <a:gd name="connsiteY21" fmla="*/ 375285 h 1200150"/>
                <a:gd name="connsiteX22" fmla="*/ 2139315 w 2200275"/>
                <a:gd name="connsiteY22" fmla="*/ 378143 h 1200150"/>
                <a:gd name="connsiteX23" fmla="*/ 2135505 w 2200275"/>
                <a:gd name="connsiteY23" fmla="*/ 383857 h 1200150"/>
                <a:gd name="connsiteX24" fmla="*/ 2132648 w 2200275"/>
                <a:gd name="connsiteY24" fmla="*/ 387668 h 1200150"/>
                <a:gd name="connsiteX25" fmla="*/ 2128838 w 2200275"/>
                <a:gd name="connsiteY25" fmla="*/ 388620 h 1200150"/>
                <a:gd name="connsiteX26" fmla="*/ 2127885 w 2200275"/>
                <a:gd name="connsiteY26" fmla="*/ 386715 h 1200150"/>
                <a:gd name="connsiteX27" fmla="*/ 2126933 w 2200275"/>
                <a:gd name="connsiteY27" fmla="*/ 383857 h 1200150"/>
                <a:gd name="connsiteX28" fmla="*/ 2128838 w 2200275"/>
                <a:gd name="connsiteY28" fmla="*/ 373380 h 1200150"/>
                <a:gd name="connsiteX29" fmla="*/ 2128838 w 2200275"/>
                <a:gd name="connsiteY29" fmla="*/ 370522 h 1200150"/>
                <a:gd name="connsiteX30" fmla="*/ 2126933 w 2200275"/>
                <a:gd name="connsiteY30" fmla="*/ 368618 h 1200150"/>
                <a:gd name="connsiteX31" fmla="*/ 2125027 w 2200275"/>
                <a:gd name="connsiteY31" fmla="*/ 366713 h 1200150"/>
                <a:gd name="connsiteX32" fmla="*/ 2118360 w 2200275"/>
                <a:gd name="connsiteY32" fmla="*/ 365760 h 1200150"/>
                <a:gd name="connsiteX33" fmla="*/ 2115502 w 2200275"/>
                <a:gd name="connsiteY33" fmla="*/ 365760 h 1200150"/>
                <a:gd name="connsiteX34" fmla="*/ 2110740 w 2200275"/>
                <a:gd name="connsiteY34" fmla="*/ 369570 h 1200150"/>
                <a:gd name="connsiteX35" fmla="*/ 2101215 w 2200275"/>
                <a:gd name="connsiteY35" fmla="*/ 382905 h 1200150"/>
                <a:gd name="connsiteX36" fmla="*/ 2097405 w 2200275"/>
                <a:gd name="connsiteY36" fmla="*/ 384810 h 1200150"/>
                <a:gd name="connsiteX37" fmla="*/ 2094548 w 2200275"/>
                <a:gd name="connsiteY37" fmla="*/ 385763 h 1200150"/>
                <a:gd name="connsiteX38" fmla="*/ 2091690 w 2200275"/>
                <a:gd name="connsiteY38" fmla="*/ 385763 h 1200150"/>
                <a:gd name="connsiteX39" fmla="*/ 2088832 w 2200275"/>
                <a:gd name="connsiteY39" fmla="*/ 383857 h 1200150"/>
                <a:gd name="connsiteX40" fmla="*/ 2086927 w 2200275"/>
                <a:gd name="connsiteY40" fmla="*/ 381953 h 1200150"/>
                <a:gd name="connsiteX41" fmla="*/ 2085975 w 2200275"/>
                <a:gd name="connsiteY41" fmla="*/ 380047 h 1200150"/>
                <a:gd name="connsiteX42" fmla="*/ 2084070 w 2200275"/>
                <a:gd name="connsiteY42" fmla="*/ 371475 h 1200150"/>
                <a:gd name="connsiteX43" fmla="*/ 2082165 w 2200275"/>
                <a:gd name="connsiteY43" fmla="*/ 369570 h 1200150"/>
                <a:gd name="connsiteX44" fmla="*/ 2080260 w 2200275"/>
                <a:gd name="connsiteY44" fmla="*/ 367665 h 1200150"/>
                <a:gd name="connsiteX45" fmla="*/ 2074545 w 2200275"/>
                <a:gd name="connsiteY45" fmla="*/ 365760 h 1200150"/>
                <a:gd name="connsiteX46" fmla="*/ 2070735 w 2200275"/>
                <a:gd name="connsiteY46" fmla="*/ 365760 h 1200150"/>
                <a:gd name="connsiteX47" fmla="*/ 2067877 w 2200275"/>
                <a:gd name="connsiteY47" fmla="*/ 366713 h 1200150"/>
                <a:gd name="connsiteX48" fmla="*/ 2046923 w 2200275"/>
                <a:gd name="connsiteY48" fmla="*/ 384810 h 1200150"/>
                <a:gd name="connsiteX49" fmla="*/ 2044065 w 2200275"/>
                <a:gd name="connsiteY49" fmla="*/ 384810 h 1200150"/>
                <a:gd name="connsiteX50" fmla="*/ 2040255 w 2200275"/>
                <a:gd name="connsiteY50" fmla="*/ 384810 h 1200150"/>
                <a:gd name="connsiteX51" fmla="*/ 2038350 w 2200275"/>
                <a:gd name="connsiteY51" fmla="*/ 382905 h 1200150"/>
                <a:gd name="connsiteX52" fmla="*/ 2035493 w 2200275"/>
                <a:gd name="connsiteY52" fmla="*/ 378143 h 1200150"/>
                <a:gd name="connsiteX53" fmla="*/ 2033588 w 2200275"/>
                <a:gd name="connsiteY53" fmla="*/ 376238 h 1200150"/>
                <a:gd name="connsiteX54" fmla="*/ 2031682 w 2200275"/>
                <a:gd name="connsiteY54" fmla="*/ 376238 h 1200150"/>
                <a:gd name="connsiteX55" fmla="*/ 2028825 w 2200275"/>
                <a:gd name="connsiteY55" fmla="*/ 376238 h 1200150"/>
                <a:gd name="connsiteX56" fmla="*/ 2025968 w 2200275"/>
                <a:gd name="connsiteY56" fmla="*/ 378143 h 1200150"/>
                <a:gd name="connsiteX57" fmla="*/ 2022157 w 2200275"/>
                <a:gd name="connsiteY57" fmla="*/ 381953 h 1200150"/>
                <a:gd name="connsiteX58" fmla="*/ 2014538 w 2200275"/>
                <a:gd name="connsiteY58" fmla="*/ 394335 h 1200150"/>
                <a:gd name="connsiteX59" fmla="*/ 2013585 w 2200275"/>
                <a:gd name="connsiteY59" fmla="*/ 399097 h 1200150"/>
                <a:gd name="connsiteX60" fmla="*/ 2016443 w 2200275"/>
                <a:gd name="connsiteY60" fmla="*/ 407670 h 1200150"/>
                <a:gd name="connsiteX61" fmla="*/ 2019300 w 2200275"/>
                <a:gd name="connsiteY61" fmla="*/ 411480 h 1200150"/>
                <a:gd name="connsiteX62" fmla="*/ 2021205 w 2200275"/>
                <a:gd name="connsiteY62" fmla="*/ 413385 h 1200150"/>
                <a:gd name="connsiteX63" fmla="*/ 2025968 w 2200275"/>
                <a:gd name="connsiteY63" fmla="*/ 416243 h 1200150"/>
                <a:gd name="connsiteX64" fmla="*/ 2027873 w 2200275"/>
                <a:gd name="connsiteY64" fmla="*/ 418147 h 1200150"/>
                <a:gd name="connsiteX65" fmla="*/ 2029777 w 2200275"/>
                <a:gd name="connsiteY65" fmla="*/ 422910 h 1200150"/>
                <a:gd name="connsiteX66" fmla="*/ 2032635 w 2200275"/>
                <a:gd name="connsiteY66" fmla="*/ 430530 h 1200150"/>
                <a:gd name="connsiteX67" fmla="*/ 2036445 w 2200275"/>
                <a:gd name="connsiteY67" fmla="*/ 434340 h 1200150"/>
                <a:gd name="connsiteX68" fmla="*/ 2038350 w 2200275"/>
                <a:gd name="connsiteY68" fmla="*/ 435293 h 1200150"/>
                <a:gd name="connsiteX69" fmla="*/ 2067877 w 2200275"/>
                <a:gd name="connsiteY69" fmla="*/ 441007 h 1200150"/>
                <a:gd name="connsiteX70" fmla="*/ 2070735 w 2200275"/>
                <a:gd name="connsiteY70" fmla="*/ 441960 h 1200150"/>
                <a:gd name="connsiteX71" fmla="*/ 2082165 w 2200275"/>
                <a:gd name="connsiteY71" fmla="*/ 450532 h 1200150"/>
                <a:gd name="connsiteX72" fmla="*/ 2087880 w 2200275"/>
                <a:gd name="connsiteY72" fmla="*/ 451485 h 1200150"/>
                <a:gd name="connsiteX73" fmla="*/ 2119313 w 2200275"/>
                <a:gd name="connsiteY73" fmla="*/ 453390 h 1200150"/>
                <a:gd name="connsiteX74" fmla="*/ 2121218 w 2200275"/>
                <a:gd name="connsiteY74" fmla="*/ 455295 h 1200150"/>
                <a:gd name="connsiteX75" fmla="*/ 2124075 w 2200275"/>
                <a:gd name="connsiteY75" fmla="*/ 460057 h 1200150"/>
                <a:gd name="connsiteX76" fmla="*/ 2125027 w 2200275"/>
                <a:gd name="connsiteY76" fmla="*/ 465772 h 1200150"/>
                <a:gd name="connsiteX77" fmla="*/ 2125980 w 2200275"/>
                <a:gd name="connsiteY77" fmla="*/ 467678 h 1200150"/>
                <a:gd name="connsiteX78" fmla="*/ 2128838 w 2200275"/>
                <a:gd name="connsiteY78" fmla="*/ 468630 h 1200150"/>
                <a:gd name="connsiteX79" fmla="*/ 2149793 w 2200275"/>
                <a:gd name="connsiteY79" fmla="*/ 473393 h 1200150"/>
                <a:gd name="connsiteX80" fmla="*/ 2152650 w 2200275"/>
                <a:gd name="connsiteY80" fmla="*/ 475297 h 1200150"/>
                <a:gd name="connsiteX81" fmla="*/ 2153602 w 2200275"/>
                <a:gd name="connsiteY81" fmla="*/ 477203 h 1200150"/>
                <a:gd name="connsiteX82" fmla="*/ 2152650 w 2200275"/>
                <a:gd name="connsiteY82" fmla="*/ 480060 h 1200150"/>
                <a:gd name="connsiteX83" fmla="*/ 2148840 w 2200275"/>
                <a:gd name="connsiteY83" fmla="*/ 483870 h 1200150"/>
                <a:gd name="connsiteX84" fmla="*/ 2142173 w 2200275"/>
                <a:gd name="connsiteY84" fmla="*/ 489585 h 1200150"/>
                <a:gd name="connsiteX85" fmla="*/ 2137410 w 2200275"/>
                <a:gd name="connsiteY85" fmla="*/ 491490 h 1200150"/>
                <a:gd name="connsiteX86" fmla="*/ 2133600 w 2200275"/>
                <a:gd name="connsiteY86" fmla="*/ 492443 h 1200150"/>
                <a:gd name="connsiteX87" fmla="*/ 2127885 w 2200275"/>
                <a:gd name="connsiteY87" fmla="*/ 493395 h 1200150"/>
                <a:gd name="connsiteX88" fmla="*/ 2125027 w 2200275"/>
                <a:gd name="connsiteY88" fmla="*/ 495300 h 1200150"/>
                <a:gd name="connsiteX89" fmla="*/ 2105977 w 2200275"/>
                <a:gd name="connsiteY89" fmla="*/ 515303 h 1200150"/>
                <a:gd name="connsiteX90" fmla="*/ 2101215 w 2200275"/>
                <a:gd name="connsiteY90" fmla="*/ 518160 h 1200150"/>
                <a:gd name="connsiteX91" fmla="*/ 2045970 w 2200275"/>
                <a:gd name="connsiteY91" fmla="*/ 545782 h 1200150"/>
                <a:gd name="connsiteX92" fmla="*/ 2041207 w 2200275"/>
                <a:gd name="connsiteY92" fmla="*/ 548640 h 1200150"/>
                <a:gd name="connsiteX93" fmla="*/ 2026920 w 2200275"/>
                <a:gd name="connsiteY93" fmla="*/ 563880 h 1200150"/>
                <a:gd name="connsiteX94" fmla="*/ 2023110 w 2200275"/>
                <a:gd name="connsiteY94" fmla="*/ 565785 h 1200150"/>
                <a:gd name="connsiteX95" fmla="*/ 2020252 w 2200275"/>
                <a:gd name="connsiteY95" fmla="*/ 565785 h 1200150"/>
                <a:gd name="connsiteX96" fmla="*/ 2019300 w 2200275"/>
                <a:gd name="connsiteY96" fmla="*/ 561975 h 1200150"/>
                <a:gd name="connsiteX97" fmla="*/ 2017395 w 2200275"/>
                <a:gd name="connsiteY97" fmla="*/ 561022 h 1200150"/>
                <a:gd name="connsiteX98" fmla="*/ 1972627 w 2200275"/>
                <a:gd name="connsiteY98" fmla="*/ 579120 h 1200150"/>
                <a:gd name="connsiteX99" fmla="*/ 1957388 w 2200275"/>
                <a:gd name="connsiteY99" fmla="*/ 588645 h 1200150"/>
                <a:gd name="connsiteX100" fmla="*/ 1955482 w 2200275"/>
                <a:gd name="connsiteY100" fmla="*/ 591503 h 1200150"/>
                <a:gd name="connsiteX101" fmla="*/ 1953577 w 2200275"/>
                <a:gd name="connsiteY101" fmla="*/ 594360 h 1200150"/>
                <a:gd name="connsiteX102" fmla="*/ 1953577 w 2200275"/>
                <a:gd name="connsiteY102" fmla="*/ 601028 h 1200150"/>
                <a:gd name="connsiteX103" fmla="*/ 1954530 w 2200275"/>
                <a:gd name="connsiteY103" fmla="*/ 607695 h 1200150"/>
                <a:gd name="connsiteX104" fmla="*/ 1955482 w 2200275"/>
                <a:gd name="connsiteY104" fmla="*/ 611505 h 1200150"/>
                <a:gd name="connsiteX105" fmla="*/ 1957388 w 2200275"/>
                <a:gd name="connsiteY105" fmla="*/ 612457 h 1200150"/>
                <a:gd name="connsiteX106" fmla="*/ 1962150 w 2200275"/>
                <a:gd name="connsiteY106" fmla="*/ 612457 h 1200150"/>
                <a:gd name="connsiteX107" fmla="*/ 1964055 w 2200275"/>
                <a:gd name="connsiteY107" fmla="*/ 613410 h 1200150"/>
                <a:gd name="connsiteX108" fmla="*/ 1964055 w 2200275"/>
                <a:gd name="connsiteY108" fmla="*/ 615315 h 1200150"/>
                <a:gd name="connsiteX109" fmla="*/ 1963102 w 2200275"/>
                <a:gd name="connsiteY109" fmla="*/ 621030 h 1200150"/>
                <a:gd name="connsiteX110" fmla="*/ 1963102 w 2200275"/>
                <a:gd name="connsiteY110" fmla="*/ 624840 h 1200150"/>
                <a:gd name="connsiteX111" fmla="*/ 1965007 w 2200275"/>
                <a:gd name="connsiteY111" fmla="*/ 629603 h 1200150"/>
                <a:gd name="connsiteX112" fmla="*/ 1976438 w 2200275"/>
                <a:gd name="connsiteY112" fmla="*/ 656272 h 1200150"/>
                <a:gd name="connsiteX113" fmla="*/ 1976438 w 2200275"/>
                <a:gd name="connsiteY113" fmla="*/ 659130 h 1200150"/>
                <a:gd name="connsiteX114" fmla="*/ 1975485 w 2200275"/>
                <a:gd name="connsiteY114" fmla="*/ 661988 h 1200150"/>
                <a:gd name="connsiteX115" fmla="*/ 1971675 w 2200275"/>
                <a:gd name="connsiteY115" fmla="*/ 664845 h 1200150"/>
                <a:gd name="connsiteX116" fmla="*/ 1969770 w 2200275"/>
                <a:gd name="connsiteY116" fmla="*/ 667703 h 1200150"/>
                <a:gd name="connsiteX117" fmla="*/ 1968818 w 2200275"/>
                <a:gd name="connsiteY117" fmla="*/ 672465 h 1200150"/>
                <a:gd name="connsiteX118" fmla="*/ 1969770 w 2200275"/>
                <a:gd name="connsiteY118" fmla="*/ 679132 h 1200150"/>
                <a:gd name="connsiteX119" fmla="*/ 1970723 w 2200275"/>
                <a:gd name="connsiteY119" fmla="*/ 681990 h 1200150"/>
                <a:gd name="connsiteX120" fmla="*/ 1972627 w 2200275"/>
                <a:gd name="connsiteY120" fmla="*/ 682943 h 1200150"/>
                <a:gd name="connsiteX121" fmla="*/ 1977390 w 2200275"/>
                <a:gd name="connsiteY121" fmla="*/ 685800 h 1200150"/>
                <a:gd name="connsiteX122" fmla="*/ 1978343 w 2200275"/>
                <a:gd name="connsiteY122" fmla="*/ 690563 h 1200150"/>
                <a:gd name="connsiteX123" fmla="*/ 1978343 w 2200275"/>
                <a:gd name="connsiteY123" fmla="*/ 697230 h 1200150"/>
                <a:gd name="connsiteX124" fmla="*/ 1982152 w 2200275"/>
                <a:gd name="connsiteY124" fmla="*/ 713422 h 1200150"/>
                <a:gd name="connsiteX125" fmla="*/ 1983105 w 2200275"/>
                <a:gd name="connsiteY125" fmla="*/ 754380 h 1200150"/>
                <a:gd name="connsiteX126" fmla="*/ 1984057 w 2200275"/>
                <a:gd name="connsiteY126" fmla="*/ 761047 h 1200150"/>
                <a:gd name="connsiteX127" fmla="*/ 1985963 w 2200275"/>
                <a:gd name="connsiteY127" fmla="*/ 764857 h 1200150"/>
                <a:gd name="connsiteX128" fmla="*/ 1987868 w 2200275"/>
                <a:gd name="connsiteY128" fmla="*/ 766763 h 1200150"/>
                <a:gd name="connsiteX129" fmla="*/ 1994535 w 2200275"/>
                <a:gd name="connsiteY129" fmla="*/ 768668 h 1200150"/>
                <a:gd name="connsiteX130" fmla="*/ 1996440 w 2200275"/>
                <a:gd name="connsiteY130" fmla="*/ 770572 h 1200150"/>
                <a:gd name="connsiteX131" fmla="*/ 1997393 w 2200275"/>
                <a:gd name="connsiteY131" fmla="*/ 772478 h 1200150"/>
                <a:gd name="connsiteX132" fmla="*/ 1998345 w 2200275"/>
                <a:gd name="connsiteY132" fmla="*/ 778193 h 1200150"/>
                <a:gd name="connsiteX133" fmla="*/ 1992630 w 2200275"/>
                <a:gd name="connsiteY133" fmla="*/ 815340 h 1200150"/>
                <a:gd name="connsiteX134" fmla="*/ 1991677 w 2200275"/>
                <a:gd name="connsiteY134" fmla="*/ 819150 h 1200150"/>
                <a:gd name="connsiteX135" fmla="*/ 1988820 w 2200275"/>
                <a:gd name="connsiteY135" fmla="*/ 822007 h 1200150"/>
                <a:gd name="connsiteX136" fmla="*/ 1982152 w 2200275"/>
                <a:gd name="connsiteY136" fmla="*/ 823913 h 1200150"/>
                <a:gd name="connsiteX137" fmla="*/ 1978343 w 2200275"/>
                <a:gd name="connsiteY137" fmla="*/ 824865 h 1200150"/>
                <a:gd name="connsiteX138" fmla="*/ 1974532 w 2200275"/>
                <a:gd name="connsiteY138" fmla="*/ 824865 h 1200150"/>
                <a:gd name="connsiteX139" fmla="*/ 1971675 w 2200275"/>
                <a:gd name="connsiteY139" fmla="*/ 825818 h 1200150"/>
                <a:gd name="connsiteX140" fmla="*/ 1968818 w 2200275"/>
                <a:gd name="connsiteY140" fmla="*/ 827722 h 1200150"/>
                <a:gd name="connsiteX141" fmla="*/ 1963102 w 2200275"/>
                <a:gd name="connsiteY141" fmla="*/ 839153 h 1200150"/>
                <a:gd name="connsiteX142" fmla="*/ 1961198 w 2200275"/>
                <a:gd name="connsiteY142" fmla="*/ 841057 h 1200150"/>
                <a:gd name="connsiteX143" fmla="*/ 1940243 w 2200275"/>
                <a:gd name="connsiteY143" fmla="*/ 861060 h 1200150"/>
                <a:gd name="connsiteX144" fmla="*/ 1935480 w 2200275"/>
                <a:gd name="connsiteY144" fmla="*/ 866775 h 1200150"/>
                <a:gd name="connsiteX145" fmla="*/ 1932623 w 2200275"/>
                <a:gd name="connsiteY145" fmla="*/ 869632 h 1200150"/>
                <a:gd name="connsiteX146" fmla="*/ 1929765 w 2200275"/>
                <a:gd name="connsiteY146" fmla="*/ 870585 h 1200150"/>
                <a:gd name="connsiteX147" fmla="*/ 1923098 w 2200275"/>
                <a:gd name="connsiteY147" fmla="*/ 871538 h 1200150"/>
                <a:gd name="connsiteX148" fmla="*/ 1917382 w 2200275"/>
                <a:gd name="connsiteY148" fmla="*/ 871538 h 1200150"/>
                <a:gd name="connsiteX149" fmla="*/ 1913573 w 2200275"/>
                <a:gd name="connsiteY149" fmla="*/ 867728 h 1200150"/>
                <a:gd name="connsiteX150" fmla="*/ 1908810 w 2200275"/>
                <a:gd name="connsiteY150" fmla="*/ 862013 h 1200150"/>
                <a:gd name="connsiteX151" fmla="*/ 1906905 w 2200275"/>
                <a:gd name="connsiteY151" fmla="*/ 861060 h 1200150"/>
                <a:gd name="connsiteX152" fmla="*/ 1904048 w 2200275"/>
                <a:gd name="connsiteY152" fmla="*/ 861060 h 1200150"/>
                <a:gd name="connsiteX153" fmla="*/ 1902143 w 2200275"/>
                <a:gd name="connsiteY153" fmla="*/ 862965 h 1200150"/>
                <a:gd name="connsiteX154" fmla="*/ 1900238 w 2200275"/>
                <a:gd name="connsiteY154" fmla="*/ 867728 h 1200150"/>
                <a:gd name="connsiteX155" fmla="*/ 1897380 w 2200275"/>
                <a:gd name="connsiteY155" fmla="*/ 872490 h 1200150"/>
                <a:gd name="connsiteX156" fmla="*/ 1875473 w 2200275"/>
                <a:gd name="connsiteY156" fmla="*/ 896303 h 1200150"/>
                <a:gd name="connsiteX157" fmla="*/ 1874520 w 2200275"/>
                <a:gd name="connsiteY157" fmla="*/ 899160 h 1200150"/>
                <a:gd name="connsiteX158" fmla="*/ 1869757 w 2200275"/>
                <a:gd name="connsiteY158" fmla="*/ 910590 h 1200150"/>
                <a:gd name="connsiteX159" fmla="*/ 1865948 w 2200275"/>
                <a:gd name="connsiteY159" fmla="*/ 922972 h 1200150"/>
                <a:gd name="connsiteX160" fmla="*/ 1864043 w 2200275"/>
                <a:gd name="connsiteY160" fmla="*/ 924878 h 1200150"/>
                <a:gd name="connsiteX161" fmla="*/ 1862138 w 2200275"/>
                <a:gd name="connsiteY161" fmla="*/ 926782 h 1200150"/>
                <a:gd name="connsiteX162" fmla="*/ 1859280 w 2200275"/>
                <a:gd name="connsiteY162" fmla="*/ 924878 h 1200150"/>
                <a:gd name="connsiteX163" fmla="*/ 1857375 w 2200275"/>
                <a:gd name="connsiteY163" fmla="*/ 922972 h 1200150"/>
                <a:gd name="connsiteX164" fmla="*/ 1856423 w 2200275"/>
                <a:gd name="connsiteY164" fmla="*/ 920115 h 1200150"/>
                <a:gd name="connsiteX165" fmla="*/ 1854518 w 2200275"/>
                <a:gd name="connsiteY165" fmla="*/ 912495 h 1200150"/>
                <a:gd name="connsiteX166" fmla="*/ 1854518 w 2200275"/>
                <a:gd name="connsiteY166" fmla="*/ 906780 h 1200150"/>
                <a:gd name="connsiteX167" fmla="*/ 1855470 w 2200275"/>
                <a:gd name="connsiteY167" fmla="*/ 903922 h 1200150"/>
                <a:gd name="connsiteX168" fmla="*/ 1858327 w 2200275"/>
                <a:gd name="connsiteY168" fmla="*/ 897255 h 1200150"/>
                <a:gd name="connsiteX169" fmla="*/ 1858327 w 2200275"/>
                <a:gd name="connsiteY169" fmla="*/ 895350 h 1200150"/>
                <a:gd name="connsiteX170" fmla="*/ 1854518 w 2200275"/>
                <a:gd name="connsiteY170" fmla="*/ 873443 h 1200150"/>
                <a:gd name="connsiteX171" fmla="*/ 1852613 w 2200275"/>
                <a:gd name="connsiteY171" fmla="*/ 869632 h 1200150"/>
                <a:gd name="connsiteX172" fmla="*/ 1850707 w 2200275"/>
                <a:gd name="connsiteY172" fmla="*/ 869632 h 1200150"/>
                <a:gd name="connsiteX173" fmla="*/ 1847850 w 2200275"/>
                <a:gd name="connsiteY173" fmla="*/ 870585 h 1200150"/>
                <a:gd name="connsiteX174" fmla="*/ 1845945 w 2200275"/>
                <a:gd name="connsiteY174" fmla="*/ 872490 h 1200150"/>
                <a:gd name="connsiteX175" fmla="*/ 1843088 w 2200275"/>
                <a:gd name="connsiteY175" fmla="*/ 886778 h 1200150"/>
                <a:gd name="connsiteX176" fmla="*/ 1841182 w 2200275"/>
                <a:gd name="connsiteY176" fmla="*/ 896303 h 1200150"/>
                <a:gd name="connsiteX177" fmla="*/ 1839277 w 2200275"/>
                <a:gd name="connsiteY177" fmla="*/ 902970 h 1200150"/>
                <a:gd name="connsiteX178" fmla="*/ 1840230 w 2200275"/>
                <a:gd name="connsiteY178" fmla="*/ 908685 h 1200150"/>
                <a:gd name="connsiteX179" fmla="*/ 1840230 w 2200275"/>
                <a:gd name="connsiteY179" fmla="*/ 914400 h 1200150"/>
                <a:gd name="connsiteX180" fmla="*/ 1841182 w 2200275"/>
                <a:gd name="connsiteY180" fmla="*/ 920115 h 1200150"/>
                <a:gd name="connsiteX181" fmla="*/ 1840230 w 2200275"/>
                <a:gd name="connsiteY181" fmla="*/ 926782 h 1200150"/>
                <a:gd name="connsiteX182" fmla="*/ 1837373 w 2200275"/>
                <a:gd name="connsiteY182" fmla="*/ 936307 h 1200150"/>
                <a:gd name="connsiteX183" fmla="*/ 1835468 w 2200275"/>
                <a:gd name="connsiteY183" fmla="*/ 939165 h 1200150"/>
                <a:gd name="connsiteX184" fmla="*/ 1831657 w 2200275"/>
                <a:gd name="connsiteY184" fmla="*/ 941070 h 1200150"/>
                <a:gd name="connsiteX185" fmla="*/ 1819275 w 2200275"/>
                <a:gd name="connsiteY185" fmla="*/ 944880 h 1200150"/>
                <a:gd name="connsiteX186" fmla="*/ 1799273 w 2200275"/>
                <a:gd name="connsiteY186" fmla="*/ 942975 h 1200150"/>
                <a:gd name="connsiteX187" fmla="*/ 1795463 w 2200275"/>
                <a:gd name="connsiteY187" fmla="*/ 943928 h 1200150"/>
                <a:gd name="connsiteX188" fmla="*/ 1791652 w 2200275"/>
                <a:gd name="connsiteY188" fmla="*/ 946785 h 1200150"/>
                <a:gd name="connsiteX189" fmla="*/ 1784032 w 2200275"/>
                <a:gd name="connsiteY189" fmla="*/ 952500 h 1200150"/>
                <a:gd name="connsiteX190" fmla="*/ 1779270 w 2200275"/>
                <a:gd name="connsiteY190" fmla="*/ 957263 h 1200150"/>
                <a:gd name="connsiteX191" fmla="*/ 1775460 w 2200275"/>
                <a:gd name="connsiteY191" fmla="*/ 962025 h 1200150"/>
                <a:gd name="connsiteX192" fmla="*/ 1770698 w 2200275"/>
                <a:gd name="connsiteY192" fmla="*/ 971550 h 1200150"/>
                <a:gd name="connsiteX193" fmla="*/ 1766888 w 2200275"/>
                <a:gd name="connsiteY193" fmla="*/ 977265 h 1200150"/>
                <a:gd name="connsiteX194" fmla="*/ 1761173 w 2200275"/>
                <a:gd name="connsiteY194" fmla="*/ 981075 h 1200150"/>
                <a:gd name="connsiteX195" fmla="*/ 1756410 w 2200275"/>
                <a:gd name="connsiteY195" fmla="*/ 982028 h 1200150"/>
                <a:gd name="connsiteX196" fmla="*/ 1752600 w 2200275"/>
                <a:gd name="connsiteY196" fmla="*/ 984885 h 1200150"/>
                <a:gd name="connsiteX197" fmla="*/ 1750695 w 2200275"/>
                <a:gd name="connsiteY197" fmla="*/ 986790 h 1200150"/>
                <a:gd name="connsiteX198" fmla="*/ 1744980 w 2200275"/>
                <a:gd name="connsiteY198" fmla="*/ 1007745 h 1200150"/>
                <a:gd name="connsiteX199" fmla="*/ 1739265 w 2200275"/>
                <a:gd name="connsiteY199" fmla="*/ 1034415 h 1200150"/>
                <a:gd name="connsiteX200" fmla="*/ 1730693 w 2200275"/>
                <a:gd name="connsiteY200" fmla="*/ 1027747 h 1200150"/>
                <a:gd name="connsiteX201" fmla="*/ 1728788 w 2200275"/>
                <a:gd name="connsiteY201" fmla="*/ 1025843 h 1200150"/>
                <a:gd name="connsiteX202" fmla="*/ 1728788 w 2200275"/>
                <a:gd name="connsiteY202" fmla="*/ 1022985 h 1200150"/>
                <a:gd name="connsiteX203" fmla="*/ 1728788 w 2200275"/>
                <a:gd name="connsiteY203" fmla="*/ 1013460 h 1200150"/>
                <a:gd name="connsiteX204" fmla="*/ 1727835 w 2200275"/>
                <a:gd name="connsiteY204" fmla="*/ 1008697 h 1200150"/>
                <a:gd name="connsiteX205" fmla="*/ 1725930 w 2200275"/>
                <a:gd name="connsiteY205" fmla="*/ 1004888 h 1200150"/>
                <a:gd name="connsiteX206" fmla="*/ 1716405 w 2200275"/>
                <a:gd name="connsiteY206" fmla="*/ 993457 h 1200150"/>
                <a:gd name="connsiteX207" fmla="*/ 1714500 w 2200275"/>
                <a:gd name="connsiteY207" fmla="*/ 989647 h 1200150"/>
                <a:gd name="connsiteX208" fmla="*/ 1712595 w 2200275"/>
                <a:gd name="connsiteY208" fmla="*/ 983932 h 1200150"/>
                <a:gd name="connsiteX209" fmla="*/ 1711643 w 2200275"/>
                <a:gd name="connsiteY209" fmla="*/ 979170 h 1200150"/>
                <a:gd name="connsiteX210" fmla="*/ 1709738 w 2200275"/>
                <a:gd name="connsiteY210" fmla="*/ 973455 h 1200150"/>
                <a:gd name="connsiteX211" fmla="*/ 1707832 w 2200275"/>
                <a:gd name="connsiteY211" fmla="*/ 972503 h 1200150"/>
                <a:gd name="connsiteX212" fmla="*/ 1704975 w 2200275"/>
                <a:gd name="connsiteY212" fmla="*/ 972503 h 1200150"/>
                <a:gd name="connsiteX213" fmla="*/ 1693545 w 2200275"/>
                <a:gd name="connsiteY213" fmla="*/ 980122 h 1200150"/>
                <a:gd name="connsiteX214" fmla="*/ 1690688 w 2200275"/>
                <a:gd name="connsiteY214" fmla="*/ 981075 h 1200150"/>
                <a:gd name="connsiteX215" fmla="*/ 1677352 w 2200275"/>
                <a:gd name="connsiteY215" fmla="*/ 978218 h 1200150"/>
                <a:gd name="connsiteX216" fmla="*/ 1671638 w 2200275"/>
                <a:gd name="connsiteY216" fmla="*/ 978218 h 1200150"/>
                <a:gd name="connsiteX217" fmla="*/ 1664970 w 2200275"/>
                <a:gd name="connsiteY217" fmla="*/ 980122 h 1200150"/>
                <a:gd name="connsiteX218" fmla="*/ 1661160 w 2200275"/>
                <a:gd name="connsiteY218" fmla="*/ 982028 h 1200150"/>
                <a:gd name="connsiteX219" fmla="*/ 1659255 w 2200275"/>
                <a:gd name="connsiteY219" fmla="*/ 984885 h 1200150"/>
                <a:gd name="connsiteX220" fmla="*/ 1658302 w 2200275"/>
                <a:gd name="connsiteY220" fmla="*/ 987743 h 1200150"/>
                <a:gd name="connsiteX221" fmla="*/ 1657350 w 2200275"/>
                <a:gd name="connsiteY221" fmla="*/ 993457 h 1200150"/>
                <a:gd name="connsiteX222" fmla="*/ 1658302 w 2200275"/>
                <a:gd name="connsiteY222" fmla="*/ 999172 h 1200150"/>
                <a:gd name="connsiteX223" fmla="*/ 1660207 w 2200275"/>
                <a:gd name="connsiteY223" fmla="*/ 1006793 h 1200150"/>
                <a:gd name="connsiteX224" fmla="*/ 1660207 w 2200275"/>
                <a:gd name="connsiteY224" fmla="*/ 1010603 h 1200150"/>
                <a:gd name="connsiteX225" fmla="*/ 1658302 w 2200275"/>
                <a:gd name="connsiteY225" fmla="*/ 1012507 h 1200150"/>
                <a:gd name="connsiteX226" fmla="*/ 1654493 w 2200275"/>
                <a:gd name="connsiteY226" fmla="*/ 1015365 h 1200150"/>
                <a:gd name="connsiteX227" fmla="*/ 1638300 w 2200275"/>
                <a:gd name="connsiteY227" fmla="*/ 1018222 h 1200150"/>
                <a:gd name="connsiteX228" fmla="*/ 1636395 w 2200275"/>
                <a:gd name="connsiteY228" fmla="*/ 1020128 h 1200150"/>
                <a:gd name="connsiteX229" fmla="*/ 1635443 w 2200275"/>
                <a:gd name="connsiteY229" fmla="*/ 1022985 h 1200150"/>
                <a:gd name="connsiteX230" fmla="*/ 1631632 w 2200275"/>
                <a:gd name="connsiteY230" fmla="*/ 1031557 h 1200150"/>
                <a:gd name="connsiteX231" fmla="*/ 1630680 w 2200275"/>
                <a:gd name="connsiteY231" fmla="*/ 1033463 h 1200150"/>
                <a:gd name="connsiteX232" fmla="*/ 1627823 w 2200275"/>
                <a:gd name="connsiteY232" fmla="*/ 1034415 h 1200150"/>
                <a:gd name="connsiteX233" fmla="*/ 1624013 w 2200275"/>
                <a:gd name="connsiteY233" fmla="*/ 1034415 h 1200150"/>
                <a:gd name="connsiteX234" fmla="*/ 1618298 w 2200275"/>
                <a:gd name="connsiteY234" fmla="*/ 1031557 h 1200150"/>
                <a:gd name="connsiteX235" fmla="*/ 1615440 w 2200275"/>
                <a:gd name="connsiteY235" fmla="*/ 1028700 h 1200150"/>
                <a:gd name="connsiteX236" fmla="*/ 1613535 w 2200275"/>
                <a:gd name="connsiteY236" fmla="*/ 1026795 h 1200150"/>
                <a:gd name="connsiteX237" fmla="*/ 1607820 w 2200275"/>
                <a:gd name="connsiteY237" fmla="*/ 1018222 h 1200150"/>
                <a:gd name="connsiteX238" fmla="*/ 1605915 w 2200275"/>
                <a:gd name="connsiteY238" fmla="*/ 1016318 h 1200150"/>
                <a:gd name="connsiteX239" fmla="*/ 1603057 w 2200275"/>
                <a:gd name="connsiteY239" fmla="*/ 1016318 h 1200150"/>
                <a:gd name="connsiteX240" fmla="*/ 1592580 w 2200275"/>
                <a:gd name="connsiteY240" fmla="*/ 1020128 h 1200150"/>
                <a:gd name="connsiteX241" fmla="*/ 1570673 w 2200275"/>
                <a:gd name="connsiteY241" fmla="*/ 1023938 h 1200150"/>
                <a:gd name="connsiteX242" fmla="*/ 1564005 w 2200275"/>
                <a:gd name="connsiteY242" fmla="*/ 1027747 h 1200150"/>
                <a:gd name="connsiteX243" fmla="*/ 1560195 w 2200275"/>
                <a:gd name="connsiteY243" fmla="*/ 1030605 h 1200150"/>
                <a:gd name="connsiteX244" fmla="*/ 1558290 w 2200275"/>
                <a:gd name="connsiteY244" fmla="*/ 1032510 h 1200150"/>
                <a:gd name="connsiteX245" fmla="*/ 1555432 w 2200275"/>
                <a:gd name="connsiteY245" fmla="*/ 1037272 h 1200150"/>
                <a:gd name="connsiteX246" fmla="*/ 1553527 w 2200275"/>
                <a:gd name="connsiteY246" fmla="*/ 1042988 h 1200150"/>
                <a:gd name="connsiteX247" fmla="*/ 1552575 w 2200275"/>
                <a:gd name="connsiteY247" fmla="*/ 1049655 h 1200150"/>
                <a:gd name="connsiteX248" fmla="*/ 1553527 w 2200275"/>
                <a:gd name="connsiteY248" fmla="*/ 1055370 h 1200150"/>
                <a:gd name="connsiteX249" fmla="*/ 1556385 w 2200275"/>
                <a:gd name="connsiteY249" fmla="*/ 1059180 h 1200150"/>
                <a:gd name="connsiteX250" fmla="*/ 1559243 w 2200275"/>
                <a:gd name="connsiteY250" fmla="*/ 1060132 h 1200150"/>
                <a:gd name="connsiteX251" fmla="*/ 1567815 w 2200275"/>
                <a:gd name="connsiteY251" fmla="*/ 1062038 h 1200150"/>
                <a:gd name="connsiteX252" fmla="*/ 1569720 w 2200275"/>
                <a:gd name="connsiteY252" fmla="*/ 1062990 h 1200150"/>
                <a:gd name="connsiteX253" fmla="*/ 1570673 w 2200275"/>
                <a:gd name="connsiteY253" fmla="*/ 1064895 h 1200150"/>
                <a:gd name="connsiteX254" fmla="*/ 1570673 w 2200275"/>
                <a:gd name="connsiteY254" fmla="*/ 1071563 h 1200150"/>
                <a:gd name="connsiteX255" fmla="*/ 1569720 w 2200275"/>
                <a:gd name="connsiteY255" fmla="*/ 1077278 h 1200150"/>
                <a:gd name="connsiteX256" fmla="*/ 1567815 w 2200275"/>
                <a:gd name="connsiteY256" fmla="*/ 1079182 h 1200150"/>
                <a:gd name="connsiteX257" fmla="*/ 1565910 w 2200275"/>
                <a:gd name="connsiteY257" fmla="*/ 1079182 h 1200150"/>
                <a:gd name="connsiteX258" fmla="*/ 1551623 w 2200275"/>
                <a:gd name="connsiteY258" fmla="*/ 1081088 h 1200150"/>
                <a:gd name="connsiteX259" fmla="*/ 1545907 w 2200275"/>
                <a:gd name="connsiteY259" fmla="*/ 1082993 h 1200150"/>
                <a:gd name="connsiteX260" fmla="*/ 1544002 w 2200275"/>
                <a:gd name="connsiteY260" fmla="*/ 1083945 h 1200150"/>
                <a:gd name="connsiteX261" fmla="*/ 1542098 w 2200275"/>
                <a:gd name="connsiteY261" fmla="*/ 1088707 h 1200150"/>
                <a:gd name="connsiteX262" fmla="*/ 1541145 w 2200275"/>
                <a:gd name="connsiteY262" fmla="*/ 1091565 h 1200150"/>
                <a:gd name="connsiteX263" fmla="*/ 1543050 w 2200275"/>
                <a:gd name="connsiteY263" fmla="*/ 1096328 h 1200150"/>
                <a:gd name="connsiteX264" fmla="*/ 1546860 w 2200275"/>
                <a:gd name="connsiteY264" fmla="*/ 1102995 h 1200150"/>
                <a:gd name="connsiteX265" fmla="*/ 1547813 w 2200275"/>
                <a:gd name="connsiteY265" fmla="*/ 1108710 h 1200150"/>
                <a:gd name="connsiteX266" fmla="*/ 1546860 w 2200275"/>
                <a:gd name="connsiteY266" fmla="*/ 1115378 h 1200150"/>
                <a:gd name="connsiteX267" fmla="*/ 1546860 w 2200275"/>
                <a:gd name="connsiteY267" fmla="*/ 1118235 h 1200150"/>
                <a:gd name="connsiteX268" fmla="*/ 1547813 w 2200275"/>
                <a:gd name="connsiteY268" fmla="*/ 1121093 h 1200150"/>
                <a:gd name="connsiteX269" fmla="*/ 1552575 w 2200275"/>
                <a:gd name="connsiteY269" fmla="*/ 1126807 h 1200150"/>
                <a:gd name="connsiteX270" fmla="*/ 1552575 w 2200275"/>
                <a:gd name="connsiteY270" fmla="*/ 1128713 h 1200150"/>
                <a:gd name="connsiteX271" fmla="*/ 1551623 w 2200275"/>
                <a:gd name="connsiteY271" fmla="*/ 1130618 h 1200150"/>
                <a:gd name="connsiteX272" fmla="*/ 1549718 w 2200275"/>
                <a:gd name="connsiteY272" fmla="*/ 1132523 h 1200150"/>
                <a:gd name="connsiteX273" fmla="*/ 1539240 w 2200275"/>
                <a:gd name="connsiteY273" fmla="*/ 1134428 h 1200150"/>
                <a:gd name="connsiteX274" fmla="*/ 1537335 w 2200275"/>
                <a:gd name="connsiteY274" fmla="*/ 1135380 h 1200150"/>
                <a:gd name="connsiteX275" fmla="*/ 1536382 w 2200275"/>
                <a:gd name="connsiteY275" fmla="*/ 1138238 h 1200150"/>
                <a:gd name="connsiteX276" fmla="*/ 1535430 w 2200275"/>
                <a:gd name="connsiteY276" fmla="*/ 1144905 h 1200150"/>
                <a:gd name="connsiteX277" fmla="*/ 1535430 w 2200275"/>
                <a:gd name="connsiteY277" fmla="*/ 1147763 h 1200150"/>
                <a:gd name="connsiteX278" fmla="*/ 1535430 w 2200275"/>
                <a:gd name="connsiteY278" fmla="*/ 1160145 h 1200150"/>
                <a:gd name="connsiteX279" fmla="*/ 1534477 w 2200275"/>
                <a:gd name="connsiteY279" fmla="*/ 1162050 h 1200150"/>
                <a:gd name="connsiteX280" fmla="*/ 1533525 w 2200275"/>
                <a:gd name="connsiteY280" fmla="*/ 1164907 h 1200150"/>
                <a:gd name="connsiteX281" fmla="*/ 1530668 w 2200275"/>
                <a:gd name="connsiteY281" fmla="*/ 1164907 h 1200150"/>
                <a:gd name="connsiteX282" fmla="*/ 1439227 w 2200275"/>
                <a:gd name="connsiteY282" fmla="*/ 1180148 h 1200150"/>
                <a:gd name="connsiteX283" fmla="*/ 1434465 w 2200275"/>
                <a:gd name="connsiteY283" fmla="*/ 1179195 h 1200150"/>
                <a:gd name="connsiteX284" fmla="*/ 1399223 w 2200275"/>
                <a:gd name="connsiteY284" fmla="*/ 1166813 h 1200150"/>
                <a:gd name="connsiteX285" fmla="*/ 1397318 w 2200275"/>
                <a:gd name="connsiteY285" fmla="*/ 1164907 h 1200150"/>
                <a:gd name="connsiteX286" fmla="*/ 1390650 w 2200275"/>
                <a:gd name="connsiteY286" fmla="*/ 1163955 h 1200150"/>
                <a:gd name="connsiteX287" fmla="*/ 1384935 w 2200275"/>
                <a:gd name="connsiteY287" fmla="*/ 1164907 h 1200150"/>
                <a:gd name="connsiteX288" fmla="*/ 1379220 w 2200275"/>
                <a:gd name="connsiteY288" fmla="*/ 1167765 h 1200150"/>
                <a:gd name="connsiteX289" fmla="*/ 1376363 w 2200275"/>
                <a:gd name="connsiteY289" fmla="*/ 1168718 h 1200150"/>
                <a:gd name="connsiteX290" fmla="*/ 1374457 w 2200275"/>
                <a:gd name="connsiteY290" fmla="*/ 1167765 h 1200150"/>
                <a:gd name="connsiteX291" fmla="*/ 1364932 w 2200275"/>
                <a:gd name="connsiteY291" fmla="*/ 1158240 h 1200150"/>
                <a:gd name="connsiteX292" fmla="*/ 1350645 w 2200275"/>
                <a:gd name="connsiteY292" fmla="*/ 1149668 h 1200150"/>
                <a:gd name="connsiteX293" fmla="*/ 1344930 w 2200275"/>
                <a:gd name="connsiteY293" fmla="*/ 1147763 h 1200150"/>
                <a:gd name="connsiteX294" fmla="*/ 1336357 w 2200275"/>
                <a:gd name="connsiteY294" fmla="*/ 1145857 h 1200150"/>
                <a:gd name="connsiteX295" fmla="*/ 1316355 w 2200275"/>
                <a:gd name="connsiteY295" fmla="*/ 1148715 h 1200150"/>
                <a:gd name="connsiteX296" fmla="*/ 1312545 w 2200275"/>
                <a:gd name="connsiteY296" fmla="*/ 1150620 h 1200150"/>
                <a:gd name="connsiteX297" fmla="*/ 1309688 w 2200275"/>
                <a:gd name="connsiteY297" fmla="*/ 1152525 h 1200150"/>
                <a:gd name="connsiteX298" fmla="*/ 1306830 w 2200275"/>
                <a:gd name="connsiteY298" fmla="*/ 1156335 h 1200150"/>
                <a:gd name="connsiteX299" fmla="*/ 1295400 w 2200275"/>
                <a:gd name="connsiteY299" fmla="*/ 1175385 h 1200150"/>
                <a:gd name="connsiteX300" fmla="*/ 1288732 w 2200275"/>
                <a:gd name="connsiteY300" fmla="*/ 1189673 h 1200150"/>
                <a:gd name="connsiteX301" fmla="*/ 1282065 w 2200275"/>
                <a:gd name="connsiteY301" fmla="*/ 1198245 h 1200150"/>
                <a:gd name="connsiteX302" fmla="*/ 1279207 w 2200275"/>
                <a:gd name="connsiteY302" fmla="*/ 1202055 h 1200150"/>
                <a:gd name="connsiteX303" fmla="*/ 1276350 w 2200275"/>
                <a:gd name="connsiteY303" fmla="*/ 1203007 h 1200150"/>
                <a:gd name="connsiteX304" fmla="*/ 1271588 w 2200275"/>
                <a:gd name="connsiteY304" fmla="*/ 1204913 h 1200150"/>
                <a:gd name="connsiteX305" fmla="*/ 1265873 w 2200275"/>
                <a:gd name="connsiteY305" fmla="*/ 1205865 h 1200150"/>
                <a:gd name="connsiteX306" fmla="*/ 1262063 w 2200275"/>
                <a:gd name="connsiteY306" fmla="*/ 1204913 h 1200150"/>
                <a:gd name="connsiteX307" fmla="*/ 1256348 w 2200275"/>
                <a:gd name="connsiteY307" fmla="*/ 1203007 h 1200150"/>
                <a:gd name="connsiteX308" fmla="*/ 1245870 w 2200275"/>
                <a:gd name="connsiteY308" fmla="*/ 1197293 h 1200150"/>
                <a:gd name="connsiteX309" fmla="*/ 1241107 w 2200275"/>
                <a:gd name="connsiteY309" fmla="*/ 1194435 h 1200150"/>
                <a:gd name="connsiteX310" fmla="*/ 1239202 w 2200275"/>
                <a:gd name="connsiteY310" fmla="*/ 1190625 h 1200150"/>
                <a:gd name="connsiteX311" fmla="*/ 1237298 w 2200275"/>
                <a:gd name="connsiteY311" fmla="*/ 1185863 h 1200150"/>
                <a:gd name="connsiteX312" fmla="*/ 1232535 w 2200275"/>
                <a:gd name="connsiteY312" fmla="*/ 1177290 h 1200150"/>
                <a:gd name="connsiteX313" fmla="*/ 1228725 w 2200275"/>
                <a:gd name="connsiteY313" fmla="*/ 1172528 h 1200150"/>
                <a:gd name="connsiteX314" fmla="*/ 1226820 w 2200275"/>
                <a:gd name="connsiteY314" fmla="*/ 1171575 h 1200150"/>
                <a:gd name="connsiteX315" fmla="*/ 1214438 w 2200275"/>
                <a:gd name="connsiteY315" fmla="*/ 1164907 h 1200150"/>
                <a:gd name="connsiteX316" fmla="*/ 1208723 w 2200275"/>
                <a:gd name="connsiteY316" fmla="*/ 1159193 h 1200150"/>
                <a:gd name="connsiteX317" fmla="*/ 1204913 w 2200275"/>
                <a:gd name="connsiteY317" fmla="*/ 1157288 h 1200150"/>
                <a:gd name="connsiteX318" fmla="*/ 1185863 w 2200275"/>
                <a:gd name="connsiteY318" fmla="*/ 1154430 h 1200150"/>
                <a:gd name="connsiteX319" fmla="*/ 1180148 w 2200275"/>
                <a:gd name="connsiteY319" fmla="*/ 1155382 h 1200150"/>
                <a:gd name="connsiteX320" fmla="*/ 1176338 w 2200275"/>
                <a:gd name="connsiteY320" fmla="*/ 1157288 h 1200150"/>
                <a:gd name="connsiteX321" fmla="*/ 1174432 w 2200275"/>
                <a:gd name="connsiteY321" fmla="*/ 1165860 h 1200150"/>
                <a:gd name="connsiteX322" fmla="*/ 1172527 w 2200275"/>
                <a:gd name="connsiteY322" fmla="*/ 1167765 h 1200150"/>
                <a:gd name="connsiteX323" fmla="*/ 1169670 w 2200275"/>
                <a:gd name="connsiteY323" fmla="*/ 1168718 h 1200150"/>
                <a:gd name="connsiteX324" fmla="*/ 1123950 w 2200275"/>
                <a:gd name="connsiteY324" fmla="*/ 1168718 h 1200150"/>
                <a:gd name="connsiteX325" fmla="*/ 1120140 w 2200275"/>
                <a:gd name="connsiteY325" fmla="*/ 1168718 h 1200150"/>
                <a:gd name="connsiteX326" fmla="*/ 1117282 w 2200275"/>
                <a:gd name="connsiteY326" fmla="*/ 1166813 h 1200150"/>
                <a:gd name="connsiteX327" fmla="*/ 1115377 w 2200275"/>
                <a:gd name="connsiteY327" fmla="*/ 1163003 h 1200150"/>
                <a:gd name="connsiteX328" fmla="*/ 1114425 w 2200275"/>
                <a:gd name="connsiteY328" fmla="*/ 1159193 h 1200150"/>
                <a:gd name="connsiteX329" fmla="*/ 1114425 w 2200275"/>
                <a:gd name="connsiteY329" fmla="*/ 1155382 h 1200150"/>
                <a:gd name="connsiteX330" fmla="*/ 1115377 w 2200275"/>
                <a:gd name="connsiteY330" fmla="*/ 1148715 h 1200150"/>
                <a:gd name="connsiteX331" fmla="*/ 1115377 w 2200275"/>
                <a:gd name="connsiteY331" fmla="*/ 1143000 h 1200150"/>
                <a:gd name="connsiteX332" fmla="*/ 1109663 w 2200275"/>
                <a:gd name="connsiteY332" fmla="*/ 1134428 h 1200150"/>
                <a:gd name="connsiteX333" fmla="*/ 1108710 w 2200275"/>
                <a:gd name="connsiteY333" fmla="*/ 1128713 h 1200150"/>
                <a:gd name="connsiteX334" fmla="*/ 1108710 w 2200275"/>
                <a:gd name="connsiteY334" fmla="*/ 1125855 h 1200150"/>
                <a:gd name="connsiteX335" fmla="*/ 1111568 w 2200275"/>
                <a:gd name="connsiteY335" fmla="*/ 1121093 h 1200150"/>
                <a:gd name="connsiteX336" fmla="*/ 1120140 w 2200275"/>
                <a:gd name="connsiteY336" fmla="*/ 1106805 h 1200150"/>
                <a:gd name="connsiteX337" fmla="*/ 1122998 w 2200275"/>
                <a:gd name="connsiteY337" fmla="*/ 1102043 h 1200150"/>
                <a:gd name="connsiteX338" fmla="*/ 1122998 w 2200275"/>
                <a:gd name="connsiteY338" fmla="*/ 1099185 h 1200150"/>
                <a:gd name="connsiteX339" fmla="*/ 1122045 w 2200275"/>
                <a:gd name="connsiteY339" fmla="*/ 1093470 h 1200150"/>
                <a:gd name="connsiteX340" fmla="*/ 1120140 w 2200275"/>
                <a:gd name="connsiteY340" fmla="*/ 1088707 h 1200150"/>
                <a:gd name="connsiteX341" fmla="*/ 1108710 w 2200275"/>
                <a:gd name="connsiteY341" fmla="*/ 1074420 h 1200150"/>
                <a:gd name="connsiteX342" fmla="*/ 1106805 w 2200275"/>
                <a:gd name="connsiteY342" fmla="*/ 1072515 h 1200150"/>
                <a:gd name="connsiteX343" fmla="*/ 1104900 w 2200275"/>
                <a:gd name="connsiteY343" fmla="*/ 1067753 h 1200150"/>
                <a:gd name="connsiteX344" fmla="*/ 1103948 w 2200275"/>
                <a:gd name="connsiteY344" fmla="*/ 1059180 h 1200150"/>
                <a:gd name="connsiteX345" fmla="*/ 1102043 w 2200275"/>
                <a:gd name="connsiteY345" fmla="*/ 1054418 h 1200150"/>
                <a:gd name="connsiteX346" fmla="*/ 1099185 w 2200275"/>
                <a:gd name="connsiteY346" fmla="*/ 1050607 h 1200150"/>
                <a:gd name="connsiteX347" fmla="*/ 1096327 w 2200275"/>
                <a:gd name="connsiteY347" fmla="*/ 1049655 h 1200150"/>
                <a:gd name="connsiteX348" fmla="*/ 1093470 w 2200275"/>
                <a:gd name="connsiteY348" fmla="*/ 1048703 h 1200150"/>
                <a:gd name="connsiteX349" fmla="*/ 1080135 w 2200275"/>
                <a:gd name="connsiteY349" fmla="*/ 1051560 h 1200150"/>
                <a:gd name="connsiteX350" fmla="*/ 1077277 w 2200275"/>
                <a:gd name="connsiteY350" fmla="*/ 1050607 h 1200150"/>
                <a:gd name="connsiteX351" fmla="*/ 1070610 w 2200275"/>
                <a:gd name="connsiteY351" fmla="*/ 1044893 h 1200150"/>
                <a:gd name="connsiteX352" fmla="*/ 1063943 w 2200275"/>
                <a:gd name="connsiteY352" fmla="*/ 1036320 h 1200150"/>
                <a:gd name="connsiteX353" fmla="*/ 1047750 w 2200275"/>
                <a:gd name="connsiteY353" fmla="*/ 1007745 h 1200150"/>
                <a:gd name="connsiteX354" fmla="*/ 1040130 w 2200275"/>
                <a:gd name="connsiteY354" fmla="*/ 994410 h 1200150"/>
                <a:gd name="connsiteX355" fmla="*/ 1039177 w 2200275"/>
                <a:gd name="connsiteY355" fmla="*/ 989647 h 1200150"/>
                <a:gd name="connsiteX356" fmla="*/ 1041082 w 2200275"/>
                <a:gd name="connsiteY356" fmla="*/ 988695 h 1200150"/>
                <a:gd name="connsiteX357" fmla="*/ 1062038 w 2200275"/>
                <a:gd name="connsiteY357" fmla="*/ 979170 h 1200150"/>
                <a:gd name="connsiteX358" fmla="*/ 1067752 w 2200275"/>
                <a:gd name="connsiteY358" fmla="*/ 974407 h 1200150"/>
                <a:gd name="connsiteX359" fmla="*/ 1071563 w 2200275"/>
                <a:gd name="connsiteY359" fmla="*/ 970597 h 1200150"/>
                <a:gd name="connsiteX360" fmla="*/ 1072515 w 2200275"/>
                <a:gd name="connsiteY360" fmla="*/ 967740 h 1200150"/>
                <a:gd name="connsiteX361" fmla="*/ 1073468 w 2200275"/>
                <a:gd name="connsiteY361" fmla="*/ 961072 h 1200150"/>
                <a:gd name="connsiteX362" fmla="*/ 1073468 w 2200275"/>
                <a:gd name="connsiteY362" fmla="*/ 955357 h 1200150"/>
                <a:gd name="connsiteX363" fmla="*/ 1070610 w 2200275"/>
                <a:gd name="connsiteY363" fmla="*/ 947738 h 1200150"/>
                <a:gd name="connsiteX364" fmla="*/ 1066800 w 2200275"/>
                <a:gd name="connsiteY364" fmla="*/ 934403 h 1200150"/>
                <a:gd name="connsiteX365" fmla="*/ 1065848 w 2200275"/>
                <a:gd name="connsiteY365" fmla="*/ 932497 h 1200150"/>
                <a:gd name="connsiteX366" fmla="*/ 1062990 w 2200275"/>
                <a:gd name="connsiteY366" fmla="*/ 930593 h 1200150"/>
                <a:gd name="connsiteX367" fmla="*/ 1058227 w 2200275"/>
                <a:gd name="connsiteY367" fmla="*/ 929640 h 1200150"/>
                <a:gd name="connsiteX368" fmla="*/ 1037273 w 2200275"/>
                <a:gd name="connsiteY368" fmla="*/ 934403 h 1200150"/>
                <a:gd name="connsiteX369" fmla="*/ 1034415 w 2200275"/>
                <a:gd name="connsiteY369" fmla="*/ 933450 h 1200150"/>
                <a:gd name="connsiteX370" fmla="*/ 1030605 w 2200275"/>
                <a:gd name="connsiteY370" fmla="*/ 932497 h 1200150"/>
                <a:gd name="connsiteX371" fmla="*/ 1025843 w 2200275"/>
                <a:gd name="connsiteY371" fmla="*/ 928688 h 1200150"/>
                <a:gd name="connsiteX372" fmla="*/ 1022032 w 2200275"/>
                <a:gd name="connsiteY372" fmla="*/ 927735 h 1200150"/>
                <a:gd name="connsiteX373" fmla="*/ 1018223 w 2200275"/>
                <a:gd name="connsiteY373" fmla="*/ 926782 h 1200150"/>
                <a:gd name="connsiteX374" fmla="*/ 1011555 w 2200275"/>
                <a:gd name="connsiteY374" fmla="*/ 927735 h 1200150"/>
                <a:gd name="connsiteX375" fmla="*/ 1006793 w 2200275"/>
                <a:gd name="connsiteY375" fmla="*/ 925830 h 1200150"/>
                <a:gd name="connsiteX376" fmla="*/ 1003935 w 2200275"/>
                <a:gd name="connsiteY376" fmla="*/ 923925 h 1200150"/>
                <a:gd name="connsiteX377" fmla="*/ 996315 w 2200275"/>
                <a:gd name="connsiteY377" fmla="*/ 915353 h 1200150"/>
                <a:gd name="connsiteX378" fmla="*/ 994410 w 2200275"/>
                <a:gd name="connsiteY378" fmla="*/ 914400 h 1200150"/>
                <a:gd name="connsiteX379" fmla="*/ 990600 w 2200275"/>
                <a:gd name="connsiteY379" fmla="*/ 913447 h 1200150"/>
                <a:gd name="connsiteX380" fmla="*/ 982027 w 2200275"/>
                <a:gd name="connsiteY380" fmla="*/ 917257 h 1200150"/>
                <a:gd name="connsiteX381" fmla="*/ 979170 w 2200275"/>
                <a:gd name="connsiteY381" fmla="*/ 919163 h 1200150"/>
                <a:gd name="connsiteX382" fmla="*/ 977265 w 2200275"/>
                <a:gd name="connsiteY382" fmla="*/ 921068 h 1200150"/>
                <a:gd name="connsiteX383" fmla="*/ 976313 w 2200275"/>
                <a:gd name="connsiteY383" fmla="*/ 923925 h 1200150"/>
                <a:gd name="connsiteX384" fmla="*/ 976313 w 2200275"/>
                <a:gd name="connsiteY384" fmla="*/ 926782 h 1200150"/>
                <a:gd name="connsiteX385" fmla="*/ 976313 w 2200275"/>
                <a:gd name="connsiteY385" fmla="*/ 935355 h 1200150"/>
                <a:gd name="connsiteX386" fmla="*/ 976313 w 2200275"/>
                <a:gd name="connsiteY386" fmla="*/ 938213 h 1200150"/>
                <a:gd name="connsiteX387" fmla="*/ 971550 w 2200275"/>
                <a:gd name="connsiteY387" fmla="*/ 941070 h 1200150"/>
                <a:gd name="connsiteX388" fmla="*/ 963930 w 2200275"/>
                <a:gd name="connsiteY388" fmla="*/ 942022 h 1200150"/>
                <a:gd name="connsiteX389" fmla="*/ 961073 w 2200275"/>
                <a:gd name="connsiteY389" fmla="*/ 942022 h 1200150"/>
                <a:gd name="connsiteX390" fmla="*/ 958215 w 2200275"/>
                <a:gd name="connsiteY390" fmla="*/ 941070 h 1200150"/>
                <a:gd name="connsiteX391" fmla="*/ 956310 w 2200275"/>
                <a:gd name="connsiteY391" fmla="*/ 938213 h 1200150"/>
                <a:gd name="connsiteX392" fmla="*/ 954405 w 2200275"/>
                <a:gd name="connsiteY392" fmla="*/ 936307 h 1200150"/>
                <a:gd name="connsiteX393" fmla="*/ 951548 w 2200275"/>
                <a:gd name="connsiteY393" fmla="*/ 936307 h 1200150"/>
                <a:gd name="connsiteX394" fmla="*/ 947738 w 2200275"/>
                <a:gd name="connsiteY394" fmla="*/ 939165 h 1200150"/>
                <a:gd name="connsiteX395" fmla="*/ 945832 w 2200275"/>
                <a:gd name="connsiteY395" fmla="*/ 942022 h 1200150"/>
                <a:gd name="connsiteX396" fmla="*/ 944880 w 2200275"/>
                <a:gd name="connsiteY396" fmla="*/ 945832 h 1200150"/>
                <a:gd name="connsiteX397" fmla="*/ 943927 w 2200275"/>
                <a:gd name="connsiteY397" fmla="*/ 955357 h 1200150"/>
                <a:gd name="connsiteX398" fmla="*/ 942975 w 2200275"/>
                <a:gd name="connsiteY398" fmla="*/ 961072 h 1200150"/>
                <a:gd name="connsiteX399" fmla="*/ 941070 w 2200275"/>
                <a:gd name="connsiteY399" fmla="*/ 962978 h 1200150"/>
                <a:gd name="connsiteX400" fmla="*/ 939165 w 2200275"/>
                <a:gd name="connsiteY400" fmla="*/ 963930 h 1200150"/>
                <a:gd name="connsiteX401" fmla="*/ 935355 w 2200275"/>
                <a:gd name="connsiteY401" fmla="*/ 963930 h 1200150"/>
                <a:gd name="connsiteX402" fmla="*/ 932498 w 2200275"/>
                <a:gd name="connsiteY402" fmla="*/ 962978 h 1200150"/>
                <a:gd name="connsiteX403" fmla="*/ 929640 w 2200275"/>
                <a:gd name="connsiteY403" fmla="*/ 960120 h 1200150"/>
                <a:gd name="connsiteX404" fmla="*/ 929640 w 2200275"/>
                <a:gd name="connsiteY404" fmla="*/ 955357 h 1200150"/>
                <a:gd name="connsiteX405" fmla="*/ 932498 w 2200275"/>
                <a:gd name="connsiteY405" fmla="*/ 948690 h 1200150"/>
                <a:gd name="connsiteX406" fmla="*/ 934402 w 2200275"/>
                <a:gd name="connsiteY406" fmla="*/ 942975 h 1200150"/>
                <a:gd name="connsiteX407" fmla="*/ 936307 w 2200275"/>
                <a:gd name="connsiteY407" fmla="*/ 925830 h 1200150"/>
                <a:gd name="connsiteX408" fmla="*/ 935355 w 2200275"/>
                <a:gd name="connsiteY408" fmla="*/ 920115 h 1200150"/>
                <a:gd name="connsiteX409" fmla="*/ 933450 w 2200275"/>
                <a:gd name="connsiteY409" fmla="*/ 916305 h 1200150"/>
                <a:gd name="connsiteX410" fmla="*/ 929640 w 2200275"/>
                <a:gd name="connsiteY410" fmla="*/ 913447 h 1200150"/>
                <a:gd name="connsiteX411" fmla="*/ 900113 w 2200275"/>
                <a:gd name="connsiteY411" fmla="*/ 916305 h 1200150"/>
                <a:gd name="connsiteX412" fmla="*/ 893445 w 2200275"/>
                <a:gd name="connsiteY412" fmla="*/ 918210 h 1200150"/>
                <a:gd name="connsiteX413" fmla="*/ 888682 w 2200275"/>
                <a:gd name="connsiteY413" fmla="*/ 920115 h 1200150"/>
                <a:gd name="connsiteX414" fmla="*/ 886777 w 2200275"/>
                <a:gd name="connsiteY414" fmla="*/ 922020 h 1200150"/>
                <a:gd name="connsiteX415" fmla="*/ 884873 w 2200275"/>
                <a:gd name="connsiteY415" fmla="*/ 922972 h 1200150"/>
                <a:gd name="connsiteX416" fmla="*/ 881063 w 2200275"/>
                <a:gd name="connsiteY416" fmla="*/ 922020 h 1200150"/>
                <a:gd name="connsiteX417" fmla="*/ 877252 w 2200275"/>
                <a:gd name="connsiteY417" fmla="*/ 919163 h 1200150"/>
                <a:gd name="connsiteX418" fmla="*/ 874395 w 2200275"/>
                <a:gd name="connsiteY418" fmla="*/ 917257 h 1200150"/>
                <a:gd name="connsiteX419" fmla="*/ 872490 w 2200275"/>
                <a:gd name="connsiteY419" fmla="*/ 911543 h 1200150"/>
                <a:gd name="connsiteX420" fmla="*/ 870585 w 2200275"/>
                <a:gd name="connsiteY420" fmla="*/ 909638 h 1200150"/>
                <a:gd name="connsiteX421" fmla="*/ 868680 w 2200275"/>
                <a:gd name="connsiteY421" fmla="*/ 908685 h 1200150"/>
                <a:gd name="connsiteX422" fmla="*/ 860107 w 2200275"/>
                <a:gd name="connsiteY422" fmla="*/ 912495 h 1200150"/>
                <a:gd name="connsiteX423" fmla="*/ 851535 w 2200275"/>
                <a:gd name="connsiteY423" fmla="*/ 919163 h 1200150"/>
                <a:gd name="connsiteX424" fmla="*/ 846772 w 2200275"/>
                <a:gd name="connsiteY424" fmla="*/ 919163 h 1200150"/>
                <a:gd name="connsiteX425" fmla="*/ 798195 w 2200275"/>
                <a:gd name="connsiteY425" fmla="*/ 912495 h 1200150"/>
                <a:gd name="connsiteX426" fmla="*/ 792480 w 2200275"/>
                <a:gd name="connsiteY426" fmla="*/ 909638 h 1200150"/>
                <a:gd name="connsiteX427" fmla="*/ 789622 w 2200275"/>
                <a:gd name="connsiteY427" fmla="*/ 907732 h 1200150"/>
                <a:gd name="connsiteX428" fmla="*/ 787718 w 2200275"/>
                <a:gd name="connsiteY428" fmla="*/ 903922 h 1200150"/>
                <a:gd name="connsiteX429" fmla="*/ 786765 w 2200275"/>
                <a:gd name="connsiteY429" fmla="*/ 901065 h 1200150"/>
                <a:gd name="connsiteX430" fmla="*/ 786765 w 2200275"/>
                <a:gd name="connsiteY430" fmla="*/ 898207 h 1200150"/>
                <a:gd name="connsiteX431" fmla="*/ 786765 w 2200275"/>
                <a:gd name="connsiteY431" fmla="*/ 885825 h 1200150"/>
                <a:gd name="connsiteX432" fmla="*/ 785813 w 2200275"/>
                <a:gd name="connsiteY432" fmla="*/ 882015 h 1200150"/>
                <a:gd name="connsiteX433" fmla="*/ 783907 w 2200275"/>
                <a:gd name="connsiteY433" fmla="*/ 880110 h 1200150"/>
                <a:gd name="connsiteX434" fmla="*/ 771525 w 2200275"/>
                <a:gd name="connsiteY434" fmla="*/ 877253 h 1200150"/>
                <a:gd name="connsiteX435" fmla="*/ 767715 w 2200275"/>
                <a:gd name="connsiteY435" fmla="*/ 874395 h 1200150"/>
                <a:gd name="connsiteX436" fmla="*/ 765810 w 2200275"/>
                <a:gd name="connsiteY436" fmla="*/ 872490 h 1200150"/>
                <a:gd name="connsiteX437" fmla="*/ 765810 w 2200275"/>
                <a:gd name="connsiteY437" fmla="*/ 869632 h 1200150"/>
                <a:gd name="connsiteX438" fmla="*/ 763905 w 2200275"/>
                <a:gd name="connsiteY438" fmla="*/ 848678 h 1200150"/>
                <a:gd name="connsiteX439" fmla="*/ 762953 w 2200275"/>
                <a:gd name="connsiteY439" fmla="*/ 842963 h 1200150"/>
                <a:gd name="connsiteX440" fmla="*/ 759143 w 2200275"/>
                <a:gd name="connsiteY440" fmla="*/ 842010 h 1200150"/>
                <a:gd name="connsiteX441" fmla="*/ 754380 w 2200275"/>
                <a:gd name="connsiteY441" fmla="*/ 840105 h 1200150"/>
                <a:gd name="connsiteX442" fmla="*/ 745807 w 2200275"/>
                <a:gd name="connsiteY442" fmla="*/ 839153 h 1200150"/>
                <a:gd name="connsiteX443" fmla="*/ 737235 w 2200275"/>
                <a:gd name="connsiteY443" fmla="*/ 836295 h 1200150"/>
                <a:gd name="connsiteX444" fmla="*/ 699135 w 2200275"/>
                <a:gd name="connsiteY444" fmla="*/ 833438 h 1200150"/>
                <a:gd name="connsiteX445" fmla="*/ 687705 w 2200275"/>
                <a:gd name="connsiteY445" fmla="*/ 834390 h 1200150"/>
                <a:gd name="connsiteX446" fmla="*/ 669607 w 2200275"/>
                <a:gd name="connsiteY446" fmla="*/ 841057 h 1200150"/>
                <a:gd name="connsiteX447" fmla="*/ 662940 w 2200275"/>
                <a:gd name="connsiteY447" fmla="*/ 844868 h 1200150"/>
                <a:gd name="connsiteX448" fmla="*/ 658178 w 2200275"/>
                <a:gd name="connsiteY448" fmla="*/ 849630 h 1200150"/>
                <a:gd name="connsiteX449" fmla="*/ 657225 w 2200275"/>
                <a:gd name="connsiteY449" fmla="*/ 856297 h 1200150"/>
                <a:gd name="connsiteX450" fmla="*/ 655320 w 2200275"/>
                <a:gd name="connsiteY450" fmla="*/ 862013 h 1200150"/>
                <a:gd name="connsiteX451" fmla="*/ 653415 w 2200275"/>
                <a:gd name="connsiteY451" fmla="*/ 863918 h 1200150"/>
                <a:gd name="connsiteX452" fmla="*/ 649605 w 2200275"/>
                <a:gd name="connsiteY452" fmla="*/ 865822 h 1200150"/>
                <a:gd name="connsiteX453" fmla="*/ 632460 w 2200275"/>
                <a:gd name="connsiteY453" fmla="*/ 871538 h 1200150"/>
                <a:gd name="connsiteX454" fmla="*/ 628650 w 2200275"/>
                <a:gd name="connsiteY454" fmla="*/ 874395 h 1200150"/>
                <a:gd name="connsiteX455" fmla="*/ 625793 w 2200275"/>
                <a:gd name="connsiteY455" fmla="*/ 878205 h 1200150"/>
                <a:gd name="connsiteX456" fmla="*/ 623888 w 2200275"/>
                <a:gd name="connsiteY456" fmla="*/ 880110 h 1200150"/>
                <a:gd name="connsiteX457" fmla="*/ 620078 w 2200275"/>
                <a:gd name="connsiteY457" fmla="*/ 882968 h 1200150"/>
                <a:gd name="connsiteX458" fmla="*/ 616268 w 2200275"/>
                <a:gd name="connsiteY458" fmla="*/ 883920 h 1200150"/>
                <a:gd name="connsiteX459" fmla="*/ 612457 w 2200275"/>
                <a:gd name="connsiteY459" fmla="*/ 882968 h 1200150"/>
                <a:gd name="connsiteX460" fmla="*/ 604838 w 2200275"/>
                <a:gd name="connsiteY460" fmla="*/ 880110 h 1200150"/>
                <a:gd name="connsiteX461" fmla="*/ 602932 w 2200275"/>
                <a:gd name="connsiteY461" fmla="*/ 877253 h 1200150"/>
                <a:gd name="connsiteX462" fmla="*/ 601028 w 2200275"/>
                <a:gd name="connsiteY462" fmla="*/ 874395 h 1200150"/>
                <a:gd name="connsiteX463" fmla="*/ 601028 w 2200275"/>
                <a:gd name="connsiteY463" fmla="*/ 868680 h 1200150"/>
                <a:gd name="connsiteX464" fmla="*/ 600075 w 2200275"/>
                <a:gd name="connsiteY464" fmla="*/ 865822 h 1200150"/>
                <a:gd name="connsiteX465" fmla="*/ 596265 w 2200275"/>
                <a:gd name="connsiteY465" fmla="*/ 862013 h 1200150"/>
                <a:gd name="connsiteX466" fmla="*/ 593407 w 2200275"/>
                <a:gd name="connsiteY466" fmla="*/ 861060 h 1200150"/>
                <a:gd name="connsiteX467" fmla="*/ 590550 w 2200275"/>
                <a:gd name="connsiteY467" fmla="*/ 860107 h 1200150"/>
                <a:gd name="connsiteX468" fmla="*/ 586740 w 2200275"/>
                <a:gd name="connsiteY468" fmla="*/ 861060 h 1200150"/>
                <a:gd name="connsiteX469" fmla="*/ 581978 w 2200275"/>
                <a:gd name="connsiteY469" fmla="*/ 864870 h 1200150"/>
                <a:gd name="connsiteX470" fmla="*/ 580072 w 2200275"/>
                <a:gd name="connsiteY470" fmla="*/ 866775 h 1200150"/>
                <a:gd name="connsiteX471" fmla="*/ 578168 w 2200275"/>
                <a:gd name="connsiteY471" fmla="*/ 869632 h 1200150"/>
                <a:gd name="connsiteX472" fmla="*/ 574357 w 2200275"/>
                <a:gd name="connsiteY472" fmla="*/ 880110 h 1200150"/>
                <a:gd name="connsiteX473" fmla="*/ 572453 w 2200275"/>
                <a:gd name="connsiteY473" fmla="*/ 882015 h 1200150"/>
                <a:gd name="connsiteX474" fmla="*/ 569595 w 2200275"/>
                <a:gd name="connsiteY474" fmla="*/ 882015 h 1200150"/>
                <a:gd name="connsiteX475" fmla="*/ 563880 w 2200275"/>
                <a:gd name="connsiteY475" fmla="*/ 880110 h 1200150"/>
                <a:gd name="connsiteX476" fmla="*/ 561975 w 2200275"/>
                <a:gd name="connsiteY476" fmla="*/ 877253 h 1200150"/>
                <a:gd name="connsiteX477" fmla="*/ 560070 w 2200275"/>
                <a:gd name="connsiteY477" fmla="*/ 874395 h 1200150"/>
                <a:gd name="connsiteX478" fmla="*/ 559118 w 2200275"/>
                <a:gd name="connsiteY478" fmla="*/ 868680 h 1200150"/>
                <a:gd name="connsiteX479" fmla="*/ 554355 w 2200275"/>
                <a:gd name="connsiteY479" fmla="*/ 866775 h 1200150"/>
                <a:gd name="connsiteX480" fmla="*/ 547688 w 2200275"/>
                <a:gd name="connsiteY480" fmla="*/ 865822 h 1200150"/>
                <a:gd name="connsiteX481" fmla="*/ 531495 w 2200275"/>
                <a:gd name="connsiteY481" fmla="*/ 865822 h 1200150"/>
                <a:gd name="connsiteX482" fmla="*/ 516255 w 2200275"/>
                <a:gd name="connsiteY482" fmla="*/ 862965 h 1200150"/>
                <a:gd name="connsiteX483" fmla="*/ 510540 w 2200275"/>
                <a:gd name="connsiteY483" fmla="*/ 863918 h 1200150"/>
                <a:gd name="connsiteX484" fmla="*/ 485775 w 2200275"/>
                <a:gd name="connsiteY484" fmla="*/ 872490 h 1200150"/>
                <a:gd name="connsiteX485" fmla="*/ 479107 w 2200275"/>
                <a:gd name="connsiteY485" fmla="*/ 876300 h 1200150"/>
                <a:gd name="connsiteX486" fmla="*/ 474345 w 2200275"/>
                <a:gd name="connsiteY486" fmla="*/ 879157 h 1200150"/>
                <a:gd name="connsiteX487" fmla="*/ 473393 w 2200275"/>
                <a:gd name="connsiteY487" fmla="*/ 881063 h 1200150"/>
                <a:gd name="connsiteX488" fmla="*/ 471488 w 2200275"/>
                <a:gd name="connsiteY488" fmla="*/ 887730 h 1200150"/>
                <a:gd name="connsiteX489" fmla="*/ 468630 w 2200275"/>
                <a:gd name="connsiteY489" fmla="*/ 891540 h 1200150"/>
                <a:gd name="connsiteX490" fmla="*/ 465772 w 2200275"/>
                <a:gd name="connsiteY490" fmla="*/ 893445 h 1200150"/>
                <a:gd name="connsiteX491" fmla="*/ 460057 w 2200275"/>
                <a:gd name="connsiteY491" fmla="*/ 893445 h 1200150"/>
                <a:gd name="connsiteX492" fmla="*/ 440055 w 2200275"/>
                <a:gd name="connsiteY492" fmla="*/ 888682 h 1200150"/>
                <a:gd name="connsiteX493" fmla="*/ 416243 w 2200275"/>
                <a:gd name="connsiteY493" fmla="*/ 880110 h 1200150"/>
                <a:gd name="connsiteX494" fmla="*/ 412432 w 2200275"/>
                <a:gd name="connsiteY494" fmla="*/ 879157 h 1200150"/>
                <a:gd name="connsiteX495" fmla="*/ 407670 w 2200275"/>
                <a:gd name="connsiteY495" fmla="*/ 879157 h 1200150"/>
                <a:gd name="connsiteX496" fmla="*/ 402907 w 2200275"/>
                <a:gd name="connsiteY496" fmla="*/ 878205 h 1200150"/>
                <a:gd name="connsiteX497" fmla="*/ 321945 w 2200275"/>
                <a:gd name="connsiteY497" fmla="*/ 878205 h 1200150"/>
                <a:gd name="connsiteX498" fmla="*/ 319088 w 2200275"/>
                <a:gd name="connsiteY498" fmla="*/ 881063 h 1200150"/>
                <a:gd name="connsiteX499" fmla="*/ 315278 w 2200275"/>
                <a:gd name="connsiteY499" fmla="*/ 895350 h 1200150"/>
                <a:gd name="connsiteX500" fmla="*/ 312420 w 2200275"/>
                <a:gd name="connsiteY500" fmla="*/ 900113 h 1200150"/>
                <a:gd name="connsiteX501" fmla="*/ 308610 w 2200275"/>
                <a:gd name="connsiteY501" fmla="*/ 901065 h 1200150"/>
                <a:gd name="connsiteX502" fmla="*/ 293370 w 2200275"/>
                <a:gd name="connsiteY502" fmla="*/ 900113 h 1200150"/>
                <a:gd name="connsiteX503" fmla="*/ 182880 w 2200275"/>
                <a:gd name="connsiteY503" fmla="*/ 894397 h 1200150"/>
                <a:gd name="connsiteX504" fmla="*/ 163830 w 2200275"/>
                <a:gd name="connsiteY504" fmla="*/ 884872 h 1200150"/>
                <a:gd name="connsiteX505" fmla="*/ 153353 w 2200275"/>
                <a:gd name="connsiteY505" fmla="*/ 869632 h 1200150"/>
                <a:gd name="connsiteX506" fmla="*/ 145732 w 2200275"/>
                <a:gd name="connsiteY506" fmla="*/ 850582 h 1200150"/>
                <a:gd name="connsiteX507" fmla="*/ 137160 w 2200275"/>
                <a:gd name="connsiteY507" fmla="*/ 833438 h 1200150"/>
                <a:gd name="connsiteX508" fmla="*/ 128588 w 2200275"/>
                <a:gd name="connsiteY508" fmla="*/ 836295 h 1200150"/>
                <a:gd name="connsiteX509" fmla="*/ 121920 w 2200275"/>
                <a:gd name="connsiteY509" fmla="*/ 841057 h 1200150"/>
                <a:gd name="connsiteX510" fmla="*/ 117157 w 2200275"/>
                <a:gd name="connsiteY510" fmla="*/ 842010 h 1200150"/>
                <a:gd name="connsiteX511" fmla="*/ 114300 w 2200275"/>
                <a:gd name="connsiteY511" fmla="*/ 842010 h 1200150"/>
                <a:gd name="connsiteX512" fmla="*/ 111443 w 2200275"/>
                <a:gd name="connsiteY512" fmla="*/ 839153 h 1200150"/>
                <a:gd name="connsiteX513" fmla="*/ 104775 w 2200275"/>
                <a:gd name="connsiteY513" fmla="*/ 832485 h 1200150"/>
                <a:gd name="connsiteX514" fmla="*/ 100965 w 2200275"/>
                <a:gd name="connsiteY514" fmla="*/ 831532 h 1200150"/>
                <a:gd name="connsiteX515" fmla="*/ 98107 w 2200275"/>
                <a:gd name="connsiteY515" fmla="*/ 832485 h 1200150"/>
                <a:gd name="connsiteX516" fmla="*/ 97155 w 2200275"/>
                <a:gd name="connsiteY516" fmla="*/ 834390 h 1200150"/>
                <a:gd name="connsiteX517" fmla="*/ 93345 w 2200275"/>
                <a:gd name="connsiteY517" fmla="*/ 839153 h 1200150"/>
                <a:gd name="connsiteX518" fmla="*/ 81915 w 2200275"/>
                <a:gd name="connsiteY518" fmla="*/ 861060 h 1200150"/>
                <a:gd name="connsiteX519" fmla="*/ 79057 w 2200275"/>
                <a:gd name="connsiteY519" fmla="*/ 863918 h 1200150"/>
                <a:gd name="connsiteX520" fmla="*/ 76200 w 2200275"/>
                <a:gd name="connsiteY520" fmla="*/ 865822 h 1200150"/>
                <a:gd name="connsiteX521" fmla="*/ 73343 w 2200275"/>
                <a:gd name="connsiteY521" fmla="*/ 865822 h 1200150"/>
                <a:gd name="connsiteX522" fmla="*/ 71438 w 2200275"/>
                <a:gd name="connsiteY522" fmla="*/ 864870 h 1200150"/>
                <a:gd name="connsiteX523" fmla="*/ 68580 w 2200275"/>
                <a:gd name="connsiteY523" fmla="*/ 862965 h 1200150"/>
                <a:gd name="connsiteX524" fmla="*/ 59055 w 2200275"/>
                <a:gd name="connsiteY524" fmla="*/ 850582 h 1200150"/>
                <a:gd name="connsiteX525" fmla="*/ 49530 w 2200275"/>
                <a:gd name="connsiteY525" fmla="*/ 842963 h 1200150"/>
                <a:gd name="connsiteX526" fmla="*/ 46672 w 2200275"/>
                <a:gd name="connsiteY526" fmla="*/ 842010 h 1200150"/>
                <a:gd name="connsiteX527" fmla="*/ 43815 w 2200275"/>
                <a:gd name="connsiteY527" fmla="*/ 841057 h 1200150"/>
                <a:gd name="connsiteX528" fmla="*/ 41910 w 2200275"/>
                <a:gd name="connsiteY528" fmla="*/ 841057 h 1200150"/>
                <a:gd name="connsiteX529" fmla="*/ 33338 w 2200275"/>
                <a:gd name="connsiteY529" fmla="*/ 844868 h 1200150"/>
                <a:gd name="connsiteX530" fmla="*/ 20003 w 2200275"/>
                <a:gd name="connsiteY530" fmla="*/ 846772 h 1200150"/>
                <a:gd name="connsiteX531" fmla="*/ 19050 w 2200275"/>
                <a:gd name="connsiteY531" fmla="*/ 841057 h 1200150"/>
                <a:gd name="connsiteX532" fmla="*/ 21907 w 2200275"/>
                <a:gd name="connsiteY532" fmla="*/ 834390 h 1200150"/>
                <a:gd name="connsiteX533" fmla="*/ 24765 w 2200275"/>
                <a:gd name="connsiteY533" fmla="*/ 830580 h 1200150"/>
                <a:gd name="connsiteX534" fmla="*/ 25718 w 2200275"/>
                <a:gd name="connsiteY534" fmla="*/ 826770 h 1200150"/>
                <a:gd name="connsiteX535" fmla="*/ 26670 w 2200275"/>
                <a:gd name="connsiteY535" fmla="*/ 823913 h 1200150"/>
                <a:gd name="connsiteX536" fmla="*/ 23813 w 2200275"/>
                <a:gd name="connsiteY536" fmla="*/ 817245 h 1200150"/>
                <a:gd name="connsiteX537" fmla="*/ 25718 w 2200275"/>
                <a:gd name="connsiteY537" fmla="*/ 809625 h 1200150"/>
                <a:gd name="connsiteX538" fmla="*/ 24765 w 2200275"/>
                <a:gd name="connsiteY538" fmla="*/ 806768 h 1200150"/>
                <a:gd name="connsiteX539" fmla="*/ 20003 w 2200275"/>
                <a:gd name="connsiteY539" fmla="*/ 804863 h 1200150"/>
                <a:gd name="connsiteX540" fmla="*/ 6668 w 2200275"/>
                <a:gd name="connsiteY540" fmla="*/ 801053 h 1200150"/>
                <a:gd name="connsiteX541" fmla="*/ 1905 w 2200275"/>
                <a:gd name="connsiteY541" fmla="*/ 798195 h 1200150"/>
                <a:gd name="connsiteX542" fmla="*/ 953 w 2200275"/>
                <a:gd name="connsiteY542" fmla="*/ 796290 h 1200150"/>
                <a:gd name="connsiteX543" fmla="*/ 0 w 2200275"/>
                <a:gd name="connsiteY543" fmla="*/ 794385 h 1200150"/>
                <a:gd name="connsiteX544" fmla="*/ 2857 w 2200275"/>
                <a:gd name="connsiteY544" fmla="*/ 788670 h 1200150"/>
                <a:gd name="connsiteX545" fmla="*/ 12382 w 2200275"/>
                <a:gd name="connsiteY545" fmla="*/ 774382 h 1200150"/>
                <a:gd name="connsiteX546" fmla="*/ 16193 w 2200275"/>
                <a:gd name="connsiteY546" fmla="*/ 768668 h 1200150"/>
                <a:gd name="connsiteX547" fmla="*/ 20003 w 2200275"/>
                <a:gd name="connsiteY547" fmla="*/ 757238 h 1200150"/>
                <a:gd name="connsiteX548" fmla="*/ 20955 w 2200275"/>
                <a:gd name="connsiteY548" fmla="*/ 753428 h 1200150"/>
                <a:gd name="connsiteX549" fmla="*/ 20955 w 2200275"/>
                <a:gd name="connsiteY549" fmla="*/ 746760 h 1200150"/>
                <a:gd name="connsiteX550" fmla="*/ 21907 w 2200275"/>
                <a:gd name="connsiteY550" fmla="*/ 740093 h 1200150"/>
                <a:gd name="connsiteX551" fmla="*/ 20955 w 2200275"/>
                <a:gd name="connsiteY551" fmla="*/ 732472 h 1200150"/>
                <a:gd name="connsiteX552" fmla="*/ 21907 w 2200275"/>
                <a:gd name="connsiteY552" fmla="*/ 728663 h 1200150"/>
                <a:gd name="connsiteX553" fmla="*/ 26670 w 2200275"/>
                <a:gd name="connsiteY553" fmla="*/ 721995 h 1200150"/>
                <a:gd name="connsiteX554" fmla="*/ 43815 w 2200275"/>
                <a:gd name="connsiteY554" fmla="*/ 705803 h 1200150"/>
                <a:gd name="connsiteX555" fmla="*/ 55245 w 2200275"/>
                <a:gd name="connsiteY555" fmla="*/ 691515 h 1200150"/>
                <a:gd name="connsiteX556" fmla="*/ 58103 w 2200275"/>
                <a:gd name="connsiteY556" fmla="*/ 686753 h 1200150"/>
                <a:gd name="connsiteX557" fmla="*/ 63818 w 2200275"/>
                <a:gd name="connsiteY557" fmla="*/ 677228 h 1200150"/>
                <a:gd name="connsiteX558" fmla="*/ 67628 w 2200275"/>
                <a:gd name="connsiteY558" fmla="*/ 673418 h 1200150"/>
                <a:gd name="connsiteX559" fmla="*/ 77153 w 2200275"/>
                <a:gd name="connsiteY559" fmla="*/ 664845 h 1200150"/>
                <a:gd name="connsiteX560" fmla="*/ 80010 w 2200275"/>
                <a:gd name="connsiteY560" fmla="*/ 663893 h 1200150"/>
                <a:gd name="connsiteX561" fmla="*/ 84772 w 2200275"/>
                <a:gd name="connsiteY561" fmla="*/ 663893 h 1200150"/>
                <a:gd name="connsiteX562" fmla="*/ 92393 w 2200275"/>
                <a:gd name="connsiteY562" fmla="*/ 665797 h 1200150"/>
                <a:gd name="connsiteX563" fmla="*/ 94297 w 2200275"/>
                <a:gd name="connsiteY563" fmla="*/ 668655 h 1200150"/>
                <a:gd name="connsiteX564" fmla="*/ 95250 w 2200275"/>
                <a:gd name="connsiteY564" fmla="*/ 671513 h 1200150"/>
                <a:gd name="connsiteX565" fmla="*/ 94297 w 2200275"/>
                <a:gd name="connsiteY565" fmla="*/ 678180 h 1200150"/>
                <a:gd name="connsiteX566" fmla="*/ 95250 w 2200275"/>
                <a:gd name="connsiteY566" fmla="*/ 681038 h 1200150"/>
                <a:gd name="connsiteX567" fmla="*/ 99060 w 2200275"/>
                <a:gd name="connsiteY567" fmla="*/ 687705 h 1200150"/>
                <a:gd name="connsiteX568" fmla="*/ 100013 w 2200275"/>
                <a:gd name="connsiteY568" fmla="*/ 690563 h 1200150"/>
                <a:gd name="connsiteX569" fmla="*/ 102870 w 2200275"/>
                <a:gd name="connsiteY569" fmla="*/ 703897 h 1200150"/>
                <a:gd name="connsiteX570" fmla="*/ 105728 w 2200275"/>
                <a:gd name="connsiteY570" fmla="*/ 708660 h 1200150"/>
                <a:gd name="connsiteX571" fmla="*/ 106680 w 2200275"/>
                <a:gd name="connsiteY571" fmla="*/ 710565 h 1200150"/>
                <a:gd name="connsiteX572" fmla="*/ 110490 w 2200275"/>
                <a:gd name="connsiteY572" fmla="*/ 708660 h 1200150"/>
                <a:gd name="connsiteX573" fmla="*/ 116205 w 2200275"/>
                <a:gd name="connsiteY573" fmla="*/ 703897 h 1200150"/>
                <a:gd name="connsiteX574" fmla="*/ 127635 w 2200275"/>
                <a:gd name="connsiteY574" fmla="*/ 689610 h 1200150"/>
                <a:gd name="connsiteX575" fmla="*/ 135255 w 2200275"/>
                <a:gd name="connsiteY575" fmla="*/ 676275 h 1200150"/>
                <a:gd name="connsiteX576" fmla="*/ 137160 w 2200275"/>
                <a:gd name="connsiteY576" fmla="*/ 673418 h 1200150"/>
                <a:gd name="connsiteX577" fmla="*/ 140970 w 2200275"/>
                <a:gd name="connsiteY577" fmla="*/ 671513 h 1200150"/>
                <a:gd name="connsiteX578" fmla="*/ 159068 w 2200275"/>
                <a:gd name="connsiteY578" fmla="*/ 668655 h 1200150"/>
                <a:gd name="connsiteX579" fmla="*/ 165735 w 2200275"/>
                <a:gd name="connsiteY579" fmla="*/ 664845 h 1200150"/>
                <a:gd name="connsiteX580" fmla="*/ 179070 w 2200275"/>
                <a:gd name="connsiteY580" fmla="*/ 646747 h 1200150"/>
                <a:gd name="connsiteX581" fmla="*/ 195263 w 2200275"/>
                <a:gd name="connsiteY581" fmla="*/ 648653 h 1200150"/>
                <a:gd name="connsiteX582" fmla="*/ 201930 w 2200275"/>
                <a:gd name="connsiteY582" fmla="*/ 645795 h 1200150"/>
                <a:gd name="connsiteX583" fmla="*/ 215265 w 2200275"/>
                <a:gd name="connsiteY583" fmla="*/ 631507 h 1200150"/>
                <a:gd name="connsiteX584" fmla="*/ 230505 w 2200275"/>
                <a:gd name="connsiteY584" fmla="*/ 620078 h 1200150"/>
                <a:gd name="connsiteX585" fmla="*/ 236220 w 2200275"/>
                <a:gd name="connsiteY585" fmla="*/ 617220 h 1200150"/>
                <a:gd name="connsiteX586" fmla="*/ 240982 w 2200275"/>
                <a:gd name="connsiteY586" fmla="*/ 616268 h 1200150"/>
                <a:gd name="connsiteX587" fmla="*/ 243840 w 2200275"/>
                <a:gd name="connsiteY587" fmla="*/ 617220 h 1200150"/>
                <a:gd name="connsiteX588" fmla="*/ 245745 w 2200275"/>
                <a:gd name="connsiteY588" fmla="*/ 619125 h 1200150"/>
                <a:gd name="connsiteX589" fmla="*/ 248603 w 2200275"/>
                <a:gd name="connsiteY589" fmla="*/ 623888 h 1200150"/>
                <a:gd name="connsiteX590" fmla="*/ 251460 w 2200275"/>
                <a:gd name="connsiteY590" fmla="*/ 625793 h 1200150"/>
                <a:gd name="connsiteX591" fmla="*/ 255270 w 2200275"/>
                <a:gd name="connsiteY591" fmla="*/ 627697 h 1200150"/>
                <a:gd name="connsiteX592" fmla="*/ 262890 w 2200275"/>
                <a:gd name="connsiteY592" fmla="*/ 629603 h 1200150"/>
                <a:gd name="connsiteX593" fmla="*/ 266700 w 2200275"/>
                <a:gd name="connsiteY593" fmla="*/ 629603 h 1200150"/>
                <a:gd name="connsiteX594" fmla="*/ 268605 w 2200275"/>
                <a:gd name="connsiteY594" fmla="*/ 629603 h 1200150"/>
                <a:gd name="connsiteX595" fmla="*/ 273368 w 2200275"/>
                <a:gd name="connsiteY595" fmla="*/ 622935 h 1200150"/>
                <a:gd name="connsiteX596" fmla="*/ 341947 w 2200275"/>
                <a:gd name="connsiteY596" fmla="*/ 586740 h 1200150"/>
                <a:gd name="connsiteX597" fmla="*/ 343853 w 2200275"/>
                <a:gd name="connsiteY597" fmla="*/ 581025 h 1200150"/>
                <a:gd name="connsiteX598" fmla="*/ 344805 w 2200275"/>
                <a:gd name="connsiteY598" fmla="*/ 571500 h 1200150"/>
                <a:gd name="connsiteX599" fmla="*/ 345757 w 2200275"/>
                <a:gd name="connsiteY599" fmla="*/ 566738 h 1200150"/>
                <a:gd name="connsiteX600" fmla="*/ 347663 w 2200275"/>
                <a:gd name="connsiteY600" fmla="*/ 562928 h 1200150"/>
                <a:gd name="connsiteX601" fmla="*/ 351472 w 2200275"/>
                <a:gd name="connsiteY601" fmla="*/ 558165 h 1200150"/>
                <a:gd name="connsiteX602" fmla="*/ 354330 w 2200275"/>
                <a:gd name="connsiteY602" fmla="*/ 555307 h 1200150"/>
                <a:gd name="connsiteX603" fmla="*/ 357188 w 2200275"/>
                <a:gd name="connsiteY603" fmla="*/ 554355 h 1200150"/>
                <a:gd name="connsiteX604" fmla="*/ 369570 w 2200275"/>
                <a:gd name="connsiteY604" fmla="*/ 553403 h 1200150"/>
                <a:gd name="connsiteX605" fmla="*/ 379095 w 2200275"/>
                <a:gd name="connsiteY605" fmla="*/ 555307 h 1200150"/>
                <a:gd name="connsiteX606" fmla="*/ 381953 w 2200275"/>
                <a:gd name="connsiteY606" fmla="*/ 556260 h 1200150"/>
                <a:gd name="connsiteX607" fmla="*/ 383857 w 2200275"/>
                <a:gd name="connsiteY607" fmla="*/ 558165 h 1200150"/>
                <a:gd name="connsiteX608" fmla="*/ 386715 w 2200275"/>
                <a:gd name="connsiteY608" fmla="*/ 562928 h 1200150"/>
                <a:gd name="connsiteX609" fmla="*/ 387668 w 2200275"/>
                <a:gd name="connsiteY609" fmla="*/ 564832 h 1200150"/>
                <a:gd name="connsiteX610" fmla="*/ 391478 w 2200275"/>
                <a:gd name="connsiteY610" fmla="*/ 568643 h 1200150"/>
                <a:gd name="connsiteX611" fmla="*/ 394335 w 2200275"/>
                <a:gd name="connsiteY611" fmla="*/ 568643 h 1200150"/>
                <a:gd name="connsiteX612" fmla="*/ 432435 w 2200275"/>
                <a:gd name="connsiteY612" fmla="*/ 564832 h 1200150"/>
                <a:gd name="connsiteX613" fmla="*/ 438150 w 2200275"/>
                <a:gd name="connsiteY613" fmla="*/ 561975 h 1200150"/>
                <a:gd name="connsiteX614" fmla="*/ 441007 w 2200275"/>
                <a:gd name="connsiteY614" fmla="*/ 559118 h 1200150"/>
                <a:gd name="connsiteX615" fmla="*/ 442913 w 2200275"/>
                <a:gd name="connsiteY615" fmla="*/ 553403 h 1200150"/>
                <a:gd name="connsiteX616" fmla="*/ 442913 w 2200275"/>
                <a:gd name="connsiteY616" fmla="*/ 546735 h 1200150"/>
                <a:gd name="connsiteX617" fmla="*/ 442913 w 2200275"/>
                <a:gd name="connsiteY617" fmla="*/ 530543 h 1200150"/>
                <a:gd name="connsiteX618" fmla="*/ 441960 w 2200275"/>
                <a:gd name="connsiteY618" fmla="*/ 528638 h 1200150"/>
                <a:gd name="connsiteX619" fmla="*/ 441007 w 2200275"/>
                <a:gd name="connsiteY619" fmla="*/ 526732 h 1200150"/>
                <a:gd name="connsiteX620" fmla="*/ 438150 w 2200275"/>
                <a:gd name="connsiteY620" fmla="*/ 524828 h 1200150"/>
                <a:gd name="connsiteX621" fmla="*/ 427672 w 2200275"/>
                <a:gd name="connsiteY621" fmla="*/ 520065 h 1200150"/>
                <a:gd name="connsiteX622" fmla="*/ 423863 w 2200275"/>
                <a:gd name="connsiteY622" fmla="*/ 516255 h 1200150"/>
                <a:gd name="connsiteX623" fmla="*/ 425768 w 2200275"/>
                <a:gd name="connsiteY623" fmla="*/ 512445 h 1200150"/>
                <a:gd name="connsiteX624" fmla="*/ 430530 w 2200275"/>
                <a:gd name="connsiteY624" fmla="*/ 505778 h 1200150"/>
                <a:gd name="connsiteX625" fmla="*/ 450532 w 2200275"/>
                <a:gd name="connsiteY625" fmla="*/ 488632 h 1200150"/>
                <a:gd name="connsiteX626" fmla="*/ 454343 w 2200275"/>
                <a:gd name="connsiteY626" fmla="*/ 483870 h 1200150"/>
                <a:gd name="connsiteX627" fmla="*/ 455295 w 2200275"/>
                <a:gd name="connsiteY627" fmla="*/ 481013 h 1200150"/>
                <a:gd name="connsiteX628" fmla="*/ 461010 w 2200275"/>
                <a:gd name="connsiteY628" fmla="*/ 458153 h 1200150"/>
                <a:gd name="connsiteX629" fmla="*/ 461010 w 2200275"/>
                <a:gd name="connsiteY629" fmla="*/ 456247 h 1200150"/>
                <a:gd name="connsiteX630" fmla="*/ 460057 w 2200275"/>
                <a:gd name="connsiteY630" fmla="*/ 451485 h 1200150"/>
                <a:gd name="connsiteX631" fmla="*/ 460057 w 2200275"/>
                <a:gd name="connsiteY631" fmla="*/ 448628 h 1200150"/>
                <a:gd name="connsiteX632" fmla="*/ 457200 w 2200275"/>
                <a:gd name="connsiteY632" fmla="*/ 443865 h 1200150"/>
                <a:gd name="connsiteX633" fmla="*/ 458153 w 2200275"/>
                <a:gd name="connsiteY633" fmla="*/ 440055 h 1200150"/>
                <a:gd name="connsiteX634" fmla="*/ 462915 w 2200275"/>
                <a:gd name="connsiteY634" fmla="*/ 434340 h 1200150"/>
                <a:gd name="connsiteX635" fmla="*/ 475297 w 2200275"/>
                <a:gd name="connsiteY635" fmla="*/ 424815 h 1200150"/>
                <a:gd name="connsiteX636" fmla="*/ 491490 w 2200275"/>
                <a:gd name="connsiteY636" fmla="*/ 409575 h 1200150"/>
                <a:gd name="connsiteX637" fmla="*/ 508635 w 2200275"/>
                <a:gd name="connsiteY637" fmla="*/ 400050 h 1200150"/>
                <a:gd name="connsiteX638" fmla="*/ 514350 w 2200275"/>
                <a:gd name="connsiteY638" fmla="*/ 398145 h 1200150"/>
                <a:gd name="connsiteX639" fmla="*/ 518160 w 2200275"/>
                <a:gd name="connsiteY639" fmla="*/ 398145 h 1200150"/>
                <a:gd name="connsiteX640" fmla="*/ 524828 w 2200275"/>
                <a:gd name="connsiteY640" fmla="*/ 400050 h 1200150"/>
                <a:gd name="connsiteX641" fmla="*/ 532447 w 2200275"/>
                <a:gd name="connsiteY641" fmla="*/ 399097 h 1200150"/>
                <a:gd name="connsiteX642" fmla="*/ 536257 w 2200275"/>
                <a:gd name="connsiteY642" fmla="*/ 400050 h 1200150"/>
                <a:gd name="connsiteX643" fmla="*/ 541020 w 2200275"/>
                <a:gd name="connsiteY643" fmla="*/ 401955 h 1200150"/>
                <a:gd name="connsiteX644" fmla="*/ 544830 w 2200275"/>
                <a:gd name="connsiteY644" fmla="*/ 403860 h 1200150"/>
                <a:gd name="connsiteX645" fmla="*/ 548640 w 2200275"/>
                <a:gd name="connsiteY645" fmla="*/ 403860 h 1200150"/>
                <a:gd name="connsiteX646" fmla="*/ 555307 w 2200275"/>
                <a:gd name="connsiteY646" fmla="*/ 402907 h 1200150"/>
                <a:gd name="connsiteX647" fmla="*/ 560070 w 2200275"/>
                <a:gd name="connsiteY647" fmla="*/ 403860 h 1200150"/>
                <a:gd name="connsiteX648" fmla="*/ 561975 w 2200275"/>
                <a:gd name="connsiteY648" fmla="*/ 404813 h 1200150"/>
                <a:gd name="connsiteX649" fmla="*/ 564832 w 2200275"/>
                <a:gd name="connsiteY649" fmla="*/ 409575 h 1200150"/>
                <a:gd name="connsiteX650" fmla="*/ 566738 w 2200275"/>
                <a:gd name="connsiteY650" fmla="*/ 411480 h 1200150"/>
                <a:gd name="connsiteX651" fmla="*/ 570547 w 2200275"/>
                <a:gd name="connsiteY651" fmla="*/ 412432 h 1200150"/>
                <a:gd name="connsiteX652" fmla="*/ 577215 w 2200275"/>
                <a:gd name="connsiteY652" fmla="*/ 411480 h 1200150"/>
                <a:gd name="connsiteX653" fmla="*/ 596265 w 2200275"/>
                <a:gd name="connsiteY653" fmla="*/ 406718 h 1200150"/>
                <a:gd name="connsiteX654" fmla="*/ 601028 w 2200275"/>
                <a:gd name="connsiteY654" fmla="*/ 406718 h 1200150"/>
                <a:gd name="connsiteX655" fmla="*/ 606743 w 2200275"/>
                <a:gd name="connsiteY655" fmla="*/ 408622 h 1200150"/>
                <a:gd name="connsiteX656" fmla="*/ 633413 w 2200275"/>
                <a:gd name="connsiteY656" fmla="*/ 406718 h 1200150"/>
                <a:gd name="connsiteX657" fmla="*/ 639128 w 2200275"/>
                <a:gd name="connsiteY657" fmla="*/ 407670 h 1200150"/>
                <a:gd name="connsiteX658" fmla="*/ 647700 w 2200275"/>
                <a:gd name="connsiteY658" fmla="*/ 411480 h 1200150"/>
                <a:gd name="connsiteX659" fmla="*/ 661035 w 2200275"/>
                <a:gd name="connsiteY659" fmla="*/ 412432 h 1200150"/>
                <a:gd name="connsiteX660" fmla="*/ 676275 w 2200275"/>
                <a:gd name="connsiteY660" fmla="*/ 417195 h 1200150"/>
                <a:gd name="connsiteX661" fmla="*/ 686753 w 2200275"/>
                <a:gd name="connsiteY661" fmla="*/ 422910 h 1200150"/>
                <a:gd name="connsiteX662" fmla="*/ 692468 w 2200275"/>
                <a:gd name="connsiteY662" fmla="*/ 427672 h 1200150"/>
                <a:gd name="connsiteX663" fmla="*/ 694372 w 2200275"/>
                <a:gd name="connsiteY663" fmla="*/ 429578 h 1200150"/>
                <a:gd name="connsiteX664" fmla="*/ 701040 w 2200275"/>
                <a:gd name="connsiteY664" fmla="*/ 429578 h 1200150"/>
                <a:gd name="connsiteX665" fmla="*/ 705803 w 2200275"/>
                <a:gd name="connsiteY665" fmla="*/ 429578 h 1200150"/>
                <a:gd name="connsiteX666" fmla="*/ 726757 w 2200275"/>
                <a:gd name="connsiteY666" fmla="*/ 429578 h 1200150"/>
                <a:gd name="connsiteX667" fmla="*/ 735330 w 2200275"/>
                <a:gd name="connsiteY667" fmla="*/ 426720 h 1200150"/>
                <a:gd name="connsiteX668" fmla="*/ 761047 w 2200275"/>
                <a:gd name="connsiteY668" fmla="*/ 411480 h 1200150"/>
                <a:gd name="connsiteX669" fmla="*/ 764857 w 2200275"/>
                <a:gd name="connsiteY669" fmla="*/ 409575 h 1200150"/>
                <a:gd name="connsiteX670" fmla="*/ 783907 w 2200275"/>
                <a:gd name="connsiteY670" fmla="*/ 408622 h 1200150"/>
                <a:gd name="connsiteX671" fmla="*/ 790575 w 2200275"/>
                <a:gd name="connsiteY671" fmla="*/ 409575 h 1200150"/>
                <a:gd name="connsiteX672" fmla="*/ 802005 w 2200275"/>
                <a:gd name="connsiteY672" fmla="*/ 414338 h 1200150"/>
                <a:gd name="connsiteX673" fmla="*/ 804863 w 2200275"/>
                <a:gd name="connsiteY673" fmla="*/ 414338 h 1200150"/>
                <a:gd name="connsiteX674" fmla="*/ 814388 w 2200275"/>
                <a:gd name="connsiteY674" fmla="*/ 413385 h 1200150"/>
                <a:gd name="connsiteX675" fmla="*/ 821055 w 2200275"/>
                <a:gd name="connsiteY675" fmla="*/ 414338 h 1200150"/>
                <a:gd name="connsiteX676" fmla="*/ 828675 w 2200275"/>
                <a:gd name="connsiteY676" fmla="*/ 417195 h 1200150"/>
                <a:gd name="connsiteX677" fmla="*/ 830580 w 2200275"/>
                <a:gd name="connsiteY677" fmla="*/ 419100 h 1200150"/>
                <a:gd name="connsiteX678" fmla="*/ 833438 w 2200275"/>
                <a:gd name="connsiteY678" fmla="*/ 421957 h 1200150"/>
                <a:gd name="connsiteX679" fmla="*/ 837247 w 2200275"/>
                <a:gd name="connsiteY679" fmla="*/ 429578 h 1200150"/>
                <a:gd name="connsiteX680" fmla="*/ 839153 w 2200275"/>
                <a:gd name="connsiteY680" fmla="*/ 431482 h 1200150"/>
                <a:gd name="connsiteX681" fmla="*/ 841057 w 2200275"/>
                <a:gd name="connsiteY681" fmla="*/ 432435 h 1200150"/>
                <a:gd name="connsiteX682" fmla="*/ 843915 w 2200275"/>
                <a:gd name="connsiteY682" fmla="*/ 431482 h 1200150"/>
                <a:gd name="connsiteX683" fmla="*/ 848678 w 2200275"/>
                <a:gd name="connsiteY683" fmla="*/ 425768 h 1200150"/>
                <a:gd name="connsiteX684" fmla="*/ 852488 w 2200275"/>
                <a:gd name="connsiteY684" fmla="*/ 424815 h 1200150"/>
                <a:gd name="connsiteX685" fmla="*/ 859155 w 2200275"/>
                <a:gd name="connsiteY685" fmla="*/ 424815 h 1200150"/>
                <a:gd name="connsiteX686" fmla="*/ 871538 w 2200275"/>
                <a:gd name="connsiteY686" fmla="*/ 421005 h 1200150"/>
                <a:gd name="connsiteX687" fmla="*/ 882015 w 2200275"/>
                <a:gd name="connsiteY687" fmla="*/ 416243 h 1200150"/>
                <a:gd name="connsiteX688" fmla="*/ 899160 w 2200275"/>
                <a:gd name="connsiteY688" fmla="*/ 411480 h 1200150"/>
                <a:gd name="connsiteX689" fmla="*/ 905827 w 2200275"/>
                <a:gd name="connsiteY689" fmla="*/ 406718 h 1200150"/>
                <a:gd name="connsiteX690" fmla="*/ 909638 w 2200275"/>
                <a:gd name="connsiteY690" fmla="*/ 402907 h 1200150"/>
                <a:gd name="connsiteX691" fmla="*/ 913448 w 2200275"/>
                <a:gd name="connsiteY691" fmla="*/ 390525 h 1200150"/>
                <a:gd name="connsiteX692" fmla="*/ 916305 w 2200275"/>
                <a:gd name="connsiteY692" fmla="*/ 381953 h 1200150"/>
                <a:gd name="connsiteX693" fmla="*/ 916305 w 2200275"/>
                <a:gd name="connsiteY693" fmla="*/ 377190 h 1200150"/>
                <a:gd name="connsiteX694" fmla="*/ 918210 w 2200275"/>
                <a:gd name="connsiteY694" fmla="*/ 372428 h 1200150"/>
                <a:gd name="connsiteX695" fmla="*/ 919163 w 2200275"/>
                <a:gd name="connsiteY695" fmla="*/ 368618 h 1200150"/>
                <a:gd name="connsiteX696" fmla="*/ 924877 w 2200275"/>
                <a:gd name="connsiteY696" fmla="*/ 362903 h 1200150"/>
                <a:gd name="connsiteX697" fmla="*/ 938213 w 2200275"/>
                <a:gd name="connsiteY697" fmla="*/ 351472 h 1200150"/>
                <a:gd name="connsiteX698" fmla="*/ 942023 w 2200275"/>
                <a:gd name="connsiteY698" fmla="*/ 347663 h 1200150"/>
                <a:gd name="connsiteX699" fmla="*/ 943927 w 2200275"/>
                <a:gd name="connsiteY699" fmla="*/ 343853 h 1200150"/>
                <a:gd name="connsiteX700" fmla="*/ 945832 w 2200275"/>
                <a:gd name="connsiteY700" fmla="*/ 334328 h 1200150"/>
                <a:gd name="connsiteX701" fmla="*/ 946785 w 2200275"/>
                <a:gd name="connsiteY701" fmla="*/ 329565 h 1200150"/>
                <a:gd name="connsiteX702" fmla="*/ 946785 w 2200275"/>
                <a:gd name="connsiteY702" fmla="*/ 314325 h 1200150"/>
                <a:gd name="connsiteX703" fmla="*/ 944880 w 2200275"/>
                <a:gd name="connsiteY703" fmla="*/ 299085 h 1200150"/>
                <a:gd name="connsiteX704" fmla="*/ 944880 w 2200275"/>
                <a:gd name="connsiteY704" fmla="*/ 288607 h 1200150"/>
                <a:gd name="connsiteX705" fmla="*/ 945832 w 2200275"/>
                <a:gd name="connsiteY705" fmla="*/ 282893 h 1200150"/>
                <a:gd name="connsiteX706" fmla="*/ 947738 w 2200275"/>
                <a:gd name="connsiteY706" fmla="*/ 278130 h 1200150"/>
                <a:gd name="connsiteX707" fmla="*/ 952500 w 2200275"/>
                <a:gd name="connsiteY707" fmla="*/ 272415 h 1200150"/>
                <a:gd name="connsiteX708" fmla="*/ 957263 w 2200275"/>
                <a:gd name="connsiteY708" fmla="*/ 270510 h 1200150"/>
                <a:gd name="connsiteX709" fmla="*/ 962025 w 2200275"/>
                <a:gd name="connsiteY709" fmla="*/ 271463 h 1200150"/>
                <a:gd name="connsiteX710" fmla="*/ 978218 w 2200275"/>
                <a:gd name="connsiteY710" fmla="*/ 277178 h 1200150"/>
                <a:gd name="connsiteX711" fmla="*/ 1009650 w 2200275"/>
                <a:gd name="connsiteY711" fmla="*/ 278130 h 1200150"/>
                <a:gd name="connsiteX712" fmla="*/ 1014413 w 2200275"/>
                <a:gd name="connsiteY712" fmla="*/ 275272 h 1200150"/>
                <a:gd name="connsiteX713" fmla="*/ 1017270 w 2200275"/>
                <a:gd name="connsiteY713" fmla="*/ 271463 h 1200150"/>
                <a:gd name="connsiteX714" fmla="*/ 1019175 w 2200275"/>
                <a:gd name="connsiteY714" fmla="*/ 265747 h 1200150"/>
                <a:gd name="connsiteX715" fmla="*/ 1022985 w 2200275"/>
                <a:gd name="connsiteY715" fmla="*/ 260032 h 1200150"/>
                <a:gd name="connsiteX716" fmla="*/ 1026795 w 2200275"/>
                <a:gd name="connsiteY716" fmla="*/ 257175 h 1200150"/>
                <a:gd name="connsiteX717" fmla="*/ 1029652 w 2200275"/>
                <a:gd name="connsiteY717" fmla="*/ 256222 h 1200150"/>
                <a:gd name="connsiteX718" fmla="*/ 1047750 w 2200275"/>
                <a:gd name="connsiteY718" fmla="*/ 256222 h 1200150"/>
                <a:gd name="connsiteX719" fmla="*/ 1051560 w 2200275"/>
                <a:gd name="connsiteY719" fmla="*/ 257175 h 1200150"/>
                <a:gd name="connsiteX720" fmla="*/ 1093470 w 2200275"/>
                <a:gd name="connsiteY720" fmla="*/ 272415 h 1200150"/>
                <a:gd name="connsiteX721" fmla="*/ 1109663 w 2200275"/>
                <a:gd name="connsiteY721" fmla="*/ 283845 h 1200150"/>
                <a:gd name="connsiteX722" fmla="*/ 1114425 w 2200275"/>
                <a:gd name="connsiteY722" fmla="*/ 289560 h 1200150"/>
                <a:gd name="connsiteX723" fmla="*/ 1116330 w 2200275"/>
                <a:gd name="connsiteY723" fmla="*/ 293370 h 1200150"/>
                <a:gd name="connsiteX724" fmla="*/ 1119188 w 2200275"/>
                <a:gd name="connsiteY724" fmla="*/ 301943 h 1200150"/>
                <a:gd name="connsiteX725" fmla="*/ 1122045 w 2200275"/>
                <a:gd name="connsiteY725" fmla="*/ 315278 h 1200150"/>
                <a:gd name="connsiteX726" fmla="*/ 1123950 w 2200275"/>
                <a:gd name="connsiteY726" fmla="*/ 319088 h 1200150"/>
                <a:gd name="connsiteX727" fmla="*/ 1126807 w 2200275"/>
                <a:gd name="connsiteY727" fmla="*/ 322897 h 1200150"/>
                <a:gd name="connsiteX728" fmla="*/ 1133475 w 2200275"/>
                <a:gd name="connsiteY728" fmla="*/ 323850 h 1200150"/>
                <a:gd name="connsiteX729" fmla="*/ 1138238 w 2200275"/>
                <a:gd name="connsiteY729" fmla="*/ 321945 h 1200150"/>
                <a:gd name="connsiteX730" fmla="*/ 1141095 w 2200275"/>
                <a:gd name="connsiteY730" fmla="*/ 319088 h 1200150"/>
                <a:gd name="connsiteX731" fmla="*/ 1143952 w 2200275"/>
                <a:gd name="connsiteY731" fmla="*/ 314325 h 1200150"/>
                <a:gd name="connsiteX732" fmla="*/ 1150620 w 2200275"/>
                <a:gd name="connsiteY732" fmla="*/ 308610 h 1200150"/>
                <a:gd name="connsiteX733" fmla="*/ 1154430 w 2200275"/>
                <a:gd name="connsiteY733" fmla="*/ 303847 h 1200150"/>
                <a:gd name="connsiteX734" fmla="*/ 1157288 w 2200275"/>
                <a:gd name="connsiteY734" fmla="*/ 298132 h 1200150"/>
                <a:gd name="connsiteX735" fmla="*/ 1161098 w 2200275"/>
                <a:gd name="connsiteY735" fmla="*/ 294322 h 1200150"/>
                <a:gd name="connsiteX736" fmla="*/ 1168718 w 2200275"/>
                <a:gd name="connsiteY736" fmla="*/ 289560 h 1200150"/>
                <a:gd name="connsiteX737" fmla="*/ 1191577 w 2200275"/>
                <a:gd name="connsiteY737" fmla="*/ 281940 h 1200150"/>
                <a:gd name="connsiteX738" fmla="*/ 1194435 w 2200275"/>
                <a:gd name="connsiteY738" fmla="*/ 280035 h 1200150"/>
                <a:gd name="connsiteX739" fmla="*/ 1203960 w 2200275"/>
                <a:gd name="connsiteY739" fmla="*/ 270510 h 1200150"/>
                <a:gd name="connsiteX740" fmla="*/ 1206818 w 2200275"/>
                <a:gd name="connsiteY740" fmla="*/ 269557 h 1200150"/>
                <a:gd name="connsiteX741" fmla="*/ 1209675 w 2200275"/>
                <a:gd name="connsiteY741" fmla="*/ 269557 h 1200150"/>
                <a:gd name="connsiteX742" fmla="*/ 1214438 w 2200275"/>
                <a:gd name="connsiteY742" fmla="*/ 272415 h 1200150"/>
                <a:gd name="connsiteX743" fmla="*/ 1215390 w 2200275"/>
                <a:gd name="connsiteY743" fmla="*/ 276225 h 1200150"/>
                <a:gd name="connsiteX744" fmla="*/ 1217295 w 2200275"/>
                <a:gd name="connsiteY744" fmla="*/ 278130 h 1200150"/>
                <a:gd name="connsiteX745" fmla="*/ 1220152 w 2200275"/>
                <a:gd name="connsiteY745" fmla="*/ 279082 h 1200150"/>
                <a:gd name="connsiteX746" fmla="*/ 1235393 w 2200275"/>
                <a:gd name="connsiteY746" fmla="*/ 276225 h 1200150"/>
                <a:gd name="connsiteX747" fmla="*/ 1239202 w 2200275"/>
                <a:gd name="connsiteY747" fmla="*/ 276225 h 1200150"/>
                <a:gd name="connsiteX748" fmla="*/ 1241107 w 2200275"/>
                <a:gd name="connsiteY748" fmla="*/ 280988 h 1200150"/>
                <a:gd name="connsiteX749" fmla="*/ 1243965 w 2200275"/>
                <a:gd name="connsiteY749" fmla="*/ 282893 h 1200150"/>
                <a:gd name="connsiteX750" fmla="*/ 1247775 w 2200275"/>
                <a:gd name="connsiteY750" fmla="*/ 283845 h 1200150"/>
                <a:gd name="connsiteX751" fmla="*/ 1257300 w 2200275"/>
                <a:gd name="connsiteY751" fmla="*/ 283845 h 1200150"/>
                <a:gd name="connsiteX752" fmla="*/ 1261110 w 2200275"/>
                <a:gd name="connsiteY752" fmla="*/ 281940 h 1200150"/>
                <a:gd name="connsiteX753" fmla="*/ 1263968 w 2200275"/>
                <a:gd name="connsiteY753" fmla="*/ 279082 h 1200150"/>
                <a:gd name="connsiteX754" fmla="*/ 1264920 w 2200275"/>
                <a:gd name="connsiteY754" fmla="*/ 276225 h 1200150"/>
                <a:gd name="connsiteX755" fmla="*/ 1268730 w 2200275"/>
                <a:gd name="connsiteY755" fmla="*/ 262890 h 1200150"/>
                <a:gd name="connsiteX756" fmla="*/ 1269682 w 2200275"/>
                <a:gd name="connsiteY756" fmla="*/ 256222 h 1200150"/>
                <a:gd name="connsiteX757" fmla="*/ 1270635 w 2200275"/>
                <a:gd name="connsiteY757" fmla="*/ 253365 h 1200150"/>
                <a:gd name="connsiteX758" fmla="*/ 1268730 w 2200275"/>
                <a:gd name="connsiteY758" fmla="*/ 250507 h 1200150"/>
                <a:gd name="connsiteX759" fmla="*/ 1263968 w 2200275"/>
                <a:gd name="connsiteY759" fmla="*/ 244793 h 1200150"/>
                <a:gd name="connsiteX760" fmla="*/ 1263015 w 2200275"/>
                <a:gd name="connsiteY760" fmla="*/ 242888 h 1200150"/>
                <a:gd name="connsiteX761" fmla="*/ 1263968 w 2200275"/>
                <a:gd name="connsiteY761" fmla="*/ 240030 h 1200150"/>
                <a:gd name="connsiteX762" fmla="*/ 1265873 w 2200275"/>
                <a:gd name="connsiteY762" fmla="*/ 234315 h 1200150"/>
                <a:gd name="connsiteX763" fmla="*/ 1268730 w 2200275"/>
                <a:gd name="connsiteY763" fmla="*/ 230505 h 1200150"/>
                <a:gd name="connsiteX764" fmla="*/ 1271588 w 2200275"/>
                <a:gd name="connsiteY764" fmla="*/ 227647 h 1200150"/>
                <a:gd name="connsiteX765" fmla="*/ 1290638 w 2200275"/>
                <a:gd name="connsiteY765" fmla="*/ 215265 h 1200150"/>
                <a:gd name="connsiteX766" fmla="*/ 1294448 w 2200275"/>
                <a:gd name="connsiteY766" fmla="*/ 211455 h 1200150"/>
                <a:gd name="connsiteX767" fmla="*/ 1301115 w 2200275"/>
                <a:gd name="connsiteY767" fmla="*/ 199072 h 1200150"/>
                <a:gd name="connsiteX768" fmla="*/ 1305877 w 2200275"/>
                <a:gd name="connsiteY768" fmla="*/ 191453 h 1200150"/>
                <a:gd name="connsiteX769" fmla="*/ 1314450 w 2200275"/>
                <a:gd name="connsiteY769" fmla="*/ 175260 h 1200150"/>
                <a:gd name="connsiteX770" fmla="*/ 1316355 w 2200275"/>
                <a:gd name="connsiteY770" fmla="*/ 173355 h 1200150"/>
                <a:gd name="connsiteX771" fmla="*/ 1320165 w 2200275"/>
                <a:gd name="connsiteY771" fmla="*/ 169545 h 1200150"/>
                <a:gd name="connsiteX772" fmla="*/ 1323975 w 2200275"/>
                <a:gd name="connsiteY772" fmla="*/ 168593 h 1200150"/>
                <a:gd name="connsiteX773" fmla="*/ 1326832 w 2200275"/>
                <a:gd name="connsiteY773" fmla="*/ 169545 h 1200150"/>
                <a:gd name="connsiteX774" fmla="*/ 1332548 w 2200275"/>
                <a:gd name="connsiteY774" fmla="*/ 171450 h 1200150"/>
                <a:gd name="connsiteX775" fmla="*/ 1340168 w 2200275"/>
                <a:gd name="connsiteY775" fmla="*/ 173355 h 1200150"/>
                <a:gd name="connsiteX776" fmla="*/ 1343025 w 2200275"/>
                <a:gd name="connsiteY776" fmla="*/ 172403 h 1200150"/>
                <a:gd name="connsiteX777" fmla="*/ 1344930 w 2200275"/>
                <a:gd name="connsiteY777" fmla="*/ 171450 h 1200150"/>
                <a:gd name="connsiteX778" fmla="*/ 1344930 w 2200275"/>
                <a:gd name="connsiteY778" fmla="*/ 168593 h 1200150"/>
                <a:gd name="connsiteX779" fmla="*/ 1343025 w 2200275"/>
                <a:gd name="connsiteY779" fmla="*/ 160020 h 1200150"/>
                <a:gd name="connsiteX780" fmla="*/ 1343977 w 2200275"/>
                <a:gd name="connsiteY780" fmla="*/ 158115 h 1200150"/>
                <a:gd name="connsiteX781" fmla="*/ 1345882 w 2200275"/>
                <a:gd name="connsiteY781" fmla="*/ 155257 h 1200150"/>
                <a:gd name="connsiteX782" fmla="*/ 1352550 w 2200275"/>
                <a:gd name="connsiteY782" fmla="*/ 148590 h 1200150"/>
                <a:gd name="connsiteX783" fmla="*/ 1358265 w 2200275"/>
                <a:gd name="connsiteY783" fmla="*/ 146685 h 1200150"/>
                <a:gd name="connsiteX784" fmla="*/ 1365885 w 2200275"/>
                <a:gd name="connsiteY784" fmla="*/ 140018 h 1200150"/>
                <a:gd name="connsiteX785" fmla="*/ 1367790 w 2200275"/>
                <a:gd name="connsiteY785" fmla="*/ 139065 h 1200150"/>
                <a:gd name="connsiteX786" fmla="*/ 1370648 w 2200275"/>
                <a:gd name="connsiteY786" fmla="*/ 140018 h 1200150"/>
                <a:gd name="connsiteX787" fmla="*/ 1373505 w 2200275"/>
                <a:gd name="connsiteY787" fmla="*/ 140970 h 1200150"/>
                <a:gd name="connsiteX788" fmla="*/ 1374457 w 2200275"/>
                <a:gd name="connsiteY788" fmla="*/ 143828 h 1200150"/>
                <a:gd name="connsiteX789" fmla="*/ 1374457 w 2200275"/>
                <a:gd name="connsiteY789" fmla="*/ 146685 h 1200150"/>
                <a:gd name="connsiteX790" fmla="*/ 1373505 w 2200275"/>
                <a:gd name="connsiteY790" fmla="*/ 152400 h 1200150"/>
                <a:gd name="connsiteX791" fmla="*/ 1374457 w 2200275"/>
                <a:gd name="connsiteY791" fmla="*/ 155257 h 1200150"/>
                <a:gd name="connsiteX792" fmla="*/ 1375410 w 2200275"/>
                <a:gd name="connsiteY792" fmla="*/ 157163 h 1200150"/>
                <a:gd name="connsiteX793" fmla="*/ 1380173 w 2200275"/>
                <a:gd name="connsiteY793" fmla="*/ 160020 h 1200150"/>
                <a:gd name="connsiteX794" fmla="*/ 1382077 w 2200275"/>
                <a:gd name="connsiteY794" fmla="*/ 161925 h 1200150"/>
                <a:gd name="connsiteX795" fmla="*/ 1383030 w 2200275"/>
                <a:gd name="connsiteY795" fmla="*/ 164782 h 1200150"/>
                <a:gd name="connsiteX796" fmla="*/ 1383982 w 2200275"/>
                <a:gd name="connsiteY796" fmla="*/ 170497 h 1200150"/>
                <a:gd name="connsiteX797" fmla="*/ 1385888 w 2200275"/>
                <a:gd name="connsiteY797" fmla="*/ 172403 h 1200150"/>
                <a:gd name="connsiteX798" fmla="*/ 1387793 w 2200275"/>
                <a:gd name="connsiteY798" fmla="*/ 174307 h 1200150"/>
                <a:gd name="connsiteX799" fmla="*/ 1393507 w 2200275"/>
                <a:gd name="connsiteY799" fmla="*/ 176213 h 1200150"/>
                <a:gd name="connsiteX800" fmla="*/ 1402080 w 2200275"/>
                <a:gd name="connsiteY800" fmla="*/ 178118 h 1200150"/>
                <a:gd name="connsiteX801" fmla="*/ 1408748 w 2200275"/>
                <a:gd name="connsiteY801" fmla="*/ 178118 h 1200150"/>
                <a:gd name="connsiteX802" fmla="*/ 1412557 w 2200275"/>
                <a:gd name="connsiteY802" fmla="*/ 177165 h 1200150"/>
                <a:gd name="connsiteX803" fmla="*/ 1415415 w 2200275"/>
                <a:gd name="connsiteY803" fmla="*/ 176213 h 1200150"/>
                <a:gd name="connsiteX804" fmla="*/ 1422082 w 2200275"/>
                <a:gd name="connsiteY804" fmla="*/ 169545 h 1200150"/>
                <a:gd name="connsiteX805" fmla="*/ 1426845 w 2200275"/>
                <a:gd name="connsiteY805" fmla="*/ 165735 h 1200150"/>
                <a:gd name="connsiteX806" fmla="*/ 1429702 w 2200275"/>
                <a:gd name="connsiteY806" fmla="*/ 164782 h 1200150"/>
                <a:gd name="connsiteX807" fmla="*/ 1431607 w 2200275"/>
                <a:gd name="connsiteY807" fmla="*/ 165735 h 1200150"/>
                <a:gd name="connsiteX808" fmla="*/ 1432560 w 2200275"/>
                <a:gd name="connsiteY808" fmla="*/ 168593 h 1200150"/>
                <a:gd name="connsiteX809" fmla="*/ 1433513 w 2200275"/>
                <a:gd name="connsiteY809" fmla="*/ 171450 h 1200150"/>
                <a:gd name="connsiteX810" fmla="*/ 1432560 w 2200275"/>
                <a:gd name="connsiteY810" fmla="*/ 191453 h 1200150"/>
                <a:gd name="connsiteX811" fmla="*/ 1432560 w 2200275"/>
                <a:gd name="connsiteY811" fmla="*/ 194310 h 1200150"/>
                <a:gd name="connsiteX812" fmla="*/ 1433513 w 2200275"/>
                <a:gd name="connsiteY812" fmla="*/ 196215 h 1200150"/>
                <a:gd name="connsiteX813" fmla="*/ 1437323 w 2200275"/>
                <a:gd name="connsiteY813" fmla="*/ 203835 h 1200150"/>
                <a:gd name="connsiteX814" fmla="*/ 1457325 w 2200275"/>
                <a:gd name="connsiteY814" fmla="*/ 231457 h 1200150"/>
                <a:gd name="connsiteX815" fmla="*/ 1461135 w 2200275"/>
                <a:gd name="connsiteY815" fmla="*/ 238125 h 1200150"/>
                <a:gd name="connsiteX816" fmla="*/ 1463040 w 2200275"/>
                <a:gd name="connsiteY816" fmla="*/ 245745 h 1200150"/>
                <a:gd name="connsiteX817" fmla="*/ 1463993 w 2200275"/>
                <a:gd name="connsiteY817" fmla="*/ 260985 h 1200150"/>
                <a:gd name="connsiteX818" fmla="*/ 1464945 w 2200275"/>
                <a:gd name="connsiteY818" fmla="*/ 266700 h 1200150"/>
                <a:gd name="connsiteX819" fmla="*/ 1466850 w 2200275"/>
                <a:gd name="connsiteY819" fmla="*/ 268605 h 1200150"/>
                <a:gd name="connsiteX820" fmla="*/ 1470660 w 2200275"/>
                <a:gd name="connsiteY820" fmla="*/ 269557 h 1200150"/>
                <a:gd name="connsiteX821" fmla="*/ 1478280 w 2200275"/>
                <a:gd name="connsiteY821" fmla="*/ 269557 h 1200150"/>
                <a:gd name="connsiteX822" fmla="*/ 1482090 w 2200275"/>
                <a:gd name="connsiteY822" fmla="*/ 267653 h 1200150"/>
                <a:gd name="connsiteX823" fmla="*/ 1483995 w 2200275"/>
                <a:gd name="connsiteY823" fmla="*/ 265747 h 1200150"/>
                <a:gd name="connsiteX824" fmla="*/ 1484948 w 2200275"/>
                <a:gd name="connsiteY824" fmla="*/ 259080 h 1200150"/>
                <a:gd name="connsiteX825" fmla="*/ 1483995 w 2200275"/>
                <a:gd name="connsiteY825" fmla="*/ 256222 h 1200150"/>
                <a:gd name="connsiteX826" fmla="*/ 1485900 w 2200275"/>
                <a:gd name="connsiteY826" fmla="*/ 249555 h 1200150"/>
                <a:gd name="connsiteX827" fmla="*/ 1489710 w 2200275"/>
                <a:gd name="connsiteY827" fmla="*/ 245745 h 1200150"/>
                <a:gd name="connsiteX828" fmla="*/ 1492568 w 2200275"/>
                <a:gd name="connsiteY828" fmla="*/ 244793 h 1200150"/>
                <a:gd name="connsiteX829" fmla="*/ 1495425 w 2200275"/>
                <a:gd name="connsiteY829" fmla="*/ 245745 h 1200150"/>
                <a:gd name="connsiteX830" fmla="*/ 1500188 w 2200275"/>
                <a:gd name="connsiteY830" fmla="*/ 248603 h 1200150"/>
                <a:gd name="connsiteX831" fmla="*/ 1506855 w 2200275"/>
                <a:gd name="connsiteY831" fmla="*/ 253365 h 1200150"/>
                <a:gd name="connsiteX832" fmla="*/ 1509713 w 2200275"/>
                <a:gd name="connsiteY832" fmla="*/ 255270 h 1200150"/>
                <a:gd name="connsiteX833" fmla="*/ 1513523 w 2200275"/>
                <a:gd name="connsiteY833" fmla="*/ 256222 h 1200150"/>
                <a:gd name="connsiteX834" fmla="*/ 1520190 w 2200275"/>
                <a:gd name="connsiteY834" fmla="*/ 256222 h 1200150"/>
                <a:gd name="connsiteX835" fmla="*/ 1524952 w 2200275"/>
                <a:gd name="connsiteY835" fmla="*/ 256222 h 1200150"/>
                <a:gd name="connsiteX836" fmla="*/ 1527810 w 2200275"/>
                <a:gd name="connsiteY836" fmla="*/ 254318 h 1200150"/>
                <a:gd name="connsiteX837" fmla="*/ 1537335 w 2200275"/>
                <a:gd name="connsiteY837" fmla="*/ 246697 h 1200150"/>
                <a:gd name="connsiteX838" fmla="*/ 1542098 w 2200275"/>
                <a:gd name="connsiteY838" fmla="*/ 240030 h 1200150"/>
                <a:gd name="connsiteX839" fmla="*/ 1544955 w 2200275"/>
                <a:gd name="connsiteY839" fmla="*/ 235268 h 1200150"/>
                <a:gd name="connsiteX840" fmla="*/ 1547813 w 2200275"/>
                <a:gd name="connsiteY840" fmla="*/ 228600 h 1200150"/>
                <a:gd name="connsiteX841" fmla="*/ 1549718 w 2200275"/>
                <a:gd name="connsiteY841" fmla="*/ 225743 h 1200150"/>
                <a:gd name="connsiteX842" fmla="*/ 1553527 w 2200275"/>
                <a:gd name="connsiteY842" fmla="*/ 221932 h 1200150"/>
                <a:gd name="connsiteX843" fmla="*/ 1556385 w 2200275"/>
                <a:gd name="connsiteY843" fmla="*/ 220980 h 1200150"/>
                <a:gd name="connsiteX844" fmla="*/ 1560195 w 2200275"/>
                <a:gd name="connsiteY844" fmla="*/ 221932 h 1200150"/>
                <a:gd name="connsiteX845" fmla="*/ 1565910 w 2200275"/>
                <a:gd name="connsiteY845" fmla="*/ 223838 h 1200150"/>
                <a:gd name="connsiteX846" fmla="*/ 1579245 w 2200275"/>
                <a:gd name="connsiteY846" fmla="*/ 233363 h 1200150"/>
                <a:gd name="connsiteX847" fmla="*/ 1585913 w 2200275"/>
                <a:gd name="connsiteY847" fmla="*/ 239078 h 1200150"/>
                <a:gd name="connsiteX848" fmla="*/ 1593532 w 2200275"/>
                <a:gd name="connsiteY848" fmla="*/ 241935 h 1200150"/>
                <a:gd name="connsiteX849" fmla="*/ 1602105 w 2200275"/>
                <a:gd name="connsiteY849" fmla="*/ 241935 h 1200150"/>
                <a:gd name="connsiteX850" fmla="*/ 1605915 w 2200275"/>
                <a:gd name="connsiteY850" fmla="*/ 240982 h 1200150"/>
                <a:gd name="connsiteX851" fmla="*/ 1608773 w 2200275"/>
                <a:gd name="connsiteY851" fmla="*/ 238125 h 1200150"/>
                <a:gd name="connsiteX852" fmla="*/ 1610677 w 2200275"/>
                <a:gd name="connsiteY852" fmla="*/ 234315 h 1200150"/>
                <a:gd name="connsiteX853" fmla="*/ 1614488 w 2200275"/>
                <a:gd name="connsiteY853" fmla="*/ 230505 h 1200150"/>
                <a:gd name="connsiteX854" fmla="*/ 1638300 w 2200275"/>
                <a:gd name="connsiteY854" fmla="*/ 210503 h 1200150"/>
                <a:gd name="connsiteX855" fmla="*/ 1642110 w 2200275"/>
                <a:gd name="connsiteY855" fmla="*/ 206693 h 1200150"/>
                <a:gd name="connsiteX856" fmla="*/ 1644015 w 2200275"/>
                <a:gd name="connsiteY856" fmla="*/ 202882 h 1200150"/>
                <a:gd name="connsiteX857" fmla="*/ 1644015 w 2200275"/>
                <a:gd name="connsiteY857" fmla="*/ 196215 h 1200150"/>
                <a:gd name="connsiteX858" fmla="*/ 1643063 w 2200275"/>
                <a:gd name="connsiteY858" fmla="*/ 194310 h 1200150"/>
                <a:gd name="connsiteX859" fmla="*/ 1641157 w 2200275"/>
                <a:gd name="connsiteY859" fmla="*/ 193357 h 1200150"/>
                <a:gd name="connsiteX860" fmla="*/ 1631632 w 2200275"/>
                <a:gd name="connsiteY860" fmla="*/ 190500 h 1200150"/>
                <a:gd name="connsiteX861" fmla="*/ 1629727 w 2200275"/>
                <a:gd name="connsiteY861" fmla="*/ 188595 h 1200150"/>
                <a:gd name="connsiteX862" fmla="*/ 1627823 w 2200275"/>
                <a:gd name="connsiteY862" fmla="*/ 186690 h 1200150"/>
                <a:gd name="connsiteX863" fmla="*/ 1615440 w 2200275"/>
                <a:gd name="connsiteY863" fmla="*/ 151447 h 1200150"/>
                <a:gd name="connsiteX864" fmla="*/ 1614488 w 2200275"/>
                <a:gd name="connsiteY864" fmla="*/ 148590 h 1200150"/>
                <a:gd name="connsiteX865" fmla="*/ 1614488 w 2200275"/>
                <a:gd name="connsiteY865" fmla="*/ 142875 h 1200150"/>
                <a:gd name="connsiteX866" fmla="*/ 1614488 w 2200275"/>
                <a:gd name="connsiteY866" fmla="*/ 120968 h 1200150"/>
                <a:gd name="connsiteX867" fmla="*/ 1613535 w 2200275"/>
                <a:gd name="connsiteY867" fmla="*/ 112395 h 1200150"/>
                <a:gd name="connsiteX868" fmla="*/ 1609725 w 2200275"/>
                <a:gd name="connsiteY868" fmla="*/ 93345 h 1200150"/>
                <a:gd name="connsiteX869" fmla="*/ 1605915 w 2200275"/>
                <a:gd name="connsiteY869" fmla="*/ 82868 h 1200150"/>
                <a:gd name="connsiteX870" fmla="*/ 1603057 w 2200275"/>
                <a:gd name="connsiteY870" fmla="*/ 79057 h 1200150"/>
                <a:gd name="connsiteX871" fmla="*/ 1599248 w 2200275"/>
                <a:gd name="connsiteY871" fmla="*/ 74295 h 1200150"/>
                <a:gd name="connsiteX872" fmla="*/ 1593532 w 2200275"/>
                <a:gd name="connsiteY872" fmla="*/ 69532 h 1200150"/>
                <a:gd name="connsiteX873" fmla="*/ 1589723 w 2200275"/>
                <a:gd name="connsiteY873" fmla="*/ 65722 h 1200150"/>
                <a:gd name="connsiteX874" fmla="*/ 1589723 w 2200275"/>
                <a:gd name="connsiteY874" fmla="*/ 62865 h 1200150"/>
                <a:gd name="connsiteX875" fmla="*/ 1589723 w 2200275"/>
                <a:gd name="connsiteY875" fmla="*/ 60007 h 1200150"/>
                <a:gd name="connsiteX876" fmla="*/ 1602105 w 2200275"/>
                <a:gd name="connsiteY876" fmla="*/ 25718 h 1200150"/>
                <a:gd name="connsiteX877" fmla="*/ 1603057 w 2200275"/>
                <a:gd name="connsiteY877" fmla="*/ 22860 h 1200150"/>
                <a:gd name="connsiteX878" fmla="*/ 1608773 w 2200275"/>
                <a:gd name="connsiteY878" fmla="*/ 0 h 1200150"/>
                <a:gd name="connsiteX879" fmla="*/ 1740218 w 2200275"/>
                <a:gd name="connsiteY879" fmla="*/ 64770 h 1200150"/>
                <a:gd name="connsiteX880" fmla="*/ 1795463 w 2200275"/>
                <a:gd name="connsiteY880" fmla="*/ 106680 h 1200150"/>
                <a:gd name="connsiteX881" fmla="*/ 1799273 w 2200275"/>
                <a:gd name="connsiteY881" fmla="*/ 110490 h 1200150"/>
                <a:gd name="connsiteX882" fmla="*/ 1803082 w 2200275"/>
                <a:gd name="connsiteY882" fmla="*/ 114300 h 1200150"/>
                <a:gd name="connsiteX883" fmla="*/ 1812607 w 2200275"/>
                <a:gd name="connsiteY883" fmla="*/ 129540 h 1200150"/>
                <a:gd name="connsiteX884" fmla="*/ 1816418 w 2200275"/>
                <a:gd name="connsiteY884" fmla="*/ 139065 h 1200150"/>
                <a:gd name="connsiteX885" fmla="*/ 1822132 w 2200275"/>
                <a:gd name="connsiteY885" fmla="*/ 148590 h 1200150"/>
                <a:gd name="connsiteX886" fmla="*/ 1824038 w 2200275"/>
                <a:gd name="connsiteY886" fmla="*/ 151447 h 1200150"/>
                <a:gd name="connsiteX887" fmla="*/ 1827848 w 2200275"/>
                <a:gd name="connsiteY887" fmla="*/ 154305 h 1200150"/>
                <a:gd name="connsiteX888" fmla="*/ 1877377 w 2200275"/>
                <a:gd name="connsiteY888" fmla="*/ 159068 h 1200150"/>
                <a:gd name="connsiteX889" fmla="*/ 1879282 w 2200275"/>
                <a:gd name="connsiteY889" fmla="*/ 160020 h 1200150"/>
                <a:gd name="connsiteX890" fmla="*/ 1881188 w 2200275"/>
                <a:gd name="connsiteY890" fmla="*/ 167640 h 1200150"/>
                <a:gd name="connsiteX891" fmla="*/ 1884045 w 2200275"/>
                <a:gd name="connsiteY891" fmla="*/ 170497 h 1200150"/>
                <a:gd name="connsiteX892" fmla="*/ 1887855 w 2200275"/>
                <a:gd name="connsiteY892" fmla="*/ 172403 h 1200150"/>
                <a:gd name="connsiteX893" fmla="*/ 1900238 w 2200275"/>
                <a:gd name="connsiteY893" fmla="*/ 176213 h 1200150"/>
                <a:gd name="connsiteX894" fmla="*/ 1903095 w 2200275"/>
                <a:gd name="connsiteY894" fmla="*/ 179070 h 1200150"/>
                <a:gd name="connsiteX895" fmla="*/ 1904048 w 2200275"/>
                <a:gd name="connsiteY895" fmla="*/ 181928 h 1200150"/>
                <a:gd name="connsiteX896" fmla="*/ 1903095 w 2200275"/>
                <a:gd name="connsiteY896" fmla="*/ 184785 h 1200150"/>
                <a:gd name="connsiteX897" fmla="*/ 1901190 w 2200275"/>
                <a:gd name="connsiteY897" fmla="*/ 186690 h 1200150"/>
                <a:gd name="connsiteX898" fmla="*/ 1898332 w 2200275"/>
                <a:gd name="connsiteY898" fmla="*/ 187643 h 1200150"/>
                <a:gd name="connsiteX899" fmla="*/ 1890713 w 2200275"/>
                <a:gd name="connsiteY899" fmla="*/ 189547 h 1200150"/>
                <a:gd name="connsiteX900" fmla="*/ 1888807 w 2200275"/>
                <a:gd name="connsiteY900" fmla="*/ 190500 h 1200150"/>
                <a:gd name="connsiteX901" fmla="*/ 1888807 w 2200275"/>
                <a:gd name="connsiteY901" fmla="*/ 193357 h 1200150"/>
                <a:gd name="connsiteX902" fmla="*/ 1888807 w 2200275"/>
                <a:gd name="connsiteY902" fmla="*/ 201930 h 1200150"/>
                <a:gd name="connsiteX903" fmla="*/ 1888807 w 2200275"/>
                <a:gd name="connsiteY903" fmla="*/ 204788 h 1200150"/>
                <a:gd name="connsiteX904" fmla="*/ 1886902 w 2200275"/>
                <a:gd name="connsiteY904" fmla="*/ 206693 h 1200150"/>
                <a:gd name="connsiteX905" fmla="*/ 1884045 w 2200275"/>
                <a:gd name="connsiteY905" fmla="*/ 210503 h 1200150"/>
                <a:gd name="connsiteX906" fmla="*/ 1879282 w 2200275"/>
                <a:gd name="connsiteY906" fmla="*/ 213360 h 1200150"/>
                <a:gd name="connsiteX907" fmla="*/ 1878330 w 2200275"/>
                <a:gd name="connsiteY907" fmla="*/ 215265 h 1200150"/>
                <a:gd name="connsiteX908" fmla="*/ 1881188 w 2200275"/>
                <a:gd name="connsiteY908" fmla="*/ 218122 h 1200150"/>
                <a:gd name="connsiteX909" fmla="*/ 1888807 w 2200275"/>
                <a:gd name="connsiteY909" fmla="*/ 224790 h 1200150"/>
                <a:gd name="connsiteX910" fmla="*/ 1890713 w 2200275"/>
                <a:gd name="connsiteY910" fmla="*/ 226695 h 1200150"/>
                <a:gd name="connsiteX911" fmla="*/ 1900238 w 2200275"/>
                <a:gd name="connsiteY911" fmla="*/ 239078 h 1200150"/>
                <a:gd name="connsiteX912" fmla="*/ 1902143 w 2200275"/>
                <a:gd name="connsiteY912" fmla="*/ 243840 h 1200150"/>
                <a:gd name="connsiteX913" fmla="*/ 1904048 w 2200275"/>
                <a:gd name="connsiteY913" fmla="*/ 245745 h 1200150"/>
                <a:gd name="connsiteX914" fmla="*/ 1913573 w 2200275"/>
                <a:gd name="connsiteY914" fmla="*/ 252413 h 1200150"/>
                <a:gd name="connsiteX915" fmla="*/ 1916430 w 2200275"/>
                <a:gd name="connsiteY915" fmla="*/ 254318 h 1200150"/>
                <a:gd name="connsiteX916" fmla="*/ 1918335 w 2200275"/>
                <a:gd name="connsiteY916" fmla="*/ 258128 h 1200150"/>
                <a:gd name="connsiteX917" fmla="*/ 1920240 w 2200275"/>
                <a:gd name="connsiteY917" fmla="*/ 260032 h 1200150"/>
                <a:gd name="connsiteX918" fmla="*/ 1922145 w 2200275"/>
                <a:gd name="connsiteY918" fmla="*/ 260032 h 1200150"/>
                <a:gd name="connsiteX919" fmla="*/ 1926907 w 2200275"/>
                <a:gd name="connsiteY919" fmla="*/ 257175 h 1200150"/>
                <a:gd name="connsiteX920" fmla="*/ 1931670 w 2200275"/>
                <a:gd name="connsiteY920" fmla="*/ 248603 h 1200150"/>
                <a:gd name="connsiteX921" fmla="*/ 1937385 w 2200275"/>
                <a:gd name="connsiteY921" fmla="*/ 248603 h 1200150"/>
                <a:gd name="connsiteX922" fmla="*/ 1945005 w 2200275"/>
                <a:gd name="connsiteY922" fmla="*/ 250507 h 1200150"/>
                <a:gd name="connsiteX923" fmla="*/ 1961198 w 2200275"/>
                <a:gd name="connsiteY923" fmla="*/ 258128 h 1200150"/>
                <a:gd name="connsiteX924" fmla="*/ 1966913 w 2200275"/>
                <a:gd name="connsiteY924" fmla="*/ 262890 h 1200150"/>
                <a:gd name="connsiteX925" fmla="*/ 1970723 w 2200275"/>
                <a:gd name="connsiteY925" fmla="*/ 266700 h 1200150"/>
                <a:gd name="connsiteX926" fmla="*/ 1974532 w 2200275"/>
                <a:gd name="connsiteY926" fmla="*/ 269557 h 1200150"/>
                <a:gd name="connsiteX927" fmla="*/ 1997393 w 2200275"/>
                <a:gd name="connsiteY927" fmla="*/ 279082 h 1200150"/>
                <a:gd name="connsiteX928" fmla="*/ 2002155 w 2200275"/>
                <a:gd name="connsiteY928" fmla="*/ 283845 h 1200150"/>
                <a:gd name="connsiteX929" fmla="*/ 2005013 w 2200275"/>
                <a:gd name="connsiteY929" fmla="*/ 286703 h 1200150"/>
                <a:gd name="connsiteX930" fmla="*/ 2006918 w 2200275"/>
                <a:gd name="connsiteY930" fmla="*/ 289560 h 1200150"/>
                <a:gd name="connsiteX931" fmla="*/ 2009775 w 2200275"/>
                <a:gd name="connsiteY931" fmla="*/ 290513 h 1200150"/>
                <a:gd name="connsiteX932" fmla="*/ 2015490 w 2200275"/>
                <a:gd name="connsiteY932" fmla="*/ 288607 h 1200150"/>
                <a:gd name="connsiteX933" fmla="*/ 2019300 w 2200275"/>
                <a:gd name="connsiteY933" fmla="*/ 286703 h 1200150"/>
                <a:gd name="connsiteX934" fmla="*/ 2021205 w 2200275"/>
                <a:gd name="connsiteY934" fmla="*/ 284797 h 1200150"/>
                <a:gd name="connsiteX935" fmla="*/ 2026920 w 2200275"/>
                <a:gd name="connsiteY935" fmla="*/ 274320 h 1200150"/>
                <a:gd name="connsiteX936" fmla="*/ 2030730 w 2200275"/>
                <a:gd name="connsiteY936" fmla="*/ 273368 h 1200150"/>
                <a:gd name="connsiteX937" fmla="*/ 2035493 w 2200275"/>
                <a:gd name="connsiteY937" fmla="*/ 273368 h 1200150"/>
                <a:gd name="connsiteX938" fmla="*/ 2054543 w 2200275"/>
                <a:gd name="connsiteY938" fmla="*/ 282893 h 1200150"/>
                <a:gd name="connsiteX939" fmla="*/ 2058352 w 2200275"/>
                <a:gd name="connsiteY939" fmla="*/ 286703 h 1200150"/>
                <a:gd name="connsiteX940" fmla="*/ 2064068 w 2200275"/>
                <a:gd name="connsiteY940" fmla="*/ 292418 h 1200150"/>
                <a:gd name="connsiteX941" fmla="*/ 2065973 w 2200275"/>
                <a:gd name="connsiteY941" fmla="*/ 294322 h 1200150"/>
                <a:gd name="connsiteX942" fmla="*/ 2069782 w 2200275"/>
                <a:gd name="connsiteY942" fmla="*/ 303847 h 1200150"/>
                <a:gd name="connsiteX943" fmla="*/ 2071688 w 2200275"/>
                <a:gd name="connsiteY943" fmla="*/ 309563 h 1200150"/>
                <a:gd name="connsiteX944" fmla="*/ 2071688 w 2200275"/>
                <a:gd name="connsiteY944" fmla="*/ 314325 h 1200150"/>
                <a:gd name="connsiteX945" fmla="*/ 2073593 w 2200275"/>
                <a:gd name="connsiteY945" fmla="*/ 316230 h 1200150"/>
                <a:gd name="connsiteX946" fmla="*/ 2075498 w 2200275"/>
                <a:gd name="connsiteY946" fmla="*/ 316230 h 1200150"/>
                <a:gd name="connsiteX947" fmla="*/ 2079307 w 2200275"/>
                <a:gd name="connsiteY947" fmla="*/ 313372 h 1200150"/>
                <a:gd name="connsiteX948" fmla="*/ 2081213 w 2200275"/>
                <a:gd name="connsiteY948" fmla="*/ 310515 h 1200150"/>
                <a:gd name="connsiteX949" fmla="*/ 2082165 w 2200275"/>
                <a:gd name="connsiteY949" fmla="*/ 306705 h 1200150"/>
                <a:gd name="connsiteX950" fmla="*/ 2084070 w 2200275"/>
                <a:gd name="connsiteY950" fmla="*/ 292418 h 1200150"/>
                <a:gd name="connsiteX951" fmla="*/ 2086927 w 2200275"/>
                <a:gd name="connsiteY951" fmla="*/ 286703 h 1200150"/>
                <a:gd name="connsiteX952" fmla="*/ 2089785 w 2200275"/>
                <a:gd name="connsiteY952" fmla="*/ 284797 h 1200150"/>
                <a:gd name="connsiteX953" fmla="*/ 2095500 w 2200275"/>
                <a:gd name="connsiteY953" fmla="*/ 283845 h 1200150"/>
                <a:gd name="connsiteX954" fmla="*/ 2105025 w 2200275"/>
                <a:gd name="connsiteY954" fmla="*/ 282893 h 1200150"/>
                <a:gd name="connsiteX955" fmla="*/ 2109788 w 2200275"/>
                <a:gd name="connsiteY955" fmla="*/ 280988 h 1200150"/>
                <a:gd name="connsiteX956" fmla="*/ 2113598 w 2200275"/>
                <a:gd name="connsiteY956" fmla="*/ 279082 h 1200150"/>
                <a:gd name="connsiteX957" fmla="*/ 2114550 w 2200275"/>
                <a:gd name="connsiteY957" fmla="*/ 276225 h 1200150"/>
                <a:gd name="connsiteX958" fmla="*/ 2130743 w 2200275"/>
                <a:gd name="connsiteY958" fmla="*/ 273368 h 1200150"/>
                <a:gd name="connsiteX959" fmla="*/ 2145983 w 2200275"/>
                <a:gd name="connsiteY959" fmla="*/ 288607 h 1200150"/>
                <a:gd name="connsiteX960" fmla="*/ 2155508 w 2200275"/>
                <a:gd name="connsiteY960" fmla="*/ 291465 h 1200150"/>
                <a:gd name="connsiteX961" fmla="*/ 2173605 w 2200275"/>
                <a:gd name="connsiteY961" fmla="*/ 292418 h 1200150"/>
                <a:gd name="connsiteX962" fmla="*/ 2182177 w 2200275"/>
                <a:gd name="connsiteY962" fmla="*/ 293370 h 1200150"/>
                <a:gd name="connsiteX963" fmla="*/ 2190750 w 2200275"/>
                <a:gd name="connsiteY963" fmla="*/ 298132 h 1200150"/>
                <a:gd name="connsiteX964" fmla="*/ 2194560 w 2200275"/>
                <a:gd name="connsiteY964" fmla="*/ 302895 h 1200150"/>
                <a:gd name="connsiteX965" fmla="*/ 2205038 w 2200275"/>
                <a:gd name="connsiteY965" fmla="*/ 319088 h 1200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</a:cxnLst>
              <a:rect l="l" t="t" r="r" b="b"/>
              <a:pathLst>
                <a:path w="2200275" h="1200150">
                  <a:moveTo>
                    <a:pt x="2205038" y="319088"/>
                  </a:moveTo>
                  <a:lnTo>
                    <a:pt x="2191702" y="340043"/>
                  </a:lnTo>
                  <a:lnTo>
                    <a:pt x="2188845" y="349568"/>
                  </a:lnTo>
                  <a:lnTo>
                    <a:pt x="2187893" y="353378"/>
                  </a:lnTo>
                  <a:lnTo>
                    <a:pt x="2186940" y="356235"/>
                  </a:lnTo>
                  <a:lnTo>
                    <a:pt x="2185035" y="360045"/>
                  </a:lnTo>
                  <a:lnTo>
                    <a:pt x="2180273" y="363855"/>
                  </a:lnTo>
                  <a:lnTo>
                    <a:pt x="2176463" y="370522"/>
                  </a:lnTo>
                  <a:lnTo>
                    <a:pt x="2173605" y="374332"/>
                  </a:lnTo>
                  <a:lnTo>
                    <a:pt x="2168843" y="377190"/>
                  </a:lnTo>
                  <a:lnTo>
                    <a:pt x="2165033" y="383857"/>
                  </a:lnTo>
                  <a:lnTo>
                    <a:pt x="2161223" y="397193"/>
                  </a:lnTo>
                  <a:lnTo>
                    <a:pt x="2158365" y="401955"/>
                  </a:lnTo>
                  <a:lnTo>
                    <a:pt x="2155508" y="403860"/>
                  </a:lnTo>
                  <a:lnTo>
                    <a:pt x="2152650" y="404813"/>
                  </a:lnTo>
                  <a:lnTo>
                    <a:pt x="2147888" y="401955"/>
                  </a:lnTo>
                  <a:lnTo>
                    <a:pt x="2147888" y="394335"/>
                  </a:lnTo>
                  <a:lnTo>
                    <a:pt x="2145030" y="388620"/>
                  </a:lnTo>
                  <a:lnTo>
                    <a:pt x="2145030" y="386715"/>
                  </a:lnTo>
                  <a:lnTo>
                    <a:pt x="2144077" y="377190"/>
                  </a:lnTo>
                  <a:lnTo>
                    <a:pt x="2143125" y="375285"/>
                  </a:lnTo>
                  <a:lnTo>
                    <a:pt x="2141220" y="375285"/>
                  </a:lnTo>
                  <a:lnTo>
                    <a:pt x="2139315" y="378143"/>
                  </a:lnTo>
                  <a:lnTo>
                    <a:pt x="2135505" y="383857"/>
                  </a:lnTo>
                  <a:lnTo>
                    <a:pt x="2132648" y="387668"/>
                  </a:lnTo>
                  <a:lnTo>
                    <a:pt x="2128838" y="388620"/>
                  </a:lnTo>
                  <a:lnTo>
                    <a:pt x="2127885" y="386715"/>
                  </a:lnTo>
                  <a:lnTo>
                    <a:pt x="2126933" y="383857"/>
                  </a:lnTo>
                  <a:lnTo>
                    <a:pt x="2128838" y="373380"/>
                  </a:lnTo>
                  <a:lnTo>
                    <a:pt x="2128838" y="370522"/>
                  </a:lnTo>
                  <a:lnTo>
                    <a:pt x="2126933" y="368618"/>
                  </a:lnTo>
                  <a:lnTo>
                    <a:pt x="2125027" y="366713"/>
                  </a:lnTo>
                  <a:lnTo>
                    <a:pt x="2118360" y="365760"/>
                  </a:lnTo>
                  <a:lnTo>
                    <a:pt x="2115502" y="365760"/>
                  </a:lnTo>
                  <a:lnTo>
                    <a:pt x="2110740" y="369570"/>
                  </a:lnTo>
                  <a:lnTo>
                    <a:pt x="2101215" y="382905"/>
                  </a:lnTo>
                  <a:lnTo>
                    <a:pt x="2097405" y="384810"/>
                  </a:lnTo>
                  <a:lnTo>
                    <a:pt x="2094548" y="385763"/>
                  </a:lnTo>
                  <a:lnTo>
                    <a:pt x="2091690" y="385763"/>
                  </a:lnTo>
                  <a:lnTo>
                    <a:pt x="2088832" y="383857"/>
                  </a:lnTo>
                  <a:lnTo>
                    <a:pt x="2086927" y="381953"/>
                  </a:lnTo>
                  <a:lnTo>
                    <a:pt x="2085975" y="380047"/>
                  </a:lnTo>
                  <a:lnTo>
                    <a:pt x="2084070" y="371475"/>
                  </a:lnTo>
                  <a:lnTo>
                    <a:pt x="2082165" y="369570"/>
                  </a:lnTo>
                  <a:lnTo>
                    <a:pt x="2080260" y="367665"/>
                  </a:lnTo>
                  <a:lnTo>
                    <a:pt x="2074545" y="365760"/>
                  </a:lnTo>
                  <a:lnTo>
                    <a:pt x="2070735" y="365760"/>
                  </a:lnTo>
                  <a:lnTo>
                    <a:pt x="2067877" y="366713"/>
                  </a:lnTo>
                  <a:lnTo>
                    <a:pt x="2046923" y="384810"/>
                  </a:lnTo>
                  <a:lnTo>
                    <a:pt x="2044065" y="384810"/>
                  </a:lnTo>
                  <a:lnTo>
                    <a:pt x="2040255" y="384810"/>
                  </a:lnTo>
                  <a:lnTo>
                    <a:pt x="2038350" y="382905"/>
                  </a:lnTo>
                  <a:lnTo>
                    <a:pt x="2035493" y="378143"/>
                  </a:lnTo>
                  <a:lnTo>
                    <a:pt x="2033588" y="376238"/>
                  </a:lnTo>
                  <a:lnTo>
                    <a:pt x="2031682" y="376238"/>
                  </a:lnTo>
                  <a:lnTo>
                    <a:pt x="2028825" y="376238"/>
                  </a:lnTo>
                  <a:lnTo>
                    <a:pt x="2025968" y="378143"/>
                  </a:lnTo>
                  <a:lnTo>
                    <a:pt x="2022157" y="381953"/>
                  </a:lnTo>
                  <a:lnTo>
                    <a:pt x="2014538" y="394335"/>
                  </a:lnTo>
                  <a:lnTo>
                    <a:pt x="2013585" y="399097"/>
                  </a:lnTo>
                  <a:lnTo>
                    <a:pt x="2016443" y="407670"/>
                  </a:lnTo>
                  <a:lnTo>
                    <a:pt x="2019300" y="411480"/>
                  </a:lnTo>
                  <a:lnTo>
                    <a:pt x="2021205" y="413385"/>
                  </a:lnTo>
                  <a:lnTo>
                    <a:pt x="2025968" y="416243"/>
                  </a:lnTo>
                  <a:lnTo>
                    <a:pt x="2027873" y="418147"/>
                  </a:lnTo>
                  <a:lnTo>
                    <a:pt x="2029777" y="422910"/>
                  </a:lnTo>
                  <a:lnTo>
                    <a:pt x="2032635" y="430530"/>
                  </a:lnTo>
                  <a:lnTo>
                    <a:pt x="2036445" y="434340"/>
                  </a:lnTo>
                  <a:lnTo>
                    <a:pt x="2038350" y="435293"/>
                  </a:lnTo>
                  <a:lnTo>
                    <a:pt x="2067877" y="441007"/>
                  </a:lnTo>
                  <a:lnTo>
                    <a:pt x="2070735" y="441960"/>
                  </a:lnTo>
                  <a:lnTo>
                    <a:pt x="2082165" y="450532"/>
                  </a:lnTo>
                  <a:lnTo>
                    <a:pt x="2087880" y="451485"/>
                  </a:lnTo>
                  <a:lnTo>
                    <a:pt x="2119313" y="453390"/>
                  </a:lnTo>
                  <a:lnTo>
                    <a:pt x="2121218" y="455295"/>
                  </a:lnTo>
                  <a:lnTo>
                    <a:pt x="2124075" y="460057"/>
                  </a:lnTo>
                  <a:lnTo>
                    <a:pt x="2125027" y="465772"/>
                  </a:lnTo>
                  <a:lnTo>
                    <a:pt x="2125980" y="467678"/>
                  </a:lnTo>
                  <a:lnTo>
                    <a:pt x="2128838" y="468630"/>
                  </a:lnTo>
                  <a:lnTo>
                    <a:pt x="2149793" y="473393"/>
                  </a:lnTo>
                  <a:lnTo>
                    <a:pt x="2152650" y="475297"/>
                  </a:lnTo>
                  <a:lnTo>
                    <a:pt x="2153602" y="477203"/>
                  </a:lnTo>
                  <a:lnTo>
                    <a:pt x="2152650" y="480060"/>
                  </a:lnTo>
                  <a:lnTo>
                    <a:pt x="2148840" y="483870"/>
                  </a:lnTo>
                  <a:lnTo>
                    <a:pt x="2142173" y="489585"/>
                  </a:lnTo>
                  <a:lnTo>
                    <a:pt x="2137410" y="491490"/>
                  </a:lnTo>
                  <a:lnTo>
                    <a:pt x="2133600" y="492443"/>
                  </a:lnTo>
                  <a:lnTo>
                    <a:pt x="2127885" y="493395"/>
                  </a:lnTo>
                  <a:lnTo>
                    <a:pt x="2125027" y="495300"/>
                  </a:lnTo>
                  <a:lnTo>
                    <a:pt x="2105977" y="515303"/>
                  </a:lnTo>
                  <a:lnTo>
                    <a:pt x="2101215" y="518160"/>
                  </a:lnTo>
                  <a:lnTo>
                    <a:pt x="2045970" y="545782"/>
                  </a:lnTo>
                  <a:lnTo>
                    <a:pt x="2041207" y="548640"/>
                  </a:lnTo>
                  <a:lnTo>
                    <a:pt x="2026920" y="563880"/>
                  </a:lnTo>
                  <a:lnTo>
                    <a:pt x="2023110" y="565785"/>
                  </a:lnTo>
                  <a:lnTo>
                    <a:pt x="2020252" y="565785"/>
                  </a:lnTo>
                  <a:lnTo>
                    <a:pt x="2019300" y="561975"/>
                  </a:lnTo>
                  <a:lnTo>
                    <a:pt x="2017395" y="561022"/>
                  </a:lnTo>
                  <a:lnTo>
                    <a:pt x="1972627" y="579120"/>
                  </a:lnTo>
                  <a:lnTo>
                    <a:pt x="1957388" y="588645"/>
                  </a:lnTo>
                  <a:lnTo>
                    <a:pt x="1955482" y="591503"/>
                  </a:lnTo>
                  <a:lnTo>
                    <a:pt x="1953577" y="594360"/>
                  </a:lnTo>
                  <a:lnTo>
                    <a:pt x="1953577" y="601028"/>
                  </a:lnTo>
                  <a:lnTo>
                    <a:pt x="1954530" y="607695"/>
                  </a:lnTo>
                  <a:lnTo>
                    <a:pt x="1955482" y="611505"/>
                  </a:lnTo>
                  <a:lnTo>
                    <a:pt x="1957388" y="612457"/>
                  </a:lnTo>
                  <a:lnTo>
                    <a:pt x="1962150" y="612457"/>
                  </a:lnTo>
                  <a:lnTo>
                    <a:pt x="1964055" y="613410"/>
                  </a:lnTo>
                  <a:lnTo>
                    <a:pt x="1964055" y="615315"/>
                  </a:lnTo>
                  <a:lnTo>
                    <a:pt x="1963102" y="621030"/>
                  </a:lnTo>
                  <a:lnTo>
                    <a:pt x="1963102" y="624840"/>
                  </a:lnTo>
                  <a:lnTo>
                    <a:pt x="1965007" y="629603"/>
                  </a:lnTo>
                  <a:lnTo>
                    <a:pt x="1976438" y="656272"/>
                  </a:lnTo>
                  <a:lnTo>
                    <a:pt x="1976438" y="659130"/>
                  </a:lnTo>
                  <a:lnTo>
                    <a:pt x="1975485" y="661988"/>
                  </a:lnTo>
                  <a:lnTo>
                    <a:pt x="1971675" y="664845"/>
                  </a:lnTo>
                  <a:lnTo>
                    <a:pt x="1969770" y="667703"/>
                  </a:lnTo>
                  <a:lnTo>
                    <a:pt x="1968818" y="672465"/>
                  </a:lnTo>
                  <a:lnTo>
                    <a:pt x="1969770" y="679132"/>
                  </a:lnTo>
                  <a:lnTo>
                    <a:pt x="1970723" y="681990"/>
                  </a:lnTo>
                  <a:lnTo>
                    <a:pt x="1972627" y="682943"/>
                  </a:lnTo>
                  <a:lnTo>
                    <a:pt x="1977390" y="685800"/>
                  </a:lnTo>
                  <a:lnTo>
                    <a:pt x="1978343" y="690563"/>
                  </a:lnTo>
                  <a:lnTo>
                    <a:pt x="1978343" y="697230"/>
                  </a:lnTo>
                  <a:lnTo>
                    <a:pt x="1982152" y="713422"/>
                  </a:lnTo>
                  <a:lnTo>
                    <a:pt x="1983105" y="754380"/>
                  </a:lnTo>
                  <a:lnTo>
                    <a:pt x="1984057" y="761047"/>
                  </a:lnTo>
                  <a:lnTo>
                    <a:pt x="1985963" y="764857"/>
                  </a:lnTo>
                  <a:lnTo>
                    <a:pt x="1987868" y="766763"/>
                  </a:lnTo>
                  <a:lnTo>
                    <a:pt x="1994535" y="768668"/>
                  </a:lnTo>
                  <a:lnTo>
                    <a:pt x="1996440" y="770572"/>
                  </a:lnTo>
                  <a:lnTo>
                    <a:pt x="1997393" y="772478"/>
                  </a:lnTo>
                  <a:lnTo>
                    <a:pt x="1998345" y="778193"/>
                  </a:lnTo>
                  <a:lnTo>
                    <a:pt x="1992630" y="815340"/>
                  </a:lnTo>
                  <a:lnTo>
                    <a:pt x="1991677" y="819150"/>
                  </a:lnTo>
                  <a:lnTo>
                    <a:pt x="1988820" y="822007"/>
                  </a:lnTo>
                  <a:lnTo>
                    <a:pt x="1982152" y="823913"/>
                  </a:lnTo>
                  <a:lnTo>
                    <a:pt x="1978343" y="824865"/>
                  </a:lnTo>
                  <a:lnTo>
                    <a:pt x="1974532" y="824865"/>
                  </a:lnTo>
                  <a:lnTo>
                    <a:pt x="1971675" y="825818"/>
                  </a:lnTo>
                  <a:lnTo>
                    <a:pt x="1968818" y="827722"/>
                  </a:lnTo>
                  <a:lnTo>
                    <a:pt x="1963102" y="839153"/>
                  </a:lnTo>
                  <a:lnTo>
                    <a:pt x="1961198" y="841057"/>
                  </a:lnTo>
                  <a:lnTo>
                    <a:pt x="1940243" y="861060"/>
                  </a:lnTo>
                  <a:lnTo>
                    <a:pt x="1935480" y="866775"/>
                  </a:lnTo>
                  <a:lnTo>
                    <a:pt x="1932623" y="869632"/>
                  </a:lnTo>
                  <a:lnTo>
                    <a:pt x="1929765" y="870585"/>
                  </a:lnTo>
                  <a:lnTo>
                    <a:pt x="1923098" y="871538"/>
                  </a:lnTo>
                  <a:lnTo>
                    <a:pt x="1917382" y="871538"/>
                  </a:lnTo>
                  <a:lnTo>
                    <a:pt x="1913573" y="867728"/>
                  </a:lnTo>
                  <a:lnTo>
                    <a:pt x="1908810" y="862013"/>
                  </a:lnTo>
                  <a:lnTo>
                    <a:pt x="1906905" y="861060"/>
                  </a:lnTo>
                  <a:lnTo>
                    <a:pt x="1904048" y="861060"/>
                  </a:lnTo>
                  <a:lnTo>
                    <a:pt x="1902143" y="862965"/>
                  </a:lnTo>
                  <a:lnTo>
                    <a:pt x="1900238" y="867728"/>
                  </a:lnTo>
                  <a:lnTo>
                    <a:pt x="1897380" y="872490"/>
                  </a:lnTo>
                  <a:lnTo>
                    <a:pt x="1875473" y="896303"/>
                  </a:lnTo>
                  <a:lnTo>
                    <a:pt x="1874520" y="899160"/>
                  </a:lnTo>
                  <a:lnTo>
                    <a:pt x="1869757" y="910590"/>
                  </a:lnTo>
                  <a:lnTo>
                    <a:pt x="1865948" y="922972"/>
                  </a:lnTo>
                  <a:lnTo>
                    <a:pt x="1864043" y="924878"/>
                  </a:lnTo>
                  <a:lnTo>
                    <a:pt x="1862138" y="926782"/>
                  </a:lnTo>
                  <a:lnTo>
                    <a:pt x="1859280" y="924878"/>
                  </a:lnTo>
                  <a:lnTo>
                    <a:pt x="1857375" y="922972"/>
                  </a:lnTo>
                  <a:lnTo>
                    <a:pt x="1856423" y="920115"/>
                  </a:lnTo>
                  <a:lnTo>
                    <a:pt x="1854518" y="912495"/>
                  </a:lnTo>
                  <a:lnTo>
                    <a:pt x="1854518" y="906780"/>
                  </a:lnTo>
                  <a:lnTo>
                    <a:pt x="1855470" y="903922"/>
                  </a:lnTo>
                  <a:lnTo>
                    <a:pt x="1858327" y="897255"/>
                  </a:lnTo>
                  <a:lnTo>
                    <a:pt x="1858327" y="895350"/>
                  </a:lnTo>
                  <a:lnTo>
                    <a:pt x="1854518" y="873443"/>
                  </a:lnTo>
                  <a:lnTo>
                    <a:pt x="1852613" y="869632"/>
                  </a:lnTo>
                  <a:lnTo>
                    <a:pt x="1850707" y="869632"/>
                  </a:lnTo>
                  <a:lnTo>
                    <a:pt x="1847850" y="870585"/>
                  </a:lnTo>
                  <a:lnTo>
                    <a:pt x="1845945" y="872490"/>
                  </a:lnTo>
                  <a:lnTo>
                    <a:pt x="1843088" y="886778"/>
                  </a:lnTo>
                  <a:lnTo>
                    <a:pt x="1841182" y="896303"/>
                  </a:lnTo>
                  <a:lnTo>
                    <a:pt x="1839277" y="902970"/>
                  </a:lnTo>
                  <a:lnTo>
                    <a:pt x="1840230" y="908685"/>
                  </a:lnTo>
                  <a:lnTo>
                    <a:pt x="1840230" y="914400"/>
                  </a:lnTo>
                  <a:lnTo>
                    <a:pt x="1841182" y="920115"/>
                  </a:lnTo>
                  <a:lnTo>
                    <a:pt x="1840230" y="926782"/>
                  </a:lnTo>
                  <a:lnTo>
                    <a:pt x="1837373" y="936307"/>
                  </a:lnTo>
                  <a:lnTo>
                    <a:pt x="1835468" y="939165"/>
                  </a:lnTo>
                  <a:lnTo>
                    <a:pt x="1831657" y="941070"/>
                  </a:lnTo>
                  <a:lnTo>
                    <a:pt x="1819275" y="944880"/>
                  </a:lnTo>
                  <a:lnTo>
                    <a:pt x="1799273" y="942975"/>
                  </a:lnTo>
                  <a:lnTo>
                    <a:pt x="1795463" y="943928"/>
                  </a:lnTo>
                  <a:lnTo>
                    <a:pt x="1791652" y="946785"/>
                  </a:lnTo>
                  <a:lnTo>
                    <a:pt x="1784032" y="952500"/>
                  </a:lnTo>
                  <a:lnTo>
                    <a:pt x="1779270" y="957263"/>
                  </a:lnTo>
                  <a:lnTo>
                    <a:pt x="1775460" y="962025"/>
                  </a:lnTo>
                  <a:lnTo>
                    <a:pt x="1770698" y="971550"/>
                  </a:lnTo>
                  <a:lnTo>
                    <a:pt x="1766888" y="977265"/>
                  </a:lnTo>
                  <a:lnTo>
                    <a:pt x="1761173" y="981075"/>
                  </a:lnTo>
                  <a:lnTo>
                    <a:pt x="1756410" y="982028"/>
                  </a:lnTo>
                  <a:lnTo>
                    <a:pt x="1752600" y="984885"/>
                  </a:lnTo>
                  <a:lnTo>
                    <a:pt x="1750695" y="986790"/>
                  </a:lnTo>
                  <a:lnTo>
                    <a:pt x="1744980" y="1007745"/>
                  </a:lnTo>
                  <a:lnTo>
                    <a:pt x="1739265" y="1034415"/>
                  </a:lnTo>
                  <a:lnTo>
                    <a:pt x="1730693" y="1027747"/>
                  </a:lnTo>
                  <a:lnTo>
                    <a:pt x="1728788" y="1025843"/>
                  </a:lnTo>
                  <a:lnTo>
                    <a:pt x="1728788" y="1022985"/>
                  </a:lnTo>
                  <a:lnTo>
                    <a:pt x="1728788" y="1013460"/>
                  </a:lnTo>
                  <a:lnTo>
                    <a:pt x="1727835" y="1008697"/>
                  </a:lnTo>
                  <a:lnTo>
                    <a:pt x="1725930" y="1004888"/>
                  </a:lnTo>
                  <a:lnTo>
                    <a:pt x="1716405" y="993457"/>
                  </a:lnTo>
                  <a:lnTo>
                    <a:pt x="1714500" y="989647"/>
                  </a:lnTo>
                  <a:lnTo>
                    <a:pt x="1712595" y="983932"/>
                  </a:lnTo>
                  <a:lnTo>
                    <a:pt x="1711643" y="979170"/>
                  </a:lnTo>
                  <a:lnTo>
                    <a:pt x="1709738" y="973455"/>
                  </a:lnTo>
                  <a:lnTo>
                    <a:pt x="1707832" y="972503"/>
                  </a:lnTo>
                  <a:lnTo>
                    <a:pt x="1704975" y="972503"/>
                  </a:lnTo>
                  <a:lnTo>
                    <a:pt x="1693545" y="980122"/>
                  </a:lnTo>
                  <a:lnTo>
                    <a:pt x="1690688" y="981075"/>
                  </a:lnTo>
                  <a:lnTo>
                    <a:pt x="1677352" y="978218"/>
                  </a:lnTo>
                  <a:lnTo>
                    <a:pt x="1671638" y="978218"/>
                  </a:lnTo>
                  <a:lnTo>
                    <a:pt x="1664970" y="980122"/>
                  </a:lnTo>
                  <a:lnTo>
                    <a:pt x="1661160" y="982028"/>
                  </a:lnTo>
                  <a:lnTo>
                    <a:pt x="1659255" y="984885"/>
                  </a:lnTo>
                  <a:lnTo>
                    <a:pt x="1658302" y="987743"/>
                  </a:lnTo>
                  <a:lnTo>
                    <a:pt x="1657350" y="993457"/>
                  </a:lnTo>
                  <a:lnTo>
                    <a:pt x="1658302" y="999172"/>
                  </a:lnTo>
                  <a:lnTo>
                    <a:pt x="1660207" y="1006793"/>
                  </a:lnTo>
                  <a:lnTo>
                    <a:pt x="1660207" y="1010603"/>
                  </a:lnTo>
                  <a:lnTo>
                    <a:pt x="1658302" y="1012507"/>
                  </a:lnTo>
                  <a:lnTo>
                    <a:pt x="1654493" y="1015365"/>
                  </a:lnTo>
                  <a:lnTo>
                    <a:pt x="1638300" y="1018222"/>
                  </a:lnTo>
                  <a:lnTo>
                    <a:pt x="1636395" y="1020128"/>
                  </a:lnTo>
                  <a:lnTo>
                    <a:pt x="1635443" y="1022985"/>
                  </a:lnTo>
                  <a:lnTo>
                    <a:pt x="1631632" y="1031557"/>
                  </a:lnTo>
                  <a:lnTo>
                    <a:pt x="1630680" y="1033463"/>
                  </a:lnTo>
                  <a:lnTo>
                    <a:pt x="1627823" y="1034415"/>
                  </a:lnTo>
                  <a:lnTo>
                    <a:pt x="1624013" y="1034415"/>
                  </a:lnTo>
                  <a:lnTo>
                    <a:pt x="1618298" y="1031557"/>
                  </a:lnTo>
                  <a:lnTo>
                    <a:pt x="1615440" y="1028700"/>
                  </a:lnTo>
                  <a:lnTo>
                    <a:pt x="1613535" y="1026795"/>
                  </a:lnTo>
                  <a:lnTo>
                    <a:pt x="1607820" y="1018222"/>
                  </a:lnTo>
                  <a:lnTo>
                    <a:pt x="1605915" y="1016318"/>
                  </a:lnTo>
                  <a:lnTo>
                    <a:pt x="1603057" y="1016318"/>
                  </a:lnTo>
                  <a:lnTo>
                    <a:pt x="1592580" y="1020128"/>
                  </a:lnTo>
                  <a:lnTo>
                    <a:pt x="1570673" y="1023938"/>
                  </a:lnTo>
                  <a:lnTo>
                    <a:pt x="1564005" y="1027747"/>
                  </a:lnTo>
                  <a:lnTo>
                    <a:pt x="1560195" y="1030605"/>
                  </a:lnTo>
                  <a:lnTo>
                    <a:pt x="1558290" y="1032510"/>
                  </a:lnTo>
                  <a:lnTo>
                    <a:pt x="1555432" y="1037272"/>
                  </a:lnTo>
                  <a:lnTo>
                    <a:pt x="1553527" y="1042988"/>
                  </a:lnTo>
                  <a:lnTo>
                    <a:pt x="1552575" y="1049655"/>
                  </a:lnTo>
                  <a:lnTo>
                    <a:pt x="1553527" y="1055370"/>
                  </a:lnTo>
                  <a:lnTo>
                    <a:pt x="1556385" y="1059180"/>
                  </a:lnTo>
                  <a:lnTo>
                    <a:pt x="1559243" y="1060132"/>
                  </a:lnTo>
                  <a:lnTo>
                    <a:pt x="1567815" y="1062038"/>
                  </a:lnTo>
                  <a:lnTo>
                    <a:pt x="1569720" y="1062990"/>
                  </a:lnTo>
                  <a:lnTo>
                    <a:pt x="1570673" y="1064895"/>
                  </a:lnTo>
                  <a:lnTo>
                    <a:pt x="1570673" y="1071563"/>
                  </a:lnTo>
                  <a:lnTo>
                    <a:pt x="1569720" y="1077278"/>
                  </a:lnTo>
                  <a:lnTo>
                    <a:pt x="1567815" y="1079182"/>
                  </a:lnTo>
                  <a:lnTo>
                    <a:pt x="1565910" y="1079182"/>
                  </a:lnTo>
                  <a:lnTo>
                    <a:pt x="1551623" y="1081088"/>
                  </a:lnTo>
                  <a:lnTo>
                    <a:pt x="1545907" y="1082993"/>
                  </a:lnTo>
                  <a:lnTo>
                    <a:pt x="1544002" y="1083945"/>
                  </a:lnTo>
                  <a:lnTo>
                    <a:pt x="1542098" y="1088707"/>
                  </a:lnTo>
                  <a:lnTo>
                    <a:pt x="1541145" y="1091565"/>
                  </a:lnTo>
                  <a:lnTo>
                    <a:pt x="1543050" y="1096328"/>
                  </a:lnTo>
                  <a:lnTo>
                    <a:pt x="1546860" y="1102995"/>
                  </a:lnTo>
                  <a:lnTo>
                    <a:pt x="1547813" y="1108710"/>
                  </a:lnTo>
                  <a:lnTo>
                    <a:pt x="1546860" y="1115378"/>
                  </a:lnTo>
                  <a:lnTo>
                    <a:pt x="1546860" y="1118235"/>
                  </a:lnTo>
                  <a:lnTo>
                    <a:pt x="1547813" y="1121093"/>
                  </a:lnTo>
                  <a:lnTo>
                    <a:pt x="1552575" y="1126807"/>
                  </a:lnTo>
                  <a:lnTo>
                    <a:pt x="1552575" y="1128713"/>
                  </a:lnTo>
                  <a:lnTo>
                    <a:pt x="1551623" y="1130618"/>
                  </a:lnTo>
                  <a:lnTo>
                    <a:pt x="1549718" y="1132523"/>
                  </a:lnTo>
                  <a:lnTo>
                    <a:pt x="1539240" y="1134428"/>
                  </a:lnTo>
                  <a:lnTo>
                    <a:pt x="1537335" y="1135380"/>
                  </a:lnTo>
                  <a:lnTo>
                    <a:pt x="1536382" y="1138238"/>
                  </a:lnTo>
                  <a:lnTo>
                    <a:pt x="1535430" y="1144905"/>
                  </a:lnTo>
                  <a:lnTo>
                    <a:pt x="1535430" y="1147763"/>
                  </a:lnTo>
                  <a:lnTo>
                    <a:pt x="1535430" y="1160145"/>
                  </a:lnTo>
                  <a:lnTo>
                    <a:pt x="1534477" y="1162050"/>
                  </a:lnTo>
                  <a:lnTo>
                    <a:pt x="1533525" y="1164907"/>
                  </a:lnTo>
                  <a:lnTo>
                    <a:pt x="1530668" y="1164907"/>
                  </a:lnTo>
                  <a:lnTo>
                    <a:pt x="1439227" y="1180148"/>
                  </a:lnTo>
                  <a:lnTo>
                    <a:pt x="1434465" y="1179195"/>
                  </a:lnTo>
                  <a:lnTo>
                    <a:pt x="1399223" y="1166813"/>
                  </a:lnTo>
                  <a:lnTo>
                    <a:pt x="1397318" y="1164907"/>
                  </a:lnTo>
                  <a:lnTo>
                    <a:pt x="1390650" y="1163955"/>
                  </a:lnTo>
                  <a:lnTo>
                    <a:pt x="1384935" y="1164907"/>
                  </a:lnTo>
                  <a:lnTo>
                    <a:pt x="1379220" y="1167765"/>
                  </a:lnTo>
                  <a:lnTo>
                    <a:pt x="1376363" y="1168718"/>
                  </a:lnTo>
                  <a:lnTo>
                    <a:pt x="1374457" y="1167765"/>
                  </a:lnTo>
                  <a:lnTo>
                    <a:pt x="1364932" y="1158240"/>
                  </a:lnTo>
                  <a:lnTo>
                    <a:pt x="1350645" y="1149668"/>
                  </a:lnTo>
                  <a:lnTo>
                    <a:pt x="1344930" y="1147763"/>
                  </a:lnTo>
                  <a:lnTo>
                    <a:pt x="1336357" y="1145857"/>
                  </a:lnTo>
                  <a:lnTo>
                    <a:pt x="1316355" y="1148715"/>
                  </a:lnTo>
                  <a:lnTo>
                    <a:pt x="1312545" y="1150620"/>
                  </a:lnTo>
                  <a:lnTo>
                    <a:pt x="1309688" y="1152525"/>
                  </a:lnTo>
                  <a:lnTo>
                    <a:pt x="1306830" y="1156335"/>
                  </a:lnTo>
                  <a:lnTo>
                    <a:pt x="1295400" y="1175385"/>
                  </a:lnTo>
                  <a:lnTo>
                    <a:pt x="1288732" y="1189673"/>
                  </a:lnTo>
                  <a:lnTo>
                    <a:pt x="1282065" y="1198245"/>
                  </a:lnTo>
                  <a:lnTo>
                    <a:pt x="1279207" y="1202055"/>
                  </a:lnTo>
                  <a:lnTo>
                    <a:pt x="1276350" y="1203007"/>
                  </a:lnTo>
                  <a:lnTo>
                    <a:pt x="1271588" y="1204913"/>
                  </a:lnTo>
                  <a:lnTo>
                    <a:pt x="1265873" y="1205865"/>
                  </a:lnTo>
                  <a:lnTo>
                    <a:pt x="1262063" y="1204913"/>
                  </a:lnTo>
                  <a:lnTo>
                    <a:pt x="1256348" y="1203007"/>
                  </a:lnTo>
                  <a:lnTo>
                    <a:pt x="1245870" y="1197293"/>
                  </a:lnTo>
                  <a:lnTo>
                    <a:pt x="1241107" y="1194435"/>
                  </a:lnTo>
                  <a:lnTo>
                    <a:pt x="1239202" y="1190625"/>
                  </a:lnTo>
                  <a:lnTo>
                    <a:pt x="1237298" y="1185863"/>
                  </a:lnTo>
                  <a:lnTo>
                    <a:pt x="1232535" y="1177290"/>
                  </a:lnTo>
                  <a:lnTo>
                    <a:pt x="1228725" y="1172528"/>
                  </a:lnTo>
                  <a:lnTo>
                    <a:pt x="1226820" y="1171575"/>
                  </a:lnTo>
                  <a:lnTo>
                    <a:pt x="1214438" y="1164907"/>
                  </a:lnTo>
                  <a:lnTo>
                    <a:pt x="1208723" y="1159193"/>
                  </a:lnTo>
                  <a:lnTo>
                    <a:pt x="1204913" y="1157288"/>
                  </a:lnTo>
                  <a:lnTo>
                    <a:pt x="1185863" y="1154430"/>
                  </a:lnTo>
                  <a:lnTo>
                    <a:pt x="1180148" y="1155382"/>
                  </a:lnTo>
                  <a:lnTo>
                    <a:pt x="1176338" y="1157288"/>
                  </a:lnTo>
                  <a:lnTo>
                    <a:pt x="1174432" y="1165860"/>
                  </a:lnTo>
                  <a:lnTo>
                    <a:pt x="1172527" y="1167765"/>
                  </a:lnTo>
                  <a:lnTo>
                    <a:pt x="1169670" y="1168718"/>
                  </a:lnTo>
                  <a:lnTo>
                    <a:pt x="1123950" y="1168718"/>
                  </a:lnTo>
                  <a:lnTo>
                    <a:pt x="1120140" y="1168718"/>
                  </a:lnTo>
                  <a:lnTo>
                    <a:pt x="1117282" y="1166813"/>
                  </a:lnTo>
                  <a:lnTo>
                    <a:pt x="1115377" y="1163003"/>
                  </a:lnTo>
                  <a:lnTo>
                    <a:pt x="1114425" y="1159193"/>
                  </a:lnTo>
                  <a:lnTo>
                    <a:pt x="1114425" y="1155382"/>
                  </a:lnTo>
                  <a:lnTo>
                    <a:pt x="1115377" y="1148715"/>
                  </a:lnTo>
                  <a:lnTo>
                    <a:pt x="1115377" y="1143000"/>
                  </a:lnTo>
                  <a:lnTo>
                    <a:pt x="1109663" y="1134428"/>
                  </a:lnTo>
                  <a:lnTo>
                    <a:pt x="1108710" y="1128713"/>
                  </a:lnTo>
                  <a:lnTo>
                    <a:pt x="1108710" y="1125855"/>
                  </a:lnTo>
                  <a:lnTo>
                    <a:pt x="1111568" y="1121093"/>
                  </a:lnTo>
                  <a:lnTo>
                    <a:pt x="1120140" y="1106805"/>
                  </a:lnTo>
                  <a:lnTo>
                    <a:pt x="1122998" y="1102043"/>
                  </a:lnTo>
                  <a:lnTo>
                    <a:pt x="1122998" y="1099185"/>
                  </a:lnTo>
                  <a:lnTo>
                    <a:pt x="1122045" y="1093470"/>
                  </a:lnTo>
                  <a:lnTo>
                    <a:pt x="1120140" y="1088707"/>
                  </a:lnTo>
                  <a:lnTo>
                    <a:pt x="1108710" y="1074420"/>
                  </a:lnTo>
                  <a:lnTo>
                    <a:pt x="1106805" y="1072515"/>
                  </a:lnTo>
                  <a:lnTo>
                    <a:pt x="1104900" y="1067753"/>
                  </a:lnTo>
                  <a:lnTo>
                    <a:pt x="1103948" y="1059180"/>
                  </a:lnTo>
                  <a:lnTo>
                    <a:pt x="1102043" y="1054418"/>
                  </a:lnTo>
                  <a:lnTo>
                    <a:pt x="1099185" y="1050607"/>
                  </a:lnTo>
                  <a:lnTo>
                    <a:pt x="1096327" y="1049655"/>
                  </a:lnTo>
                  <a:lnTo>
                    <a:pt x="1093470" y="1048703"/>
                  </a:lnTo>
                  <a:lnTo>
                    <a:pt x="1080135" y="1051560"/>
                  </a:lnTo>
                  <a:lnTo>
                    <a:pt x="1077277" y="1050607"/>
                  </a:lnTo>
                  <a:lnTo>
                    <a:pt x="1070610" y="1044893"/>
                  </a:lnTo>
                  <a:lnTo>
                    <a:pt x="1063943" y="1036320"/>
                  </a:lnTo>
                  <a:lnTo>
                    <a:pt x="1047750" y="1007745"/>
                  </a:lnTo>
                  <a:lnTo>
                    <a:pt x="1040130" y="994410"/>
                  </a:lnTo>
                  <a:lnTo>
                    <a:pt x="1039177" y="989647"/>
                  </a:lnTo>
                  <a:lnTo>
                    <a:pt x="1041082" y="988695"/>
                  </a:lnTo>
                  <a:lnTo>
                    <a:pt x="1062038" y="979170"/>
                  </a:lnTo>
                  <a:lnTo>
                    <a:pt x="1067752" y="974407"/>
                  </a:lnTo>
                  <a:lnTo>
                    <a:pt x="1071563" y="970597"/>
                  </a:lnTo>
                  <a:lnTo>
                    <a:pt x="1072515" y="967740"/>
                  </a:lnTo>
                  <a:lnTo>
                    <a:pt x="1073468" y="961072"/>
                  </a:lnTo>
                  <a:lnTo>
                    <a:pt x="1073468" y="955357"/>
                  </a:lnTo>
                  <a:lnTo>
                    <a:pt x="1070610" y="947738"/>
                  </a:lnTo>
                  <a:lnTo>
                    <a:pt x="1066800" y="934403"/>
                  </a:lnTo>
                  <a:lnTo>
                    <a:pt x="1065848" y="932497"/>
                  </a:lnTo>
                  <a:lnTo>
                    <a:pt x="1062990" y="930593"/>
                  </a:lnTo>
                  <a:lnTo>
                    <a:pt x="1058227" y="929640"/>
                  </a:lnTo>
                  <a:lnTo>
                    <a:pt x="1037273" y="934403"/>
                  </a:lnTo>
                  <a:lnTo>
                    <a:pt x="1034415" y="933450"/>
                  </a:lnTo>
                  <a:lnTo>
                    <a:pt x="1030605" y="932497"/>
                  </a:lnTo>
                  <a:lnTo>
                    <a:pt x="1025843" y="928688"/>
                  </a:lnTo>
                  <a:lnTo>
                    <a:pt x="1022032" y="927735"/>
                  </a:lnTo>
                  <a:lnTo>
                    <a:pt x="1018223" y="926782"/>
                  </a:lnTo>
                  <a:lnTo>
                    <a:pt x="1011555" y="927735"/>
                  </a:lnTo>
                  <a:lnTo>
                    <a:pt x="1006793" y="925830"/>
                  </a:lnTo>
                  <a:lnTo>
                    <a:pt x="1003935" y="923925"/>
                  </a:lnTo>
                  <a:lnTo>
                    <a:pt x="996315" y="915353"/>
                  </a:lnTo>
                  <a:lnTo>
                    <a:pt x="994410" y="914400"/>
                  </a:lnTo>
                  <a:lnTo>
                    <a:pt x="990600" y="913447"/>
                  </a:lnTo>
                  <a:lnTo>
                    <a:pt x="982027" y="917257"/>
                  </a:lnTo>
                  <a:lnTo>
                    <a:pt x="979170" y="919163"/>
                  </a:lnTo>
                  <a:lnTo>
                    <a:pt x="977265" y="921068"/>
                  </a:lnTo>
                  <a:lnTo>
                    <a:pt x="976313" y="923925"/>
                  </a:lnTo>
                  <a:lnTo>
                    <a:pt x="976313" y="926782"/>
                  </a:lnTo>
                  <a:lnTo>
                    <a:pt x="976313" y="935355"/>
                  </a:lnTo>
                  <a:lnTo>
                    <a:pt x="976313" y="938213"/>
                  </a:lnTo>
                  <a:lnTo>
                    <a:pt x="971550" y="941070"/>
                  </a:lnTo>
                  <a:lnTo>
                    <a:pt x="963930" y="942022"/>
                  </a:lnTo>
                  <a:lnTo>
                    <a:pt x="961073" y="942022"/>
                  </a:lnTo>
                  <a:lnTo>
                    <a:pt x="958215" y="941070"/>
                  </a:lnTo>
                  <a:lnTo>
                    <a:pt x="956310" y="938213"/>
                  </a:lnTo>
                  <a:lnTo>
                    <a:pt x="954405" y="936307"/>
                  </a:lnTo>
                  <a:lnTo>
                    <a:pt x="951548" y="936307"/>
                  </a:lnTo>
                  <a:lnTo>
                    <a:pt x="947738" y="939165"/>
                  </a:lnTo>
                  <a:lnTo>
                    <a:pt x="945832" y="942022"/>
                  </a:lnTo>
                  <a:lnTo>
                    <a:pt x="944880" y="945832"/>
                  </a:lnTo>
                  <a:lnTo>
                    <a:pt x="943927" y="955357"/>
                  </a:lnTo>
                  <a:lnTo>
                    <a:pt x="942975" y="961072"/>
                  </a:lnTo>
                  <a:lnTo>
                    <a:pt x="941070" y="962978"/>
                  </a:lnTo>
                  <a:lnTo>
                    <a:pt x="939165" y="963930"/>
                  </a:lnTo>
                  <a:lnTo>
                    <a:pt x="935355" y="963930"/>
                  </a:lnTo>
                  <a:lnTo>
                    <a:pt x="932498" y="962978"/>
                  </a:lnTo>
                  <a:lnTo>
                    <a:pt x="929640" y="960120"/>
                  </a:lnTo>
                  <a:lnTo>
                    <a:pt x="929640" y="955357"/>
                  </a:lnTo>
                  <a:lnTo>
                    <a:pt x="932498" y="948690"/>
                  </a:lnTo>
                  <a:lnTo>
                    <a:pt x="934402" y="942975"/>
                  </a:lnTo>
                  <a:lnTo>
                    <a:pt x="936307" y="925830"/>
                  </a:lnTo>
                  <a:lnTo>
                    <a:pt x="935355" y="920115"/>
                  </a:lnTo>
                  <a:lnTo>
                    <a:pt x="933450" y="916305"/>
                  </a:lnTo>
                  <a:lnTo>
                    <a:pt x="929640" y="913447"/>
                  </a:lnTo>
                  <a:lnTo>
                    <a:pt x="900113" y="916305"/>
                  </a:lnTo>
                  <a:lnTo>
                    <a:pt x="893445" y="918210"/>
                  </a:lnTo>
                  <a:lnTo>
                    <a:pt x="888682" y="920115"/>
                  </a:lnTo>
                  <a:lnTo>
                    <a:pt x="886777" y="922020"/>
                  </a:lnTo>
                  <a:lnTo>
                    <a:pt x="884873" y="922972"/>
                  </a:lnTo>
                  <a:lnTo>
                    <a:pt x="881063" y="922020"/>
                  </a:lnTo>
                  <a:lnTo>
                    <a:pt x="877252" y="919163"/>
                  </a:lnTo>
                  <a:lnTo>
                    <a:pt x="874395" y="917257"/>
                  </a:lnTo>
                  <a:lnTo>
                    <a:pt x="872490" y="911543"/>
                  </a:lnTo>
                  <a:lnTo>
                    <a:pt x="870585" y="909638"/>
                  </a:lnTo>
                  <a:lnTo>
                    <a:pt x="868680" y="908685"/>
                  </a:lnTo>
                  <a:lnTo>
                    <a:pt x="860107" y="912495"/>
                  </a:lnTo>
                  <a:lnTo>
                    <a:pt x="851535" y="919163"/>
                  </a:lnTo>
                  <a:lnTo>
                    <a:pt x="846772" y="919163"/>
                  </a:lnTo>
                  <a:lnTo>
                    <a:pt x="798195" y="912495"/>
                  </a:lnTo>
                  <a:lnTo>
                    <a:pt x="792480" y="909638"/>
                  </a:lnTo>
                  <a:lnTo>
                    <a:pt x="789622" y="907732"/>
                  </a:lnTo>
                  <a:lnTo>
                    <a:pt x="787718" y="903922"/>
                  </a:lnTo>
                  <a:lnTo>
                    <a:pt x="786765" y="901065"/>
                  </a:lnTo>
                  <a:lnTo>
                    <a:pt x="786765" y="898207"/>
                  </a:lnTo>
                  <a:lnTo>
                    <a:pt x="786765" y="885825"/>
                  </a:lnTo>
                  <a:lnTo>
                    <a:pt x="785813" y="882015"/>
                  </a:lnTo>
                  <a:lnTo>
                    <a:pt x="783907" y="880110"/>
                  </a:lnTo>
                  <a:lnTo>
                    <a:pt x="771525" y="877253"/>
                  </a:lnTo>
                  <a:lnTo>
                    <a:pt x="767715" y="874395"/>
                  </a:lnTo>
                  <a:lnTo>
                    <a:pt x="765810" y="872490"/>
                  </a:lnTo>
                  <a:lnTo>
                    <a:pt x="765810" y="869632"/>
                  </a:lnTo>
                  <a:lnTo>
                    <a:pt x="763905" y="848678"/>
                  </a:lnTo>
                  <a:lnTo>
                    <a:pt x="762953" y="842963"/>
                  </a:lnTo>
                  <a:lnTo>
                    <a:pt x="759143" y="842010"/>
                  </a:lnTo>
                  <a:lnTo>
                    <a:pt x="754380" y="840105"/>
                  </a:lnTo>
                  <a:lnTo>
                    <a:pt x="745807" y="839153"/>
                  </a:lnTo>
                  <a:lnTo>
                    <a:pt x="737235" y="836295"/>
                  </a:lnTo>
                  <a:lnTo>
                    <a:pt x="699135" y="833438"/>
                  </a:lnTo>
                  <a:lnTo>
                    <a:pt x="687705" y="834390"/>
                  </a:lnTo>
                  <a:lnTo>
                    <a:pt x="669607" y="841057"/>
                  </a:lnTo>
                  <a:lnTo>
                    <a:pt x="662940" y="844868"/>
                  </a:lnTo>
                  <a:lnTo>
                    <a:pt x="658178" y="849630"/>
                  </a:lnTo>
                  <a:lnTo>
                    <a:pt x="657225" y="856297"/>
                  </a:lnTo>
                  <a:lnTo>
                    <a:pt x="655320" y="862013"/>
                  </a:lnTo>
                  <a:lnTo>
                    <a:pt x="653415" y="863918"/>
                  </a:lnTo>
                  <a:lnTo>
                    <a:pt x="649605" y="865822"/>
                  </a:lnTo>
                  <a:lnTo>
                    <a:pt x="632460" y="871538"/>
                  </a:lnTo>
                  <a:lnTo>
                    <a:pt x="628650" y="874395"/>
                  </a:lnTo>
                  <a:lnTo>
                    <a:pt x="625793" y="878205"/>
                  </a:lnTo>
                  <a:lnTo>
                    <a:pt x="623888" y="880110"/>
                  </a:lnTo>
                  <a:lnTo>
                    <a:pt x="620078" y="882968"/>
                  </a:lnTo>
                  <a:lnTo>
                    <a:pt x="616268" y="883920"/>
                  </a:lnTo>
                  <a:lnTo>
                    <a:pt x="612457" y="882968"/>
                  </a:lnTo>
                  <a:lnTo>
                    <a:pt x="604838" y="880110"/>
                  </a:lnTo>
                  <a:lnTo>
                    <a:pt x="602932" y="877253"/>
                  </a:lnTo>
                  <a:lnTo>
                    <a:pt x="601028" y="874395"/>
                  </a:lnTo>
                  <a:lnTo>
                    <a:pt x="601028" y="868680"/>
                  </a:lnTo>
                  <a:lnTo>
                    <a:pt x="600075" y="865822"/>
                  </a:lnTo>
                  <a:lnTo>
                    <a:pt x="596265" y="862013"/>
                  </a:lnTo>
                  <a:lnTo>
                    <a:pt x="593407" y="861060"/>
                  </a:lnTo>
                  <a:lnTo>
                    <a:pt x="590550" y="860107"/>
                  </a:lnTo>
                  <a:lnTo>
                    <a:pt x="586740" y="861060"/>
                  </a:lnTo>
                  <a:lnTo>
                    <a:pt x="581978" y="864870"/>
                  </a:lnTo>
                  <a:lnTo>
                    <a:pt x="580072" y="866775"/>
                  </a:lnTo>
                  <a:lnTo>
                    <a:pt x="578168" y="869632"/>
                  </a:lnTo>
                  <a:lnTo>
                    <a:pt x="574357" y="880110"/>
                  </a:lnTo>
                  <a:lnTo>
                    <a:pt x="572453" y="882015"/>
                  </a:lnTo>
                  <a:lnTo>
                    <a:pt x="569595" y="882015"/>
                  </a:lnTo>
                  <a:lnTo>
                    <a:pt x="563880" y="880110"/>
                  </a:lnTo>
                  <a:lnTo>
                    <a:pt x="561975" y="877253"/>
                  </a:lnTo>
                  <a:lnTo>
                    <a:pt x="560070" y="874395"/>
                  </a:lnTo>
                  <a:lnTo>
                    <a:pt x="559118" y="868680"/>
                  </a:lnTo>
                  <a:lnTo>
                    <a:pt x="554355" y="866775"/>
                  </a:lnTo>
                  <a:lnTo>
                    <a:pt x="547688" y="865822"/>
                  </a:lnTo>
                  <a:lnTo>
                    <a:pt x="531495" y="865822"/>
                  </a:lnTo>
                  <a:lnTo>
                    <a:pt x="516255" y="862965"/>
                  </a:lnTo>
                  <a:lnTo>
                    <a:pt x="510540" y="863918"/>
                  </a:lnTo>
                  <a:lnTo>
                    <a:pt x="485775" y="872490"/>
                  </a:lnTo>
                  <a:lnTo>
                    <a:pt x="479107" y="876300"/>
                  </a:lnTo>
                  <a:lnTo>
                    <a:pt x="474345" y="879157"/>
                  </a:lnTo>
                  <a:lnTo>
                    <a:pt x="473393" y="881063"/>
                  </a:lnTo>
                  <a:lnTo>
                    <a:pt x="471488" y="887730"/>
                  </a:lnTo>
                  <a:lnTo>
                    <a:pt x="468630" y="891540"/>
                  </a:lnTo>
                  <a:lnTo>
                    <a:pt x="465772" y="893445"/>
                  </a:lnTo>
                  <a:lnTo>
                    <a:pt x="460057" y="893445"/>
                  </a:lnTo>
                  <a:lnTo>
                    <a:pt x="440055" y="888682"/>
                  </a:lnTo>
                  <a:lnTo>
                    <a:pt x="416243" y="880110"/>
                  </a:lnTo>
                  <a:lnTo>
                    <a:pt x="412432" y="879157"/>
                  </a:lnTo>
                  <a:lnTo>
                    <a:pt x="407670" y="879157"/>
                  </a:lnTo>
                  <a:lnTo>
                    <a:pt x="402907" y="878205"/>
                  </a:lnTo>
                  <a:lnTo>
                    <a:pt x="321945" y="878205"/>
                  </a:lnTo>
                  <a:lnTo>
                    <a:pt x="319088" y="881063"/>
                  </a:lnTo>
                  <a:lnTo>
                    <a:pt x="315278" y="895350"/>
                  </a:lnTo>
                  <a:lnTo>
                    <a:pt x="312420" y="900113"/>
                  </a:lnTo>
                  <a:lnTo>
                    <a:pt x="308610" y="901065"/>
                  </a:lnTo>
                  <a:lnTo>
                    <a:pt x="293370" y="900113"/>
                  </a:lnTo>
                  <a:lnTo>
                    <a:pt x="182880" y="894397"/>
                  </a:lnTo>
                  <a:lnTo>
                    <a:pt x="163830" y="884872"/>
                  </a:lnTo>
                  <a:lnTo>
                    <a:pt x="153353" y="869632"/>
                  </a:lnTo>
                  <a:lnTo>
                    <a:pt x="145732" y="850582"/>
                  </a:lnTo>
                  <a:lnTo>
                    <a:pt x="137160" y="833438"/>
                  </a:lnTo>
                  <a:lnTo>
                    <a:pt x="128588" y="836295"/>
                  </a:lnTo>
                  <a:lnTo>
                    <a:pt x="121920" y="841057"/>
                  </a:lnTo>
                  <a:lnTo>
                    <a:pt x="117157" y="842010"/>
                  </a:lnTo>
                  <a:lnTo>
                    <a:pt x="114300" y="842010"/>
                  </a:lnTo>
                  <a:lnTo>
                    <a:pt x="111443" y="839153"/>
                  </a:lnTo>
                  <a:lnTo>
                    <a:pt x="104775" y="832485"/>
                  </a:lnTo>
                  <a:lnTo>
                    <a:pt x="100965" y="831532"/>
                  </a:lnTo>
                  <a:lnTo>
                    <a:pt x="98107" y="832485"/>
                  </a:lnTo>
                  <a:lnTo>
                    <a:pt x="97155" y="834390"/>
                  </a:lnTo>
                  <a:lnTo>
                    <a:pt x="93345" y="839153"/>
                  </a:lnTo>
                  <a:lnTo>
                    <a:pt x="81915" y="861060"/>
                  </a:lnTo>
                  <a:lnTo>
                    <a:pt x="79057" y="863918"/>
                  </a:lnTo>
                  <a:lnTo>
                    <a:pt x="76200" y="865822"/>
                  </a:lnTo>
                  <a:lnTo>
                    <a:pt x="73343" y="865822"/>
                  </a:lnTo>
                  <a:lnTo>
                    <a:pt x="71438" y="864870"/>
                  </a:lnTo>
                  <a:lnTo>
                    <a:pt x="68580" y="862965"/>
                  </a:lnTo>
                  <a:lnTo>
                    <a:pt x="59055" y="850582"/>
                  </a:lnTo>
                  <a:lnTo>
                    <a:pt x="49530" y="842963"/>
                  </a:lnTo>
                  <a:lnTo>
                    <a:pt x="46672" y="842010"/>
                  </a:lnTo>
                  <a:lnTo>
                    <a:pt x="43815" y="841057"/>
                  </a:lnTo>
                  <a:lnTo>
                    <a:pt x="41910" y="841057"/>
                  </a:lnTo>
                  <a:lnTo>
                    <a:pt x="33338" y="844868"/>
                  </a:lnTo>
                  <a:lnTo>
                    <a:pt x="20003" y="846772"/>
                  </a:lnTo>
                  <a:lnTo>
                    <a:pt x="19050" y="841057"/>
                  </a:lnTo>
                  <a:lnTo>
                    <a:pt x="21907" y="834390"/>
                  </a:lnTo>
                  <a:lnTo>
                    <a:pt x="24765" y="830580"/>
                  </a:lnTo>
                  <a:lnTo>
                    <a:pt x="25718" y="826770"/>
                  </a:lnTo>
                  <a:lnTo>
                    <a:pt x="26670" y="823913"/>
                  </a:lnTo>
                  <a:lnTo>
                    <a:pt x="23813" y="817245"/>
                  </a:lnTo>
                  <a:lnTo>
                    <a:pt x="25718" y="809625"/>
                  </a:lnTo>
                  <a:lnTo>
                    <a:pt x="24765" y="806768"/>
                  </a:lnTo>
                  <a:lnTo>
                    <a:pt x="20003" y="804863"/>
                  </a:lnTo>
                  <a:lnTo>
                    <a:pt x="6668" y="801053"/>
                  </a:lnTo>
                  <a:lnTo>
                    <a:pt x="1905" y="798195"/>
                  </a:lnTo>
                  <a:lnTo>
                    <a:pt x="953" y="796290"/>
                  </a:lnTo>
                  <a:lnTo>
                    <a:pt x="0" y="794385"/>
                  </a:lnTo>
                  <a:lnTo>
                    <a:pt x="2857" y="788670"/>
                  </a:lnTo>
                  <a:lnTo>
                    <a:pt x="12382" y="774382"/>
                  </a:lnTo>
                  <a:lnTo>
                    <a:pt x="16193" y="768668"/>
                  </a:lnTo>
                  <a:lnTo>
                    <a:pt x="20003" y="757238"/>
                  </a:lnTo>
                  <a:lnTo>
                    <a:pt x="20955" y="753428"/>
                  </a:lnTo>
                  <a:lnTo>
                    <a:pt x="20955" y="746760"/>
                  </a:lnTo>
                  <a:lnTo>
                    <a:pt x="21907" y="740093"/>
                  </a:lnTo>
                  <a:lnTo>
                    <a:pt x="20955" y="732472"/>
                  </a:lnTo>
                  <a:lnTo>
                    <a:pt x="21907" y="728663"/>
                  </a:lnTo>
                  <a:lnTo>
                    <a:pt x="26670" y="721995"/>
                  </a:lnTo>
                  <a:lnTo>
                    <a:pt x="43815" y="705803"/>
                  </a:lnTo>
                  <a:lnTo>
                    <a:pt x="55245" y="691515"/>
                  </a:lnTo>
                  <a:lnTo>
                    <a:pt x="58103" y="686753"/>
                  </a:lnTo>
                  <a:lnTo>
                    <a:pt x="63818" y="677228"/>
                  </a:lnTo>
                  <a:lnTo>
                    <a:pt x="67628" y="673418"/>
                  </a:lnTo>
                  <a:lnTo>
                    <a:pt x="77153" y="664845"/>
                  </a:lnTo>
                  <a:lnTo>
                    <a:pt x="80010" y="663893"/>
                  </a:lnTo>
                  <a:lnTo>
                    <a:pt x="84772" y="663893"/>
                  </a:lnTo>
                  <a:lnTo>
                    <a:pt x="92393" y="665797"/>
                  </a:lnTo>
                  <a:lnTo>
                    <a:pt x="94297" y="668655"/>
                  </a:lnTo>
                  <a:lnTo>
                    <a:pt x="95250" y="671513"/>
                  </a:lnTo>
                  <a:lnTo>
                    <a:pt x="94297" y="678180"/>
                  </a:lnTo>
                  <a:lnTo>
                    <a:pt x="95250" y="681038"/>
                  </a:lnTo>
                  <a:lnTo>
                    <a:pt x="99060" y="687705"/>
                  </a:lnTo>
                  <a:lnTo>
                    <a:pt x="100013" y="690563"/>
                  </a:lnTo>
                  <a:lnTo>
                    <a:pt x="102870" y="703897"/>
                  </a:lnTo>
                  <a:lnTo>
                    <a:pt x="105728" y="708660"/>
                  </a:lnTo>
                  <a:lnTo>
                    <a:pt x="106680" y="710565"/>
                  </a:lnTo>
                  <a:lnTo>
                    <a:pt x="110490" y="708660"/>
                  </a:lnTo>
                  <a:lnTo>
                    <a:pt x="116205" y="703897"/>
                  </a:lnTo>
                  <a:lnTo>
                    <a:pt x="127635" y="689610"/>
                  </a:lnTo>
                  <a:lnTo>
                    <a:pt x="135255" y="676275"/>
                  </a:lnTo>
                  <a:lnTo>
                    <a:pt x="137160" y="673418"/>
                  </a:lnTo>
                  <a:lnTo>
                    <a:pt x="140970" y="671513"/>
                  </a:lnTo>
                  <a:lnTo>
                    <a:pt x="159068" y="668655"/>
                  </a:lnTo>
                  <a:lnTo>
                    <a:pt x="165735" y="664845"/>
                  </a:lnTo>
                  <a:lnTo>
                    <a:pt x="179070" y="646747"/>
                  </a:lnTo>
                  <a:lnTo>
                    <a:pt x="195263" y="648653"/>
                  </a:lnTo>
                  <a:lnTo>
                    <a:pt x="201930" y="645795"/>
                  </a:lnTo>
                  <a:lnTo>
                    <a:pt x="215265" y="631507"/>
                  </a:lnTo>
                  <a:lnTo>
                    <a:pt x="230505" y="620078"/>
                  </a:lnTo>
                  <a:lnTo>
                    <a:pt x="236220" y="617220"/>
                  </a:lnTo>
                  <a:lnTo>
                    <a:pt x="240982" y="616268"/>
                  </a:lnTo>
                  <a:lnTo>
                    <a:pt x="243840" y="617220"/>
                  </a:lnTo>
                  <a:lnTo>
                    <a:pt x="245745" y="619125"/>
                  </a:lnTo>
                  <a:lnTo>
                    <a:pt x="248603" y="623888"/>
                  </a:lnTo>
                  <a:lnTo>
                    <a:pt x="251460" y="625793"/>
                  </a:lnTo>
                  <a:lnTo>
                    <a:pt x="255270" y="627697"/>
                  </a:lnTo>
                  <a:lnTo>
                    <a:pt x="262890" y="629603"/>
                  </a:lnTo>
                  <a:lnTo>
                    <a:pt x="266700" y="629603"/>
                  </a:lnTo>
                  <a:lnTo>
                    <a:pt x="268605" y="629603"/>
                  </a:lnTo>
                  <a:lnTo>
                    <a:pt x="273368" y="622935"/>
                  </a:lnTo>
                  <a:lnTo>
                    <a:pt x="341947" y="586740"/>
                  </a:lnTo>
                  <a:lnTo>
                    <a:pt x="343853" y="581025"/>
                  </a:lnTo>
                  <a:lnTo>
                    <a:pt x="344805" y="571500"/>
                  </a:lnTo>
                  <a:lnTo>
                    <a:pt x="345757" y="566738"/>
                  </a:lnTo>
                  <a:lnTo>
                    <a:pt x="347663" y="562928"/>
                  </a:lnTo>
                  <a:lnTo>
                    <a:pt x="351472" y="558165"/>
                  </a:lnTo>
                  <a:lnTo>
                    <a:pt x="354330" y="555307"/>
                  </a:lnTo>
                  <a:lnTo>
                    <a:pt x="357188" y="554355"/>
                  </a:lnTo>
                  <a:lnTo>
                    <a:pt x="369570" y="553403"/>
                  </a:lnTo>
                  <a:lnTo>
                    <a:pt x="379095" y="555307"/>
                  </a:lnTo>
                  <a:lnTo>
                    <a:pt x="381953" y="556260"/>
                  </a:lnTo>
                  <a:lnTo>
                    <a:pt x="383857" y="558165"/>
                  </a:lnTo>
                  <a:lnTo>
                    <a:pt x="386715" y="562928"/>
                  </a:lnTo>
                  <a:lnTo>
                    <a:pt x="387668" y="564832"/>
                  </a:lnTo>
                  <a:lnTo>
                    <a:pt x="391478" y="568643"/>
                  </a:lnTo>
                  <a:lnTo>
                    <a:pt x="394335" y="568643"/>
                  </a:lnTo>
                  <a:lnTo>
                    <a:pt x="432435" y="564832"/>
                  </a:lnTo>
                  <a:lnTo>
                    <a:pt x="438150" y="561975"/>
                  </a:lnTo>
                  <a:lnTo>
                    <a:pt x="441007" y="559118"/>
                  </a:lnTo>
                  <a:lnTo>
                    <a:pt x="442913" y="553403"/>
                  </a:lnTo>
                  <a:lnTo>
                    <a:pt x="442913" y="546735"/>
                  </a:lnTo>
                  <a:lnTo>
                    <a:pt x="442913" y="530543"/>
                  </a:lnTo>
                  <a:lnTo>
                    <a:pt x="441960" y="528638"/>
                  </a:lnTo>
                  <a:lnTo>
                    <a:pt x="441007" y="526732"/>
                  </a:lnTo>
                  <a:lnTo>
                    <a:pt x="438150" y="524828"/>
                  </a:lnTo>
                  <a:lnTo>
                    <a:pt x="427672" y="520065"/>
                  </a:lnTo>
                  <a:lnTo>
                    <a:pt x="423863" y="516255"/>
                  </a:lnTo>
                  <a:lnTo>
                    <a:pt x="425768" y="512445"/>
                  </a:lnTo>
                  <a:lnTo>
                    <a:pt x="430530" y="505778"/>
                  </a:lnTo>
                  <a:lnTo>
                    <a:pt x="450532" y="488632"/>
                  </a:lnTo>
                  <a:lnTo>
                    <a:pt x="454343" y="483870"/>
                  </a:lnTo>
                  <a:lnTo>
                    <a:pt x="455295" y="481013"/>
                  </a:lnTo>
                  <a:lnTo>
                    <a:pt x="461010" y="458153"/>
                  </a:lnTo>
                  <a:lnTo>
                    <a:pt x="461010" y="456247"/>
                  </a:lnTo>
                  <a:lnTo>
                    <a:pt x="460057" y="451485"/>
                  </a:lnTo>
                  <a:lnTo>
                    <a:pt x="460057" y="448628"/>
                  </a:lnTo>
                  <a:lnTo>
                    <a:pt x="457200" y="443865"/>
                  </a:lnTo>
                  <a:lnTo>
                    <a:pt x="458153" y="440055"/>
                  </a:lnTo>
                  <a:lnTo>
                    <a:pt x="462915" y="434340"/>
                  </a:lnTo>
                  <a:lnTo>
                    <a:pt x="475297" y="424815"/>
                  </a:lnTo>
                  <a:lnTo>
                    <a:pt x="491490" y="409575"/>
                  </a:lnTo>
                  <a:lnTo>
                    <a:pt x="508635" y="400050"/>
                  </a:lnTo>
                  <a:lnTo>
                    <a:pt x="514350" y="398145"/>
                  </a:lnTo>
                  <a:lnTo>
                    <a:pt x="518160" y="398145"/>
                  </a:lnTo>
                  <a:lnTo>
                    <a:pt x="524828" y="400050"/>
                  </a:lnTo>
                  <a:lnTo>
                    <a:pt x="532447" y="399097"/>
                  </a:lnTo>
                  <a:lnTo>
                    <a:pt x="536257" y="400050"/>
                  </a:lnTo>
                  <a:lnTo>
                    <a:pt x="541020" y="401955"/>
                  </a:lnTo>
                  <a:lnTo>
                    <a:pt x="544830" y="403860"/>
                  </a:lnTo>
                  <a:lnTo>
                    <a:pt x="548640" y="403860"/>
                  </a:lnTo>
                  <a:lnTo>
                    <a:pt x="555307" y="402907"/>
                  </a:lnTo>
                  <a:lnTo>
                    <a:pt x="560070" y="403860"/>
                  </a:lnTo>
                  <a:lnTo>
                    <a:pt x="561975" y="404813"/>
                  </a:lnTo>
                  <a:lnTo>
                    <a:pt x="564832" y="409575"/>
                  </a:lnTo>
                  <a:lnTo>
                    <a:pt x="566738" y="411480"/>
                  </a:lnTo>
                  <a:lnTo>
                    <a:pt x="570547" y="412432"/>
                  </a:lnTo>
                  <a:lnTo>
                    <a:pt x="577215" y="411480"/>
                  </a:lnTo>
                  <a:lnTo>
                    <a:pt x="596265" y="406718"/>
                  </a:lnTo>
                  <a:lnTo>
                    <a:pt x="601028" y="406718"/>
                  </a:lnTo>
                  <a:lnTo>
                    <a:pt x="606743" y="408622"/>
                  </a:lnTo>
                  <a:lnTo>
                    <a:pt x="633413" y="406718"/>
                  </a:lnTo>
                  <a:lnTo>
                    <a:pt x="639128" y="407670"/>
                  </a:lnTo>
                  <a:lnTo>
                    <a:pt x="647700" y="411480"/>
                  </a:lnTo>
                  <a:lnTo>
                    <a:pt x="661035" y="412432"/>
                  </a:lnTo>
                  <a:lnTo>
                    <a:pt x="676275" y="417195"/>
                  </a:lnTo>
                  <a:lnTo>
                    <a:pt x="686753" y="422910"/>
                  </a:lnTo>
                  <a:lnTo>
                    <a:pt x="692468" y="427672"/>
                  </a:lnTo>
                  <a:lnTo>
                    <a:pt x="694372" y="429578"/>
                  </a:lnTo>
                  <a:lnTo>
                    <a:pt x="701040" y="429578"/>
                  </a:lnTo>
                  <a:lnTo>
                    <a:pt x="705803" y="429578"/>
                  </a:lnTo>
                  <a:lnTo>
                    <a:pt x="726757" y="429578"/>
                  </a:lnTo>
                  <a:lnTo>
                    <a:pt x="735330" y="426720"/>
                  </a:lnTo>
                  <a:lnTo>
                    <a:pt x="761047" y="411480"/>
                  </a:lnTo>
                  <a:lnTo>
                    <a:pt x="764857" y="409575"/>
                  </a:lnTo>
                  <a:lnTo>
                    <a:pt x="783907" y="408622"/>
                  </a:lnTo>
                  <a:lnTo>
                    <a:pt x="790575" y="409575"/>
                  </a:lnTo>
                  <a:lnTo>
                    <a:pt x="802005" y="414338"/>
                  </a:lnTo>
                  <a:lnTo>
                    <a:pt x="804863" y="414338"/>
                  </a:lnTo>
                  <a:lnTo>
                    <a:pt x="814388" y="413385"/>
                  </a:lnTo>
                  <a:lnTo>
                    <a:pt x="821055" y="414338"/>
                  </a:lnTo>
                  <a:lnTo>
                    <a:pt x="828675" y="417195"/>
                  </a:lnTo>
                  <a:lnTo>
                    <a:pt x="830580" y="419100"/>
                  </a:lnTo>
                  <a:lnTo>
                    <a:pt x="833438" y="421957"/>
                  </a:lnTo>
                  <a:lnTo>
                    <a:pt x="837247" y="429578"/>
                  </a:lnTo>
                  <a:lnTo>
                    <a:pt x="839153" y="431482"/>
                  </a:lnTo>
                  <a:lnTo>
                    <a:pt x="841057" y="432435"/>
                  </a:lnTo>
                  <a:lnTo>
                    <a:pt x="843915" y="431482"/>
                  </a:lnTo>
                  <a:lnTo>
                    <a:pt x="848678" y="425768"/>
                  </a:lnTo>
                  <a:lnTo>
                    <a:pt x="852488" y="424815"/>
                  </a:lnTo>
                  <a:lnTo>
                    <a:pt x="859155" y="424815"/>
                  </a:lnTo>
                  <a:lnTo>
                    <a:pt x="871538" y="421005"/>
                  </a:lnTo>
                  <a:lnTo>
                    <a:pt x="882015" y="416243"/>
                  </a:lnTo>
                  <a:lnTo>
                    <a:pt x="899160" y="411480"/>
                  </a:lnTo>
                  <a:lnTo>
                    <a:pt x="905827" y="406718"/>
                  </a:lnTo>
                  <a:lnTo>
                    <a:pt x="909638" y="402907"/>
                  </a:lnTo>
                  <a:lnTo>
                    <a:pt x="913448" y="390525"/>
                  </a:lnTo>
                  <a:lnTo>
                    <a:pt x="916305" y="381953"/>
                  </a:lnTo>
                  <a:lnTo>
                    <a:pt x="916305" y="377190"/>
                  </a:lnTo>
                  <a:lnTo>
                    <a:pt x="918210" y="372428"/>
                  </a:lnTo>
                  <a:lnTo>
                    <a:pt x="919163" y="368618"/>
                  </a:lnTo>
                  <a:lnTo>
                    <a:pt x="924877" y="362903"/>
                  </a:lnTo>
                  <a:lnTo>
                    <a:pt x="938213" y="351472"/>
                  </a:lnTo>
                  <a:lnTo>
                    <a:pt x="942023" y="347663"/>
                  </a:lnTo>
                  <a:lnTo>
                    <a:pt x="943927" y="343853"/>
                  </a:lnTo>
                  <a:lnTo>
                    <a:pt x="945832" y="334328"/>
                  </a:lnTo>
                  <a:lnTo>
                    <a:pt x="946785" y="329565"/>
                  </a:lnTo>
                  <a:lnTo>
                    <a:pt x="946785" y="314325"/>
                  </a:lnTo>
                  <a:lnTo>
                    <a:pt x="944880" y="299085"/>
                  </a:lnTo>
                  <a:lnTo>
                    <a:pt x="944880" y="288607"/>
                  </a:lnTo>
                  <a:lnTo>
                    <a:pt x="945832" y="282893"/>
                  </a:lnTo>
                  <a:lnTo>
                    <a:pt x="947738" y="278130"/>
                  </a:lnTo>
                  <a:lnTo>
                    <a:pt x="952500" y="272415"/>
                  </a:lnTo>
                  <a:lnTo>
                    <a:pt x="957263" y="270510"/>
                  </a:lnTo>
                  <a:lnTo>
                    <a:pt x="962025" y="271463"/>
                  </a:lnTo>
                  <a:lnTo>
                    <a:pt x="978218" y="277178"/>
                  </a:lnTo>
                  <a:lnTo>
                    <a:pt x="1009650" y="278130"/>
                  </a:lnTo>
                  <a:lnTo>
                    <a:pt x="1014413" y="275272"/>
                  </a:lnTo>
                  <a:lnTo>
                    <a:pt x="1017270" y="271463"/>
                  </a:lnTo>
                  <a:lnTo>
                    <a:pt x="1019175" y="265747"/>
                  </a:lnTo>
                  <a:lnTo>
                    <a:pt x="1022985" y="260032"/>
                  </a:lnTo>
                  <a:lnTo>
                    <a:pt x="1026795" y="257175"/>
                  </a:lnTo>
                  <a:lnTo>
                    <a:pt x="1029652" y="256222"/>
                  </a:lnTo>
                  <a:lnTo>
                    <a:pt x="1047750" y="256222"/>
                  </a:lnTo>
                  <a:lnTo>
                    <a:pt x="1051560" y="257175"/>
                  </a:lnTo>
                  <a:lnTo>
                    <a:pt x="1093470" y="272415"/>
                  </a:lnTo>
                  <a:lnTo>
                    <a:pt x="1109663" y="283845"/>
                  </a:lnTo>
                  <a:lnTo>
                    <a:pt x="1114425" y="289560"/>
                  </a:lnTo>
                  <a:lnTo>
                    <a:pt x="1116330" y="293370"/>
                  </a:lnTo>
                  <a:lnTo>
                    <a:pt x="1119188" y="301943"/>
                  </a:lnTo>
                  <a:lnTo>
                    <a:pt x="1122045" y="315278"/>
                  </a:lnTo>
                  <a:lnTo>
                    <a:pt x="1123950" y="319088"/>
                  </a:lnTo>
                  <a:lnTo>
                    <a:pt x="1126807" y="322897"/>
                  </a:lnTo>
                  <a:lnTo>
                    <a:pt x="1133475" y="323850"/>
                  </a:lnTo>
                  <a:lnTo>
                    <a:pt x="1138238" y="321945"/>
                  </a:lnTo>
                  <a:lnTo>
                    <a:pt x="1141095" y="319088"/>
                  </a:lnTo>
                  <a:lnTo>
                    <a:pt x="1143952" y="314325"/>
                  </a:lnTo>
                  <a:lnTo>
                    <a:pt x="1150620" y="308610"/>
                  </a:lnTo>
                  <a:lnTo>
                    <a:pt x="1154430" y="303847"/>
                  </a:lnTo>
                  <a:lnTo>
                    <a:pt x="1157288" y="298132"/>
                  </a:lnTo>
                  <a:lnTo>
                    <a:pt x="1161098" y="294322"/>
                  </a:lnTo>
                  <a:lnTo>
                    <a:pt x="1168718" y="289560"/>
                  </a:lnTo>
                  <a:lnTo>
                    <a:pt x="1191577" y="281940"/>
                  </a:lnTo>
                  <a:lnTo>
                    <a:pt x="1194435" y="280035"/>
                  </a:lnTo>
                  <a:lnTo>
                    <a:pt x="1203960" y="270510"/>
                  </a:lnTo>
                  <a:lnTo>
                    <a:pt x="1206818" y="269557"/>
                  </a:lnTo>
                  <a:lnTo>
                    <a:pt x="1209675" y="269557"/>
                  </a:lnTo>
                  <a:lnTo>
                    <a:pt x="1214438" y="272415"/>
                  </a:lnTo>
                  <a:lnTo>
                    <a:pt x="1215390" y="276225"/>
                  </a:lnTo>
                  <a:lnTo>
                    <a:pt x="1217295" y="278130"/>
                  </a:lnTo>
                  <a:lnTo>
                    <a:pt x="1220152" y="279082"/>
                  </a:lnTo>
                  <a:lnTo>
                    <a:pt x="1235393" y="276225"/>
                  </a:lnTo>
                  <a:lnTo>
                    <a:pt x="1239202" y="276225"/>
                  </a:lnTo>
                  <a:lnTo>
                    <a:pt x="1241107" y="280988"/>
                  </a:lnTo>
                  <a:lnTo>
                    <a:pt x="1243965" y="282893"/>
                  </a:lnTo>
                  <a:lnTo>
                    <a:pt x="1247775" y="283845"/>
                  </a:lnTo>
                  <a:lnTo>
                    <a:pt x="1257300" y="283845"/>
                  </a:lnTo>
                  <a:lnTo>
                    <a:pt x="1261110" y="281940"/>
                  </a:lnTo>
                  <a:lnTo>
                    <a:pt x="1263968" y="279082"/>
                  </a:lnTo>
                  <a:lnTo>
                    <a:pt x="1264920" y="276225"/>
                  </a:lnTo>
                  <a:lnTo>
                    <a:pt x="1268730" y="262890"/>
                  </a:lnTo>
                  <a:lnTo>
                    <a:pt x="1269682" y="256222"/>
                  </a:lnTo>
                  <a:lnTo>
                    <a:pt x="1270635" y="253365"/>
                  </a:lnTo>
                  <a:lnTo>
                    <a:pt x="1268730" y="250507"/>
                  </a:lnTo>
                  <a:lnTo>
                    <a:pt x="1263968" y="244793"/>
                  </a:lnTo>
                  <a:lnTo>
                    <a:pt x="1263015" y="242888"/>
                  </a:lnTo>
                  <a:lnTo>
                    <a:pt x="1263968" y="240030"/>
                  </a:lnTo>
                  <a:lnTo>
                    <a:pt x="1265873" y="234315"/>
                  </a:lnTo>
                  <a:lnTo>
                    <a:pt x="1268730" y="230505"/>
                  </a:lnTo>
                  <a:lnTo>
                    <a:pt x="1271588" y="227647"/>
                  </a:lnTo>
                  <a:lnTo>
                    <a:pt x="1290638" y="215265"/>
                  </a:lnTo>
                  <a:lnTo>
                    <a:pt x="1294448" y="211455"/>
                  </a:lnTo>
                  <a:lnTo>
                    <a:pt x="1301115" y="199072"/>
                  </a:lnTo>
                  <a:lnTo>
                    <a:pt x="1305877" y="191453"/>
                  </a:lnTo>
                  <a:lnTo>
                    <a:pt x="1314450" y="175260"/>
                  </a:lnTo>
                  <a:lnTo>
                    <a:pt x="1316355" y="173355"/>
                  </a:lnTo>
                  <a:lnTo>
                    <a:pt x="1320165" y="169545"/>
                  </a:lnTo>
                  <a:lnTo>
                    <a:pt x="1323975" y="168593"/>
                  </a:lnTo>
                  <a:lnTo>
                    <a:pt x="1326832" y="169545"/>
                  </a:lnTo>
                  <a:lnTo>
                    <a:pt x="1332548" y="171450"/>
                  </a:lnTo>
                  <a:lnTo>
                    <a:pt x="1340168" y="173355"/>
                  </a:lnTo>
                  <a:lnTo>
                    <a:pt x="1343025" y="172403"/>
                  </a:lnTo>
                  <a:lnTo>
                    <a:pt x="1344930" y="171450"/>
                  </a:lnTo>
                  <a:lnTo>
                    <a:pt x="1344930" y="168593"/>
                  </a:lnTo>
                  <a:lnTo>
                    <a:pt x="1343025" y="160020"/>
                  </a:lnTo>
                  <a:lnTo>
                    <a:pt x="1343977" y="158115"/>
                  </a:lnTo>
                  <a:lnTo>
                    <a:pt x="1345882" y="155257"/>
                  </a:lnTo>
                  <a:lnTo>
                    <a:pt x="1352550" y="148590"/>
                  </a:lnTo>
                  <a:lnTo>
                    <a:pt x="1358265" y="146685"/>
                  </a:lnTo>
                  <a:lnTo>
                    <a:pt x="1365885" y="140018"/>
                  </a:lnTo>
                  <a:lnTo>
                    <a:pt x="1367790" y="139065"/>
                  </a:lnTo>
                  <a:lnTo>
                    <a:pt x="1370648" y="140018"/>
                  </a:lnTo>
                  <a:lnTo>
                    <a:pt x="1373505" y="140970"/>
                  </a:lnTo>
                  <a:lnTo>
                    <a:pt x="1374457" y="143828"/>
                  </a:lnTo>
                  <a:lnTo>
                    <a:pt x="1374457" y="146685"/>
                  </a:lnTo>
                  <a:lnTo>
                    <a:pt x="1373505" y="152400"/>
                  </a:lnTo>
                  <a:lnTo>
                    <a:pt x="1374457" y="155257"/>
                  </a:lnTo>
                  <a:lnTo>
                    <a:pt x="1375410" y="157163"/>
                  </a:lnTo>
                  <a:lnTo>
                    <a:pt x="1380173" y="160020"/>
                  </a:lnTo>
                  <a:lnTo>
                    <a:pt x="1382077" y="161925"/>
                  </a:lnTo>
                  <a:lnTo>
                    <a:pt x="1383030" y="164782"/>
                  </a:lnTo>
                  <a:lnTo>
                    <a:pt x="1383982" y="170497"/>
                  </a:lnTo>
                  <a:lnTo>
                    <a:pt x="1385888" y="172403"/>
                  </a:lnTo>
                  <a:lnTo>
                    <a:pt x="1387793" y="174307"/>
                  </a:lnTo>
                  <a:lnTo>
                    <a:pt x="1393507" y="176213"/>
                  </a:lnTo>
                  <a:lnTo>
                    <a:pt x="1402080" y="178118"/>
                  </a:lnTo>
                  <a:lnTo>
                    <a:pt x="1408748" y="178118"/>
                  </a:lnTo>
                  <a:lnTo>
                    <a:pt x="1412557" y="177165"/>
                  </a:lnTo>
                  <a:lnTo>
                    <a:pt x="1415415" y="176213"/>
                  </a:lnTo>
                  <a:lnTo>
                    <a:pt x="1422082" y="169545"/>
                  </a:lnTo>
                  <a:lnTo>
                    <a:pt x="1426845" y="165735"/>
                  </a:lnTo>
                  <a:lnTo>
                    <a:pt x="1429702" y="164782"/>
                  </a:lnTo>
                  <a:lnTo>
                    <a:pt x="1431607" y="165735"/>
                  </a:lnTo>
                  <a:lnTo>
                    <a:pt x="1432560" y="168593"/>
                  </a:lnTo>
                  <a:lnTo>
                    <a:pt x="1433513" y="171450"/>
                  </a:lnTo>
                  <a:lnTo>
                    <a:pt x="1432560" y="191453"/>
                  </a:lnTo>
                  <a:lnTo>
                    <a:pt x="1432560" y="194310"/>
                  </a:lnTo>
                  <a:lnTo>
                    <a:pt x="1433513" y="196215"/>
                  </a:lnTo>
                  <a:lnTo>
                    <a:pt x="1437323" y="203835"/>
                  </a:lnTo>
                  <a:lnTo>
                    <a:pt x="1457325" y="231457"/>
                  </a:lnTo>
                  <a:lnTo>
                    <a:pt x="1461135" y="238125"/>
                  </a:lnTo>
                  <a:lnTo>
                    <a:pt x="1463040" y="245745"/>
                  </a:lnTo>
                  <a:lnTo>
                    <a:pt x="1463993" y="260985"/>
                  </a:lnTo>
                  <a:lnTo>
                    <a:pt x="1464945" y="266700"/>
                  </a:lnTo>
                  <a:lnTo>
                    <a:pt x="1466850" y="268605"/>
                  </a:lnTo>
                  <a:lnTo>
                    <a:pt x="1470660" y="269557"/>
                  </a:lnTo>
                  <a:lnTo>
                    <a:pt x="1478280" y="269557"/>
                  </a:lnTo>
                  <a:lnTo>
                    <a:pt x="1482090" y="267653"/>
                  </a:lnTo>
                  <a:lnTo>
                    <a:pt x="1483995" y="265747"/>
                  </a:lnTo>
                  <a:lnTo>
                    <a:pt x="1484948" y="259080"/>
                  </a:lnTo>
                  <a:lnTo>
                    <a:pt x="1483995" y="256222"/>
                  </a:lnTo>
                  <a:lnTo>
                    <a:pt x="1485900" y="249555"/>
                  </a:lnTo>
                  <a:lnTo>
                    <a:pt x="1489710" y="245745"/>
                  </a:lnTo>
                  <a:lnTo>
                    <a:pt x="1492568" y="244793"/>
                  </a:lnTo>
                  <a:lnTo>
                    <a:pt x="1495425" y="245745"/>
                  </a:lnTo>
                  <a:lnTo>
                    <a:pt x="1500188" y="248603"/>
                  </a:lnTo>
                  <a:lnTo>
                    <a:pt x="1506855" y="253365"/>
                  </a:lnTo>
                  <a:lnTo>
                    <a:pt x="1509713" y="255270"/>
                  </a:lnTo>
                  <a:lnTo>
                    <a:pt x="1513523" y="256222"/>
                  </a:lnTo>
                  <a:lnTo>
                    <a:pt x="1520190" y="256222"/>
                  </a:lnTo>
                  <a:lnTo>
                    <a:pt x="1524952" y="256222"/>
                  </a:lnTo>
                  <a:lnTo>
                    <a:pt x="1527810" y="254318"/>
                  </a:lnTo>
                  <a:lnTo>
                    <a:pt x="1537335" y="246697"/>
                  </a:lnTo>
                  <a:lnTo>
                    <a:pt x="1542098" y="240030"/>
                  </a:lnTo>
                  <a:lnTo>
                    <a:pt x="1544955" y="235268"/>
                  </a:lnTo>
                  <a:lnTo>
                    <a:pt x="1547813" y="228600"/>
                  </a:lnTo>
                  <a:lnTo>
                    <a:pt x="1549718" y="225743"/>
                  </a:lnTo>
                  <a:lnTo>
                    <a:pt x="1553527" y="221932"/>
                  </a:lnTo>
                  <a:lnTo>
                    <a:pt x="1556385" y="220980"/>
                  </a:lnTo>
                  <a:lnTo>
                    <a:pt x="1560195" y="221932"/>
                  </a:lnTo>
                  <a:lnTo>
                    <a:pt x="1565910" y="223838"/>
                  </a:lnTo>
                  <a:lnTo>
                    <a:pt x="1579245" y="233363"/>
                  </a:lnTo>
                  <a:lnTo>
                    <a:pt x="1585913" y="239078"/>
                  </a:lnTo>
                  <a:lnTo>
                    <a:pt x="1593532" y="241935"/>
                  </a:lnTo>
                  <a:lnTo>
                    <a:pt x="1602105" y="241935"/>
                  </a:lnTo>
                  <a:lnTo>
                    <a:pt x="1605915" y="240982"/>
                  </a:lnTo>
                  <a:lnTo>
                    <a:pt x="1608773" y="238125"/>
                  </a:lnTo>
                  <a:lnTo>
                    <a:pt x="1610677" y="234315"/>
                  </a:lnTo>
                  <a:lnTo>
                    <a:pt x="1614488" y="230505"/>
                  </a:lnTo>
                  <a:lnTo>
                    <a:pt x="1638300" y="210503"/>
                  </a:lnTo>
                  <a:lnTo>
                    <a:pt x="1642110" y="206693"/>
                  </a:lnTo>
                  <a:lnTo>
                    <a:pt x="1644015" y="202882"/>
                  </a:lnTo>
                  <a:lnTo>
                    <a:pt x="1644015" y="196215"/>
                  </a:lnTo>
                  <a:lnTo>
                    <a:pt x="1643063" y="194310"/>
                  </a:lnTo>
                  <a:lnTo>
                    <a:pt x="1641157" y="193357"/>
                  </a:lnTo>
                  <a:lnTo>
                    <a:pt x="1631632" y="190500"/>
                  </a:lnTo>
                  <a:lnTo>
                    <a:pt x="1629727" y="188595"/>
                  </a:lnTo>
                  <a:lnTo>
                    <a:pt x="1627823" y="186690"/>
                  </a:lnTo>
                  <a:lnTo>
                    <a:pt x="1615440" y="151447"/>
                  </a:lnTo>
                  <a:lnTo>
                    <a:pt x="1614488" y="148590"/>
                  </a:lnTo>
                  <a:lnTo>
                    <a:pt x="1614488" y="142875"/>
                  </a:lnTo>
                  <a:lnTo>
                    <a:pt x="1614488" y="120968"/>
                  </a:lnTo>
                  <a:lnTo>
                    <a:pt x="1613535" y="112395"/>
                  </a:lnTo>
                  <a:lnTo>
                    <a:pt x="1609725" y="93345"/>
                  </a:lnTo>
                  <a:lnTo>
                    <a:pt x="1605915" y="82868"/>
                  </a:lnTo>
                  <a:lnTo>
                    <a:pt x="1603057" y="79057"/>
                  </a:lnTo>
                  <a:lnTo>
                    <a:pt x="1599248" y="74295"/>
                  </a:lnTo>
                  <a:lnTo>
                    <a:pt x="1593532" y="69532"/>
                  </a:lnTo>
                  <a:lnTo>
                    <a:pt x="1589723" y="65722"/>
                  </a:lnTo>
                  <a:lnTo>
                    <a:pt x="1589723" y="62865"/>
                  </a:lnTo>
                  <a:lnTo>
                    <a:pt x="1589723" y="60007"/>
                  </a:lnTo>
                  <a:lnTo>
                    <a:pt x="1602105" y="25718"/>
                  </a:lnTo>
                  <a:lnTo>
                    <a:pt x="1603057" y="22860"/>
                  </a:lnTo>
                  <a:lnTo>
                    <a:pt x="1608773" y="0"/>
                  </a:lnTo>
                  <a:lnTo>
                    <a:pt x="1740218" y="64770"/>
                  </a:lnTo>
                  <a:lnTo>
                    <a:pt x="1795463" y="106680"/>
                  </a:lnTo>
                  <a:lnTo>
                    <a:pt x="1799273" y="110490"/>
                  </a:lnTo>
                  <a:lnTo>
                    <a:pt x="1803082" y="114300"/>
                  </a:lnTo>
                  <a:lnTo>
                    <a:pt x="1812607" y="129540"/>
                  </a:lnTo>
                  <a:lnTo>
                    <a:pt x="1816418" y="139065"/>
                  </a:lnTo>
                  <a:lnTo>
                    <a:pt x="1822132" y="148590"/>
                  </a:lnTo>
                  <a:lnTo>
                    <a:pt x="1824038" y="151447"/>
                  </a:lnTo>
                  <a:lnTo>
                    <a:pt x="1827848" y="154305"/>
                  </a:lnTo>
                  <a:lnTo>
                    <a:pt x="1877377" y="159068"/>
                  </a:lnTo>
                  <a:lnTo>
                    <a:pt x="1879282" y="160020"/>
                  </a:lnTo>
                  <a:lnTo>
                    <a:pt x="1881188" y="167640"/>
                  </a:lnTo>
                  <a:lnTo>
                    <a:pt x="1884045" y="170497"/>
                  </a:lnTo>
                  <a:lnTo>
                    <a:pt x="1887855" y="172403"/>
                  </a:lnTo>
                  <a:lnTo>
                    <a:pt x="1900238" y="176213"/>
                  </a:lnTo>
                  <a:lnTo>
                    <a:pt x="1903095" y="179070"/>
                  </a:lnTo>
                  <a:lnTo>
                    <a:pt x="1904048" y="181928"/>
                  </a:lnTo>
                  <a:lnTo>
                    <a:pt x="1903095" y="184785"/>
                  </a:lnTo>
                  <a:lnTo>
                    <a:pt x="1901190" y="186690"/>
                  </a:lnTo>
                  <a:lnTo>
                    <a:pt x="1898332" y="187643"/>
                  </a:lnTo>
                  <a:lnTo>
                    <a:pt x="1890713" y="189547"/>
                  </a:lnTo>
                  <a:lnTo>
                    <a:pt x="1888807" y="190500"/>
                  </a:lnTo>
                  <a:lnTo>
                    <a:pt x="1888807" y="193357"/>
                  </a:lnTo>
                  <a:lnTo>
                    <a:pt x="1888807" y="201930"/>
                  </a:lnTo>
                  <a:lnTo>
                    <a:pt x="1888807" y="204788"/>
                  </a:lnTo>
                  <a:lnTo>
                    <a:pt x="1886902" y="206693"/>
                  </a:lnTo>
                  <a:lnTo>
                    <a:pt x="1884045" y="210503"/>
                  </a:lnTo>
                  <a:lnTo>
                    <a:pt x="1879282" y="213360"/>
                  </a:lnTo>
                  <a:lnTo>
                    <a:pt x="1878330" y="215265"/>
                  </a:lnTo>
                  <a:lnTo>
                    <a:pt x="1881188" y="218122"/>
                  </a:lnTo>
                  <a:lnTo>
                    <a:pt x="1888807" y="224790"/>
                  </a:lnTo>
                  <a:lnTo>
                    <a:pt x="1890713" y="226695"/>
                  </a:lnTo>
                  <a:lnTo>
                    <a:pt x="1900238" y="239078"/>
                  </a:lnTo>
                  <a:lnTo>
                    <a:pt x="1902143" y="243840"/>
                  </a:lnTo>
                  <a:lnTo>
                    <a:pt x="1904048" y="245745"/>
                  </a:lnTo>
                  <a:lnTo>
                    <a:pt x="1913573" y="252413"/>
                  </a:lnTo>
                  <a:lnTo>
                    <a:pt x="1916430" y="254318"/>
                  </a:lnTo>
                  <a:lnTo>
                    <a:pt x="1918335" y="258128"/>
                  </a:lnTo>
                  <a:lnTo>
                    <a:pt x="1920240" y="260032"/>
                  </a:lnTo>
                  <a:lnTo>
                    <a:pt x="1922145" y="260032"/>
                  </a:lnTo>
                  <a:lnTo>
                    <a:pt x="1926907" y="257175"/>
                  </a:lnTo>
                  <a:lnTo>
                    <a:pt x="1931670" y="248603"/>
                  </a:lnTo>
                  <a:lnTo>
                    <a:pt x="1937385" y="248603"/>
                  </a:lnTo>
                  <a:lnTo>
                    <a:pt x="1945005" y="250507"/>
                  </a:lnTo>
                  <a:lnTo>
                    <a:pt x="1961198" y="258128"/>
                  </a:lnTo>
                  <a:lnTo>
                    <a:pt x="1966913" y="262890"/>
                  </a:lnTo>
                  <a:lnTo>
                    <a:pt x="1970723" y="266700"/>
                  </a:lnTo>
                  <a:lnTo>
                    <a:pt x="1974532" y="269557"/>
                  </a:lnTo>
                  <a:lnTo>
                    <a:pt x="1997393" y="279082"/>
                  </a:lnTo>
                  <a:lnTo>
                    <a:pt x="2002155" y="283845"/>
                  </a:lnTo>
                  <a:lnTo>
                    <a:pt x="2005013" y="286703"/>
                  </a:lnTo>
                  <a:lnTo>
                    <a:pt x="2006918" y="289560"/>
                  </a:lnTo>
                  <a:lnTo>
                    <a:pt x="2009775" y="290513"/>
                  </a:lnTo>
                  <a:lnTo>
                    <a:pt x="2015490" y="288607"/>
                  </a:lnTo>
                  <a:lnTo>
                    <a:pt x="2019300" y="286703"/>
                  </a:lnTo>
                  <a:lnTo>
                    <a:pt x="2021205" y="284797"/>
                  </a:lnTo>
                  <a:lnTo>
                    <a:pt x="2026920" y="274320"/>
                  </a:lnTo>
                  <a:lnTo>
                    <a:pt x="2030730" y="273368"/>
                  </a:lnTo>
                  <a:lnTo>
                    <a:pt x="2035493" y="273368"/>
                  </a:lnTo>
                  <a:lnTo>
                    <a:pt x="2054543" y="282893"/>
                  </a:lnTo>
                  <a:lnTo>
                    <a:pt x="2058352" y="286703"/>
                  </a:lnTo>
                  <a:lnTo>
                    <a:pt x="2064068" y="292418"/>
                  </a:lnTo>
                  <a:lnTo>
                    <a:pt x="2065973" y="294322"/>
                  </a:lnTo>
                  <a:lnTo>
                    <a:pt x="2069782" y="303847"/>
                  </a:lnTo>
                  <a:lnTo>
                    <a:pt x="2071688" y="309563"/>
                  </a:lnTo>
                  <a:lnTo>
                    <a:pt x="2071688" y="314325"/>
                  </a:lnTo>
                  <a:lnTo>
                    <a:pt x="2073593" y="316230"/>
                  </a:lnTo>
                  <a:lnTo>
                    <a:pt x="2075498" y="316230"/>
                  </a:lnTo>
                  <a:lnTo>
                    <a:pt x="2079307" y="313372"/>
                  </a:lnTo>
                  <a:lnTo>
                    <a:pt x="2081213" y="310515"/>
                  </a:lnTo>
                  <a:lnTo>
                    <a:pt x="2082165" y="306705"/>
                  </a:lnTo>
                  <a:lnTo>
                    <a:pt x="2084070" y="292418"/>
                  </a:lnTo>
                  <a:lnTo>
                    <a:pt x="2086927" y="286703"/>
                  </a:lnTo>
                  <a:lnTo>
                    <a:pt x="2089785" y="284797"/>
                  </a:lnTo>
                  <a:lnTo>
                    <a:pt x="2095500" y="283845"/>
                  </a:lnTo>
                  <a:lnTo>
                    <a:pt x="2105025" y="282893"/>
                  </a:lnTo>
                  <a:lnTo>
                    <a:pt x="2109788" y="280988"/>
                  </a:lnTo>
                  <a:lnTo>
                    <a:pt x="2113598" y="279082"/>
                  </a:lnTo>
                  <a:lnTo>
                    <a:pt x="2114550" y="276225"/>
                  </a:lnTo>
                  <a:lnTo>
                    <a:pt x="2130743" y="273368"/>
                  </a:lnTo>
                  <a:lnTo>
                    <a:pt x="2145983" y="288607"/>
                  </a:lnTo>
                  <a:lnTo>
                    <a:pt x="2155508" y="291465"/>
                  </a:lnTo>
                  <a:lnTo>
                    <a:pt x="2173605" y="292418"/>
                  </a:lnTo>
                  <a:lnTo>
                    <a:pt x="2182177" y="293370"/>
                  </a:lnTo>
                  <a:lnTo>
                    <a:pt x="2190750" y="298132"/>
                  </a:lnTo>
                  <a:lnTo>
                    <a:pt x="2194560" y="302895"/>
                  </a:lnTo>
                  <a:lnTo>
                    <a:pt x="2205038" y="319088"/>
                  </a:lnTo>
                  <a:close/>
                </a:path>
              </a:pathLst>
            </a:custGeom>
            <a:solidFill>
              <a:srgbClr val="2B6AE9"/>
            </a:solidFill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4" name="Полилиния: фигура 16">
              <a:extLst>
                <a:ext uri="{FF2B5EF4-FFF2-40B4-BE49-F238E27FC236}">
                  <a16:creationId xmlns:a16="http://schemas.microsoft.com/office/drawing/2014/main" id="{A0092575-BBF8-2E24-3534-CB8690187797}"/>
                </a:ext>
              </a:extLst>
            </p:cNvPr>
            <p:cNvSpPr/>
            <p:nvPr/>
          </p:nvSpPr>
          <p:spPr>
            <a:xfrm>
              <a:off x="5107305" y="997267"/>
              <a:ext cx="1504950" cy="1914525"/>
            </a:xfrm>
            <a:custGeom>
              <a:avLst/>
              <a:gdLst>
                <a:gd name="connsiteX0" fmla="*/ 677227 w 1504950"/>
                <a:gd name="connsiteY0" fmla="*/ 211455 h 1914525"/>
                <a:gd name="connsiteX1" fmla="*/ 678180 w 1504950"/>
                <a:gd name="connsiteY1" fmla="*/ 218123 h 1914525"/>
                <a:gd name="connsiteX2" fmla="*/ 677227 w 1504950"/>
                <a:gd name="connsiteY2" fmla="*/ 220980 h 1914525"/>
                <a:gd name="connsiteX3" fmla="*/ 676275 w 1504950"/>
                <a:gd name="connsiteY3" fmla="*/ 222885 h 1914525"/>
                <a:gd name="connsiteX4" fmla="*/ 674370 w 1504950"/>
                <a:gd name="connsiteY4" fmla="*/ 224790 h 1914525"/>
                <a:gd name="connsiteX5" fmla="*/ 671513 w 1504950"/>
                <a:gd name="connsiteY5" fmla="*/ 224790 h 1914525"/>
                <a:gd name="connsiteX6" fmla="*/ 661035 w 1504950"/>
                <a:gd name="connsiteY6" fmla="*/ 223838 h 1914525"/>
                <a:gd name="connsiteX7" fmla="*/ 658177 w 1504950"/>
                <a:gd name="connsiteY7" fmla="*/ 224790 h 1914525"/>
                <a:gd name="connsiteX8" fmla="*/ 656272 w 1504950"/>
                <a:gd name="connsiteY8" fmla="*/ 226695 h 1914525"/>
                <a:gd name="connsiteX9" fmla="*/ 655320 w 1504950"/>
                <a:gd name="connsiteY9" fmla="*/ 230505 h 1914525"/>
                <a:gd name="connsiteX10" fmla="*/ 656272 w 1504950"/>
                <a:gd name="connsiteY10" fmla="*/ 235268 h 1914525"/>
                <a:gd name="connsiteX11" fmla="*/ 662940 w 1504950"/>
                <a:gd name="connsiteY11" fmla="*/ 251460 h 1914525"/>
                <a:gd name="connsiteX12" fmla="*/ 663892 w 1504950"/>
                <a:gd name="connsiteY12" fmla="*/ 257175 h 1914525"/>
                <a:gd name="connsiteX13" fmla="*/ 664845 w 1504950"/>
                <a:gd name="connsiteY13" fmla="*/ 263843 h 1914525"/>
                <a:gd name="connsiteX14" fmla="*/ 663892 w 1504950"/>
                <a:gd name="connsiteY14" fmla="*/ 270510 h 1914525"/>
                <a:gd name="connsiteX15" fmla="*/ 654367 w 1504950"/>
                <a:gd name="connsiteY15" fmla="*/ 317183 h 1914525"/>
                <a:gd name="connsiteX16" fmla="*/ 653415 w 1504950"/>
                <a:gd name="connsiteY16" fmla="*/ 324803 h 1914525"/>
                <a:gd name="connsiteX17" fmla="*/ 652463 w 1504950"/>
                <a:gd name="connsiteY17" fmla="*/ 376238 h 1914525"/>
                <a:gd name="connsiteX18" fmla="*/ 654367 w 1504950"/>
                <a:gd name="connsiteY18" fmla="*/ 401003 h 1914525"/>
                <a:gd name="connsiteX19" fmla="*/ 655320 w 1504950"/>
                <a:gd name="connsiteY19" fmla="*/ 404813 h 1914525"/>
                <a:gd name="connsiteX20" fmla="*/ 656272 w 1504950"/>
                <a:gd name="connsiteY20" fmla="*/ 406718 h 1914525"/>
                <a:gd name="connsiteX21" fmla="*/ 659130 w 1504950"/>
                <a:gd name="connsiteY21" fmla="*/ 408623 h 1914525"/>
                <a:gd name="connsiteX22" fmla="*/ 664845 w 1504950"/>
                <a:gd name="connsiteY22" fmla="*/ 408623 h 1914525"/>
                <a:gd name="connsiteX23" fmla="*/ 667702 w 1504950"/>
                <a:gd name="connsiteY23" fmla="*/ 406718 h 1914525"/>
                <a:gd name="connsiteX24" fmla="*/ 672465 w 1504950"/>
                <a:gd name="connsiteY24" fmla="*/ 402908 h 1914525"/>
                <a:gd name="connsiteX25" fmla="*/ 674370 w 1504950"/>
                <a:gd name="connsiteY25" fmla="*/ 401003 h 1914525"/>
                <a:gd name="connsiteX26" fmla="*/ 677227 w 1504950"/>
                <a:gd name="connsiteY26" fmla="*/ 401003 h 1914525"/>
                <a:gd name="connsiteX27" fmla="*/ 683895 w 1504950"/>
                <a:gd name="connsiteY27" fmla="*/ 404813 h 1914525"/>
                <a:gd name="connsiteX28" fmla="*/ 689610 w 1504950"/>
                <a:gd name="connsiteY28" fmla="*/ 409575 h 1914525"/>
                <a:gd name="connsiteX29" fmla="*/ 696277 w 1504950"/>
                <a:gd name="connsiteY29" fmla="*/ 411480 h 1914525"/>
                <a:gd name="connsiteX30" fmla="*/ 701040 w 1504950"/>
                <a:gd name="connsiteY30" fmla="*/ 411480 h 1914525"/>
                <a:gd name="connsiteX31" fmla="*/ 703897 w 1504950"/>
                <a:gd name="connsiteY31" fmla="*/ 411480 h 1914525"/>
                <a:gd name="connsiteX32" fmla="*/ 708660 w 1504950"/>
                <a:gd name="connsiteY32" fmla="*/ 412433 h 1914525"/>
                <a:gd name="connsiteX33" fmla="*/ 713422 w 1504950"/>
                <a:gd name="connsiteY33" fmla="*/ 415290 h 1914525"/>
                <a:gd name="connsiteX34" fmla="*/ 726757 w 1504950"/>
                <a:gd name="connsiteY34" fmla="*/ 427673 h 1914525"/>
                <a:gd name="connsiteX35" fmla="*/ 729615 w 1504950"/>
                <a:gd name="connsiteY35" fmla="*/ 431483 h 1914525"/>
                <a:gd name="connsiteX36" fmla="*/ 731520 w 1504950"/>
                <a:gd name="connsiteY36" fmla="*/ 436245 h 1914525"/>
                <a:gd name="connsiteX37" fmla="*/ 733425 w 1504950"/>
                <a:gd name="connsiteY37" fmla="*/ 444818 h 1914525"/>
                <a:gd name="connsiteX38" fmla="*/ 734377 w 1504950"/>
                <a:gd name="connsiteY38" fmla="*/ 451485 h 1914525"/>
                <a:gd name="connsiteX39" fmla="*/ 734377 w 1504950"/>
                <a:gd name="connsiteY39" fmla="*/ 458153 h 1914525"/>
                <a:gd name="connsiteX40" fmla="*/ 731520 w 1504950"/>
                <a:gd name="connsiteY40" fmla="*/ 472440 h 1914525"/>
                <a:gd name="connsiteX41" fmla="*/ 728663 w 1504950"/>
                <a:gd name="connsiteY41" fmla="*/ 486728 h 1914525"/>
                <a:gd name="connsiteX42" fmla="*/ 727710 w 1504950"/>
                <a:gd name="connsiteY42" fmla="*/ 490538 h 1914525"/>
                <a:gd name="connsiteX43" fmla="*/ 727710 w 1504950"/>
                <a:gd name="connsiteY43" fmla="*/ 497205 h 1914525"/>
                <a:gd name="connsiteX44" fmla="*/ 728663 w 1504950"/>
                <a:gd name="connsiteY44" fmla="*/ 502920 h 1914525"/>
                <a:gd name="connsiteX45" fmla="*/ 729615 w 1504950"/>
                <a:gd name="connsiteY45" fmla="*/ 505778 h 1914525"/>
                <a:gd name="connsiteX46" fmla="*/ 733425 w 1504950"/>
                <a:gd name="connsiteY46" fmla="*/ 508635 h 1914525"/>
                <a:gd name="connsiteX47" fmla="*/ 738188 w 1504950"/>
                <a:gd name="connsiteY47" fmla="*/ 511492 h 1914525"/>
                <a:gd name="connsiteX48" fmla="*/ 766763 w 1504950"/>
                <a:gd name="connsiteY48" fmla="*/ 521970 h 1914525"/>
                <a:gd name="connsiteX49" fmla="*/ 771525 w 1504950"/>
                <a:gd name="connsiteY49" fmla="*/ 524828 h 1914525"/>
                <a:gd name="connsiteX50" fmla="*/ 788670 w 1504950"/>
                <a:gd name="connsiteY50" fmla="*/ 538163 h 1914525"/>
                <a:gd name="connsiteX51" fmla="*/ 793432 w 1504950"/>
                <a:gd name="connsiteY51" fmla="*/ 542925 h 1914525"/>
                <a:gd name="connsiteX52" fmla="*/ 795338 w 1504950"/>
                <a:gd name="connsiteY52" fmla="*/ 546735 h 1914525"/>
                <a:gd name="connsiteX53" fmla="*/ 795338 w 1504950"/>
                <a:gd name="connsiteY53" fmla="*/ 548640 h 1914525"/>
                <a:gd name="connsiteX54" fmla="*/ 792480 w 1504950"/>
                <a:gd name="connsiteY54" fmla="*/ 566738 h 1914525"/>
                <a:gd name="connsiteX55" fmla="*/ 791527 w 1504950"/>
                <a:gd name="connsiteY55" fmla="*/ 573405 h 1914525"/>
                <a:gd name="connsiteX56" fmla="*/ 787717 w 1504950"/>
                <a:gd name="connsiteY56" fmla="*/ 582930 h 1914525"/>
                <a:gd name="connsiteX57" fmla="*/ 782955 w 1504950"/>
                <a:gd name="connsiteY57" fmla="*/ 594360 h 1914525"/>
                <a:gd name="connsiteX58" fmla="*/ 775335 w 1504950"/>
                <a:gd name="connsiteY58" fmla="*/ 607695 h 1914525"/>
                <a:gd name="connsiteX59" fmla="*/ 773430 w 1504950"/>
                <a:gd name="connsiteY59" fmla="*/ 612458 h 1914525"/>
                <a:gd name="connsiteX60" fmla="*/ 773430 w 1504950"/>
                <a:gd name="connsiteY60" fmla="*/ 616268 h 1914525"/>
                <a:gd name="connsiteX61" fmla="*/ 775335 w 1504950"/>
                <a:gd name="connsiteY61" fmla="*/ 618173 h 1914525"/>
                <a:gd name="connsiteX62" fmla="*/ 778192 w 1504950"/>
                <a:gd name="connsiteY62" fmla="*/ 620078 h 1914525"/>
                <a:gd name="connsiteX63" fmla="*/ 783907 w 1504950"/>
                <a:gd name="connsiteY63" fmla="*/ 620078 h 1914525"/>
                <a:gd name="connsiteX64" fmla="*/ 799147 w 1504950"/>
                <a:gd name="connsiteY64" fmla="*/ 615315 h 1914525"/>
                <a:gd name="connsiteX65" fmla="*/ 802957 w 1504950"/>
                <a:gd name="connsiteY65" fmla="*/ 616268 h 1914525"/>
                <a:gd name="connsiteX66" fmla="*/ 807720 w 1504950"/>
                <a:gd name="connsiteY66" fmla="*/ 618173 h 1914525"/>
                <a:gd name="connsiteX67" fmla="*/ 813435 w 1504950"/>
                <a:gd name="connsiteY67" fmla="*/ 623888 h 1914525"/>
                <a:gd name="connsiteX68" fmla="*/ 816292 w 1504950"/>
                <a:gd name="connsiteY68" fmla="*/ 627698 h 1914525"/>
                <a:gd name="connsiteX69" fmla="*/ 820102 w 1504950"/>
                <a:gd name="connsiteY69" fmla="*/ 632460 h 1914525"/>
                <a:gd name="connsiteX70" fmla="*/ 822007 w 1504950"/>
                <a:gd name="connsiteY70" fmla="*/ 634365 h 1914525"/>
                <a:gd name="connsiteX71" fmla="*/ 824865 w 1504950"/>
                <a:gd name="connsiteY71" fmla="*/ 635318 h 1914525"/>
                <a:gd name="connsiteX72" fmla="*/ 829627 w 1504950"/>
                <a:gd name="connsiteY72" fmla="*/ 634365 h 1914525"/>
                <a:gd name="connsiteX73" fmla="*/ 832485 w 1504950"/>
                <a:gd name="connsiteY73" fmla="*/ 632460 h 1914525"/>
                <a:gd name="connsiteX74" fmla="*/ 835342 w 1504950"/>
                <a:gd name="connsiteY74" fmla="*/ 630555 h 1914525"/>
                <a:gd name="connsiteX75" fmla="*/ 839152 w 1504950"/>
                <a:gd name="connsiteY75" fmla="*/ 621983 h 1914525"/>
                <a:gd name="connsiteX76" fmla="*/ 841057 w 1504950"/>
                <a:gd name="connsiteY76" fmla="*/ 621030 h 1914525"/>
                <a:gd name="connsiteX77" fmla="*/ 843915 w 1504950"/>
                <a:gd name="connsiteY77" fmla="*/ 620078 h 1914525"/>
                <a:gd name="connsiteX78" fmla="*/ 868680 w 1504950"/>
                <a:gd name="connsiteY78" fmla="*/ 626745 h 1914525"/>
                <a:gd name="connsiteX79" fmla="*/ 875347 w 1504950"/>
                <a:gd name="connsiteY79" fmla="*/ 627698 h 1914525"/>
                <a:gd name="connsiteX80" fmla="*/ 879157 w 1504950"/>
                <a:gd name="connsiteY80" fmla="*/ 626745 h 1914525"/>
                <a:gd name="connsiteX81" fmla="*/ 886777 w 1504950"/>
                <a:gd name="connsiteY81" fmla="*/ 619125 h 1914525"/>
                <a:gd name="connsiteX82" fmla="*/ 892492 w 1504950"/>
                <a:gd name="connsiteY82" fmla="*/ 617220 h 1914525"/>
                <a:gd name="connsiteX83" fmla="*/ 899160 w 1504950"/>
                <a:gd name="connsiteY83" fmla="*/ 617220 h 1914525"/>
                <a:gd name="connsiteX84" fmla="*/ 927735 w 1504950"/>
                <a:gd name="connsiteY84" fmla="*/ 619125 h 1914525"/>
                <a:gd name="connsiteX85" fmla="*/ 933450 w 1504950"/>
                <a:gd name="connsiteY85" fmla="*/ 619125 h 1914525"/>
                <a:gd name="connsiteX86" fmla="*/ 939165 w 1504950"/>
                <a:gd name="connsiteY86" fmla="*/ 617220 h 1914525"/>
                <a:gd name="connsiteX87" fmla="*/ 942022 w 1504950"/>
                <a:gd name="connsiteY87" fmla="*/ 616268 h 1914525"/>
                <a:gd name="connsiteX88" fmla="*/ 947738 w 1504950"/>
                <a:gd name="connsiteY88" fmla="*/ 611505 h 1914525"/>
                <a:gd name="connsiteX89" fmla="*/ 952500 w 1504950"/>
                <a:gd name="connsiteY89" fmla="*/ 608648 h 1914525"/>
                <a:gd name="connsiteX90" fmla="*/ 955357 w 1504950"/>
                <a:gd name="connsiteY90" fmla="*/ 608648 h 1914525"/>
                <a:gd name="connsiteX91" fmla="*/ 959167 w 1504950"/>
                <a:gd name="connsiteY91" fmla="*/ 609600 h 1914525"/>
                <a:gd name="connsiteX92" fmla="*/ 961072 w 1504950"/>
                <a:gd name="connsiteY92" fmla="*/ 612458 h 1914525"/>
                <a:gd name="connsiteX93" fmla="*/ 962977 w 1504950"/>
                <a:gd name="connsiteY93" fmla="*/ 617220 h 1914525"/>
                <a:gd name="connsiteX94" fmla="*/ 967740 w 1504950"/>
                <a:gd name="connsiteY94" fmla="*/ 623888 h 1914525"/>
                <a:gd name="connsiteX95" fmla="*/ 971550 w 1504950"/>
                <a:gd name="connsiteY95" fmla="*/ 628650 h 1914525"/>
                <a:gd name="connsiteX96" fmla="*/ 972502 w 1504950"/>
                <a:gd name="connsiteY96" fmla="*/ 631508 h 1914525"/>
                <a:gd name="connsiteX97" fmla="*/ 971550 w 1504950"/>
                <a:gd name="connsiteY97" fmla="*/ 634365 h 1914525"/>
                <a:gd name="connsiteX98" fmla="*/ 969645 w 1504950"/>
                <a:gd name="connsiteY98" fmla="*/ 641033 h 1914525"/>
                <a:gd name="connsiteX99" fmla="*/ 969645 w 1504950"/>
                <a:gd name="connsiteY99" fmla="*/ 643890 h 1914525"/>
                <a:gd name="connsiteX100" fmla="*/ 971550 w 1504950"/>
                <a:gd name="connsiteY100" fmla="*/ 646748 h 1914525"/>
                <a:gd name="connsiteX101" fmla="*/ 974407 w 1504950"/>
                <a:gd name="connsiteY101" fmla="*/ 648653 h 1914525"/>
                <a:gd name="connsiteX102" fmla="*/ 982027 w 1504950"/>
                <a:gd name="connsiteY102" fmla="*/ 649605 h 1914525"/>
                <a:gd name="connsiteX103" fmla="*/ 989647 w 1504950"/>
                <a:gd name="connsiteY103" fmla="*/ 650558 h 1914525"/>
                <a:gd name="connsiteX104" fmla="*/ 993457 w 1504950"/>
                <a:gd name="connsiteY104" fmla="*/ 651510 h 1914525"/>
                <a:gd name="connsiteX105" fmla="*/ 995363 w 1504950"/>
                <a:gd name="connsiteY105" fmla="*/ 653415 h 1914525"/>
                <a:gd name="connsiteX106" fmla="*/ 995363 w 1504950"/>
                <a:gd name="connsiteY106" fmla="*/ 657225 h 1914525"/>
                <a:gd name="connsiteX107" fmla="*/ 995363 w 1504950"/>
                <a:gd name="connsiteY107" fmla="*/ 664845 h 1914525"/>
                <a:gd name="connsiteX108" fmla="*/ 997267 w 1504950"/>
                <a:gd name="connsiteY108" fmla="*/ 667703 h 1914525"/>
                <a:gd name="connsiteX109" fmla="*/ 1009650 w 1504950"/>
                <a:gd name="connsiteY109" fmla="*/ 678180 h 1914525"/>
                <a:gd name="connsiteX110" fmla="*/ 1016317 w 1504950"/>
                <a:gd name="connsiteY110" fmla="*/ 685800 h 1914525"/>
                <a:gd name="connsiteX111" fmla="*/ 1020127 w 1504950"/>
                <a:gd name="connsiteY111" fmla="*/ 690563 h 1914525"/>
                <a:gd name="connsiteX112" fmla="*/ 1022032 w 1504950"/>
                <a:gd name="connsiteY112" fmla="*/ 695325 h 1914525"/>
                <a:gd name="connsiteX113" fmla="*/ 1023938 w 1504950"/>
                <a:gd name="connsiteY113" fmla="*/ 700088 h 1914525"/>
                <a:gd name="connsiteX114" fmla="*/ 1026795 w 1504950"/>
                <a:gd name="connsiteY114" fmla="*/ 711518 h 1914525"/>
                <a:gd name="connsiteX115" fmla="*/ 1027747 w 1504950"/>
                <a:gd name="connsiteY115" fmla="*/ 720090 h 1914525"/>
                <a:gd name="connsiteX116" fmla="*/ 1027747 w 1504950"/>
                <a:gd name="connsiteY116" fmla="*/ 726758 h 1914525"/>
                <a:gd name="connsiteX117" fmla="*/ 1026795 w 1504950"/>
                <a:gd name="connsiteY117" fmla="*/ 730568 h 1914525"/>
                <a:gd name="connsiteX118" fmla="*/ 1024890 w 1504950"/>
                <a:gd name="connsiteY118" fmla="*/ 736283 h 1914525"/>
                <a:gd name="connsiteX119" fmla="*/ 1021080 w 1504950"/>
                <a:gd name="connsiteY119" fmla="*/ 741045 h 1914525"/>
                <a:gd name="connsiteX120" fmla="*/ 1019175 w 1504950"/>
                <a:gd name="connsiteY120" fmla="*/ 742950 h 1914525"/>
                <a:gd name="connsiteX121" fmla="*/ 1017270 w 1504950"/>
                <a:gd name="connsiteY121" fmla="*/ 743903 h 1914525"/>
                <a:gd name="connsiteX122" fmla="*/ 1011555 w 1504950"/>
                <a:gd name="connsiteY122" fmla="*/ 742950 h 1914525"/>
                <a:gd name="connsiteX123" fmla="*/ 1009650 w 1504950"/>
                <a:gd name="connsiteY123" fmla="*/ 743903 h 1914525"/>
                <a:gd name="connsiteX124" fmla="*/ 1007745 w 1504950"/>
                <a:gd name="connsiteY124" fmla="*/ 746760 h 1914525"/>
                <a:gd name="connsiteX125" fmla="*/ 1006792 w 1504950"/>
                <a:gd name="connsiteY125" fmla="*/ 753428 h 1914525"/>
                <a:gd name="connsiteX126" fmla="*/ 1005840 w 1504950"/>
                <a:gd name="connsiteY126" fmla="*/ 756285 h 1914525"/>
                <a:gd name="connsiteX127" fmla="*/ 1006792 w 1504950"/>
                <a:gd name="connsiteY127" fmla="*/ 759143 h 1914525"/>
                <a:gd name="connsiteX128" fmla="*/ 1009650 w 1504950"/>
                <a:gd name="connsiteY128" fmla="*/ 763905 h 1914525"/>
                <a:gd name="connsiteX129" fmla="*/ 1024890 w 1504950"/>
                <a:gd name="connsiteY129" fmla="*/ 779145 h 1914525"/>
                <a:gd name="connsiteX130" fmla="*/ 1027747 w 1504950"/>
                <a:gd name="connsiteY130" fmla="*/ 781050 h 1914525"/>
                <a:gd name="connsiteX131" fmla="*/ 1030605 w 1504950"/>
                <a:gd name="connsiteY131" fmla="*/ 782955 h 1914525"/>
                <a:gd name="connsiteX132" fmla="*/ 1041082 w 1504950"/>
                <a:gd name="connsiteY132" fmla="*/ 782003 h 1914525"/>
                <a:gd name="connsiteX133" fmla="*/ 1044892 w 1504950"/>
                <a:gd name="connsiteY133" fmla="*/ 782955 h 1914525"/>
                <a:gd name="connsiteX134" fmla="*/ 1047750 w 1504950"/>
                <a:gd name="connsiteY134" fmla="*/ 784860 h 1914525"/>
                <a:gd name="connsiteX135" fmla="*/ 1049655 w 1504950"/>
                <a:gd name="connsiteY135" fmla="*/ 788670 h 1914525"/>
                <a:gd name="connsiteX136" fmla="*/ 1050607 w 1504950"/>
                <a:gd name="connsiteY136" fmla="*/ 792480 h 1914525"/>
                <a:gd name="connsiteX137" fmla="*/ 1049655 w 1504950"/>
                <a:gd name="connsiteY137" fmla="*/ 803910 h 1914525"/>
                <a:gd name="connsiteX138" fmla="*/ 1051560 w 1504950"/>
                <a:gd name="connsiteY138" fmla="*/ 808673 h 1914525"/>
                <a:gd name="connsiteX139" fmla="*/ 1054417 w 1504950"/>
                <a:gd name="connsiteY139" fmla="*/ 813435 h 1914525"/>
                <a:gd name="connsiteX140" fmla="*/ 1056323 w 1504950"/>
                <a:gd name="connsiteY140" fmla="*/ 815340 h 1914525"/>
                <a:gd name="connsiteX141" fmla="*/ 1059180 w 1504950"/>
                <a:gd name="connsiteY141" fmla="*/ 816293 h 1914525"/>
                <a:gd name="connsiteX142" fmla="*/ 1062990 w 1504950"/>
                <a:gd name="connsiteY142" fmla="*/ 817245 h 1914525"/>
                <a:gd name="connsiteX143" fmla="*/ 1068705 w 1504950"/>
                <a:gd name="connsiteY143" fmla="*/ 817245 h 1914525"/>
                <a:gd name="connsiteX144" fmla="*/ 1073467 w 1504950"/>
                <a:gd name="connsiteY144" fmla="*/ 819150 h 1914525"/>
                <a:gd name="connsiteX145" fmla="*/ 1078230 w 1504950"/>
                <a:gd name="connsiteY145" fmla="*/ 822960 h 1914525"/>
                <a:gd name="connsiteX146" fmla="*/ 1081088 w 1504950"/>
                <a:gd name="connsiteY146" fmla="*/ 823913 h 1914525"/>
                <a:gd name="connsiteX147" fmla="*/ 1084898 w 1504950"/>
                <a:gd name="connsiteY147" fmla="*/ 825818 h 1914525"/>
                <a:gd name="connsiteX148" fmla="*/ 1090613 w 1504950"/>
                <a:gd name="connsiteY148" fmla="*/ 823913 h 1914525"/>
                <a:gd name="connsiteX149" fmla="*/ 1093470 w 1504950"/>
                <a:gd name="connsiteY149" fmla="*/ 822960 h 1914525"/>
                <a:gd name="connsiteX150" fmla="*/ 1096327 w 1504950"/>
                <a:gd name="connsiteY150" fmla="*/ 821055 h 1914525"/>
                <a:gd name="connsiteX151" fmla="*/ 1103947 w 1504950"/>
                <a:gd name="connsiteY151" fmla="*/ 821055 h 1914525"/>
                <a:gd name="connsiteX152" fmla="*/ 1114425 w 1504950"/>
                <a:gd name="connsiteY152" fmla="*/ 822008 h 1914525"/>
                <a:gd name="connsiteX153" fmla="*/ 1155382 w 1504950"/>
                <a:gd name="connsiteY153" fmla="*/ 832485 h 1914525"/>
                <a:gd name="connsiteX154" fmla="*/ 1161097 w 1504950"/>
                <a:gd name="connsiteY154" fmla="*/ 827723 h 1914525"/>
                <a:gd name="connsiteX155" fmla="*/ 1166813 w 1504950"/>
                <a:gd name="connsiteY155" fmla="*/ 821055 h 1914525"/>
                <a:gd name="connsiteX156" fmla="*/ 1170622 w 1504950"/>
                <a:gd name="connsiteY156" fmla="*/ 818198 h 1914525"/>
                <a:gd name="connsiteX157" fmla="*/ 1175385 w 1504950"/>
                <a:gd name="connsiteY157" fmla="*/ 817245 h 1914525"/>
                <a:gd name="connsiteX158" fmla="*/ 1207770 w 1504950"/>
                <a:gd name="connsiteY158" fmla="*/ 824865 h 1914525"/>
                <a:gd name="connsiteX159" fmla="*/ 1210627 w 1504950"/>
                <a:gd name="connsiteY159" fmla="*/ 824865 h 1914525"/>
                <a:gd name="connsiteX160" fmla="*/ 1215390 w 1504950"/>
                <a:gd name="connsiteY160" fmla="*/ 822960 h 1914525"/>
                <a:gd name="connsiteX161" fmla="*/ 1220152 w 1504950"/>
                <a:gd name="connsiteY161" fmla="*/ 819150 h 1914525"/>
                <a:gd name="connsiteX162" fmla="*/ 1222057 w 1504950"/>
                <a:gd name="connsiteY162" fmla="*/ 818198 h 1914525"/>
                <a:gd name="connsiteX163" fmla="*/ 1224915 w 1504950"/>
                <a:gd name="connsiteY163" fmla="*/ 817245 h 1914525"/>
                <a:gd name="connsiteX164" fmla="*/ 1232535 w 1504950"/>
                <a:gd name="connsiteY164" fmla="*/ 818198 h 1914525"/>
                <a:gd name="connsiteX165" fmla="*/ 1235393 w 1504950"/>
                <a:gd name="connsiteY165" fmla="*/ 818198 h 1914525"/>
                <a:gd name="connsiteX166" fmla="*/ 1237297 w 1504950"/>
                <a:gd name="connsiteY166" fmla="*/ 816293 h 1914525"/>
                <a:gd name="connsiteX167" fmla="*/ 1239202 w 1504950"/>
                <a:gd name="connsiteY167" fmla="*/ 814388 h 1914525"/>
                <a:gd name="connsiteX168" fmla="*/ 1244918 w 1504950"/>
                <a:gd name="connsiteY168" fmla="*/ 807720 h 1914525"/>
                <a:gd name="connsiteX169" fmla="*/ 1248727 w 1504950"/>
                <a:gd name="connsiteY169" fmla="*/ 804863 h 1914525"/>
                <a:gd name="connsiteX170" fmla="*/ 1251585 w 1504950"/>
                <a:gd name="connsiteY170" fmla="*/ 803910 h 1914525"/>
                <a:gd name="connsiteX171" fmla="*/ 1257300 w 1504950"/>
                <a:gd name="connsiteY171" fmla="*/ 802958 h 1914525"/>
                <a:gd name="connsiteX172" fmla="*/ 1260157 w 1504950"/>
                <a:gd name="connsiteY172" fmla="*/ 802005 h 1914525"/>
                <a:gd name="connsiteX173" fmla="*/ 1262063 w 1504950"/>
                <a:gd name="connsiteY173" fmla="*/ 800100 h 1914525"/>
                <a:gd name="connsiteX174" fmla="*/ 1264920 w 1504950"/>
                <a:gd name="connsiteY174" fmla="*/ 795338 h 1914525"/>
                <a:gd name="connsiteX175" fmla="*/ 1268730 w 1504950"/>
                <a:gd name="connsiteY175" fmla="*/ 791528 h 1914525"/>
                <a:gd name="connsiteX176" fmla="*/ 1273493 w 1504950"/>
                <a:gd name="connsiteY176" fmla="*/ 788670 h 1914525"/>
                <a:gd name="connsiteX177" fmla="*/ 1279207 w 1504950"/>
                <a:gd name="connsiteY177" fmla="*/ 787718 h 1914525"/>
                <a:gd name="connsiteX178" fmla="*/ 1300163 w 1504950"/>
                <a:gd name="connsiteY178" fmla="*/ 789623 h 1914525"/>
                <a:gd name="connsiteX179" fmla="*/ 1303972 w 1504950"/>
                <a:gd name="connsiteY179" fmla="*/ 789623 h 1914525"/>
                <a:gd name="connsiteX180" fmla="*/ 1305877 w 1504950"/>
                <a:gd name="connsiteY180" fmla="*/ 788670 h 1914525"/>
                <a:gd name="connsiteX181" fmla="*/ 1309688 w 1504950"/>
                <a:gd name="connsiteY181" fmla="*/ 783908 h 1914525"/>
                <a:gd name="connsiteX182" fmla="*/ 1316355 w 1504950"/>
                <a:gd name="connsiteY182" fmla="*/ 774383 h 1914525"/>
                <a:gd name="connsiteX183" fmla="*/ 1318260 w 1504950"/>
                <a:gd name="connsiteY183" fmla="*/ 772478 h 1914525"/>
                <a:gd name="connsiteX184" fmla="*/ 1323022 w 1504950"/>
                <a:gd name="connsiteY184" fmla="*/ 770573 h 1914525"/>
                <a:gd name="connsiteX185" fmla="*/ 1324927 w 1504950"/>
                <a:gd name="connsiteY185" fmla="*/ 768668 h 1914525"/>
                <a:gd name="connsiteX186" fmla="*/ 1324927 w 1504950"/>
                <a:gd name="connsiteY186" fmla="*/ 766763 h 1914525"/>
                <a:gd name="connsiteX187" fmla="*/ 1324927 w 1504950"/>
                <a:gd name="connsiteY187" fmla="*/ 761048 h 1914525"/>
                <a:gd name="connsiteX188" fmla="*/ 1324927 w 1504950"/>
                <a:gd name="connsiteY188" fmla="*/ 758190 h 1914525"/>
                <a:gd name="connsiteX189" fmla="*/ 1325880 w 1504950"/>
                <a:gd name="connsiteY189" fmla="*/ 755333 h 1914525"/>
                <a:gd name="connsiteX190" fmla="*/ 1328738 w 1504950"/>
                <a:gd name="connsiteY190" fmla="*/ 751523 h 1914525"/>
                <a:gd name="connsiteX191" fmla="*/ 1329690 w 1504950"/>
                <a:gd name="connsiteY191" fmla="*/ 748665 h 1914525"/>
                <a:gd name="connsiteX192" fmla="*/ 1330643 w 1504950"/>
                <a:gd name="connsiteY192" fmla="*/ 740093 h 1914525"/>
                <a:gd name="connsiteX193" fmla="*/ 1331595 w 1504950"/>
                <a:gd name="connsiteY193" fmla="*/ 737235 h 1914525"/>
                <a:gd name="connsiteX194" fmla="*/ 1336357 w 1504950"/>
                <a:gd name="connsiteY194" fmla="*/ 734378 h 1914525"/>
                <a:gd name="connsiteX195" fmla="*/ 1346835 w 1504950"/>
                <a:gd name="connsiteY195" fmla="*/ 730568 h 1914525"/>
                <a:gd name="connsiteX196" fmla="*/ 1358265 w 1504950"/>
                <a:gd name="connsiteY196" fmla="*/ 729615 h 1914525"/>
                <a:gd name="connsiteX197" fmla="*/ 1363027 w 1504950"/>
                <a:gd name="connsiteY197" fmla="*/ 731520 h 1914525"/>
                <a:gd name="connsiteX198" fmla="*/ 1368743 w 1504950"/>
                <a:gd name="connsiteY198" fmla="*/ 735330 h 1914525"/>
                <a:gd name="connsiteX199" fmla="*/ 1383982 w 1504950"/>
                <a:gd name="connsiteY199" fmla="*/ 750570 h 1914525"/>
                <a:gd name="connsiteX200" fmla="*/ 1390650 w 1504950"/>
                <a:gd name="connsiteY200" fmla="*/ 755333 h 1914525"/>
                <a:gd name="connsiteX201" fmla="*/ 1409700 w 1504950"/>
                <a:gd name="connsiteY201" fmla="*/ 781050 h 1914525"/>
                <a:gd name="connsiteX202" fmla="*/ 1414463 w 1504950"/>
                <a:gd name="connsiteY202" fmla="*/ 786765 h 1914525"/>
                <a:gd name="connsiteX203" fmla="*/ 1419225 w 1504950"/>
                <a:gd name="connsiteY203" fmla="*/ 790575 h 1914525"/>
                <a:gd name="connsiteX204" fmla="*/ 1422082 w 1504950"/>
                <a:gd name="connsiteY204" fmla="*/ 791528 h 1914525"/>
                <a:gd name="connsiteX205" fmla="*/ 1428750 w 1504950"/>
                <a:gd name="connsiteY205" fmla="*/ 792480 h 1914525"/>
                <a:gd name="connsiteX206" fmla="*/ 1450657 w 1504950"/>
                <a:gd name="connsiteY206" fmla="*/ 792480 h 1914525"/>
                <a:gd name="connsiteX207" fmla="*/ 1453515 w 1504950"/>
                <a:gd name="connsiteY207" fmla="*/ 795338 h 1914525"/>
                <a:gd name="connsiteX208" fmla="*/ 1456372 w 1504950"/>
                <a:gd name="connsiteY208" fmla="*/ 800100 h 1914525"/>
                <a:gd name="connsiteX209" fmla="*/ 1457325 w 1504950"/>
                <a:gd name="connsiteY209" fmla="*/ 811530 h 1914525"/>
                <a:gd name="connsiteX210" fmla="*/ 1456372 w 1504950"/>
                <a:gd name="connsiteY210" fmla="*/ 822960 h 1914525"/>
                <a:gd name="connsiteX211" fmla="*/ 1455420 w 1504950"/>
                <a:gd name="connsiteY211" fmla="*/ 828675 h 1914525"/>
                <a:gd name="connsiteX212" fmla="*/ 1453515 w 1504950"/>
                <a:gd name="connsiteY212" fmla="*/ 830580 h 1914525"/>
                <a:gd name="connsiteX213" fmla="*/ 1450657 w 1504950"/>
                <a:gd name="connsiteY213" fmla="*/ 832485 h 1914525"/>
                <a:gd name="connsiteX214" fmla="*/ 1439227 w 1504950"/>
                <a:gd name="connsiteY214" fmla="*/ 830580 h 1914525"/>
                <a:gd name="connsiteX215" fmla="*/ 1436370 w 1504950"/>
                <a:gd name="connsiteY215" fmla="*/ 831533 h 1914525"/>
                <a:gd name="connsiteX216" fmla="*/ 1434465 w 1504950"/>
                <a:gd name="connsiteY216" fmla="*/ 832485 h 1914525"/>
                <a:gd name="connsiteX217" fmla="*/ 1428750 w 1504950"/>
                <a:gd name="connsiteY217" fmla="*/ 841058 h 1914525"/>
                <a:gd name="connsiteX218" fmla="*/ 1425893 w 1504950"/>
                <a:gd name="connsiteY218" fmla="*/ 845820 h 1914525"/>
                <a:gd name="connsiteX219" fmla="*/ 1424940 w 1504950"/>
                <a:gd name="connsiteY219" fmla="*/ 848678 h 1914525"/>
                <a:gd name="connsiteX220" fmla="*/ 1424940 w 1504950"/>
                <a:gd name="connsiteY220" fmla="*/ 852488 h 1914525"/>
                <a:gd name="connsiteX221" fmla="*/ 1426845 w 1504950"/>
                <a:gd name="connsiteY221" fmla="*/ 857250 h 1914525"/>
                <a:gd name="connsiteX222" fmla="*/ 1439227 w 1504950"/>
                <a:gd name="connsiteY222" fmla="*/ 867728 h 1914525"/>
                <a:gd name="connsiteX223" fmla="*/ 1441132 w 1504950"/>
                <a:gd name="connsiteY223" fmla="*/ 869633 h 1914525"/>
                <a:gd name="connsiteX224" fmla="*/ 1443038 w 1504950"/>
                <a:gd name="connsiteY224" fmla="*/ 872490 h 1914525"/>
                <a:gd name="connsiteX225" fmla="*/ 1443990 w 1504950"/>
                <a:gd name="connsiteY225" fmla="*/ 878205 h 1914525"/>
                <a:gd name="connsiteX226" fmla="*/ 1443990 w 1504950"/>
                <a:gd name="connsiteY226" fmla="*/ 885825 h 1914525"/>
                <a:gd name="connsiteX227" fmla="*/ 1444943 w 1504950"/>
                <a:gd name="connsiteY227" fmla="*/ 891540 h 1914525"/>
                <a:gd name="connsiteX228" fmla="*/ 1446847 w 1504950"/>
                <a:gd name="connsiteY228" fmla="*/ 896303 h 1914525"/>
                <a:gd name="connsiteX229" fmla="*/ 1449705 w 1504950"/>
                <a:gd name="connsiteY229" fmla="*/ 899160 h 1914525"/>
                <a:gd name="connsiteX230" fmla="*/ 1453515 w 1504950"/>
                <a:gd name="connsiteY230" fmla="*/ 902018 h 1914525"/>
                <a:gd name="connsiteX231" fmla="*/ 1461135 w 1504950"/>
                <a:gd name="connsiteY231" fmla="*/ 905828 h 1914525"/>
                <a:gd name="connsiteX232" fmla="*/ 1465897 w 1504950"/>
                <a:gd name="connsiteY232" fmla="*/ 906780 h 1914525"/>
                <a:gd name="connsiteX233" fmla="*/ 1469707 w 1504950"/>
                <a:gd name="connsiteY233" fmla="*/ 906780 h 1914525"/>
                <a:gd name="connsiteX234" fmla="*/ 1476375 w 1504950"/>
                <a:gd name="connsiteY234" fmla="*/ 905828 h 1914525"/>
                <a:gd name="connsiteX235" fmla="*/ 1482090 w 1504950"/>
                <a:gd name="connsiteY235" fmla="*/ 906780 h 1914525"/>
                <a:gd name="connsiteX236" fmla="*/ 1484947 w 1504950"/>
                <a:gd name="connsiteY236" fmla="*/ 908685 h 1914525"/>
                <a:gd name="connsiteX237" fmla="*/ 1485900 w 1504950"/>
                <a:gd name="connsiteY237" fmla="*/ 910590 h 1914525"/>
                <a:gd name="connsiteX238" fmla="*/ 1485900 w 1504950"/>
                <a:gd name="connsiteY238" fmla="*/ 914400 h 1914525"/>
                <a:gd name="connsiteX239" fmla="*/ 1484947 w 1504950"/>
                <a:gd name="connsiteY239" fmla="*/ 917258 h 1914525"/>
                <a:gd name="connsiteX240" fmla="*/ 1477327 w 1504950"/>
                <a:gd name="connsiteY240" fmla="*/ 924878 h 1914525"/>
                <a:gd name="connsiteX241" fmla="*/ 1474470 w 1504950"/>
                <a:gd name="connsiteY241" fmla="*/ 928688 h 1914525"/>
                <a:gd name="connsiteX242" fmla="*/ 1477327 w 1504950"/>
                <a:gd name="connsiteY242" fmla="*/ 933450 h 1914525"/>
                <a:gd name="connsiteX243" fmla="*/ 1480185 w 1504950"/>
                <a:gd name="connsiteY243" fmla="*/ 937260 h 1914525"/>
                <a:gd name="connsiteX244" fmla="*/ 1512570 w 1504950"/>
                <a:gd name="connsiteY244" fmla="*/ 956310 h 1914525"/>
                <a:gd name="connsiteX245" fmla="*/ 1499235 w 1504950"/>
                <a:gd name="connsiteY245" fmla="*/ 992505 h 1914525"/>
                <a:gd name="connsiteX246" fmla="*/ 1490663 w 1504950"/>
                <a:gd name="connsiteY246" fmla="*/ 1004888 h 1914525"/>
                <a:gd name="connsiteX247" fmla="*/ 1488757 w 1504950"/>
                <a:gd name="connsiteY247" fmla="*/ 1007745 h 1914525"/>
                <a:gd name="connsiteX248" fmla="*/ 1487805 w 1504950"/>
                <a:gd name="connsiteY248" fmla="*/ 1009650 h 1914525"/>
                <a:gd name="connsiteX249" fmla="*/ 1488757 w 1504950"/>
                <a:gd name="connsiteY249" fmla="*/ 1013460 h 1914525"/>
                <a:gd name="connsiteX250" fmla="*/ 1491615 w 1504950"/>
                <a:gd name="connsiteY250" fmla="*/ 1018223 h 1914525"/>
                <a:gd name="connsiteX251" fmla="*/ 1492568 w 1504950"/>
                <a:gd name="connsiteY251" fmla="*/ 1021080 h 1914525"/>
                <a:gd name="connsiteX252" fmla="*/ 1489710 w 1504950"/>
                <a:gd name="connsiteY252" fmla="*/ 1027748 h 1914525"/>
                <a:gd name="connsiteX253" fmla="*/ 1475422 w 1504950"/>
                <a:gd name="connsiteY253" fmla="*/ 1048703 h 1914525"/>
                <a:gd name="connsiteX254" fmla="*/ 1468755 w 1504950"/>
                <a:gd name="connsiteY254" fmla="*/ 1045845 h 1914525"/>
                <a:gd name="connsiteX255" fmla="*/ 1463993 w 1504950"/>
                <a:gd name="connsiteY255" fmla="*/ 1042988 h 1914525"/>
                <a:gd name="connsiteX256" fmla="*/ 1459230 w 1504950"/>
                <a:gd name="connsiteY256" fmla="*/ 1040130 h 1914525"/>
                <a:gd name="connsiteX257" fmla="*/ 1455420 w 1504950"/>
                <a:gd name="connsiteY257" fmla="*/ 1038225 h 1914525"/>
                <a:gd name="connsiteX258" fmla="*/ 1448752 w 1504950"/>
                <a:gd name="connsiteY258" fmla="*/ 1038225 h 1914525"/>
                <a:gd name="connsiteX259" fmla="*/ 1445895 w 1504950"/>
                <a:gd name="connsiteY259" fmla="*/ 1038225 h 1914525"/>
                <a:gd name="connsiteX260" fmla="*/ 1441132 w 1504950"/>
                <a:gd name="connsiteY260" fmla="*/ 1040130 h 1914525"/>
                <a:gd name="connsiteX261" fmla="*/ 1438275 w 1504950"/>
                <a:gd name="connsiteY261" fmla="*/ 1042035 h 1914525"/>
                <a:gd name="connsiteX262" fmla="*/ 1436370 w 1504950"/>
                <a:gd name="connsiteY262" fmla="*/ 1044893 h 1914525"/>
                <a:gd name="connsiteX263" fmla="*/ 1430655 w 1504950"/>
                <a:gd name="connsiteY263" fmla="*/ 1051560 h 1914525"/>
                <a:gd name="connsiteX264" fmla="*/ 1427797 w 1504950"/>
                <a:gd name="connsiteY264" fmla="*/ 1056323 h 1914525"/>
                <a:gd name="connsiteX265" fmla="*/ 1425893 w 1504950"/>
                <a:gd name="connsiteY265" fmla="*/ 1060133 h 1914525"/>
                <a:gd name="connsiteX266" fmla="*/ 1424940 w 1504950"/>
                <a:gd name="connsiteY266" fmla="*/ 1066800 h 1914525"/>
                <a:gd name="connsiteX267" fmla="*/ 1424940 w 1504950"/>
                <a:gd name="connsiteY267" fmla="*/ 1072515 h 1914525"/>
                <a:gd name="connsiteX268" fmla="*/ 1426845 w 1504950"/>
                <a:gd name="connsiteY268" fmla="*/ 1076325 h 1914525"/>
                <a:gd name="connsiteX269" fmla="*/ 1434465 w 1504950"/>
                <a:gd name="connsiteY269" fmla="*/ 1086803 h 1914525"/>
                <a:gd name="connsiteX270" fmla="*/ 1436370 w 1504950"/>
                <a:gd name="connsiteY270" fmla="*/ 1091565 h 1914525"/>
                <a:gd name="connsiteX271" fmla="*/ 1436370 w 1504950"/>
                <a:gd name="connsiteY271" fmla="*/ 1097280 h 1914525"/>
                <a:gd name="connsiteX272" fmla="*/ 1435418 w 1504950"/>
                <a:gd name="connsiteY272" fmla="*/ 1100138 h 1914525"/>
                <a:gd name="connsiteX273" fmla="*/ 1432560 w 1504950"/>
                <a:gd name="connsiteY273" fmla="*/ 1105853 h 1914525"/>
                <a:gd name="connsiteX274" fmla="*/ 1428750 w 1504950"/>
                <a:gd name="connsiteY274" fmla="*/ 1110615 h 1914525"/>
                <a:gd name="connsiteX275" fmla="*/ 1418272 w 1504950"/>
                <a:gd name="connsiteY275" fmla="*/ 1122045 h 1914525"/>
                <a:gd name="connsiteX276" fmla="*/ 1411605 w 1504950"/>
                <a:gd name="connsiteY276" fmla="*/ 1124903 h 1914525"/>
                <a:gd name="connsiteX277" fmla="*/ 1404938 w 1504950"/>
                <a:gd name="connsiteY277" fmla="*/ 1125855 h 1914525"/>
                <a:gd name="connsiteX278" fmla="*/ 1401127 w 1504950"/>
                <a:gd name="connsiteY278" fmla="*/ 1125855 h 1914525"/>
                <a:gd name="connsiteX279" fmla="*/ 1396365 w 1504950"/>
                <a:gd name="connsiteY279" fmla="*/ 1122998 h 1914525"/>
                <a:gd name="connsiteX280" fmla="*/ 1393507 w 1504950"/>
                <a:gd name="connsiteY280" fmla="*/ 1123950 h 1914525"/>
                <a:gd name="connsiteX281" fmla="*/ 1391602 w 1504950"/>
                <a:gd name="connsiteY281" fmla="*/ 1128713 h 1914525"/>
                <a:gd name="connsiteX282" fmla="*/ 1388745 w 1504950"/>
                <a:gd name="connsiteY282" fmla="*/ 1136333 h 1914525"/>
                <a:gd name="connsiteX283" fmla="*/ 1385888 w 1504950"/>
                <a:gd name="connsiteY283" fmla="*/ 1142048 h 1914525"/>
                <a:gd name="connsiteX284" fmla="*/ 1383030 w 1504950"/>
                <a:gd name="connsiteY284" fmla="*/ 1144905 h 1914525"/>
                <a:gd name="connsiteX285" fmla="*/ 1365885 w 1504950"/>
                <a:gd name="connsiteY285" fmla="*/ 1158240 h 1914525"/>
                <a:gd name="connsiteX286" fmla="*/ 1362075 w 1504950"/>
                <a:gd name="connsiteY286" fmla="*/ 1163003 h 1914525"/>
                <a:gd name="connsiteX287" fmla="*/ 1359218 w 1504950"/>
                <a:gd name="connsiteY287" fmla="*/ 1166813 h 1914525"/>
                <a:gd name="connsiteX288" fmla="*/ 1360170 w 1504950"/>
                <a:gd name="connsiteY288" fmla="*/ 1169670 h 1914525"/>
                <a:gd name="connsiteX289" fmla="*/ 1363980 w 1504950"/>
                <a:gd name="connsiteY289" fmla="*/ 1180148 h 1914525"/>
                <a:gd name="connsiteX290" fmla="*/ 1364932 w 1504950"/>
                <a:gd name="connsiteY290" fmla="*/ 1185863 h 1914525"/>
                <a:gd name="connsiteX291" fmla="*/ 1364932 w 1504950"/>
                <a:gd name="connsiteY291" fmla="*/ 1192530 h 1914525"/>
                <a:gd name="connsiteX292" fmla="*/ 1367790 w 1504950"/>
                <a:gd name="connsiteY292" fmla="*/ 1203960 h 1914525"/>
                <a:gd name="connsiteX293" fmla="*/ 1370647 w 1504950"/>
                <a:gd name="connsiteY293" fmla="*/ 1214438 h 1914525"/>
                <a:gd name="connsiteX294" fmla="*/ 1372552 w 1504950"/>
                <a:gd name="connsiteY294" fmla="*/ 1219200 h 1914525"/>
                <a:gd name="connsiteX295" fmla="*/ 1371600 w 1504950"/>
                <a:gd name="connsiteY295" fmla="*/ 1225868 h 1914525"/>
                <a:gd name="connsiteX296" fmla="*/ 1368743 w 1504950"/>
                <a:gd name="connsiteY296" fmla="*/ 1228725 h 1914525"/>
                <a:gd name="connsiteX297" fmla="*/ 1363980 w 1504950"/>
                <a:gd name="connsiteY297" fmla="*/ 1230630 h 1914525"/>
                <a:gd name="connsiteX298" fmla="*/ 1343977 w 1504950"/>
                <a:gd name="connsiteY298" fmla="*/ 1237298 h 1914525"/>
                <a:gd name="connsiteX299" fmla="*/ 1341120 w 1504950"/>
                <a:gd name="connsiteY299" fmla="*/ 1238250 h 1914525"/>
                <a:gd name="connsiteX300" fmla="*/ 1339215 w 1504950"/>
                <a:gd name="connsiteY300" fmla="*/ 1240155 h 1914525"/>
                <a:gd name="connsiteX301" fmla="*/ 1337310 w 1504950"/>
                <a:gd name="connsiteY301" fmla="*/ 1243965 h 1914525"/>
                <a:gd name="connsiteX302" fmla="*/ 1336357 w 1504950"/>
                <a:gd name="connsiteY302" fmla="*/ 1245870 h 1914525"/>
                <a:gd name="connsiteX303" fmla="*/ 1338263 w 1504950"/>
                <a:gd name="connsiteY303" fmla="*/ 1257300 h 1914525"/>
                <a:gd name="connsiteX304" fmla="*/ 1338263 w 1504950"/>
                <a:gd name="connsiteY304" fmla="*/ 1263968 h 1914525"/>
                <a:gd name="connsiteX305" fmla="*/ 1338263 w 1504950"/>
                <a:gd name="connsiteY305" fmla="*/ 1270635 h 1914525"/>
                <a:gd name="connsiteX306" fmla="*/ 1337310 w 1504950"/>
                <a:gd name="connsiteY306" fmla="*/ 1277303 h 1914525"/>
                <a:gd name="connsiteX307" fmla="*/ 1334452 w 1504950"/>
                <a:gd name="connsiteY307" fmla="*/ 1283018 h 1914525"/>
                <a:gd name="connsiteX308" fmla="*/ 1329690 w 1504950"/>
                <a:gd name="connsiteY308" fmla="*/ 1294448 h 1914525"/>
                <a:gd name="connsiteX309" fmla="*/ 1316355 w 1504950"/>
                <a:gd name="connsiteY309" fmla="*/ 1312545 h 1914525"/>
                <a:gd name="connsiteX310" fmla="*/ 1314450 w 1504950"/>
                <a:gd name="connsiteY310" fmla="*/ 1317308 h 1914525"/>
                <a:gd name="connsiteX311" fmla="*/ 1315402 w 1504950"/>
                <a:gd name="connsiteY311" fmla="*/ 1325880 h 1914525"/>
                <a:gd name="connsiteX312" fmla="*/ 1313497 w 1504950"/>
                <a:gd name="connsiteY312" fmla="*/ 1332548 h 1914525"/>
                <a:gd name="connsiteX313" fmla="*/ 1312545 w 1504950"/>
                <a:gd name="connsiteY313" fmla="*/ 1334453 h 1914525"/>
                <a:gd name="connsiteX314" fmla="*/ 1303020 w 1504950"/>
                <a:gd name="connsiteY314" fmla="*/ 1343978 h 1914525"/>
                <a:gd name="connsiteX315" fmla="*/ 1297305 w 1504950"/>
                <a:gd name="connsiteY315" fmla="*/ 1353503 h 1914525"/>
                <a:gd name="connsiteX316" fmla="*/ 1291590 w 1504950"/>
                <a:gd name="connsiteY316" fmla="*/ 1364933 h 1914525"/>
                <a:gd name="connsiteX317" fmla="*/ 1289685 w 1504950"/>
                <a:gd name="connsiteY317" fmla="*/ 1368743 h 1914525"/>
                <a:gd name="connsiteX318" fmla="*/ 1284922 w 1504950"/>
                <a:gd name="connsiteY318" fmla="*/ 1370648 h 1914525"/>
                <a:gd name="connsiteX319" fmla="*/ 1235393 w 1504950"/>
                <a:gd name="connsiteY319" fmla="*/ 1361123 h 1914525"/>
                <a:gd name="connsiteX320" fmla="*/ 1232535 w 1504950"/>
                <a:gd name="connsiteY320" fmla="*/ 1359218 h 1914525"/>
                <a:gd name="connsiteX321" fmla="*/ 1231582 w 1504950"/>
                <a:gd name="connsiteY321" fmla="*/ 1357313 h 1914525"/>
                <a:gd name="connsiteX322" fmla="*/ 1230630 w 1504950"/>
                <a:gd name="connsiteY322" fmla="*/ 1354455 h 1914525"/>
                <a:gd name="connsiteX323" fmla="*/ 1231582 w 1504950"/>
                <a:gd name="connsiteY323" fmla="*/ 1337310 h 1914525"/>
                <a:gd name="connsiteX324" fmla="*/ 1230630 w 1504950"/>
                <a:gd name="connsiteY324" fmla="*/ 1332548 h 1914525"/>
                <a:gd name="connsiteX325" fmla="*/ 1228725 w 1504950"/>
                <a:gd name="connsiteY325" fmla="*/ 1329690 h 1914525"/>
                <a:gd name="connsiteX326" fmla="*/ 1225868 w 1504950"/>
                <a:gd name="connsiteY326" fmla="*/ 1328738 h 1914525"/>
                <a:gd name="connsiteX327" fmla="*/ 1223010 w 1504950"/>
                <a:gd name="connsiteY327" fmla="*/ 1328738 h 1914525"/>
                <a:gd name="connsiteX328" fmla="*/ 1221105 w 1504950"/>
                <a:gd name="connsiteY328" fmla="*/ 1330643 h 1914525"/>
                <a:gd name="connsiteX329" fmla="*/ 1219200 w 1504950"/>
                <a:gd name="connsiteY329" fmla="*/ 1334453 h 1914525"/>
                <a:gd name="connsiteX330" fmla="*/ 1216343 w 1504950"/>
                <a:gd name="connsiteY330" fmla="*/ 1349693 h 1914525"/>
                <a:gd name="connsiteX331" fmla="*/ 1215390 w 1504950"/>
                <a:gd name="connsiteY331" fmla="*/ 1352550 h 1914525"/>
                <a:gd name="connsiteX332" fmla="*/ 1212532 w 1504950"/>
                <a:gd name="connsiteY332" fmla="*/ 1357313 h 1914525"/>
                <a:gd name="connsiteX333" fmla="*/ 1209675 w 1504950"/>
                <a:gd name="connsiteY333" fmla="*/ 1359218 h 1914525"/>
                <a:gd name="connsiteX334" fmla="*/ 1205865 w 1504950"/>
                <a:gd name="connsiteY334" fmla="*/ 1360170 h 1914525"/>
                <a:gd name="connsiteX335" fmla="*/ 1199197 w 1504950"/>
                <a:gd name="connsiteY335" fmla="*/ 1361123 h 1914525"/>
                <a:gd name="connsiteX336" fmla="*/ 1195388 w 1504950"/>
                <a:gd name="connsiteY336" fmla="*/ 1360170 h 1914525"/>
                <a:gd name="connsiteX337" fmla="*/ 1192530 w 1504950"/>
                <a:gd name="connsiteY337" fmla="*/ 1358265 h 1914525"/>
                <a:gd name="connsiteX338" fmla="*/ 1187768 w 1504950"/>
                <a:gd name="connsiteY338" fmla="*/ 1354455 h 1914525"/>
                <a:gd name="connsiteX339" fmla="*/ 1185863 w 1504950"/>
                <a:gd name="connsiteY339" fmla="*/ 1354455 h 1914525"/>
                <a:gd name="connsiteX340" fmla="*/ 1183005 w 1504950"/>
                <a:gd name="connsiteY340" fmla="*/ 1355408 h 1914525"/>
                <a:gd name="connsiteX341" fmla="*/ 1180147 w 1504950"/>
                <a:gd name="connsiteY341" fmla="*/ 1360170 h 1914525"/>
                <a:gd name="connsiteX342" fmla="*/ 1178243 w 1504950"/>
                <a:gd name="connsiteY342" fmla="*/ 1363980 h 1914525"/>
                <a:gd name="connsiteX343" fmla="*/ 1177290 w 1504950"/>
                <a:gd name="connsiteY343" fmla="*/ 1371600 h 1914525"/>
                <a:gd name="connsiteX344" fmla="*/ 1176338 w 1504950"/>
                <a:gd name="connsiteY344" fmla="*/ 1374458 h 1914525"/>
                <a:gd name="connsiteX345" fmla="*/ 1173480 w 1504950"/>
                <a:gd name="connsiteY345" fmla="*/ 1376363 h 1914525"/>
                <a:gd name="connsiteX346" fmla="*/ 1170622 w 1504950"/>
                <a:gd name="connsiteY346" fmla="*/ 1374458 h 1914525"/>
                <a:gd name="connsiteX347" fmla="*/ 1166813 w 1504950"/>
                <a:gd name="connsiteY347" fmla="*/ 1368743 h 1914525"/>
                <a:gd name="connsiteX348" fmla="*/ 1163002 w 1504950"/>
                <a:gd name="connsiteY348" fmla="*/ 1363980 h 1914525"/>
                <a:gd name="connsiteX349" fmla="*/ 1160145 w 1504950"/>
                <a:gd name="connsiteY349" fmla="*/ 1359218 h 1914525"/>
                <a:gd name="connsiteX350" fmla="*/ 1160145 w 1504950"/>
                <a:gd name="connsiteY350" fmla="*/ 1352550 h 1914525"/>
                <a:gd name="connsiteX351" fmla="*/ 1158240 w 1504950"/>
                <a:gd name="connsiteY351" fmla="*/ 1347788 h 1914525"/>
                <a:gd name="connsiteX352" fmla="*/ 1152525 w 1504950"/>
                <a:gd name="connsiteY352" fmla="*/ 1342073 h 1914525"/>
                <a:gd name="connsiteX353" fmla="*/ 1149668 w 1504950"/>
                <a:gd name="connsiteY353" fmla="*/ 1337310 h 1914525"/>
                <a:gd name="connsiteX354" fmla="*/ 1148715 w 1504950"/>
                <a:gd name="connsiteY354" fmla="*/ 1334453 h 1914525"/>
                <a:gd name="connsiteX355" fmla="*/ 1147763 w 1504950"/>
                <a:gd name="connsiteY355" fmla="*/ 1325880 h 1914525"/>
                <a:gd name="connsiteX356" fmla="*/ 1145857 w 1504950"/>
                <a:gd name="connsiteY356" fmla="*/ 1323975 h 1914525"/>
                <a:gd name="connsiteX357" fmla="*/ 1143952 w 1504950"/>
                <a:gd name="connsiteY357" fmla="*/ 1323023 h 1914525"/>
                <a:gd name="connsiteX358" fmla="*/ 1138238 w 1504950"/>
                <a:gd name="connsiteY358" fmla="*/ 1322070 h 1914525"/>
                <a:gd name="connsiteX359" fmla="*/ 1134427 w 1504950"/>
                <a:gd name="connsiteY359" fmla="*/ 1323023 h 1914525"/>
                <a:gd name="connsiteX360" fmla="*/ 1124902 w 1504950"/>
                <a:gd name="connsiteY360" fmla="*/ 1325880 h 1914525"/>
                <a:gd name="connsiteX361" fmla="*/ 1119188 w 1504950"/>
                <a:gd name="connsiteY361" fmla="*/ 1326833 h 1914525"/>
                <a:gd name="connsiteX362" fmla="*/ 1100138 w 1504950"/>
                <a:gd name="connsiteY362" fmla="*/ 1326833 h 1914525"/>
                <a:gd name="connsiteX363" fmla="*/ 1094423 w 1504950"/>
                <a:gd name="connsiteY363" fmla="*/ 1327785 h 1914525"/>
                <a:gd name="connsiteX364" fmla="*/ 1088707 w 1504950"/>
                <a:gd name="connsiteY364" fmla="*/ 1329690 h 1914525"/>
                <a:gd name="connsiteX365" fmla="*/ 1047750 w 1504950"/>
                <a:gd name="connsiteY365" fmla="*/ 1358265 h 1914525"/>
                <a:gd name="connsiteX366" fmla="*/ 1029652 w 1504950"/>
                <a:gd name="connsiteY366" fmla="*/ 1360170 h 1914525"/>
                <a:gd name="connsiteX367" fmla="*/ 1026795 w 1504950"/>
                <a:gd name="connsiteY367" fmla="*/ 1362075 h 1914525"/>
                <a:gd name="connsiteX368" fmla="*/ 1022985 w 1504950"/>
                <a:gd name="connsiteY368" fmla="*/ 1364933 h 1914525"/>
                <a:gd name="connsiteX369" fmla="*/ 1019175 w 1504950"/>
                <a:gd name="connsiteY369" fmla="*/ 1369695 h 1914525"/>
                <a:gd name="connsiteX370" fmla="*/ 1014413 w 1504950"/>
                <a:gd name="connsiteY370" fmla="*/ 1380173 h 1914525"/>
                <a:gd name="connsiteX371" fmla="*/ 1007745 w 1504950"/>
                <a:gd name="connsiteY371" fmla="*/ 1388745 h 1914525"/>
                <a:gd name="connsiteX372" fmla="*/ 1005840 w 1504950"/>
                <a:gd name="connsiteY372" fmla="*/ 1391603 h 1914525"/>
                <a:gd name="connsiteX373" fmla="*/ 1005840 w 1504950"/>
                <a:gd name="connsiteY373" fmla="*/ 1393508 h 1914525"/>
                <a:gd name="connsiteX374" fmla="*/ 1006792 w 1504950"/>
                <a:gd name="connsiteY374" fmla="*/ 1396365 h 1914525"/>
                <a:gd name="connsiteX375" fmla="*/ 1008697 w 1504950"/>
                <a:gd name="connsiteY375" fmla="*/ 1398270 h 1914525"/>
                <a:gd name="connsiteX376" fmla="*/ 1015365 w 1504950"/>
                <a:gd name="connsiteY376" fmla="*/ 1403033 h 1914525"/>
                <a:gd name="connsiteX377" fmla="*/ 1016317 w 1504950"/>
                <a:gd name="connsiteY377" fmla="*/ 1404938 h 1914525"/>
                <a:gd name="connsiteX378" fmla="*/ 1015365 w 1504950"/>
                <a:gd name="connsiteY378" fmla="*/ 1410653 h 1914525"/>
                <a:gd name="connsiteX379" fmla="*/ 1009650 w 1504950"/>
                <a:gd name="connsiteY379" fmla="*/ 1423035 h 1914525"/>
                <a:gd name="connsiteX380" fmla="*/ 1007745 w 1504950"/>
                <a:gd name="connsiteY380" fmla="*/ 1426845 h 1914525"/>
                <a:gd name="connsiteX381" fmla="*/ 1007745 w 1504950"/>
                <a:gd name="connsiteY381" fmla="*/ 1433513 h 1914525"/>
                <a:gd name="connsiteX382" fmla="*/ 1008697 w 1504950"/>
                <a:gd name="connsiteY382" fmla="*/ 1435418 h 1914525"/>
                <a:gd name="connsiteX383" fmla="*/ 1013460 w 1504950"/>
                <a:gd name="connsiteY383" fmla="*/ 1439228 h 1914525"/>
                <a:gd name="connsiteX384" fmla="*/ 1014413 w 1504950"/>
                <a:gd name="connsiteY384" fmla="*/ 1441133 h 1914525"/>
                <a:gd name="connsiteX385" fmla="*/ 1015365 w 1504950"/>
                <a:gd name="connsiteY385" fmla="*/ 1443990 h 1914525"/>
                <a:gd name="connsiteX386" fmla="*/ 1015365 w 1504950"/>
                <a:gd name="connsiteY386" fmla="*/ 1446848 h 1914525"/>
                <a:gd name="connsiteX387" fmla="*/ 1010602 w 1504950"/>
                <a:gd name="connsiteY387" fmla="*/ 1476375 h 1914525"/>
                <a:gd name="connsiteX388" fmla="*/ 1009650 w 1504950"/>
                <a:gd name="connsiteY388" fmla="*/ 1479233 h 1914525"/>
                <a:gd name="connsiteX389" fmla="*/ 1002030 w 1504950"/>
                <a:gd name="connsiteY389" fmla="*/ 1491615 h 1914525"/>
                <a:gd name="connsiteX390" fmla="*/ 1001077 w 1504950"/>
                <a:gd name="connsiteY390" fmla="*/ 1494473 h 1914525"/>
                <a:gd name="connsiteX391" fmla="*/ 1001077 w 1504950"/>
                <a:gd name="connsiteY391" fmla="*/ 1497330 h 1914525"/>
                <a:gd name="connsiteX392" fmla="*/ 1001077 w 1504950"/>
                <a:gd name="connsiteY392" fmla="*/ 1499235 h 1914525"/>
                <a:gd name="connsiteX393" fmla="*/ 1003935 w 1504950"/>
                <a:gd name="connsiteY393" fmla="*/ 1506855 h 1914525"/>
                <a:gd name="connsiteX394" fmla="*/ 1003935 w 1504950"/>
                <a:gd name="connsiteY394" fmla="*/ 1509713 h 1914525"/>
                <a:gd name="connsiteX395" fmla="*/ 1002982 w 1504950"/>
                <a:gd name="connsiteY395" fmla="*/ 1516380 h 1914525"/>
                <a:gd name="connsiteX396" fmla="*/ 997267 w 1504950"/>
                <a:gd name="connsiteY396" fmla="*/ 1526858 h 1914525"/>
                <a:gd name="connsiteX397" fmla="*/ 990600 w 1504950"/>
                <a:gd name="connsiteY397" fmla="*/ 1544955 h 1914525"/>
                <a:gd name="connsiteX398" fmla="*/ 988695 w 1504950"/>
                <a:gd name="connsiteY398" fmla="*/ 1547813 h 1914525"/>
                <a:gd name="connsiteX399" fmla="*/ 982980 w 1504950"/>
                <a:gd name="connsiteY399" fmla="*/ 1553528 h 1914525"/>
                <a:gd name="connsiteX400" fmla="*/ 980122 w 1504950"/>
                <a:gd name="connsiteY400" fmla="*/ 1557338 h 1914525"/>
                <a:gd name="connsiteX401" fmla="*/ 979170 w 1504950"/>
                <a:gd name="connsiteY401" fmla="*/ 1560195 h 1914525"/>
                <a:gd name="connsiteX402" fmla="*/ 979170 w 1504950"/>
                <a:gd name="connsiteY402" fmla="*/ 1569720 h 1914525"/>
                <a:gd name="connsiteX403" fmla="*/ 980122 w 1504950"/>
                <a:gd name="connsiteY403" fmla="*/ 1575435 h 1914525"/>
                <a:gd name="connsiteX404" fmla="*/ 982027 w 1504950"/>
                <a:gd name="connsiteY404" fmla="*/ 1577340 h 1914525"/>
                <a:gd name="connsiteX405" fmla="*/ 983932 w 1504950"/>
                <a:gd name="connsiteY405" fmla="*/ 1578293 h 1914525"/>
                <a:gd name="connsiteX406" fmla="*/ 990600 w 1504950"/>
                <a:gd name="connsiteY406" fmla="*/ 1580198 h 1914525"/>
                <a:gd name="connsiteX407" fmla="*/ 992505 w 1504950"/>
                <a:gd name="connsiteY407" fmla="*/ 1582103 h 1914525"/>
                <a:gd name="connsiteX408" fmla="*/ 994410 w 1504950"/>
                <a:gd name="connsiteY408" fmla="*/ 1584008 h 1914525"/>
                <a:gd name="connsiteX409" fmla="*/ 995363 w 1504950"/>
                <a:gd name="connsiteY409" fmla="*/ 1586865 h 1914525"/>
                <a:gd name="connsiteX410" fmla="*/ 995363 w 1504950"/>
                <a:gd name="connsiteY410" fmla="*/ 1592580 h 1914525"/>
                <a:gd name="connsiteX411" fmla="*/ 994410 w 1504950"/>
                <a:gd name="connsiteY411" fmla="*/ 1602105 h 1914525"/>
                <a:gd name="connsiteX412" fmla="*/ 993457 w 1504950"/>
                <a:gd name="connsiteY412" fmla="*/ 1607820 h 1914525"/>
                <a:gd name="connsiteX413" fmla="*/ 990600 w 1504950"/>
                <a:gd name="connsiteY413" fmla="*/ 1610678 h 1914525"/>
                <a:gd name="connsiteX414" fmla="*/ 974407 w 1504950"/>
                <a:gd name="connsiteY414" fmla="*/ 1622108 h 1914525"/>
                <a:gd name="connsiteX415" fmla="*/ 969645 w 1504950"/>
                <a:gd name="connsiteY415" fmla="*/ 1626870 h 1914525"/>
                <a:gd name="connsiteX416" fmla="*/ 966788 w 1504950"/>
                <a:gd name="connsiteY416" fmla="*/ 1630680 h 1914525"/>
                <a:gd name="connsiteX417" fmla="*/ 958215 w 1504950"/>
                <a:gd name="connsiteY417" fmla="*/ 1652588 h 1914525"/>
                <a:gd name="connsiteX418" fmla="*/ 955357 w 1504950"/>
                <a:gd name="connsiteY418" fmla="*/ 1656398 h 1914525"/>
                <a:gd name="connsiteX419" fmla="*/ 952500 w 1504950"/>
                <a:gd name="connsiteY419" fmla="*/ 1661160 h 1914525"/>
                <a:gd name="connsiteX420" fmla="*/ 929640 w 1504950"/>
                <a:gd name="connsiteY420" fmla="*/ 1676400 h 1914525"/>
                <a:gd name="connsiteX421" fmla="*/ 926782 w 1504950"/>
                <a:gd name="connsiteY421" fmla="*/ 1679258 h 1914525"/>
                <a:gd name="connsiteX422" fmla="*/ 923925 w 1504950"/>
                <a:gd name="connsiteY422" fmla="*/ 1684020 h 1914525"/>
                <a:gd name="connsiteX423" fmla="*/ 910590 w 1504950"/>
                <a:gd name="connsiteY423" fmla="*/ 1696402 h 1914525"/>
                <a:gd name="connsiteX424" fmla="*/ 904875 w 1504950"/>
                <a:gd name="connsiteY424" fmla="*/ 1702118 h 1914525"/>
                <a:gd name="connsiteX425" fmla="*/ 900113 w 1504950"/>
                <a:gd name="connsiteY425" fmla="*/ 1709738 h 1914525"/>
                <a:gd name="connsiteX426" fmla="*/ 898207 w 1504950"/>
                <a:gd name="connsiteY426" fmla="*/ 1711643 h 1914525"/>
                <a:gd name="connsiteX427" fmla="*/ 888682 w 1504950"/>
                <a:gd name="connsiteY427" fmla="*/ 1719263 h 1914525"/>
                <a:gd name="connsiteX428" fmla="*/ 882967 w 1504950"/>
                <a:gd name="connsiteY428" fmla="*/ 1725930 h 1914525"/>
                <a:gd name="connsiteX429" fmla="*/ 870585 w 1504950"/>
                <a:gd name="connsiteY429" fmla="*/ 1748790 h 1914525"/>
                <a:gd name="connsiteX430" fmla="*/ 868680 w 1504950"/>
                <a:gd name="connsiteY430" fmla="*/ 1755458 h 1914525"/>
                <a:gd name="connsiteX431" fmla="*/ 868680 w 1504950"/>
                <a:gd name="connsiteY431" fmla="*/ 1758315 h 1914525"/>
                <a:gd name="connsiteX432" fmla="*/ 868680 w 1504950"/>
                <a:gd name="connsiteY432" fmla="*/ 1767840 h 1914525"/>
                <a:gd name="connsiteX433" fmla="*/ 868680 w 1504950"/>
                <a:gd name="connsiteY433" fmla="*/ 1770698 h 1914525"/>
                <a:gd name="connsiteX434" fmla="*/ 866775 w 1504950"/>
                <a:gd name="connsiteY434" fmla="*/ 1774508 h 1914525"/>
                <a:gd name="connsiteX435" fmla="*/ 862965 w 1504950"/>
                <a:gd name="connsiteY435" fmla="*/ 1778318 h 1914525"/>
                <a:gd name="connsiteX436" fmla="*/ 856297 w 1504950"/>
                <a:gd name="connsiteY436" fmla="*/ 1776413 h 1914525"/>
                <a:gd name="connsiteX437" fmla="*/ 852488 w 1504950"/>
                <a:gd name="connsiteY437" fmla="*/ 1774508 h 1914525"/>
                <a:gd name="connsiteX438" fmla="*/ 850582 w 1504950"/>
                <a:gd name="connsiteY438" fmla="*/ 1771650 h 1914525"/>
                <a:gd name="connsiteX439" fmla="*/ 847725 w 1504950"/>
                <a:gd name="connsiteY439" fmla="*/ 1766888 h 1914525"/>
                <a:gd name="connsiteX440" fmla="*/ 845820 w 1504950"/>
                <a:gd name="connsiteY440" fmla="*/ 1765935 h 1914525"/>
                <a:gd name="connsiteX441" fmla="*/ 842010 w 1504950"/>
                <a:gd name="connsiteY441" fmla="*/ 1765935 h 1914525"/>
                <a:gd name="connsiteX442" fmla="*/ 837247 w 1504950"/>
                <a:gd name="connsiteY442" fmla="*/ 1769745 h 1914525"/>
                <a:gd name="connsiteX443" fmla="*/ 831532 w 1504950"/>
                <a:gd name="connsiteY443" fmla="*/ 1775460 h 1914525"/>
                <a:gd name="connsiteX444" fmla="*/ 828675 w 1504950"/>
                <a:gd name="connsiteY444" fmla="*/ 1776413 h 1914525"/>
                <a:gd name="connsiteX445" fmla="*/ 822960 w 1504950"/>
                <a:gd name="connsiteY445" fmla="*/ 1777365 h 1914525"/>
                <a:gd name="connsiteX446" fmla="*/ 814388 w 1504950"/>
                <a:gd name="connsiteY446" fmla="*/ 1773555 h 1914525"/>
                <a:gd name="connsiteX447" fmla="*/ 811530 w 1504950"/>
                <a:gd name="connsiteY447" fmla="*/ 1772602 h 1914525"/>
                <a:gd name="connsiteX448" fmla="*/ 806767 w 1504950"/>
                <a:gd name="connsiteY448" fmla="*/ 1775460 h 1914525"/>
                <a:gd name="connsiteX449" fmla="*/ 803910 w 1504950"/>
                <a:gd name="connsiteY449" fmla="*/ 1778318 h 1914525"/>
                <a:gd name="connsiteX450" fmla="*/ 798195 w 1504950"/>
                <a:gd name="connsiteY450" fmla="*/ 1784985 h 1914525"/>
                <a:gd name="connsiteX451" fmla="*/ 796290 w 1504950"/>
                <a:gd name="connsiteY451" fmla="*/ 1786890 h 1914525"/>
                <a:gd name="connsiteX452" fmla="*/ 779145 w 1504950"/>
                <a:gd name="connsiteY452" fmla="*/ 1791652 h 1914525"/>
                <a:gd name="connsiteX453" fmla="*/ 769620 w 1504950"/>
                <a:gd name="connsiteY453" fmla="*/ 1798320 h 1914525"/>
                <a:gd name="connsiteX454" fmla="*/ 766763 w 1504950"/>
                <a:gd name="connsiteY454" fmla="*/ 1798320 h 1914525"/>
                <a:gd name="connsiteX455" fmla="*/ 763905 w 1504950"/>
                <a:gd name="connsiteY455" fmla="*/ 1798320 h 1914525"/>
                <a:gd name="connsiteX456" fmla="*/ 761047 w 1504950"/>
                <a:gd name="connsiteY456" fmla="*/ 1796415 h 1914525"/>
                <a:gd name="connsiteX457" fmla="*/ 759142 w 1504950"/>
                <a:gd name="connsiteY457" fmla="*/ 1793558 h 1914525"/>
                <a:gd name="connsiteX458" fmla="*/ 748665 w 1504950"/>
                <a:gd name="connsiteY458" fmla="*/ 1775460 h 1914525"/>
                <a:gd name="connsiteX459" fmla="*/ 744855 w 1504950"/>
                <a:gd name="connsiteY459" fmla="*/ 1771650 h 1914525"/>
                <a:gd name="connsiteX460" fmla="*/ 741997 w 1504950"/>
                <a:gd name="connsiteY460" fmla="*/ 1771650 h 1914525"/>
                <a:gd name="connsiteX461" fmla="*/ 737235 w 1504950"/>
                <a:gd name="connsiteY461" fmla="*/ 1771650 h 1914525"/>
                <a:gd name="connsiteX462" fmla="*/ 729615 w 1504950"/>
                <a:gd name="connsiteY462" fmla="*/ 1774508 h 1914525"/>
                <a:gd name="connsiteX463" fmla="*/ 722947 w 1504950"/>
                <a:gd name="connsiteY463" fmla="*/ 1773555 h 1914525"/>
                <a:gd name="connsiteX464" fmla="*/ 719138 w 1504950"/>
                <a:gd name="connsiteY464" fmla="*/ 1772602 h 1914525"/>
                <a:gd name="connsiteX465" fmla="*/ 715327 w 1504950"/>
                <a:gd name="connsiteY465" fmla="*/ 1768793 h 1914525"/>
                <a:gd name="connsiteX466" fmla="*/ 713422 w 1504950"/>
                <a:gd name="connsiteY466" fmla="*/ 1767840 h 1914525"/>
                <a:gd name="connsiteX467" fmla="*/ 710565 w 1504950"/>
                <a:gd name="connsiteY467" fmla="*/ 1767840 h 1914525"/>
                <a:gd name="connsiteX468" fmla="*/ 708660 w 1504950"/>
                <a:gd name="connsiteY468" fmla="*/ 1770698 h 1914525"/>
                <a:gd name="connsiteX469" fmla="*/ 701992 w 1504950"/>
                <a:gd name="connsiteY469" fmla="*/ 1784985 h 1914525"/>
                <a:gd name="connsiteX470" fmla="*/ 699135 w 1504950"/>
                <a:gd name="connsiteY470" fmla="*/ 1789748 h 1914525"/>
                <a:gd name="connsiteX471" fmla="*/ 697230 w 1504950"/>
                <a:gd name="connsiteY471" fmla="*/ 1790700 h 1914525"/>
                <a:gd name="connsiteX472" fmla="*/ 694372 w 1504950"/>
                <a:gd name="connsiteY472" fmla="*/ 1791652 h 1914525"/>
                <a:gd name="connsiteX473" fmla="*/ 679132 w 1504950"/>
                <a:gd name="connsiteY473" fmla="*/ 1783080 h 1914525"/>
                <a:gd name="connsiteX474" fmla="*/ 677227 w 1504950"/>
                <a:gd name="connsiteY474" fmla="*/ 1782127 h 1914525"/>
                <a:gd name="connsiteX475" fmla="*/ 674370 w 1504950"/>
                <a:gd name="connsiteY475" fmla="*/ 1782127 h 1914525"/>
                <a:gd name="connsiteX476" fmla="*/ 668655 w 1504950"/>
                <a:gd name="connsiteY476" fmla="*/ 1787843 h 1914525"/>
                <a:gd name="connsiteX477" fmla="*/ 665797 w 1504950"/>
                <a:gd name="connsiteY477" fmla="*/ 1789748 h 1914525"/>
                <a:gd name="connsiteX478" fmla="*/ 648652 w 1504950"/>
                <a:gd name="connsiteY478" fmla="*/ 1795463 h 1914525"/>
                <a:gd name="connsiteX479" fmla="*/ 644842 w 1504950"/>
                <a:gd name="connsiteY479" fmla="*/ 1795463 h 1914525"/>
                <a:gd name="connsiteX480" fmla="*/ 641032 w 1504950"/>
                <a:gd name="connsiteY480" fmla="*/ 1791652 h 1914525"/>
                <a:gd name="connsiteX481" fmla="*/ 636270 w 1504950"/>
                <a:gd name="connsiteY481" fmla="*/ 1784033 h 1914525"/>
                <a:gd name="connsiteX482" fmla="*/ 630555 w 1504950"/>
                <a:gd name="connsiteY482" fmla="*/ 1778318 h 1914525"/>
                <a:gd name="connsiteX483" fmla="*/ 625792 w 1504950"/>
                <a:gd name="connsiteY483" fmla="*/ 1775460 h 1914525"/>
                <a:gd name="connsiteX484" fmla="*/ 622935 w 1504950"/>
                <a:gd name="connsiteY484" fmla="*/ 1774508 h 1914525"/>
                <a:gd name="connsiteX485" fmla="*/ 619125 w 1504950"/>
                <a:gd name="connsiteY485" fmla="*/ 1774508 h 1914525"/>
                <a:gd name="connsiteX486" fmla="*/ 615315 w 1504950"/>
                <a:gd name="connsiteY486" fmla="*/ 1776413 h 1914525"/>
                <a:gd name="connsiteX487" fmla="*/ 609600 w 1504950"/>
                <a:gd name="connsiteY487" fmla="*/ 1779270 h 1914525"/>
                <a:gd name="connsiteX488" fmla="*/ 607695 w 1504950"/>
                <a:gd name="connsiteY488" fmla="*/ 1783080 h 1914525"/>
                <a:gd name="connsiteX489" fmla="*/ 605790 w 1504950"/>
                <a:gd name="connsiteY489" fmla="*/ 1785938 h 1914525"/>
                <a:gd name="connsiteX490" fmla="*/ 603885 w 1504950"/>
                <a:gd name="connsiteY490" fmla="*/ 1792605 h 1914525"/>
                <a:gd name="connsiteX491" fmla="*/ 603885 w 1504950"/>
                <a:gd name="connsiteY491" fmla="*/ 1799273 h 1914525"/>
                <a:gd name="connsiteX492" fmla="*/ 603885 w 1504950"/>
                <a:gd name="connsiteY492" fmla="*/ 1808798 h 1914525"/>
                <a:gd name="connsiteX493" fmla="*/ 602932 w 1504950"/>
                <a:gd name="connsiteY493" fmla="*/ 1811655 h 1914525"/>
                <a:gd name="connsiteX494" fmla="*/ 600075 w 1504950"/>
                <a:gd name="connsiteY494" fmla="*/ 1821180 h 1914525"/>
                <a:gd name="connsiteX495" fmla="*/ 589597 w 1504950"/>
                <a:gd name="connsiteY495" fmla="*/ 1864995 h 1914525"/>
                <a:gd name="connsiteX496" fmla="*/ 588645 w 1504950"/>
                <a:gd name="connsiteY496" fmla="*/ 1867852 h 1914525"/>
                <a:gd name="connsiteX497" fmla="*/ 585788 w 1504950"/>
                <a:gd name="connsiteY497" fmla="*/ 1869758 h 1914525"/>
                <a:gd name="connsiteX498" fmla="*/ 581025 w 1504950"/>
                <a:gd name="connsiteY498" fmla="*/ 1869758 h 1914525"/>
                <a:gd name="connsiteX499" fmla="*/ 576263 w 1504950"/>
                <a:gd name="connsiteY499" fmla="*/ 1866900 h 1914525"/>
                <a:gd name="connsiteX500" fmla="*/ 573405 w 1504950"/>
                <a:gd name="connsiteY500" fmla="*/ 1863090 h 1914525"/>
                <a:gd name="connsiteX501" fmla="*/ 573405 w 1504950"/>
                <a:gd name="connsiteY501" fmla="*/ 1860233 h 1914525"/>
                <a:gd name="connsiteX502" fmla="*/ 573405 w 1504950"/>
                <a:gd name="connsiteY502" fmla="*/ 1853565 h 1914525"/>
                <a:gd name="connsiteX503" fmla="*/ 572452 w 1504950"/>
                <a:gd name="connsiteY503" fmla="*/ 1851660 h 1914525"/>
                <a:gd name="connsiteX504" fmla="*/ 568642 w 1504950"/>
                <a:gd name="connsiteY504" fmla="*/ 1848802 h 1914525"/>
                <a:gd name="connsiteX505" fmla="*/ 476250 w 1504950"/>
                <a:gd name="connsiteY505" fmla="*/ 1829752 h 1914525"/>
                <a:gd name="connsiteX506" fmla="*/ 473392 w 1504950"/>
                <a:gd name="connsiteY506" fmla="*/ 1827848 h 1914525"/>
                <a:gd name="connsiteX507" fmla="*/ 471488 w 1504950"/>
                <a:gd name="connsiteY507" fmla="*/ 1825943 h 1914525"/>
                <a:gd name="connsiteX508" fmla="*/ 470535 w 1504950"/>
                <a:gd name="connsiteY508" fmla="*/ 1824038 h 1914525"/>
                <a:gd name="connsiteX509" fmla="*/ 470535 w 1504950"/>
                <a:gd name="connsiteY509" fmla="*/ 1821180 h 1914525"/>
                <a:gd name="connsiteX510" fmla="*/ 471488 w 1504950"/>
                <a:gd name="connsiteY510" fmla="*/ 1817370 h 1914525"/>
                <a:gd name="connsiteX511" fmla="*/ 474345 w 1504950"/>
                <a:gd name="connsiteY511" fmla="*/ 1812608 h 1914525"/>
                <a:gd name="connsiteX512" fmla="*/ 480060 w 1504950"/>
                <a:gd name="connsiteY512" fmla="*/ 1803083 h 1914525"/>
                <a:gd name="connsiteX513" fmla="*/ 481013 w 1504950"/>
                <a:gd name="connsiteY513" fmla="*/ 1800225 h 1914525"/>
                <a:gd name="connsiteX514" fmla="*/ 481013 w 1504950"/>
                <a:gd name="connsiteY514" fmla="*/ 1798320 h 1914525"/>
                <a:gd name="connsiteX515" fmla="*/ 479107 w 1504950"/>
                <a:gd name="connsiteY515" fmla="*/ 1796415 h 1914525"/>
                <a:gd name="connsiteX516" fmla="*/ 467677 w 1504950"/>
                <a:gd name="connsiteY516" fmla="*/ 1791652 h 1914525"/>
                <a:gd name="connsiteX517" fmla="*/ 464820 w 1504950"/>
                <a:gd name="connsiteY517" fmla="*/ 1791652 h 1914525"/>
                <a:gd name="connsiteX518" fmla="*/ 461963 w 1504950"/>
                <a:gd name="connsiteY518" fmla="*/ 1792605 h 1914525"/>
                <a:gd name="connsiteX519" fmla="*/ 456247 w 1504950"/>
                <a:gd name="connsiteY519" fmla="*/ 1799273 h 1914525"/>
                <a:gd name="connsiteX520" fmla="*/ 452438 w 1504950"/>
                <a:gd name="connsiteY520" fmla="*/ 1804035 h 1914525"/>
                <a:gd name="connsiteX521" fmla="*/ 444817 w 1504950"/>
                <a:gd name="connsiteY521" fmla="*/ 1807845 h 1914525"/>
                <a:gd name="connsiteX522" fmla="*/ 441007 w 1504950"/>
                <a:gd name="connsiteY522" fmla="*/ 1811655 h 1914525"/>
                <a:gd name="connsiteX523" fmla="*/ 439102 w 1504950"/>
                <a:gd name="connsiteY523" fmla="*/ 1814513 h 1914525"/>
                <a:gd name="connsiteX524" fmla="*/ 439102 w 1504950"/>
                <a:gd name="connsiteY524" fmla="*/ 1816418 h 1914525"/>
                <a:gd name="connsiteX525" fmla="*/ 441007 w 1504950"/>
                <a:gd name="connsiteY525" fmla="*/ 1820227 h 1914525"/>
                <a:gd name="connsiteX526" fmla="*/ 443865 w 1504950"/>
                <a:gd name="connsiteY526" fmla="*/ 1826895 h 1914525"/>
                <a:gd name="connsiteX527" fmla="*/ 445770 w 1504950"/>
                <a:gd name="connsiteY527" fmla="*/ 1831658 h 1914525"/>
                <a:gd name="connsiteX528" fmla="*/ 445770 w 1504950"/>
                <a:gd name="connsiteY528" fmla="*/ 1834515 h 1914525"/>
                <a:gd name="connsiteX529" fmla="*/ 442913 w 1504950"/>
                <a:gd name="connsiteY529" fmla="*/ 1835468 h 1914525"/>
                <a:gd name="connsiteX530" fmla="*/ 438150 w 1504950"/>
                <a:gd name="connsiteY530" fmla="*/ 1834515 h 1914525"/>
                <a:gd name="connsiteX531" fmla="*/ 436245 w 1504950"/>
                <a:gd name="connsiteY531" fmla="*/ 1833563 h 1914525"/>
                <a:gd name="connsiteX532" fmla="*/ 430530 w 1504950"/>
                <a:gd name="connsiteY532" fmla="*/ 1830705 h 1914525"/>
                <a:gd name="connsiteX533" fmla="*/ 427672 w 1504950"/>
                <a:gd name="connsiteY533" fmla="*/ 1829752 h 1914525"/>
                <a:gd name="connsiteX534" fmla="*/ 412432 w 1504950"/>
                <a:gd name="connsiteY534" fmla="*/ 1828800 h 1914525"/>
                <a:gd name="connsiteX535" fmla="*/ 408622 w 1504950"/>
                <a:gd name="connsiteY535" fmla="*/ 1827848 h 1914525"/>
                <a:gd name="connsiteX536" fmla="*/ 404813 w 1504950"/>
                <a:gd name="connsiteY536" fmla="*/ 1826895 h 1914525"/>
                <a:gd name="connsiteX537" fmla="*/ 401002 w 1504950"/>
                <a:gd name="connsiteY537" fmla="*/ 1828800 h 1914525"/>
                <a:gd name="connsiteX538" fmla="*/ 397192 w 1504950"/>
                <a:gd name="connsiteY538" fmla="*/ 1833563 h 1914525"/>
                <a:gd name="connsiteX539" fmla="*/ 391477 w 1504950"/>
                <a:gd name="connsiteY539" fmla="*/ 1842135 h 1914525"/>
                <a:gd name="connsiteX540" fmla="*/ 387667 w 1504950"/>
                <a:gd name="connsiteY540" fmla="*/ 1844040 h 1914525"/>
                <a:gd name="connsiteX541" fmla="*/ 382905 w 1504950"/>
                <a:gd name="connsiteY541" fmla="*/ 1844993 h 1914525"/>
                <a:gd name="connsiteX542" fmla="*/ 364807 w 1504950"/>
                <a:gd name="connsiteY542" fmla="*/ 1844993 h 1914525"/>
                <a:gd name="connsiteX543" fmla="*/ 360045 w 1504950"/>
                <a:gd name="connsiteY543" fmla="*/ 1846898 h 1914525"/>
                <a:gd name="connsiteX544" fmla="*/ 348615 w 1504950"/>
                <a:gd name="connsiteY544" fmla="*/ 1855470 h 1914525"/>
                <a:gd name="connsiteX545" fmla="*/ 341947 w 1504950"/>
                <a:gd name="connsiteY545" fmla="*/ 1858327 h 1914525"/>
                <a:gd name="connsiteX546" fmla="*/ 339090 w 1504950"/>
                <a:gd name="connsiteY546" fmla="*/ 1863090 h 1914525"/>
                <a:gd name="connsiteX547" fmla="*/ 336232 w 1504950"/>
                <a:gd name="connsiteY547" fmla="*/ 1871663 h 1914525"/>
                <a:gd name="connsiteX548" fmla="*/ 335280 w 1504950"/>
                <a:gd name="connsiteY548" fmla="*/ 1875473 h 1914525"/>
                <a:gd name="connsiteX549" fmla="*/ 330517 w 1504950"/>
                <a:gd name="connsiteY549" fmla="*/ 1883093 h 1914525"/>
                <a:gd name="connsiteX550" fmla="*/ 326707 w 1504950"/>
                <a:gd name="connsiteY550" fmla="*/ 1886902 h 1914525"/>
                <a:gd name="connsiteX551" fmla="*/ 319088 w 1504950"/>
                <a:gd name="connsiteY551" fmla="*/ 1894523 h 1914525"/>
                <a:gd name="connsiteX552" fmla="*/ 316230 w 1504950"/>
                <a:gd name="connsiteY552" fmla="*/ 1898333 h 1914525"/>
                <a:gd name="connsiteX553" fmla="*/ 316230 w 1504950"/>
                <a:gd name="connsiteY553" fmla="*/ 1901190 h 1914525"/>
                <a:gd name="connsiteX554" fmla="*/ 315277 w 1504950"/>
                <a:gd name="connsiteY554" fmla="*/ 1904048 h 1914525"/>
                <a:gd name="connsiteX555" fmla="*/ 317182 w 1504950"/>
                <a:gd name="connsiteY555" fmla="*/ 1912620 h 1914525"/>
                <a:gd name="connsiteX556" fmla="*/ 315277 w 1504950"/>
                <a:gd name="connsiteY556" fmla="*/ 1915477 h 1914525"/>
                <a:gd name="connsiteX557" fmla="*/ 311467 w 1504950"/>
                <a:gd name="connsiteY557" fmla="*/ 1917383 h 1914525"/>
                <a:gd name="connsiteX558" fmla="*/ 298132 w 1504950"/>
                <a:gd name="connsiteY558" fmla="*/ 1916430 h 1914525"/>
                <a:gd name="connsiteX559" fmla="*/ 266700 w 1504950"/>
                <a:gd name="connsiteY559" fmla="*/ 1920240 h 1914525"/>
                <a:gd name="connsiteX560" fmla="*/ 258127 w 1504950"/>
                <a:gd name="connsiteY560" fmla="*/ 1916430 h 1914525"/>
                <a:gd name="connsiteX561" fmla="*/ 247650 w 1504950"/>
                <a:gd name="connsiteY561" fmla="*/ 1908810 h 1914525"/>
                <a:gd name="connsiteX562" fmla="*/ 243840 w 1504950"/>
                <a:gd name="connsiteY562" fmla="*/ 1904048 h 1914525"/>
                <a:gd name="connsiteX563" fmla="*/ 241935 w 1504950"/>
                <a:gd name="connsiteY563" fmla="*/ 1900238 h 1914525"/>
                <a:gd name="connsiteX564" fmla="*/ 240982 w 1504950"/>
                <a:gd name="connsiteY564" fmla="*/ 1894523 h 1914525"/>
                <a:gd name="connsiteX565" fmla="*/ 241935 w 1504950"/>
                <a:gd name="connsiteY565" fmla="*/ 1891665 h 1914525"/>
                <a:gd name="connsiteX566" fmla="*/ 244792 w 1504950"/>
                <a:gd name="connsiteY566" fmla="*/ 1889760 h 1914525"/>
                <a:gd name="connsiteX567" fmla="*/ 248602 w 1504950"/>
                <a:gd name="connsiteY567" fmla="*/ 1887855 h 1914525"/>
                <a:gd name="connsiteX568" fmla="*/ 249555 w 1504950"/>
                <a:gd name="connsiteY568" fmla="*/ 1884998 h 1914525"/>
                <a:gd name="connsiteX569" fmla="*/ 244792 w 1504950"/>
                <a:gd name="connsiteY569" fmla="*/ 1880235 h 1914525"/>
                <a:gd name="connsiteX570" fmla="*/ 224790 w 1504950"/>
                <a:gd name="connsiteY570" fmla="*/ 1874520 h 1914525"/>
                <a:gd name="connsiteX571" fmla="*/ 220027 w 1504950"/>
                <a:gd name="connsiteY571" fmla="*/ 1863090 h 1914525"/>
                <a:gd name="connsiteX572" fmla="*/ 214313 w 1504950"/>
                <a:gd name="connsiteY572" fmla="*/ 1860233 h 1914525"/>
                <a:gd name="connsiteX573" fmla="*/ 205740 w 1504950"/>
                <a:gd name="connsiteY573" fmla="*/ 1861185 h 1914525"/>
                <a:gd name="connsiteX574" fmla="*/ 199072 w 1504950"/>
                <a:gd name="connsiteY574" fmla="*/ 1861185 h 1914525"/>
                <a:gd name="connsiteX575" fmla="*/ 195263 w 1504950"/>
                <a:gd name="connsiteY575" fmla="*/ 1859280 h 1914525"/>
                <a:gd name="connsiteX576" fmla="*/ 193357 w 1504950"/>
                <a:gd name="connsiteY576" fmla="*/ 1857375 h 1914525"/>
                <a:gd name="connsiteX577" fmla="*/ 192405 w 1504950"/>
                <a:gd name="connsiteY577" fmla="*/ 1853565 h 1914525"/>
                <a:gd name="connsiteX578" fmla="*/ 188595 w 1504950"/>
                <a:gd name="connsiteY578" fmla="*/ 1845945 h 1914525"/>
                <a:gd name="connsiteX579" fmla="*/ 179070 w 1504950"/>
                <a:gd name="connsiteY579" fmla="*/ 1831658 h 1914525"/>
                <a:gd name="connsiteX580" fmla="*/ 172402 w 1504950"/>
                <a:gd name="connsiteY580" fmla="*/ 1815465 h 1914525"/>
                <a:gd name="connsiteX581" fmla="*/ 169545 w 1504950"/>
                <a:gd name="connsiteY581" fmla="*/ 1812608 h 1914525"/>
                <a:gd name="connsiteX582" fmla="*/ 167640 w 1504950"/>
                <a:gd name="connsiteY582" fmla="*/ 1809750 h 1914525"/>
                <a:gd name="connsiteX583" fmla="*/ 165735 w 1504950"/>
                <a:gd name="connsiteY583" fmla="*/ 1808798 h 1914525"/>
                <a:gd name="connsiteX584" fmla="*/ 150495 w 1504950"/>
                <a:gd name="connsiteY584" fmla="*/ 1806893 h 1914525"/>
                <a:gd name="connsiteX585" fmla="*/ 144780 w 1504950"/>
                <a:gd name="connsiteY585" fmla="*/ 1804988 h 1914525"/>
                <a:gd name="connsiteX586" fmla="*/ 137160 w 1504950"/>
                <a:gd name="connsiteY586" fmla="*/ 1801177 h 1914525"/>
                <a:gd name="connsiteX587" fmla="*/ 134302 w 1504950"/>
                <a:gd name="connsiteY587" fmla="*/ 1797368 h 1914525"/>
                <a:gd name="connsiteX588" fmla="*/ 132397 w 1504950"/>
                <a:gd name="connsiteY588" fmla="*/ 1794510 h 1914525"/>
                <a:gd name="connsiteX589" fmla="*/ 132397 w 1504950"/>
                <a:gd name="connsiteY589" fmla="*/ 1787843 h 1914525"/>
                <a:gd name="connsiteX590" fmla="*/ 130492 w 1504950"/>
                <a:gd name="connsiteY590" fmla="*/ 1783080 h 1914525"/>
                <a:gd name="connsiteX591" fmla="*/ 128588 w 1504950"/>
                <a:gd name="connsiteY591" fmla="*/ 1777365 h 1914525"/>
                <a:gd name="connsiteX592" fmla="*/ 120967 w 1504950"/>
                <a:gd name="connsiteY592" fmla="*/ 1762125 h 1914525"/>
                <a:gd name="connsiteX593" fmla="*/ 120015 w 1504950"/>
                <a:gd name="connsiteY593" fmla="*/ 1754505 h 1914525"/>
                <a:gd name="connsiteX594" fmla="*/ 120967 w 1504950"/>
                <a:gd name="connsiteY594" fmla="*/ 1748790 h 1914525"/>
                <a:gd name="connsiteX595" fmla="*/ 122872 w 1504950"/>
                <a:gd name="connsiteY595" fmla="*/ 1744980 h 1914525"/>
                <a:gd name="connsiteX596" fmla="*/ 126682 w 1504950"/>
                <a:gd name="connsiteY596" fmla="*/ 1741170 h 1914525"/>
                <a:gd name="connsiteX597" fmla="*/ 152400 w 1504950"/>
                <a:gd name="connsiteY597" fmla="*/ 1724025 h 1914525"/>
                <a:gd name="connsiteX598" fmla="*/ 154305 w 1504950"/>
                <a:gd name="connsiteY598" fmla="*/ 1722120 h 1914525"/>
                <a:gd name="connsiteX599" fmla="*/ 157163 w 1504950"/>
                <a:gd name="connsiteY599" fmla="*/ 1716405 h 1914525"/>
                <a:gd name="connsiteX600" fmla="*/ 157163 w 1504950"/>
                <a:gd name="connsiteY600" fmla="*/ 1709738 h 1914525"/>
                <a:gd name="connsiteX601" fmla="*/ 157163 w 1504950"/>
                <a:gd name="connsiteY601" fmla="*/ 1699260 h 1914525"/>
                <a:gd name="connsiteX602" fmla="*/ 155257 w 1504950"/>
                <a:gd name="connsiteY602" fmla="*/ 1692593 h 1914525"/>
                <a:gd name="connsiteX603" fmla="*/ 143827 w 1504950"/>
                <a:gd name="connsiteY603" fmla="*/ 1667828 h 1914525"/>
                <a:gd name="connsiteX604" fmla="*/ 141922 w 1504950"/>
                <a:gd name="connsiteY604" fmla="*/ 1663065 h 1914525"/>
                <a:gd name="connsiteX605" fmla="*/ 141922 w 1504950"/>
                <a:gd name="connsiteY605" fmla="*/ 1660208 h 1914525"/>
                <a:gd name="connsiteX606" fmla="*/ 142875 w 1504950"/>
                <a:gd name="connsiteY606" fmla="*/ 1657350 h 1914525"/>
                <a:gd name="connsiteX607" fmla="*/ 145732 w 1504950"/>
                <a:gd name="connsiteY607" fmla="*/ 1654493 h 1914525"/>
                <a:gd name="connsiteX608" fmla="*/ 149542 w 1504950"/>
                <a:gd name="connsiteY608" fmla="*/ 1652588 h 1914525"/>
                <a:gd name="connsiteX609" fmla="*/ 153352 w 1504950"/>
                <a:gd name="connsiteY609" fmla="*/ 1649730 h 1914525"/>
                <a:gd name="connsiteX610" fmla="*/ 155257 w 1504950"/>
                <a:gd name="connsiteY610" fmla="*/ 1645920 h 1914525"/>
                <a:gd name="connsiteX611" fmla="*/ 156210 w 1504950"/>
                <a:gd name="connsiteY611" fmla="*/ 1636395 h 1914525"/>
                <a:gd name="connsiteX612" fmla="*/ 156210 w 1504950"/>
                <a:gd name="connsiteY612" fmla="*/ 1630680 h 1914525"/>
                <a:gd name="connsiteX613" fmla="*/ 155257 w 1504950"/>
                <a:gd name="connsiteY613" fmla="*/ 1626870 h 1914525"/>
                <a:gd name="connsiteX614" fmla="*/ 153352 w 1504950"/>
                <a:gd name="connsiteY614" fmla="*/ 1624013 h 1914525"/>
                <a:gd name="connsiteX615" fmla="*/ 132397 w 1504950"/>
                <a:gd name="connsiteY615" fmla="*/ 1613535 h 1914525"/>
                <a:gd name="connsiteX616" fmla="*/ 129540 w 1504950"/>
                <a:gd name="connsiteY616" fmla="*/ 1611630 h 1914525"/>
                <a:gd name="connsiteX617" fmla="*/ 125730 w 1504950"/>
                <a:gd name="connsiteY617" fmla="*/ 1607820 h 1914525"/>
                <a:gd name="connsiteX618" fmla="*/ 121920 w 1504950"/>
                <a:gd name="connsiteY618" fmla="*/ 1602105 h 1914525"/>
                <a:gd name="connsiteX619" fmla="*/ 120015 w 1504950"/>
                <a:gd name="connsiteY619" fmla="*/ 1597343 h 1914525"/>
                <a:gd name="connsiteX620" fmla="*/ 119063 w 1504950"/>
                <a:gd name="connsiteY620" fmla="*/ 1593533 h 1914525"/>
                <a:gd name="connsiteX621" fmla="*/ 118110 w 1504950"/>
                <a:gd name="connsiteY621" fmla="*/ 1584960 h 1914525"/>
                <a:gd name="connsiteX622" fmla="*/ 118110 w 1504950"/>
                <a:gd name="connsiteY622" fmla="*/ 1578293 h 1914525"/>
                <a:gd name="connsiteX623" fmla="*/ 119063 w 1504950"/>
                <a:gd name="connsiteY623" fmla="*/ 1571625 h 1914525"/>
                <a:gd name="connsiteX624" fmla="*/ 120015 w 1504950"/>
                <a:gd name="connsiteY624" fmla="*/ 1568768 h 1914525"/>
                <a:gd name="connsiteX625" fmla="*/ 125730 w 1504950"/>
                <a:gd name="connsiteY625" fmla="*/ 1558290 h 1914525"/>
                <a:gd name="connsiteX626" fmla="*/ 127635 w 1504950"/>
                <a:gd name="connsiteY626" fmla="*/ 1550670 h 1914525"/>
                <a:gd name="connsiteX627" fmla="*/ 128588 w 1504950"/>
                <a:gd name="connsiteY627" fmla="*/ 1544955 h 1914525"/>
                <a:gd name="connsiteX628" fmla="*/ 127635 w 1504950"/>
                <a:gd name="connsiteY628" fmla="*/ 1542098 h 1914525"/>
                <a:gd name="connsiteX629" fmla="*/ 126682 w 1504950"/>
                <a:gd name="connsiteY629" fmla="*/ 1539240 h 1914525"/>
                <a:gd name="connsiteX630" fmla="*/ 121920 w 1504950"/>
                <a:gd name="connsiteY630" fmla="*/ 1536383 h 1914525"/>
                <a:gd name="connsiteX631" fmla="*/ 119063 w 1504950"/>
                <a:gd name="connsiteY631" fmla="*/ 1534478 h 1914525"/>
                <a:gd name="connsiteX632" fmla="*/ 92392 w 1504950"/>
                <a:gd name="connsiteY632" fmla="*/ 1530668 h 1914525"/>
                <a:gd name="connsiteX633" fmla="*/ 94297 w 1504950"/>
                <a:gd name="connsiteY633" fmla="*/ 1518285 h 1914525"/>
                <a:gd name="connsiteX634" fmla="*/ 99060 w 1504950"/>
                <a:gd name="connsiteY634" fmla="*/ 1514475 h 1914525"/>
                <a:gd name="connsiteX635" fmla="*/ 106680 w 1504950"/>
                <a:gd name="connsiteY635" fmla="*/ 1510665 h 1914525"/>
                <a:gd name="connsiteX636" fmla="*/ 108585 w 1504950"/>
                <a:gd name="connsiteY636" fmla="*/ 1506855 h 1914525"/>
                <a:gd name="connsiteX637" fmla="*/ 110490 w 1504950"/>
                <a:gd name="connsiteY637" fmla="*/ 1503045 h 1914525"/>
                <a:gd name="connsiteX638" fmla="*/ 111442 w 1504950"/>
                <a:gd name="connsiteY638" fmla="*/ 1499235 h 1914525"/>
                <a:gd name="connsiteX639" fmla="*/ 111442 w 1504950"/>
                <a:gd name="connsiteY639" fmla="*/ 1492568 h 1914525"/>
                <a:gd name="connsiteX640" fmla="*/ 111442 w 1504950"/>
                <a:gd name="connsiteY640" fmla="*/ 1487805 h 1914525"/>
                <a:gd name="connsiteX641" fmla="*/ 110490 w 1504950"/>
                <a:gd name="connsiteY641" fmla="*/ 1484948 h 1914525"/>
                <a:gd name="connsiteX642" fmla="*/ 109538 w 1504950"/>
                <a:gd name="connsiteY642" fmla="*/ 1483043 h 1914525"/>
                <a:gd name="connsiteX643" fmla="*/ 103822 w 1504950"/>
                <a:gd name="connsiteY643" fmla="*/ 1483043 h 1914525"/>
                <a:gd name="connsiteX644" fmla="*/ 91440 w 1504950"/>
                <a:gd name="connsiteY644" fmla="*/ 1484948 h 1914525"/>
                <a:gd name="connsiteX645" fmla="*/ 84772 w 1504950"/>
                <a:gd name="connsiteY645" fmla="*/ 1484948 h 1914525"/>
                <a:gd name="connsiteX646" fmla="*/ 78105 w 1504950"/>
                <a:gd name="connsiteY646" fmla="*/ 1483995 h 1914525"/>
                <a:gd name="connsiteX647" fmla="*/ 78105 w 1504950"/>
                <a:gd name="connsiteY647" fmla="*/ 1480185 h 1914525"/>
                <a:gd name="connsiteX648" fmla="*/ 81915 w 1504950"/>
                <a:gd name="connsiteY648" fmla="*/ 1475423 h 1914525"/>
                <a:gd name="connsiteX649" fmla="*/ 84772 w 1504950"/>
                <a:gd name="connsiteY649" fmla="*/ 1470660 h 1914525"/>
                <a:gd name="connsiteX650" fmla="*/ 88582 w 1504950"/>
                <a:gd name="connsiteY650" fmla="*/ 1463040 h 1914525"/>
                <a:gd name="connsiteX651" fmla="*/ 91440 w 1504950"/>
                <a:gd name="connsiteY651" fmla="*/ 1453515 h 1914525"/>
                <a:gd name="connsiteX652" fmla="*/ 93345 w 1504950"/>
                <a:gd name="connsiteY652" fmla="*/ 1443038 h 1914525"/>
                <a:gd name="connsiteX653" fmla="*/ 94297 w 1504950"/>
                <a:gd name="connsiteY653" fmla="*/ 1437323 h 1914525"/>
                <a:gd name="connsiteX654" fmla="*/ 93345 w 1504950"/>
                <a:gd name="connsiteY654" fmla="*/ 1432560 h 1914525"/>
                <a:gd name="connsiteX655" fmla="*/ 90488 w 1504950"/>
                <a:gd name="connsiteY655" fmla="*/ 1426845 h 1914525"/>
                <a:gd name="connsiteX656" fmla="*/ 89535 w 1504950"/>
                <a:gd name="connsiteY656" fmla="*/ 1423035 h 1914525"/>
                <a:gd name="connsiteX657" fmla="*/ 87630 w 1504950"/>
                <a:gd name="connsiteY657" fmla="*/ 1416368 h 1914525"/>
                <a:gd name="connsiteX658" fmla="*/ 88582 w 1504950"/>
                <a:gd name="connsiteY658" fmla="*/ 1412558 h 1914525"/>
                <a:gd name="connsiteX659" fmla="*/ 89535 w 1504950"/>
                <a:gd name="connsiteY659" fmla="*/ 1409700 h 1914525"/>
                <a:gd name="connsiteX660" fmla="*/ 94297 w 1504950"/>
                <a:gd name="connsiteY660" fmla="*/ 1406843 h 1914525"/>
                <a:gd name="connsiteX661" fmla="*/ 96202 w 1504950"/>
                <a:gd name="connsiteY661" fmla="*/ 1405890 h 1914525"/>
                <a:gd name="connsiteX662" fmla="*/ 99060 w 1504950"/>
                <a:gd name="connsiteY662" fmla="*/ 1405890 h 1914525"/>
                <a:gd name="connsiteX663" fmla="*/ 105727 w 1504950"/>
                <a:gd name="connsiteY663" fmla="*/ 1406843 h 1914525"/>
                <a:gd name="connsiteX664" fmla="*/ 109538 w 1504950"/>
                <a:gd name="connsiteY664" fmla="*/ 1404938 h 1914525"/>
                <a:gd name="connsiteX665" fmla="*/ 112395 w 1504950"/>
                <a:gd name="connsiteY665" fmla="*/ 1402080 h 1914525"/>
                <a:gd name="connsiteX666" fmla="*/ 115252 w 1504950"/>
                <a:gd name="connsiteY666" fmla="*/ 1396365 h 1914525"/>
                <a:gd name="connsiteX667" fmla="*/ 118110 w 1504950"/>
                <a:gd name="connsiteY667" fmla="*/ 1394460 h 1914525"/>
                <a:gd name="connsiteX668" fmla="*/ 120967 w 1504950"/>
                <a:gd name="connsiteY668" fmla="*/ 1393508 h 1914525"/>
                <a:gd name="connsiteX669" fmla="*/ 125730 w 1504950"/>
                <a:gd name="connsiteY669" fmla="*/ 1394460 h 1914525"/>
                <a:gd name="connsiteX670" fmla="*/ 130492 w 1504950"/>
                <a:gd name="connsiteY670" fmla="*/ 1393508 h 1914525"/>
                <a:gd name="connsiteX671" fmla="*/ 149542 w 1504950"/>
                <a:gd name="connsiteY671" fmla="*/ 1379220 h 1914525"/>
                <a:gd name="connsiteX672" fmla="*/ 166688 w 1504950"/>
                <a:gd name="connsiteY672" fmla="*/ 1371600 h 1914525"/>
                <a:gd name="connsiteX673" fmla="*/ 170497 w 1504950"/>
                <a:gd name="connsiteY673" fmla="*/ 1368743 h 1914525"/>
                <a:gd name="connsiteX674" fmla="*/ 176213 w 1504950"/>
                <a:gd name="connsiteY674" fmla="*/ 1362075 h 1914525"/>
                <a:gd name="connsiteX675" fmla="*/ 179070 w 1504950"/>
                <a:gd name="connsiteY675" fmla="*/ 1361123 h 1914525"/>
                <a:gd name="connsiteX676" fmla="*/ 186690 w 1504950"/>
                <a:gd name="connsiteY676" fmla="*/ 1358265 h 1914525"/>
                <a:gd name="connsiteX677" fmla="*/ 189547 w 1504950"/>
                <a:gd name="connsiteY677" fmla="*/ 1356360 h 1914525"/>
                <a:gd name="connsiteX678" fmla="*/ 193357 w 1504950"/>
                <a:gd name="connsiteY678" fmla="*/ 1352550 h 1914525"/>
                <a:gd name="connsiteX679" fmla="*/ 201930 w 1504950"/>
                <a:gd name="connsiteY679" fmla="*/ 1341120 h 1914525"/>
                <a:gd name="connsiteX680" fmla="*/ 205740 w 1504950"/>
                <a:gd name="connsiteY680" fmla="*/ 1332548 h 1914525"/>
                <a:gd name="connsiteX681" fmla="*/ 208597 w 1504950"/>
                <a:gd name="connsiteY681" fmla="*/ 1328738 h 1914525"/>
                <a:gd name="connsiteX682" fmla="*/ 210502 w 1504950"/>
                <a:gd name="connsiteY682" fmla="*/ 1326833 h 1914525"/>
                <a:gd name="connsiteX683" fmla="*/ 224790 w 1504950"/>
                <a:gd name="connsiteY683" fmla="*/ 1319213 h 1914525"/>
                <a:gd name="connsiteX684" fmla="*/ 228600 w 1504950"/>
                <a:gd name="connsiteY684" fmla="*/ 1316355 h 1914525"/>
                <a:gd name="connsiteX685" fmla="*/ 240982 w 1504950"/>
                <a:gd name="connsiteY685" fmla="*/ 1303020 h 1914525"/>
                <a:gd name="connsiteX686" fmla="*/ 243840 w 1504950"/>
                <a:gd name="connsiteY686" fmla="*/ 1298258 h 1914525"/>
                <a:gd name="connsiteX687" fmla="*/ 244792 w 1504950"/>
                <a:gd name="connsiteY687" fmla="*/ 1293495 h 1914525"/>
                <a:gd name="connsiteX688" fmla="*/ 243840 w 1504950"/>
                <a:gd name="connsiteY688" fmla="*/ 1287780 h 1914525"/>
                <a:gd name="connsiteX689" fmla="*/ 213360 w 1504950"/>
                <a:gd name="connsiteY689" fmla="*/ 1238250 h 1914525"/>
                <a:gd name="connsiteX690" fmla="*/ 211455 w 1504950"/>
                <a:gd name="connsiteY690" fmla="*/ 1231583 h 1914525"/>
                <a:gd name="connsiteX691" fmla="*/ 211455 w 1504950"/>
                <a:gd name="connsiteY691" fmla="*/ 1225868 h 1914525"/>
                <a:gd name="connsiteX692" fmla="*/ 213360 w 1504950"/>
                <a:gd name="connsiteY692" fmla="*/ 1223010 h 1914525"/>
                <a:gd name="connsiteX693" fmla="*/ 216217 w 1504950"/>
                <a:gd name="connsiteY693" fmla="*/ 1219200 h 1914525"/>
                <a:gd name="connsiteX694" fmla="*/ 218122 w 1504950"/>
                <a:gd name="connsiteY694" fmla="*/ 1214438 h 1914525"/>
                <a:gd name="connsiteX695" fmla="*/ 210502 w 1504950"/>
                <a:gd name="connsiteY695" fmla="*/ 1183958 h 1914525"/>
                <a:gd name="connsiteX696" fmla="*/ 209550 w 1504950"/>
                <a:gd name="connsiteY696" fmla="*/ 1176338 h 1914525"/>
                <a:gd name="connsiteX697" fmla="*/ 209550 w 1504950"/>
                <a:gd name="connsiteY697" fmla="*/ 1171575 h 1914525"/>
                <a:gd name="connsiteX698" fmla="*/ 210502 w 1504950"/>
                <a:gd name="connsiteY698" fmla="*/ 1167765 h 1914525"/>
                <a:gd name="connsiteX699" fmla="*/ 212407 w 1504950"/>
                <a:gd name="connsiteY699" fmla="*/ 1164908 h 1914525"/>
                <a:gd name="connsiteX700" fmla="*/ 215265 w 1504950"/>
                <a:gd name="connsiteY700" fmla="*/ 1163955 h 1914525"/>
                <a:gd name="connsiteX701" fmla="*/ 232410 w 1504950"/>
                <a:gd name="connsiteY701" fmla="*/ 1159193 h 1914525"/>
                <a:gd name="connsiteX702" fmla="*/ 236220 w 1504950"/>
                <a:gd name="connsiteY702" fmla="*/ 1157288 h 1914525"/>
                <a:gd name="connsiteX703" fmla="*/ 240030 w 1504950"/>
                <a:gd name="connsiteY703" fmla="*/ 1153478 h 1914525"/>
                <a:gd name="connsiteX704" fmla="*/ 243840 w 1504950"/>
                <a:gd name="connsiteY704" fmla="*/ 1144905 h 1914525"/>
                <a:gd name="connsiteX705" fmla="*/ 243840 w 1504950"/>
                <a:gd name="connsiteY705" fmla="*/ 1141095 h 1914525"/>
                <a:gd name="connsiteX706" fmla="*/ 242888 w 1504950"/>
                <a:gd name="connsiteY706" fmla="*/ 1137285 h 1914525"/>
                <a:gd name="connsiteX707" fmla="*/ 240030 w 1504950"/>
                <a:gd name="connsiteY707" fmla="*/ 1132523 h 1914525"/>
                <a:gd name="connsiteX708" fmla="*/ 240030 w 1504950"/>
                <a:gd name="connsiteY708" fmla="*/ 1122045 h 1914525"/>
                <a:gd name="connsiteX709" fmla="*/ 240030 w 1504950"/>
                <a:gd name="connsiteY709" fmla="*/ 1116330 h 1914525"/>
                <a:gd name="connsiteX710" fmla="*/ 238125 w 1504950"/>
                <a:gd name="connsiteY710" fmla="*/ 1112520 h 1914525"/>
                <a:gd name="connsiteX711" fmla="*/ 236220 w 1504950"/>
                <a:gd name="connsiteY711" fmla="*/ 1110615 h 1914525"/>
                <a:gd name="connsiteX712" fmla="*/ 228600 w 1504950"/>
                <a:gd name="connsiteY712" fmla="*/ 1105853 h 1914525"/>
                <a:gd name="connsiteX713" fmla="*/ 224790 w 1504950"/>
                <a:gd name="connsiteY713" fmla="*/ 1102995 h 1914525"/>
                <a:gd name="connsiteX714" fmla="*/ 223838 w 1504950"/>
                <a:gd name="connsiteY714" fmla="*/ 1100138 h 1914525"/>
                <a:gd name="connsiteX715" fmla="*/ 221932 w 1504950"/>
                <a:gd name="connsiteY715" fmla="*/ 1095375 h 1914525"/>
                <a:gd name="connsiteX716" fmla="*/ 220980 w 1504950"/>
                <a:gd name="connsiteY716" fmla="*/ 1092518 h 1914525"/>
                <a:gd name="connsiteX717" fmla="*/ 221932 w 1504950"/>
                <a:gd name="connsiteY717" fmla="*/ 1074420 h 1914525"/>
                <a:gd name="connsiteX718" fmla="*/ 220980 w 1504950"/>
                <a:gd name="connsiteY718" fmla="*/ 1064895 h 1914525"/>
                <a:gd name="connsiteX719" fmla="*/ 223838 w 1504950"/>
                <a:gd name="connsiteY719" fmla="*/ 1032510 h 1914525"/>
                <a:gd name="connsiteX720" fmla="*/ 223838 w 1504950"/>
                <a:gd name="connsiteY720" fmla="*/ 1024890 h 1914525"/>
                <a:gd name="connsiteX721" fmla="*/ 221932 w 1504950"/>
                <a:gd name="connsiteY721" fmla="*/ 1021080 h 1914525"/>
                <a:gd name="connsiteX722" fmla="*/ 215265 w 1504950"/>
                <a:gd name="connsiteY722" fmla="*/ 1018223 h 1914525"/>
                <a:gd name="connsiteX723" fmla="*/ 213360 w 1504950"/>
                <a:gd name="connsiteY723" fmla="*/ 1017270 h 1914525"/>
                <a:gd name="connsiteX724" fmla="*/ 209550 w 1504950"/>
                <a:gd name="connsiteY724" fmla="*/ 1013460 h 1914525"/>
                <a:gd name="connsiteX725" fmla="*/ 204788 w 1504950"/>
                <a:gd name="connsiteY725" fmla="*/ 1004888 h 1914525"/>
                <a:gd name="connsiteX726" fmla="*/ 199072 w 1504950"/>
                <a:gd name="connsiteY726" fmla="*/ 989648 h 1914525"/>
                <a:gd name="connsiteX727" fmla="*/ 195263 w 1504950"/>
                <a:gd name="connsiteY727" fmla="*/ 984885 h 1914525"/>
                <a:gd name="connsiteX728" fmla="*/ 193357 w 1504950"/>
                <a:gd name="connsiteY728" fmla="*/ 982980 h 1914525"/>
                <a:gd name="connsiteX729" fmla="*/ 186690 w 1504950"/>
                <a:gd name="connsiteY729" fmla="*/ 982028 h 1914525"/>
                <a:gd name="connsiteX730" fmla="*/ 180022 w 1504950"/>
                <a:gd name="connsiteY730" fmla="*/ 982028 h 1914525"/>
                <a:gd name="connsiteX731" fmla="*/ 178117 w 1504950"/>
                <a:gd name="connsiteY731" fmla="*/ 980123 h 1914525"/>
                <a:gd name="connsiteX732" fmla="*/ 175260 w 1504950"/>
                <a:gd name="connsiteY732" fmla="*/ 975360 h 1914525"/>
                <a:gd name="connsiteX733" fmla="*/ 173355 w 1504950"/>
                <a:gd name="connsiteY733" fmla="*/ 962978 h 1914525"/>
                <a:gd name="connsiteX734" fmla="*/ 166688 w 1504950"/>
                <a:gd name="connsiteY734" fmla="*/ 944880 h 1914525"/>
                <a:gd name="connsiteX735" fmla="*/ 163830 w 1504950"/>
                <a:gd name="connsiteY735" fmla="*/ 922020 h 1914525"/>
                <a:gd name="connsiteX736" fmla="*/ 161925 w 1504950"/>
                <a:gd name="connsiteY736" fmla="*/ 918210 h 1914525"/>
                <a:gd name="connsiteX737" fmla="*/ 156210 w 1504950"/>
                <a:gd name="connsiteY737" fmla="*/ 909638 h 1914525"/>
                <a:gd name="connsiteX738" fmla="*/ 149542 w 1504950"/>
                <a:gd name="connsiteY738" fmla="*/ 901065 h 1914525"/>
                <a:gd name="connsiteX739" fmla="*/ 145732 w 1504950"/>
                <a:gd name="connsiteY739" fmla="*/ 897255 h 1914525"/>
                <a:gd name="connsiteX740" fmla="*/ 142875 w 1504950"/>
                <a:gd name="connsiteY740" fmla="*/ 896303 h 1914525"/>
                <a:gd name="connsiteX741" fmla="*/ 140017 w 1504950"/>
                <a:gd name="connsiteY741" fmla="*/ 895350 h 1914525"/>
                <a:gd name="connsiteX742" fmla="*/ 117157 w 1504950"/>
                <a:gd name="connsiteY742" fmla="*/ 896303 h 1914525"/>
                <a:gd name="connsiteX743" fmla="*/ 114300 w 1504950"/>
                <a:gd name="connsiteY743" fmla="*/ 896303 h 1914525"/>
                <a:gd name="connsiteX744" fmla="*/ 94297 w 1504950"/>
                <a:gd name="connsiteY744" fmla="*/ 904875 h 1914525"/>
                <a:gd name="connsiteX745" fmla="*/ 91440 w 1504950"/>
                <a:gd name="connsiteY745" fmla="*/ 905828 h 1914525"/>
                <a:gd name="connsiteX746" fmla="*/ 88582 w 1504950"/>
                <a:gd name="connsiteY746" fmla="*/ 905828 h 1914525"/>
                <a:gd name="connsiteX747" fmla="*/ 84772 w 1504950"/>
                <a:gd name="connsiteY747" fmla="*/ 902970 h 1914525"/>
                <a:gd name="connsiteX748" fmla="*/ 81915 w 1504950"/>
                <a:gd name="connsiteY748" fmla="*/ 897255 h 1914525"/>
                <a:gd name="connsiteX749" fmla="*/ 80963 w 1504950"/>
                <a:gd name="connsiteY749" fmla="*/ 893445 h 1914525"/>
                <a:gd name="connsiteX750" fmla="*/ 82867 w 1504950"/>
                <a:gd name="connsiteY750" fmla="*/ 890588 h 1914525"/>
                <a:gd name="connsiteX751" fmla="*/ 94297 w 1504950"/>
                <a:gd name="connsiteY751" fmla="*/ 889635 h 1914525"/>
                <a:gd name="connsiteX752" fmla="*/ 97155 w 1504950"/>
                <a:gd name="connsiteY752" fmla="*/ 888683 h 1914525"/>
                <a:gd name="connsiteX753" fmla="*/ 100013 w 1504950"/>
                <a:gd name="connsiteY753" fmla="*/ 886778 h 1914525"/>
                <a:gd name="connsiteX754" fmla="*/ 102870 w 1504950"/>
                <a:gd name="connsiteY754" fmla="*/ 881063 h 1914525"/>
                <a:gd name="connsiteX755" fmla="*/ 102870 w 1504950"/>
                <a:gd name="connsiteY755" fmla="*/ 878205 h 1914525"/>
                <a:gd name="connsiteX756" fmla="*/ 100965 w 1504950"/>
                <a:gd name="connsiteY756" fmla="*/ 876300 h 1914525"/>
                <a:gd name="connsiteX757" fmla="*/ 92392 w 1504950"/>
                <a:gd name="connsiteY757" fmla="*/ 871538 h 1914525"/>
                <a:gd name="connsiteX758" fmla="*/ 90488 w 1504950"/>
                <a:gd name="connsiteY758" fmla="*/ 868680 h 1914525"/>
                <a:gd name="connsiteX759" fmla="*/ 90488 w 1504950"/>
                <a:gd name="connsiteY759" fmla="*/ 865823 h 1914525"/>
                <a:gd name="connsiteX760" fmla="*/ 91440 w 1504950"/>
                <a:gd name="connsiteY760" fmla="*/ 862965 h 1914525"/>
                <a:gd name="connsiteX761" fmla="*/ 93345 w 1504950"/>
                <a:gd name="connsiteY761" fmla="*/ 862013 h 1914525"/>
                <a:gd name="connsiteX762" fmla="*/ 96202 w 1504950"/>
                <a:gd name="connsiteY762" fmla="*/ 862013 h 1914525"/>
                <a:gd name="connsiteX763" fmla="*/ 105727 w 1504950"/>
                <a:gd name="connsiteY763" fmla="*/ 863918 h 1914525"/>
                <a:gd name="connsiteX764" fmla="*/ 108585 w 1504950"/>
                <a:gd name="connsiteY764" fmla="*/ 863918 h 1914525"/>
                <a:gd name="connsiteX765" fmla="*/ 110490 w 1504950"/>
                <a:gd name="connsiteY765" fmla="*/ 862965 h 1914525"/>
                <a:gd name="connsiteX766" fmla="*/ 112395 w 1504950"/>
                <a:gd name="connsiteY766" fmla="*/ 861060 h 1914525"/>
                <a:gd name="connsiteX767" fmla="*/ 115252 w 1504950"/>
                <a:gd name="connsiteY767" fmla="*/ 855345 h 1914525"/>
                <a:gd name="connsiteX768" fmla="*/ 120015 w 1504950"/>
                <a:gd name="connsiteY768" fmla="*/ 839153 h 1914525"/>
                <a:gd name="connsiteX769" fmla="*/ 120967 w 1504950"/>
                <a:gd name="connsiteY769" fmla="*/ 832485 h 1914525"/>
                <a:gd name="connsiteX770" fmla="*/ 120015 w 1504950"/>
                <a:gd name="connsiteY770" fmla="*/ 830580 h 1914525"/>
                <a:gd name="connsiteX771" fmla="*/ 117157 w 1504950"/>
                <a:gd name="connsiteY771" fmla="*/ 825818 h 1914525"/>
                <a:gd name="connsiteX772" fmla="*/ 111442 w 1504950"/>
                <a:gd name="connsiteY772" fmla="*/ 822960 h 1914525"/>
                <a:gd name="connsiteX773" fmla="*/ 108585 w 1504950"/>
                <a:gd name="connsiteY773" fmla="*/ 820103 h 1914525"/>
                <a:gd name="connsiteX774" fmla="*/ 106680 w 1504950"/>
                <a:gd name="connsiteY774" fmla="*/ 813435 h 1914525"/>
                <a:gd name="connsiteX775" fmla="*/ 106680 w 1504950"/>
                <a:gd name="connsiteY775" fmla="*/ 809625 h 1914525"/>
                <a:gd name="connsiteX776" fmla="*/ 108585 w 1504950"/>
                <a:gd name="connsiteY776" fmla="*/ 807720 h 1914525"/>
                <a:gd name="connsiteX777" fmla="*/ 114300 w 1504950"/>
                <a:gd name="connsiteY777" fmla="*/ 806768 h 1914525"/>
                <a:gd name="connsiteX778" fmla="*/ 117157 w 1504950"/>
                <a:gd name="connsiteY778" fmla="*/ 805815 h 1914525"/>
                <a:gd name="connsiteX779" fmla="*/ 120015 w 1504950"/>
                <a:gd name="connsiteY779" fmla="*/ 801053 h 1914525"/>
                <a:gd name="connsiteX780" fmla="*/ 124777 w 1504950"/>
                <a:gd name="connsiteY780" fmla="*/ 785813 h 1914525"/>
                <a:gd name="connsiteX781" fmla="*/ 127635 w 1504950"/>
                <a:gd name="connsiteY781" fmla="*/ 776288 h 1914525"/>
                <a:gd name="connsiteX782" fmla="*/ 126682 w 1504950"/>
                <a:gd name="connsiteY782" fmla="*/ 773430 h 1914525"/>
                <a:gd name="connsiteX783" fmla="*/ 125730 w 1504950"/>
                <a:gd name="connsiteY783" fmla="*/ 770573 h 1914525"/>
                <a:gd name="connsiteX784" fmla="*/ 116205 w 1504950"/>
                <a:gd name="connsiteY784" fmla="*/ 763905 h 1914525"/>
                <a:gd name="connsiteX785" fmla="*/ 112395 w 1504950"/>
                <a:gd name="connsiteY785" fmla="*/ 759143 h 1914525"/>
                <a:gd name="connsiteX786" fmla="*/ 109538 w 1504950"/>
                <a:gd name="connsiteY786" fmla="*/ 754380 h 1914525"/>
                <a:gd name="connsiteX787" fmla="*/ 109538 w 1504950"/>
                <a:gd name="connsiteY787" fmla="*/ 751523 h 1914525"/>
                <a:gd name="connsiteX788" fmla="*/ 110490 w 1504950"/>
                <a:gd name="connsiteY788" fmla="*/ 747713 h 1914525"/>
                <a:gd name="connsiteX789" fmla="*/ 115252 w 1504950"/>
                <a:gd name="connsiteY789" fmla="*/ 736283 h 1914525"/>
                <a:gd name="connsiteX790" fmla="*/ 120967 w 1504950"/>
                <a:gd name="connsiteY790" fmla="*/ 727710 h 1914525"/>
                <a:gd name="connsiteX791" fmla="*/ 135255 w 1504950"/>
                <a:gd name="connsiteY791" fmla="*/ 704850 h 1914525"/>
                <a:gd name="connsiteX792" fmla="*/ 140017 w 1504950"/>
                <a:gd name="connsiteY792" fmla="*/ 693420 h 1914525"/>
                <a:gd name="connsiteX793" fmla="*/ 143827 w 1504950"/>
                <a:gd name="connsiteY793" fmla="*/ 688658 h 1914525"/>
                <a:gd name="connsiteX794" fmla="*/ 160020 w 1504950"/>
                <a:gd name="connsiteY794" fmla="*/ 680085 h 1914525"/>
                <a:gd name="connsiteX795" fmla="*/ 162877 w 1504950"/>
                <a:gd name="connsiteY795" fmla="*/ 677228 h 1914525"/>
                <a:gd name="connsiteX796" fmla="*/ 165735 w 1504950"/>
                <a:gd name="connsiteY796" fmla="*/ 673418 h 1914525"/>
                <a:gd name="connsiteX797" fmla="*/ 168592 w 1504950"/>
                <a:gd name="connsiteY797" fmla="*/ 665798 h 1914525"/>
                <a:gd name="connsiteX798" fmla="*/ 169545 w 1504950"/>
                <a:gd name="connsiteY798" fmla="*/ 661035 h 1914525"/>
                <a:gd name="connsiteX799" fmla="*/ 169545 w 1504950"/>
                <a:gd name="connsiteY799" fmla="*/ 657225 h 1914525"/>
                <a:gd name="connsiteX800" fmla="*/ 161925 w 1504950"/>
                <a:gd name="connsiteY800" fmla="*/ 628650 h 1914525"/>
                <a:gd name="connsiteX801" fmla="*/ 160020 w 1504950"/>
                <a:gd name="connsiteY801" fmla="*/ 616268 h 1914525"/>
                <a:gd name="connsiteX802" fmla="*/ 158115 w 1504950"/>
                <a:gd name="connsiteY802" fmla="*/ 608648 h 1914525"/>
                <a:gd name="connsiteX803" fmla="*/ 156210 w 1504950"/>
                <a:gd name="connsiteY803" fmla="*/ 605790 h 1914525"/>
                <a:gd name="connsiteX804" fmla="*/ 152400 w 1504950"/>
                <a:gd name="connsiteY804" fmla="*/ 601980 h 1914525"/>
                <a:gd name="connsiteX805" fmla="*/ 146685 w 1504950"/>
                <a:gd name="connsiteY805" fmla="*/ 600075 h 1914525"/>
                <a:gd name="connsiteX806" fmla="*/ 140017 w 1504950"/>
                <a:gd name="connsiteY806" fmla="*/ 599123 h 1914525"/>
                <a:gd name="connsiteX807" fmla="*/ 120015 w 1504950"/>
                <a:gd name="connsiteY807" fmla="*/ 601028 h 1914525"/>
                <a:gd name="connsiteX808" fmla="*/ 118110 w 1504950"/>
                <a:gd name="connsiteY808" fmla="*/ 601028 h 1914525"/>
                <a:gd name="connsiteX809" fmla="*/ 115252 w 1504950"/>
                <a:gd name="connsiteY809" fmla="*/ 599123 h 1914525"/>
                <a:gd name="connsiteX810" fmla="*/ 114300 w 1504950"/>
                <a:gd name="connsiteY810" fmla="*/ 595313 h 1914525"/>
                <a:gd name="connsiteX811" fmla="*/ 114300 w 1504950"/>
                <a:gd name="connsiteY811" fmla="*/ 592455 h 1914525"/>
                <a:gd name="connsiteX812" fmla="*/ 124777 w 1504950"/>
                <a:gd name="connsiteY812" fmla="*/ 533400 h 1914525"/>
                <a:gd name="connsiteX813" fmla="*/ 123825 w 1504950"/>
                <a:gd name="connsiteY813" fmla="*/ 527685 h 1914525"/>
                <a:gd name="connsiteX814" fmla="*/ 122872 w 1504950"/>
                <a:gd name="connsiteY814" fmla="*/ 523875 h 1914525"/>
                <a:gd name="connsiteX815" fmla="*/ 121920 w 1504950"/>
                <a:gd name="connsiteY815" fmla="*/ 521970 h 1914525"/>
                <a:gd name="connsiteX816" fmla="*/ 109538 w 1504950"/>
                <a:gd name="connsiteY816" fmla="*/ 507683 h 1914525"/>
                <a:gd name="connsiteX817" fmla="*/ 80010 w 1504950"/>
                <a:gd name="connsiteY817" fmla="*/ 461010 h 1914525"/>
                <a:gd name="connsiteX818" fmla="*/ 78105 w 1504950"/>
                <a:gd name="connsiteY818" fmla="*/ 459105 h 1914525"/>
                <a:gd name="connsiteX819" fmla="*/ 75247 w 1504950"/>
                <a:gd name="connsiteY819" fmla="*/ 458153 h 1914525"/>
                <a:gd name="connsiteX820" fmla="*/ 72390 w 1504950"/>
                <a:gd name="connsiteY820" fmla="*/ 458153 h 1914525"/>
                <a:gd name="connsiteX821" fmla="*/ 69532 w 1504950"/>
                <a:gd name="connsiteY821" fmla="*/ 456248 h 1914525"/>
                <a:gd name="connsiteX822" fmla="*/ 66675 w 1504950"/>
                <a:gd name="connsiteY822" fmla="*/ 451485 h 1914525"/>
                <a:gd name="connsiteX823" fmla="*/ 63817 w 1504950"/>
                <a:gd name="connsiteY823" fmla="*/ 440055 h 1914525"/>
                <a:gd name="connsiteX824" fmla="*/ 64770 w 1504950"/>
                <a:gd name="connsiteY824" fmla="*/ 435293 h 1914525"/>
                <a:gd name="connsiteX825" fmla="*/ 66675 w 1504950"/>
                <a:gd name="connsiteY825" fmla="*/ 432435 h 1914525"/>
                <a:gd name="connsiteX826" fmla="*/ 83820 w 1504950"/>
                <a:gd name="connsiteY826" fmla="*/ 432435 h 1914525"/>
                <a:gd name="connsiteX827" fmla="*/ 86677 w 1504950"/>
                <a:gd name="connsiteY827" fmla="*/ 433388 h 1914525"/>
                <a:gd name="connsiteX828" fmla="*/ 89535 w 1504950"/>
                <a:gd name="connsiteY828" fmla="*/ 434340 h 1914525"/>
                <a:gd name="connsiteX829" fmla="*/ 96202 w 1504950"/>
                <a:gd name="connsiteY829" fmla="*/ 440055 h 1914525"/>
                <a:gd name="connsiteX830" fmla="*/ 98107 w 1504950"/>
                <a:gd name="connsiteY830" fmla="*/ 441008 h 1914525"/>
                <a:gd name="connsiteX831" fmla="*/ 100965 w 1504950"/>
                <a:gd name="connsiteY831" fmla="*/ 441008 h 1914525"/>
                <a:gd name="connsiteX832" fmla="*/ 102870 w 1504950"/>
                <a:gd name="connsiteY832" fmla="*/ 435293 h 1914525"/>
                <a:gd name="connsiteX833" fmla="*/ 102870 w 1504950"/>
                <a:gd name="connsiteY833" fmla="*/ 429578 h 1914525"/>
                <a:gd name="connsiteX834" fmla="*/ 100965 w 1504950"/>
                <a:gd name="connsiteY834" fmla="*/ 410528 h 1914525"/>
                <a:gd name="connsiteX835" fmla="*/ 100965 w 1504950"/>
                <a:gd name="connsiteY835" fmla="*/ 404813 h 1914525"/>
                <a:gd name="connsiteX836" fmla="*/ 101917 w 1504950"/>
                <a:gd name="connsiteY836" fmla="*/ 395288 h 1914525"/>
                <a:gd name="connsiteX837" fmla="*/ 102870 w 1504950"/>
                <a:gd name="connsiteY837" fmla="*/ 391478 h 1914525"/>
                <a:gd name="connsiteX838" fmla="*/ 105727 w 1504950"/>
                <a:gd name="connsiteY838" fmla="*/ 385763 h 1914525"/>
                <a:gd name="connsiteX839" fmla="*/ 112395 w 1504950"/>
                <a:gd name="connsiteY839" fmla="*/ 375285 h 1914525"/>
                <a:gd name="connsiteX840" fmla="*/ 115252 w 1504950"/>
                <a:gd name="connsiteY840" fmla="*/ 369570 h 1914525"/>
                <a:gd name="connsiteX841" fmla="*/ 115252 w 1504950"/>
                <a:gd name="connsiteY841" fmla="*/ 365760 h 1914525"/>
                <a:gd name="connsiteX842" fmla="*/ 115252 w 1504950"/>
                <a:gd name="connsiteY842" fmla="*/ 361950 h 1914525"/>
                <a:gd name="connsiteX843" fmla="*/ 114300 w 1504950"/>
                <a:gd name="connsiteY843" fmla="*/ 360045 h 1914525"/>
                <a:gd name="connsiteX844" fmla="*/ 111442 w 1504950"/>
                <a:gd name="connsiteY844" fmla="*/ 354330 h 1914525"/>
                <a:gd name="connsiteX845" fmla="*/ 107632 w 1504950"/>
                <a:gd name="connsiteY845" fmla="*/ 350520 h 1914525"/>
                <a:gd name="connsiteX846" fmla="*/ 105727 w 1504950"/>
                <a:gd name="connsiteY846" fmla="*/ 348615 h 1914525"/>
                <a:gd name="connsiteX847" fmla="*/ 100965 w 1504950"/>
                <a:gd name="connsiteY847" fmla="*/ 345758 h 1914525"/>
                <a:gd name="connsiteX848" fmla="*/ 87630 w 1504950"/>
                <a:gd name="connsiteY848" fmla="*/ 341948 h 1914525"/>
                <a:gd name="connsiteX849" fmla="*/ 85725 w 1504950"/>
                <a:gd name="connsiteY849" fmla="*/ 340043 h 1914525"/>
                <a:gd name="connsiteX850" fmla="*/ 82867 w 1504950"/>
                <a:gd name="connsiteY850" fmla="*/ 338138 h 1914525"/>
                <a:gd name="connsiteX851" fmla="*/ 81915 w 1504950"/>
                <a:gd name="connsiteY851" fmla="*/ 335280 h 1914525"/>
                <a:gd name="connsiteX852" fmla="*/ 80963 w 1504950"/>
                <a:gd name="connsiteY852" fmla="*/ 329565 h 1914525"/>
                <a:gd name="connsiteX853" fmla="*/ 79057 w 1504950"/>
                <a:gd name="connsiteY853" fmla="*/ 324803 h 1914525"/>
                <a:gd name="connsiteX854" fmla="*/ 77152 w 1504950"/>
                <a:gd name="connsiteY854" fmla="*/ 321945 h 1914525"/>
                <a:gd name="connsiteX855" fmla="*/ 74295 w 1504950"/>
                <a:gd name="connsiteY855" fmla="*/ 318135 h 1914525"/>
                <a:gd name="connsiteX856" fmla="*/ 58102 w 1504950"/>
                <a:gd name="connsiteY856" fmla="*/ 302895 h 1914525"/>
                <a:gd name="connsiteX857" fmla="*/ 48577 w 1504950"/>
                <a:gd name="connsiteY857" fmla="*/ 296228 h 1914525"/>
                <a:gd name="connsiteX858" fmla="*/ 42863 w 1504950"/>
                <a:gd name="connsiteY858" fmla="*/ 294323 h 1914525"/>
                <a:gd name="connsiteX859" fmla="*/ 40005 w 1504950"/>
                <a:gd name="connsiteY859" fmla="*/ 294323 h 1914525"/>
                <a:gd name="connsiteX860" fmla="*/ 37147 w 1504950"/>
                <a:gd name="connsiteY860" fmla="*/ 294323 h 1914525"/>
                <a:gd name="connsiteX861" fmla="*/ 36195 w 1504950"/>
                <a:gd name="connsiteY861" fmla="*/ 296228 h 1914525"/>
                <a:gd name="connsiteX862" fmla="*/ 24765 w 1504950"/>
                <a:gd name="connsiteY862" fmla="*/ 314325 h 1914525"/>
                <a:gd name="connsiteX863" fmla="*/ 23813 w 1504950"/>
                <a:gd name="connsiteY863" fmla="*/ 316230 h 1914525"/>
                <a:gd name="connsiteX864" fmla="*/ 21907 w 1504950"/>
                <a:gd name="connsiteY864" fmla="*/ 317183 h 1914525"/>
                <a:gd name="connsiteX865" fmla="*/ 20002 w 1504950"/>
                <a:gd name="connsiteY865" fmla="*/ 313373 h 1914525"/>
                <a:gd name="connsiteX866" fmla="*/ 18097 w 1504950"/>
                <a:gd name="connsiteY866" fmla="*/ 307658 h 1914525"/>
                <a:gd name="connsiteX867" fmla="*/ 15240 w 1504950"/>
                <a:gd name="connsiteY867" fmla="*/ 296228 h 1914525"/>
                <a:gd name="connsiteX868" fmla="*/ 9525 w 1504950"/>
                <a:gd name="connsiteY868" fmla="*/ 252413 h 1914525"/>
                <a:gd name="connsiteX869" fmla="*/ 0 w 1504950"/>
                <a:gd name="connsiteY869" fmla="*/ 216218 h 1914525"/>
                <a:gd name="connsiteX870" fmla="*/ 0 w 1504950"/>
                <a:gd name="connsiteY870" fmla="*/ 212408 h 1914525"/>
                <a:gd name="connsiteX871" fmla="*/ 2857 w 1504950"/>
                <a:gd name="connsiteY871" fmla="*/ 211455 h 1914525"/>
                <a:gd name="connsiteX872" fmla="*/ 9525 w 1504950"/>
                <a:gd name="connsiteY872" fmla="*/ 210503 h 1914525"/>
                <a:gd name="connsiteX873" fmla="*/ 15240 w 1504950"/>
                <a:gd name="connsiteY873" fmla="*/ 209550 h 1914525"/>
                <a:gd name="connsiteX874" fmla="*/ 24765 w 1504950"/>
                <a:gd name="connsiteY874" fmla="*/ 203835 h 1914525"/>
                <a:gd name="connsiteX875" fmla="*/ 40957 w 1504950"/>
                <a:gd name="connsiteY875" fmla="*/ 191453 h 1914525"/>
                <a:gd name="connsiteX876" fmla="*/ 47625 w 1504950"/>
                <a:gd name="connsiteY876" fmla="*/ 184785 h 1914525"/>
                <a:gd name="connsiteX877" fmla="*/ 54292 w 1504950"/>
                <a:gd name="connsiteY877" fmla="*/ 176213 h 1914525"/>
                <a:gd name="connsiteX878" fmla="*/ 60007 w 1504950"/>
                <a:gd name="connsiteY878" fmla="*/ 164783 h 1914525"/>
                <a:gd name="connsiteX879" fmla="*/ 60960 w 1504950"/>
                <a:gd name="connsiteY879" fmla="*/ 158115 h 1914525"/>
                <a:gd name="connsiteX880" fmla="*/ 61913 w 1504950"/>
                <a:gd name="connsiteY880" fmla="*/ 148590 h 1914525"/>
                <a:gd name="connsiteX881" fmla="*/ 63817 w 1504950"/>
                <a:gd name="connsiteY881" fmla="*/ 117158 h 1914525"/>
                <a:gd name="connsiteX882" fmla="*/ 62865 w 1504950"/>
                <a:gd name="connsiteY882" fmla="*/ 110490 h 1914525"/>
                <a:gd name="connsiteX883" fmla="*/ 62865 w 1504950"/>
                <a:gd name="connsiteY883" fmla="*/ 108585 h 1914525"/>
                <a:gd name="connsiteX884" fmla="*/ 60960 w 1504950"/>
                <a:gd name="connsiteY884" fmla="*/ 105728 h 1914525"/>
                <a:gd name="connsiteX885" fmla="*/ 59055 w 1504950"/>
                <a:gd name="connsiteY885" fmla="*/ 106680 h 1914525"/>
                <a:gd name="connsiteX886" fmla="*/ 54292 w 1504950"/>
                <a:gd name="connsiteY886" fmla="*/ 109538 h 1914525"/>
                <a:gd name="connsiteX887" fmla="*/ 52388 w 1504950"/>
                <a:gd name="connsiteY887" fmla="*/ 110490 h 1914525"/>
                <a:gd name="connsiteX888" fmla="*/ 49530 w 1504950"/>
                <a:gd name="connsiteY888" fmla="*/ 109538 h 1914525"/>
                <a:gd name="connsiteX889" fmla="*/ 46672 w 1504950"/>
                <a:gd name="connsiteY889" fmla="*/ 105728 h 1914525"/>
                <a:gd name="connsiteX890" fmla="*/ 42863 w 1504950"/>
                <a:gd name="connsiteY890" fmla="*/ 98108 h 1914525"/>
                <a:gd name="connsiteX891" fmla="*/ 57150 w 1504950"/>
                <a:gd name="connsiteY891" fmla="*/ 85725 h 1914525"/>
                <a:gd name="connsiteX892" fmla="*/ 69532 w 1504950"/>
                <a:gd name="connsiteY892" fmla="*/ 81915 h 1914525"/>
                <a:gd name="connsiteX893" fmla="*/ 92392 w 1504950"/>
                <a:gd name="connsiteY893" fmla="*/ 91440 h 1914525"/>
                <a:gd name="connsiteX894" fmla="*/ 102870 w 1504950"/>
                <a:gd name="connsiteY894" fmla="*/ 91440 h 1914525"/>
                <a:gd name="connsiteX895" fmla="*/ 110490 w 1504950"/>
                <a:gd name="connsiteY895" fmla="*/ 77153 h 1914525"/>
                <a:gd name="connsiteX896" fmla="*/ 118110 w 1504950"/>
                <a:gd name="connsiteY896" fmla="*/ 57150 h 1914525"/>
                <a:gd name="connsiteX897" fmla="*/ 123825 w 1504950"/>
                <a:gd name="connsiteY897" fmla="*/ 46673 h 1914525"/>
                <a:gd name="connsiteX898" fmla="*/ 130492 w 1504950"/>
                <a:gd name="connsiteY898" fmla="*/ 42863 h 1914525"/>
                <a:gd name="connsiteX899" fmla="*/ 144780 w 1504950"/>
                <a:gd name="connsiteY899" fmla="*/ 41910 h 1914525"/>
                <a:gd name="connsiteX900" fmla="*/ 156210 w 1504950"/>
                <a:gd name="connsiteY900" fmla="*/ 36195 h 1914525"/>
                <a:gd name="connsiteX901" fmla="*/ 164782 w 1504950"/>
                <a:gd name="connsiteY901" fmla="*/ 27623 h 1914525"/>
                <a:gd name="connsiteX902" fmla="*/ 172402 w 1504950"/>
                <a:gd name="connsiteY902" fmla="*/ 16193 h 1914525"/>
                <a:gd name="connsiteX903" fmla="*/ 182880 w 1504950"/>
                <a:gd name="connsiteY903" fmla="*/ 5715 h 1914525"/>
                <a:gd name="connsiteX904" fmla="*/ 193357 w 1504950"/>
                <a:gd name="connsiteY904" fmla="*/ 1905 h 1914525"/>
                <a:gd name="connsiteX905" fmla="*/ 205740 w 1504950"/>
                <a:gd name="connsiteY905" fmla="*/ 0 h 1914525"/>
                <a:gd name="connsiteX906" fmla="*/ 217170 w 1504950"/>
                <a:gd name="connsiteY906" fmla="*/ 953 h 1914525"/>
                <a:gd name="connsiteX907" fmla="*/ 225742 w 1504950"/>
                <a:gd name="connsiteY907" fmla="*/ 7620 h 1914525"/>
                <a:gd name="connsiteX908" fmla="*/ 234315 w 1504950"/>
                <a:gd name="connsiteY908" fmla="*/ 22860 h 1914525"/>
                <a:gd name="connsiteX909" fmla="*/ 239077 w 1504950"/>
                <a:gd name="connsiteY909" fmla="*/ 36195 h 1914525"/>
                <a:gd name="connsiteX910" fmla="*/ 245745 w 1504950"/>
                <a:gd name="connsiteY910" fmla="*/ 44768 h 1914525"/>
                <a:gd name="connsiteX911" fmla="*/ 294322 w 1504950"/>
                <a:gd name="connsiteY911" fmla="*/ 53340 h 1914525"/>
                <a:gd name="connsiteX912" fmla="*/ 303847 w 1504950"/>
                <a:gd name="connsiteY912" fmla="*/ 50483 h 1914525"/>
                <a:gd name="connsiteX913" fmla="*/ 308610 w 1504950"/>
                <a:gd name="connsiteY913" fmla="*/ 44768 h 1914525"/>
                <a:gd name="connsiteX914" fmla="*/ 317182 w 1504950"/>
                <a:gd name="connsiteY914" fmla="*/ 28575 h 1914525"/>
                <a:gd name="connsiteX915" fmla="*/ 323850 w 1504950"/>
                <a:gd name="connsiteY915" fmla="*/ 23813 h 1914525"/>
                <a:gd name="connsiteX916" fmla="*/ 329565 w 1504950"/>
                <a:gd name="connsiteY916" fmla="*/ 24765 h 1914525"/>
                <a:gd name="connsiteX917" fmla="*/ 338138 w 1504950"/>
                <a:gd name="connsiteY917" fmla="*/ 30480 h 1914525"/>
                <a:gd name="connsiteX918" fmla="*/ 344805 w 1504950"/>
                <a:gd name="connsiteY918" fmla="*/ 29528 h 1914525"/>
                <a:gd name="connsiteX919" fmla="*/ 377190 w 1504950"/>
                <a:gd name="connsiteY919" fmla="*/ 12383 h 1914525"/>
                <a:gd name="connsiteX920" fmla="*/ 388620 w 1504950"/>
                <a:gd name="connsiteY920" fmla="*/ 9525 h 1914525"/>
                <a:gd name="connsiteX921" fmla="*/ 462915 w 1504950"/>
                <a:gd name="connsiteY921" fmla="*/ 7620 h 1914525"/>
                <a:gd name="connsiteX922" fmla="*/ 478155 w 1504950"/>
                <a:gd name="connsiteY922" fmla="*/ 11430 h 1914525"/>
                <a:gd name="connsiteX923" fmla="*/ 492442 w 1504950"/>
                <a:gd name="connsiteY923" fmla="*/ 21908 h 1914525"/>
                <a:gd name="connsiteX924" fmla="*/ 512445 w 1504950"/>
                <a:gd name="connsiteY924" fmla="*/ 49530 h 1914525"/>
                <a:gd name="connsiteX925" fmla="*/ 520065 w 1504950"/>
                <a:gd name="connsiteY925" fmla="*/ 57150 h 1914525"/>
                <a:gd name="connsiteX926" fmla="*/ 546735 w 1504950"/>
                <a:gd name="connsiteY926" fmla="*/ 70485 h 1914525"/>
                <a:gd name="connsiteX927" fmla="*/ 553402 w 1504950"/>
                <a:gd name="connsiteY927" fmla="*/ 77153 h 1914525"/>
                <a:gd name="connsiteX928" fmla="*/ 556260 w 1504950"/>
                <a:gd name="connsiteY928" fmla="*/ 82868 h 1914525"/>
                <a:gd name="connsiteX929" fmla="*/ 558165 w 1504950"/>
                <a:gd name="connsiteY929" fmla="*/ 88583 h 1914525"/>
                <a:gd name="connsiteX930" fmla="*/ 558165 w 1504950"/>
                <a:gd name="connsiteY930" fmla="*/ 95250 h 1914525"/>
                <a:gd name="connsiteX931" fmla="*/ 558165 w 1504950"/>
                <a:gd name="connsiteY931" fmla="*/ 103823 h 1914525"/>
                <a:gd name="connsiteX932" fmla="*/ 557213 w 1504950"/>
                <a:gd name="connsiteY932" fmla="*/ 110490 h 1914525"/>
                <a:gd name="connsiteX933" fmla="*/ 553402 w 1504950"/>
                <a:gd name="connsiteY933" fmla="*/ 127635 h 1914525"/>
                <a:gd name="connsiteX934" fmla="*/ 551497 w 1504950"/>
                <a:gd name="connsiteY934" fmla="*/ 128588 h 1914525"/>
                <a:gd name="connsiteX935" fmla="*/ 555307 w 1504950"/>
                <a:gd name="connsiteY935" fmla="*/ 138113 h 1914525"/>
                <a:gd name="connsiteX936" fmla="*/ 571500 w 1504950"/>
                <a:gd name="connsiteY936" fmla="*/ 159068 h 1914525"/>
                <a:gd name="connsiteX937" fmla="*/ 578167 w 1504950"/>
                <a:gd name="connsiteY937" fmla="*/ 164783 h 1914525"/>
                <a:gd name="connsiteX938" fmla="*/ 586740 w 1504950"/>
                <a:gd name="connsiteY938" fmla="*/ 168593 h 1914525"/>
                <a:gd name="connsiteX939" fmla="*/ 601980 w 1504950"/>
                <a:gd name="connsiteY939" fmla="*/ 168593 h 1914525"/>
                <a:gd name="connsiteX940" fmla="*/ 609600 w 1504950"/>
                <a:gd name="connsiteY940" fmla="*/ 170498 h 1914525"/>
                <a:gd name="connsiteX941" fmla="*/ 618172 w 1504950"/>
                <a:gd name="connsiteY941" fmla="*/ 177165 h 1914525"/>
                <a:gd name="connsiteX942" fmla="*/ 629602 w 1504950"/>
                <a:gd name="connsiteY942" fmla="*/ 195263 h 1914525"/>
                <a:gd name="connsiteX943" fmla="*/ 638175 w 1504950"/>
                <a:gd name="connsiteY943" fmla="*/ 198120 h 1914525"/>
                <a:gd name="connsiteX944" fmla="*/ 644842 w 1504950"/>
                <a:gd name="connsiteY944" fmla="*/ 197168 h 1914525"/>
                <a:gd name="connsiteX945" fmla="*/ 652463 w 1504950"/>
                <a:gd name="connsiteY945" fmla="*/ 199073 h 1914525"/>
                <a:gd name="connsiteX946" fmla="*/ 659130 w 1504950"/>
                <a:gd name="connsiteY946" fmla="*/ 202883 h 1914525"/>
                <a:gd name="connsiteX947" fmla="*/ 664845 w 1504950"/>
                <a:gd name="connsiteY947" fmla="*/ 209550 h 1914525"/>
                <a:gd name="connsiteX948" fmla="*/ 668655 w 1504950"/>
                <a:gd name="connsiteY948" fmla="*/ 218123 h 1914525"/>
                <a:gd name="connsiteX949" fmla="*/ 674370 w 1504950"/>
                <a:gd name="connsiteY949" fmla="*/ 216218 h 1914525"/>
                <a:gd name="connsiteX950" fmla="*/ 677227 w 1504950"/>
                <a:gd name="connsiteY950" fmla="*/ 211455 h 1914525"/>
                <a:gd name="connsiteX951" fmla="*/ 828675 w 1504950"/>
                <a:gd name="connsiteY951" fmla="*/ 762953 h 1914525"/>
                <a:gd name="connsiteX952" fmla="*/ 824865 w 1504950"/>
                <a:gd name="connsiteY952" fmla="*/ 717233 h 1914525"/>
                <a:gd name="connsiteX953" fmla="*/ 802005 w 1504950"/>
                <a:gd name="connsiteY953" fmla="*/ 704850 h 1914525"/>
                <a:gd name="connsiteX954" fmla="*/ 773430 w 1504950"/>
                <a:gd name="connsiteY954" fmla="*/ 692468 h 1914525"/>
                <a:gd name="connsiteX955" fmla="*/ 762000 w 1504950"/>
                <a:gd name="connsiteY955" fmla="*/ 705803 h 1914525"/>
                <a:gd name="connsiteX956" fmla="*/ 762952 w 1504950"/>
                <a:gd name="connsiteY956" fmla="*/ 729615 h 1914525"/>
                <a:gd name="connsiteX957" fmla="*/ 751522 w 1504950"/>
                <a:gd name="connsiteY957" fmla="*/ 740093 h 1914525"/>
                <a:gd name="connsiteX958" fmla="*/ 734377 w 1504950"/>
                <a:gd name="connsiteY958" fmla="*/ 746760 h 1914525"/>
                <a:gd name="connsiteX959" fmla="*/ 725805 w 1504950"/>
                <a:gd name="connsiteY959" fmla="*/ 769620 h 1914525"/>
                <a:gd name="connsiteX960" fmla="*/ 675322 w 1504950"/>
                <a:gd name="connsiteY960" fmla="*/ 764858 h 1914525"/>
                <a:gd name="connsiteX961" fmla="*/ 668655 w 1504950"/>
                <a:gd name="connsiteY961" fmla="*/ 772478 h 1914525"/>
                <a:gd name="connsiteX962" fmla="*/ 673417 w 1504950"/>
                <a:gd name="connsiteY962" fmla="*/ 791528 h 1914525"/>
                <a:gd name="connsiteX963" fmla="*/ 660082 w 1504950"/>
                <a:gd name="connsiteY963" fmla="*/ 783908 h 1914525"/>
                <a:gd name="connsiteX964" fmla="*/ 649605 w 1504950"/>
                <a:gd name="connsiteY964" fmla="*/ 766763 h 1914525"/>
                <a:gd name="connsiteX965" fmla="*/ 635317 w 1504950"/>
                <a:gd name="connsiteY965" fmla="*/ 752475 h 1914525"/>
                <a:gd name="connsiteX966" fmla="*/ 627697 w 1504950"/>
                <a:gd name="connsiteY966" fmla="*/ 723900 h 1914525"/>
                <a:gd name="connsiteX967" fmla="*/ 615315 w 1504950"/>
                <a:gd name="connsiteY967" fmla="*/ 721043 h 1914525"/>
                <a:gd name="connsiteX968" fmla="*/ 612457 w 1504950"/>
                <a:gd name="connsiteY968" fmla="*/ 697230 h 1914525"/>
                <a:gd name="connsiteX969" fmla="*/ 560070 w 1504950"/>
                <a:gd name="connsiteY969" fmla="*/ 697230 h 1914525"/>
                <a:gd name="connsiteX970" fmla="*/ 560070 w 1504950"/>
                <a:gd name="connsiteY970" fmla="*/ 718185 h 1914525"/>
                <a:gd name="connsiteX971" fmla="*/ 526732 w 1504950"/>
                <a:gd name="connsiteY971" fmla="*/ 721995 h 1914525"/>
                <a:gd name="connsiteX972" fmla="*/ 538163 w 1504950"/>
                <a:gd name="connsiteY972" fmla="*/ 741998 h 1914525"/>
                <a:gd name="connsiteX973" fmla="*/ 535305 w 1504950"/>
                <a:gd name="connsiteY973" fmla="*/ 758190 h 1914525"/>
                <a:gd name="connsiteX974" fmla="*/ 525780 w 1504950"/>
                <a:gd name="connsiteY974" fmla="*/ 742950 h 1914525"/>
                <a:gd name="connsiteX975" fmla="*/ 516255 w 1504950"/>
                <a:gd name="connsiteY975" fmla="*/ 748665 h 1914525"/>
                <a:gd name="connsiteX976" fmla="*/ 521017 w 1504950"/>
                <a:gd name="connsiteY976" fmla="*/ 762000 h 1914525"/>
                <a:gd name="connsiteX977" fmla="*/ 521017 w 1504950"/>
                <a:gd name="connsiteY977" fmla="*/ 777240 h 1914525"/>
                <a:gd name="connsiteX978" fmla="*/ 510540 w 1504950"/>
                <a:gd name="connsiteY978" fmla="*/ 786765 h 1914525"/>
                <a:gd name="connsiteX979" fmla="*/ 499110 w 1504950"/>
                <a:gd name="connsiteY979" fmla="*/ 797243 h 1914525"/>
                <a:gd name="connsiteX980" fmla="*/ 496252 w 1504950"/>
                <a:gd name="connsiteY980" fmla="*/ 811530 h 1914525"/>
                <a:gd name="connsiteX981" fmla="*/ 499110 w 1504950"/>
                <a:gd name="connsiteY981" fmla="*/ 827723 h 1914525"/>
                <a:gd name="connsiteX982" fmla="*/ 496252 w 1504950"/>
                <a:gd name="connsiteY982" fmla="*/ 842963 h 1914525"/>
                <a:gd name="connsiteX983" fmla="*/ 489585 w 1504950"/>
                <a:gd name="connsiteY983" fmla="*/ 850583 h 1914525"/>
                <a:gd name="connsiteX984" fmla="*/ 490538 w 1504950"/>
                <a:gd name="connsiteY984" fmla="*/ 863918 h 1914525"/>
                <a:gd name="connsiteX985" fmla="*/ 491490 w 1504950"/>
                <a:gd name="connsiteY985" fmla="*/ 878205 h 1914525"/>
                <a:gd name="connsiteX986" fmla="*/ 485775 w 1504950"/>
                <a:gd name="connsiteY986" fmla="*/ 890588 h 1914525"/>
                <a:gd name="connsiteX987" fmla="*/ 484822 w 1504950"/>
                <a:gd name="connsiteY987" fmla="*/ 904875 h 1914525"/>
                <a:gd name="connsiteX988" fmla="*/ 481965 w 1504950"/>
                <a:gd name="connsiteY988" fmla="*/ 925830 h 1914525"/>
                <a:gd name="connsiteX989" fmla="*/ 487680 w 1504950"/>
                <a:gd name="connsiteY989" fmla="*/ 936308 h 1914525"/>
                <a:gd name="connsiteX990" fmla="*/ 493395 w 1504950"/>
                <a:gd name="connsiteY990" fmla="*/ 927735 h 1914525"/>
                <a:gd name="connsiteX991" fmla="*/ 501967 w 1504950"/>
                <a:gd name="connsiteY991" fmla="*/ 929640 h 1914525"/>
                <a:gd name="connsiteX992" fmla="*/ 509588 w 1504950"/>
                <a:gd name="connsiteY992" fmla="*/ 902970 h 1914525"/>
                <a:gd name="connsiteX993" fmla="*/ 532447 w 1504950"/>
                <a:gd name="connsiteY993" fmla="*/ 909638 h 1914525"/>
                <a:gd name="connsiteX994" fmla="*/ 543877 w 1504950"/>
                <a:gd name="connsiteY994" fmla="*/ 902970 h 1914525"/>
                <a:gd name="connsiteX995" fmla="*/ 552450 w 1504950"/>
                <a:gd name="connsiteY995" fmla="*/ 908685 h 1914525"/>
                <a:gd name="connsiteX996" fmla="*/ 559117 w 1504950"/>
                <a:gd name="connsiteY996" fmla="*/ 941070 h 1914525"/>
                <a:gd name="connsiteX997" fmla="*/ 573405 w 1504950"/>
                <a:gd name="connsiteY997" fmla="*/ 958215 h 1914525"/>
                <a:gd name="connsiteX998" fmla="*/ 589597 w 1504950"/>
                <a:gd name="connsiteY998" fmla="*/ 972503 h 1914525"/>
                <a:gd name="connsiteX999" fmla="*/ 601980 w 1504950"/>
                <a:gd name="connsiteY999" fmla="*/ 994410 h 1914525"/>
                <a:gd name="connsiteX1000" fmla="*/ 597217 w 1504950"/>
                <a:gd name="connsiteY1000" fmla="*/ 1010603 h 1914525"/>
                <a:gd name="connsiteX1001" fmla="*/ 601027 w 1504950"/>
                <a:gd name="connsiteY1001" fmla="*/ 1029653 h 1914525"/>
                <a:gd name="connsiteX1002" fmla="*/ 610552 w 1504950"/>
                <a:gd name="connsiteY1002" fmla="*/ 1029653 h 1914525"/>
                <a:gd name="connsiteX1003" fmla="*/ 619125 w 1504950"/>
                <a:gd name="connsiteY1003" fmla="*/ 1027748 h 1914525"/>
                <a:gd name="connsiteX1004" fmla="*/ 622935 w 1504950"/>
                <a:gd name="connsiteY1004" fmla="*/ 1046798 h 1914525"/>
                <a:gd name="connsiteX1005" fmla="*/ 624840 w 1504950"/>
                <a:gd name="connsiteY1005" fmla="*/ 1062038 h 1914525"/>
                <a:gd name="connsiteX1006" fmla="*/ 634365 w 1504950"/>
                <a:gd name="connsiteY1006" fmla="*/ 1066800 h 1914525"/>
                <a:gd name="connsiteX1007" fmla="*/ 635317 w 1504950"/>
                <a:gd name="connsiteY1007" fmla="*/ 1080135 h 1914525"/>
                <a:gd name="connsiteX1008" fmla="*/ 644842 w 1504950"/>
                <a:gd name="connsiteY1008" fmla="*/ 1076325 h 1914525"/>
                <a:gd name="connsiteX1009" fmla="*/ 659130 w 1504950"/>
                <a:gd name="connsiteY1009" fmla="*/ 1088708 h 1914525"/>
                <a:gd name="connsiteX1010" fmla="*/ 653415 w 1504950"/>
                <a:gd name="connsiteY1010" fmla="*/ 1124903 h 1914525"/>
                <a:gd name="connsiteX1011" fmla="*/ 666750 w 1504950"/>
                <a:gd name="connsiteY1011" fmla="*/ 1124903 h 1914525"/>
                <a:gd name="connsiteX1012" fmla="*/ 669607 w 1504950"/>
                <a:gd name="connsiteY1012" fmla="*/ 1164908 h 1914525"/>
                <a:gd name="connsiteX1013" fmla="*/ 683895 w 1504950"/>
                <a:gd name="connsiteY1013" fmla="*/ 1169670 h 1914525"/>
                <a:gd name="connsiteX1014" fmla="*/ 691515 w 1504950"/>
                <a:gd name="connsiteY1014" fmla="*/ 1195388 h 1914525"/>
                <a:gd name="connsiteX1015" fmla="*/ 693420 w 1504950"/>
                <a:gd name="connsiteY1015" fmla="*/ 1233488 h 1914525"/>
                <a:gd name="connsiteX1016" fmla="*/ 725805 w 1504950"/>
                <a:gd name="connsiteY1016" fmla="*/ 1217295 h 1914525"/>
                <a:gd name="connsiteX1017" fmla="*/ 721042 w 1504950"/>
                <a:gd name="connsiteY1017" fmla="*/ 1203960 h 1914525"/>
                <a:gd name="connsiteX1018" fmla="*/ 726757 w 1504950"/>
                <a:gd name="connsiteY1018" fmla="*/ 1195388 h 1914525"/>
                <a:gd name="connsiteX1019" fmla="*/ 715327 w 1504950"/>
                <a:gd name="connsiteY1019" fmla="*/ 1165860 h 1914525"/>
                <a:gd name="connsiteX1020" fmla="*/ 711517 w 1504950"/>
                <a:gd name="connsiteY1020" fmla="*/ 1143953 h 1914525"/>
                <a:gd name="connsiteX1021" fmla="*/ 721995 w 1504950"/>
                <a:gd name="connsiteY1021" fmla="*/ 1143000 h 1914525"/>
                <a:gd name="connsiteX1022" fmla="*/ 729615 w 1504950"/>
                <a:gd name="connsiteY1022" fmla="*/ 1116330 h 1914525"/>
                <a:gd name="connsiteX1023" fmla="*/ 720090 w 1504950"/>
                <a:gd name="connsiteY1023" fmla="*/ 1085850 h 1914525"/>
                <a:gd name="connsiteX1024" fmla="*/ 704850 w 1504950"/>
                <a:gd name="connsiteY1024" fmla="*/ 1044893 h 1914525"/>
                <a:gd name="connsiteX1025" fmla="*/ 710565 w 1504950"/>
                <a:gd name="connsiteY1025" fmla="*/ 1038225 h 1914525"/>
                <a:gd name="connsiteX1026" fmla="*/ 703897 w 1504950"/>
                <a:gd name="connsiteY1026" fmla="*/ 1024890 h 1914525"/>
                <a:gd name="connsiteX1027" fmla="*/ 722947 w 1504950"/>
                <a:gd name="connsiteY1027" fmla="*/ 1018223 h 1914525"/>
                <a:gd name="connsiteX1028" fmla="*/ 725805 w 1504950"/>
                <a:gd name="connsiteY1028" fmla="*/ 1029653 h 1914525"/>
                <a:gd name="connsiteX1029" fmla="*/ 737235 w 1504950"/>
                <a:gd name="connsiteY1029" fmla="*/ 1026795 h 1914525"/>
                <a:gd name="connsiteX1030" fmla="*/ 752475 w 1504950"/>
                <a:gd name="connsiteY1030" fmla="*/ 1032510 h 1914525"/>
                <a:gd name="connsiteX1031" fmla="*/ 762952 w 1504950"/>
                <a:gd name="connsiteY1031" fmla="*/ 1028700 h 1914525"/>
                <a:gd name="connsiteX1032" fmla="*/ 762000 w 1504950"/>
                <a:gd name="connsiteY1032" fmla="*/ 1003935 h 1914525"/>
                <a:gd name="connsiteX1033" fmla="*/ 765810 w 1504950"/>
                <a:gd name="connsiteY1033" fmla="*/ 989648 h 1914525"/>
                <a:gd name="connsiteX1034" fmla="*/ 782002 w 1504950"/>
                <a:gd name="connsiteY1034" fmla="*/ 1006793 h 1914525"/>
                <a:gd name="connsiteX1035" fmla="*/ 802005 w 1504950"/>
                <a:gd name="connsiteY1035" fmla="*/ 1003935 h 1914525"/>
                <a:gd name="connsiteX1036" fmla="*/ 801052 w 1504950"/>
                <a:gd name="connsiteY1036" fmla="*/ 970598 h 1914525"/>
                <a:gd name="connsiteX1037" fmla="*/ 822007 w 1504950"/>
                <a:gd name="connsiteY1037" fmla="*/ 970598 h 1914525"/>
                <a:gd name="connsiteX1038" fmla="*/ 830580 w 1504950"/>
                <a:gd name="connsiteY1038" fmla="*/ 953453 h 1914525"/>
                <a:gd name="connsiteX1039" fmla="*/ 815340 w 1504950"/>
                <a:gd name="connsiteY1039" fmla="*/ 942023 h 1914525"/>
                <a:gd name="connsiteX1040" fmla="*/ 814388 w 1504950"/>
                <a:gd name="connsiteY1040" fmla="*/ 927735 h 1914525"/>
                <a:gd name="connsiteX1041" fmla="*/ 784860 w 1504950"/>
                <a:gd name="connsiteY1041" fmla="*/ 882015 h 1914525"/>
                <a:gd name="connsiteX1042" fmla="*/ 783907 w 1504950"/>
                <a:gd name="connsiteY1042" fmla="*/ 851535 h 1914525"/>
                <a:gd name="connsiteX1043" fmla="*/ 789622 w 1504950"/>
                <a:gd name="connsiteY1043" fmla="*/ 842010 h 1914525"/>
                <a:gd name="connsiteX1044" fmla="*/ 780097 w 1504950"/>
                <a:gd name="connsiteY1044" fmla="*/ 826770 h 1914525"/>
                <a:gd name="connsiteX1045" fmla="*/ 781050 w 1504950"/>
                <a:gd name="connsiteY1045" fmla="*/ 814388 h 1914525"/>
                <a:gd name="connsiteX1046" fmla="*/ 793432 w 1504950"/>
                <a:gd name="connsiteY1046" fmla="*/ 795338 h 1914525"/>
                <a:gd name="connsiteX1047" fmla="*/ 808672 w 1504950"/>
                <a:gd name="connsiteY1047" fmla="*/ 785813 h 1914525"/>
                <a:gd name="connsiteX1048" fmla="*/ 828675 w 1504950"/>
                <a:gd name="connsiteY1048" fmla="*/ 762953 h 19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</a:cxnLst>
              <a:rect l="l" t="t" r="r" b="b"/>
              <a:pathLst>
                <a:path w="1504950" h="1914525">
                  <a:moveTo>
                    <a:pt x="677227" y="211455"/>
                  </a:moveTo>
                  <a:lnTo>
                    <a:pt x="678180" y="218123"/>
                  </a:lnTo>
                  <a:lnTo>
                    <a:pt x="677227" y="220980"/>
                  </a:lnTo>
                  <a:lnTo>
                    <a:pt x="676275" y="222885"/>
                  </a:lnTo>
                  <a:lnTo>
                    <a:pt x="674370" y="224790"/>
                  </a:lnTo>
                  <a:lnTo>
                    <a:pt x="671513" y="224790"/>
                  </a:lnTo>
                  <a:lnTo>
                    <a:pt x="661035" y="223838"/>
                  </a:lnTo>
                  <a:lnTo>
                    <a:pt x="658177" y="224790"/>
                  </a:lnTo>
                  <a:lnTo>
                    <a:pt x="656272" y="226695"/>
                  </a:lnTo>
                  <a:lnTo>
                    <a:pt x="655320" y="230505"/>
                  </a:lnTo>
                  <a:lnTo>
                    <a:pt x="656272" y="235268"/>
                  </a:lnTo>
                  <a:lnTo>
                    <a:pt x="662940" y="251460"/>
                  </a:lnTo>
                  <a:lnTo>
                    <a:pt x="663892" y="257175"/>
                  </a:lnTo>
                  <a:lnTo>
                    <a:pt x="664845" y="263843"/>
                  </a:lnTo>
                  <a:lnTo>
                    <a:pt x="663892" y="270510"/>
                  </a:lnTo>
                  <a:lnTo>
                    <a:pt x="654367" y="317183"/>
                  </a:lnTo>
                  <a:lnTo>
                    <a:pt x="653415" y="324803"/>
                  </a:lnTo>
                  <a:lnTo>
                    <a:pt x="652463" y="376238"/>
                  </a:lnTo>
                  <a:lnTo>
                    <a:pt x="654367" y="401003"/>
                  </a:lnTo>
                  <a:lnTo>
                    <a:pt x="655320" y="404813"/>
                  </a:lnTo>
                  <a:lnTo>
                    <a:pt x="656272" y="406718"/>
                  </a:lnTo>
                  <a:lnTo>
                    <a:pt x="659130" y="408623"/>
                  </a:lnTo>
                  <a:lnTo>
                    <a:pt x="664845" y="408623"/>
                  </a:lnTo>
                  <a:lnTo>
                    <a:pt x="667702" y="406718"/>
                  </a:lnTo>
                  <a:lnTo>
                    <a:pt x="672465" y="402908"/>
                  </a:lnTo>
                  <a:lnTo>
                    <a:pt x="674370" y="401003"/>
                  </a:lnTo>
                  <a:lnTo>
                    <a:pt x="677227" y="401003"/>
                  </a:lnTo>
                  <a:lnTo>
                    <a:pt x="683895" y="404813"/>
                  </a:lnTo>
                  <a:lnTo>
                    <a:pt x="689610" y="409575"/>
                  </a:lnTo>
                  <a:lnTo>
                    <a:pt x="696277" y="411480"/>
                  </a:lnTo>
                  <a:lnTo>
                    <a:pt x="701040" y="411480"/>
                  </a:lnTo>
                  <a:lnTo>
                    <a:pt x="703897" y="411480"/>
                  </a:lnTo>
                  <a:lnTo>
                    <a:pt x="708660" y="412433"/>
                  </a:lnTo>
                  <a:lnTo>
                    <a:pt x="713422" y="415290"/>
                  </a:lnTo>
                  <a:lnTo>
                    <a:pt x="726757" y="427673"/>
                  </a:lnTo>
                  <a:lnTo>
                    <a:pt x="729615" y="431483"/>
                  </a:lnTo>
                  <a:lnTo>
                    <a:pt x="731520" y="436245"/>
                  </a:lnTo>
                  <a:lnTo>
                    <a:pt x="733425" y="444818"/>
                  </a:lnTo>
                  <a:lnTo>
                    <a:pt x="734377" y="451485"/>
                  </a:lnTo>
                  <a:lnTo>
                    <a:pt x="734377" y="458153"/>
                  </a:lnTo>
                  <a:lnTo>
                    <a:pt x="731520" y="472440"/>
                  </a:lnTo>
                  <a:lnTo>
                    <a:pt x="728663" y="486728"/>
                  </a:lnTo>
                  <a:lnTo>
                    <a:pt x="727710" y="490538"/>
                  </a:lnTo>
                  <a:lnTo>
                    <a:pt x="727710" y="497205"/>
                  </a:lnTo>
                  <a:lnTo>
                    <a:pt x="728663" y="502920"/>
                  </a:lnTo>
                  <a:lnTo>
                    <a:pt x="729615" y="505778"/>
                  </a:lnTo>
                  <a:lnTo>
                    <a:pt x="733425" y="508635"/>
                  </a:lnTo>
                  <a:lnTo>
                    <a:pt x="738188" y="511492"/>
                  </a:lnTo>
                  <a:lnTo>
                    <a:pt x="766763" y="521970"/>
                  </a:lnTo>
                  <a:lnTo>
                    <a:pt x="771525" y="524828"/>
                  </a:lnTo>
                  <a:lnTo>
                    <a:pt x="788670" y="538163"/>
                  </a:lnTo>
                  <a:lnTo>
                    <a:pt x="793432" y="542925"/>
                  </a:lnTo>
                  <a:lnTo>
                    <a:pt x="795338" y="546735"/>
                  </a:lnTo>
                  <a:lnTo>
                    <a:pt x="795338" y="548640"/>
                  </a:lnTo>
                  <a:lnTo>
                    <a:pt x="792480" y="566738"/>
                  </a:lnTo>
                  <a:lnTo>
                    <a:pt x="791527" y="573405"/>
                  </a:lnTo>
                  <a:lnTo>
                    <a:pt x="787717" y="582930"/>
                  </a:lnTo>
                  <a:lnTo>
                    <a:pt x="782955" y="594360"/>
                  </a:lnTo>
                  <a:lnTo>
                    <a:pt x="775335" y="607695"/>
                  </a:lnTo>
                  <a:lnTo>
                    <a:pt x="773430" y="612458"/>
                  </a:lnTo>
                  <a:lnTo>
                    <a:pt x="773430" y="616268"/>
                  </a:lnTo>
                  <a:lnTo>
                    <a:pt x="775335" y="618173"/>
                  </a:lnTo>
                  <a:lnTo>
                    <a:pt x="778192" y="620078"/>
                  </a:lnTo>
                  <a:lnTo>
                    <a:pt x="783907" y="620078"/>
                  </a:lnTo>
                  <a:lnTo>
                    <a:pt x="799147" y="615315"/>
                  </a:lnTo>
                  <a:lnTo>
                    <a:pt x="802957" y="616268"/>
                  </a:lnTo>
                  <a:lnTo>
                    <a:pt x="807720" y="618173"/>
                  </a:lnTo>
                  <a:lnTo>
                    <a:pt x="813435" y="623888"/>
                  </a:lnTo>
                  <a:lnTo>
                    <a:pt x="816292" y="627698"/>
                  </a:lnTo>
                  <a:lnTo>
                    <a:pt x="820102" y="632460"/>
                  </a:lnTo>
                  <a:lnTo>
                    <a:pt x="822007" y="634365"/>
                  </a:lnTo>
                  <a:lnTo>
                    <a:pt x="824865" y="635318"/>
                  </a:lnTo>
                  <a:lnTo>
                    <a:pt x="829627" y="634365"/>
                  </a:lnTo>
                  <a:lnTo>
                    <a:pt x="832485" y="632460"/>
                  </a:lnTo>
                  <a:lnTo>
                    <a:pt x="835342" y="630555"/>
                  </a:lnTo>
                  <a:lnTo>
                    <a:pt x="839152" y="621983"/>
                  </a:lnTo>
                  <a:lnTo>
                    <a:pt x="841057" y="621030"/>
                  </a:lnTo>
                  <a:lnTo>
                    <a:pt x="843915" y="620078"/>
                  </a:lnTo>
                  <a:lnTo>
                    <a:pt x="868680" y="626745"/>
                  </a:lnTo>
                  <a:lnTo>
                    <a:pt x="875347" y="627698"/>
                  </a:lnTo>
                  <a:lnTo>
                    <a:pt x="879157" y="626745"/>
                  </a:lnTo>
                  <a:lnTo>
                    <a:pt x="886777" y="619125"/>
                  </a:lnTo>
                  <a:lnTo>
                    <a:pt x="892492" y="617220"/>
                  </a:lnTo>
                  <a:lnTo>
                    <a:pt x="899160" y="617220"/>
                  </a:lnTo>
                  <a:lnTo>
                    <a:pt x="927735" y="619125"/>
                  </a:lnTo>
                  <a:lnTo>
                    <a:pt x="933450" y="619125"/>
                  </a:lnTo>
                  <a:lnTo>
                    <a:pt x="939165" y="617220"/>
                  </a:lnTo>
                  <a:lnTo>
                    <a:pt x="942022" y="616268"/>
                  </a:lnTo>
                  <a:lnTo>
                    <a:pt x="947738" y="611505"/>
                  </a:lnTo>
                  <a:lnTo>
                    <a:pt x="952500" y="608648"/>
                  </a:lnTo>
                  <a:lnTo>
                    <a:pt x="955357" y="608648"/>
                  </a:lnTo>
                  <a:lnTo>
                    <a:pt x="959167" y="609600"/>
                  </a:lnTo>
                  <a:lnTo>
                    <a:pt x="961072" y="612458"/>
                  </a:lnTo>
                  <a:lnTo>
                    <a:pt x="962977" y="617220"/>
                  </a:lnTo>
                  <a:lnTo>
                    <a:pt x="967740" y="623888"/>
                  </a:lnTo>
                  <a:lnTo>
                    <a:pt x="971550" y="628650"/>
                  </a:lnTo>
                  <a:lnTo>
                    <a:pt x="972502" y="631508"/>
                  </a:lnTo>
                  <a:lnTo>
                    <a:pt x="971550" y="634365"/>
                  </a:lnTo>
                  <a:lnTo>
                    <a:pt x="969645" y="641033"/>
                  </a:lnTo>
                  <a:lnTo>
                    <a:pt x="969645" y="643890"/>
                  </a:lnTo>
                  <a:lnTo>
                    <a:pt x="971550" y="646748"/>
                  </a:lnTo>
                  <a:lnTo>
                    <a:pt x="974407" y="648653"/>
                  </a:lnTo>
                  <a:lnTo>
                    <a:pt x="982027" y="649605"/>
                  </a:lnTo>
                  <a:lnTo>
                    <a:pt x="989647" y="650558"/>
                  </a:lnTo>
                  <a:lnTo>
                    <a:pt x="993457" y="651510"/>
                  </a:lnTo>
                  <a:lnTo>
                    <a:pt x="995363" y="653415"/>
                  </a:lnTo>
                  <a:lnTo>
                    <a:pt x="995363" y="657225"/>
                  </a:lnTo>
                  <a:lnTo>
                    <a:pt x="995363" y="664845"/>
                  </a:lnTo>
                  <a:lnTo>
                    <a:pt x="997267" y="667703"/>
                  </a:lnTo>
                  <a:lnTo>
                    <a:pt x="1009650" y="678180"/>
                  </a:lnTo>
                  <a:lnTo>
                    <a:pt x="1016317" y="685800"/>
                  </a:lnTo>
                  <a:lnTo>
                    <a:pt x="1020127" y="690563"/>
                  </a:lnTo>
                  <a:lnTo>
                    <a:pt x="1022032" y="695325"/>
                  </a:lnTo>
                  <a:lnTo>
                    <a:pt x="1023938" y="700088"/>
                  </a:lnTo>
                  <a:lnTo>
                    <a:pt x="1026795" y="711518"/>
                  </a:lnTo>
                  <a:lnTo>
                    <a:pt x="1027747" y="720090"/>
                  </a:lnTo>
                  <a:lnTo>
                    <a:pt x="1027747" y="726758"/>
                  </a:lnTo>
                  <a:lnTo>
                    <a:pt x="1026795" y="730568"/>
                  </a:lnTo>
                  <a:lnTo>
                    <a:pt x="1024890" y="736283"/>
                  </a:lnTo>
                  <a:lnTo>
                    <a:pt x="1021080" y="741045"/>
                  </a:lnTo>
                  <a:lnTo>
                    <a:pt x="1019175" y="742950"/>
                  </a:lnTo>
                  <a:lnTo>
                    <a:pt x="1017270" y="743903"/>
                  </a:lnTo>
                  <a:lnTo>
                    <a:pt x="1011555" y="742950"/>
                  </a:lnTo>
                  <a:lnTo>
                    <a:pt x="1009650" y="743903"/>
                  </a:lnTo>
                  <a:lnTo>
                    <a:pt x="1007745" y="746760"/>
                  </a:lnTo>
                  <a:lnTo>
                    <a:pt x="1006792" y="753428"/>
                  </a:lnTo>
                  <a:lnTo>
                    <a:pt x="1005840" y="756285"/>
                  </a:lnTo>
                  <a:lnTo>
                    <a:pt x="1006792" y="759143"/>
                  </a:lnTo>
                  <a:lnTo>
                    <a:pt x="1009650" y="763905"/>
                  </a:lnTo>
                  <a:lnTo>
                    <a:pt x="1024890" y="779145"/>
                  </a:lnTo>
                  <a:lnTo>
                    <a:pt x="1027747" y="781050"/>
                  </a:lnTo>
                  <a:lnTo>
                    <a:pt x="1030605" y="782955"/>
                  </a:lnTo>
                  <a:lnTo>
                    <a:pt x="1041082" y="782003"/>
                  </a:lnTo>
                  <a:lnTo>
                    <a:pt x="1044892" y="782955"/>
                  </a:lnTo>
                  <a:lnTo>
                    <a:pt x="1047750" y="784860"/>
                  </a:lnTo>
                  <a:lnTo>
                    <a:pt x="1049655" y="788670"/>
                  </a:lnTo>
                  <a:lnTo>
                    <a:pt x="1050607" y="792480"/>
                  </a:lnTo>
                  <a:lnTo>
                    <a:pt x="1049655" y="803910"/>
                  </a:lnTo>
                  <a:lnTo>
                    <a:pt x="1051560" y="808673"/>
                  </a:lnTo>
                  <a:lnTo>
                    <a:pt x="1054417" y="813435"/>
                  </a:lnTo>
                  <a:lnTo>
                    <a:pt x="1056323" y="815340"/>
                  </a:lnTo>
                  <a:lnTo>
                    <a:pt x="1059180" y="816293"/>
                  </a:lnTo>
                  <a:lnTo>
                    <a:pt x="1062990" y="817245"/>
                  </a:lnTo>
                  <a:lnTo>
                    <a:pt x="1068705" y="817245"/>
                  </a:lnTo>
                  <a:lnTo>
                    <a:pt x="1073467" y="819150"/>
                  </a:lnTo>
                  <a:lnTo>
                    <a:pt x="1078230" y="822960"/>
                  </a:lnTo>
                  <a:lnTo>
                    <a:pt x="1081088" y="823913"/>
                  </a:lnTo>
                  <a:lnTo>
                    <a:pt x="1084898" y="825818"/>
                  </a:lnTo>
                  <a:lnTo>
                    <a:pt x="1090613" y="823913"/>
                  </a:lnTo>
                  <a:lnTo>
                    <a:pt x="1093470" y="822960"/>
                  </a:lnTo>
                  <a:lnTo>
                    <a:pt x="1096327" y="821055"/>
                  </a:lnTo>
                  <a:lnTo>
                    <a:pt x="1103947" y="821055"/>
                  </a:lnTo>
                  <a:lnTo>
                    <a:pt x="1114425" y="822008"/>
                  </a:lnTo>
                  <a:lnTo>
                    <a:pt x="1155382" y="832485"/>
                  </a:lnTo>
                  <a:lnTo>
                    <a:pt x="1161097" y="827723"/>
                  </a:lnTo>
                  <a:lnTo>
                    <a:pt x="1166813" y="821055"/>
                  </a:lnTo>
                  <a:lnTo>
                    <a:pt x="1170622" y="818198"/>
                  </a:lnTo>
                  <a:lnTo>
                    <a:pt x="1175385" y="817245"/>
                  </a:lnTo>
                  <a:lnTo>
                    <a:pt x="1207770" y="824865"/>
                  </a:lnTo>
                  <a:lnTo>
                    <a:pt x="1210627" y="824865"/>
                  </a:lnTo>
                  <a:lnTo>
                    <a:pt x="1215390" y="822960"/>
                  </a:lnTo>
                  <a:lnTo>
                    <a:pt x="1220152" y="819150"/>
                  </a:lnTo>
                  <a:lnTo>
                    <a:pt x="1222057" y="818198"/>
                  </a:lnTo>
                  <a:lnTo>
                    <a:pt x="1224915" y="817245"/>
                  </a:lnTo>
                  <a:lnTo>
                    <a:pt x="1232535" y="818198"/>
                  </a:lnTo>
                  <a:lnTo>
                    <a:pt x="1235393" y="818198"/>
                  </a:lnTo>
                  <a:lnTo>
                    <a:pt x="1237297" y="816293"/>
                  </a:lnTo>
                  <a:lnTo>
                    <a:pt x="1239202" y="814388"/>
                  </a:lnTo>
                  <a:lnTo>
                    <a:pt x="1244918" y="807720"/>
                  </a:lnTo>
                  <a:lnTo>
                    <a:pt x="1248727" y="804863"/>
                  </a:lnTo>
                  <a:lnTo>
                    <a:pt x="1251585" y="803910"/>
                  </a:lnTo>
                  <a:lnTo>
                    <a:pt x="1257300" y="802958"/>
                  </a:lnTo>
                  <a:lnTo>
                    <a:pt x="1260157" y="802005"/>
                  </a:lnTo>
                  <a:lnTo>
                    <a:pt x="1262063" y="800100"/>
                  </a:lnTo>
                  <a:lnTo>
                    <a:pt x="1264920" y="795338"/>
                  </a:lnTo>
                  <a:lnTo>
                    <a:pt x="1268730" y="791528"/>
                  </a:lnTo>
                  <a:lnTo>
                    <a:pt x="1273493" y="788670"/>
                  </a:lnTo>
                  <a:lnTo>
                    <a:pt x="1279207" y="787718"/>
                  </a:lnTo>
                  <a:lnTo>
                    <a:pt x="1300163" y="789623"/>
                  </a:lnTo>
                  <a:lnTo>
                    <a:pt x="1303972" y="789623"/>
                  </a:lnTo>
                  <a:lnTo>
                    <a:pt x="1305877" y="788670"/>
                  </a:lnTo>
                  <a:lnTo>
                    <a:pt x="1309688" y="783908"/>
                  </a:lnTo>
                  <a:lnTo>
                    <a:pt x="1316355" y="774383"/>
                  </a:lnTo>
                  <a:lnTo>
                    <a:pt x="1318260" y="772478"/>
                  </a:lnTo>
                  <a:lnTo>
                    <a:pt x="1323022" y="770573"/>
                  </a:lnTo>
                  <a:lnTo>
                    <a:pt x="1324927" y="768668"/>
                  </a:lnTo>
                  <a:lnTo>
                    <a:pt x="1324927" y="766763"/>
                  </a:lnTo>
                  <a:lnTo>
                    <a:pt x="1324927" y="761048"/>
                  </a:lnTo>
                  <a:lnTo>
                    <a:pt x="1324927" y="758190"/>
                  </a:lnTo>
                  <a:lnTo>
                    <a:pt x="1325880" y="755333"/>
                  </a:lnTo>
                  <a:lnTo>
                    <a:pt x="1328738" y="751523"/>
                  </a:lnTo>
                  <a:lnTo>
                    <a:pt x="1329690" y="748665"/>
                  </a:lnTo>
                  <a:lnTo>
                    <a:pt x="1330643" y="740093"/>
                  </a:lnTo>
                  <a:lnTo>
                    <a:pt x="1331595" y="737235"/>
                  </a:lnTo>
                  <a:lnTo>
                    <a:pt x="1336357" y="734378"/>
                  </a:lnTo>
                  <a:lnTo>
                    <a:pt x="1346835" y="730568"/>
                  </a:lnTo>
                  <a:lnTo>
                    <a:pt x="1358265" y="729615"/>
                  </a:lnTo>
                  <a:lnTo>
                    <a:pt x="1363027" y="731520"/>
                  </a:lnTo>
                  <a:lnTo>
                    <a:pt x="1368743" y="735330"/>
                  </a:lnTo>
                  <a:lnTo>
                    <a:pt x="1383982" y="750570"/>
                  </a:lnTo>
                  <a:lnTo>
                    <a:pt x="1390650" y="755333"/>
                  </a:lnTo>
                  <a:lnTo>
                    <a:pt x="1409700" y="781050"/>
                  </a:lnTo>
                  <a:lnTo>
                    <a:pt x="1414463" y="786765"/>
                  </a:lnTo>
                  <a:lnTo>
                    <a:pt x="1419225" y="790575"/>
                  </a:lnTo>
                  <a:lnTo>
                    <a:pt x="1422082" y="791528"/>
                  </a:lnTo>
                  <a:lnTo>
                    <a:pt x="1428750" y="792480"/>
                  </a:lnTo>
                  <a:lnTo>
                    <a:pt x="1450657" y="792480"/>
                  </a:lnTo>
                  <a:lnTo>
                    <a:pt x="1453515" y="795338"/>
                  </a:lnTo>
                  <a:lnTo>
                    <a:pt x="1456372" y="800100"/>
                  </a:lnTo>
                  <a:lnTo>
                    <a:pt x="1457325" y="811530"/>
                  </a:lnTo>
                  <a:lnTo>
                    <a:pt x="1456372" y="822960"/>
                  </a:lnTo>
                  <a:lnTo>
                    <a:pt x="1455420" y="828675"/>
                  </a:lnTo>
                  <a:lnTo>
                    <a:pt x="1453515" y="830580"/>
                  </a:lnTo>
                  <a:lnTo>
                    <a:pt x="1450657" y="832485"/>
                  </a:lnTo>
                  <a:lnTo>
                    <a:pt x="1439227" y="830580"/>
                  </a:lnTo>
                  <a:lnTo>
                    <a:pt x="1436370" y="831533"/>
                  </a:lnTo>
                  <a:lnTo>
                    <a:pt x="1434465" y="832485"/>
                  </a:lnTo>
                  <a:lnTo>
                    <a:pt x="1428750" y="841058"/>
                  </a:lnTo>
                  <a:lnTo>
                    <a:pt x="1425893" y="845820"/>
                  </a:lnTo>
                  <a:lnTo>
                    <a:pt x="1424940" y="848678"/>
                  </a:lnTo>
                  <a:lnTo>
                    <a:pt x="1424940" y="852488"/>
                  </a:lnTo>
                  <a:lnTo>
                    <a:pt x="1426845" y="857250"/>
                  </a:lnTo>
                  <a:lnTo>
                    <a:pt x="1439227" y="867728"/>
                  </a:lnTo>
                  <a:lnTo>
                    <a:pt x="1441132" y="869633"/>
                  </a:lnTo>
                  <a:lnTo>
                    <a:pt x="1443038" y="872490"/>
                  </a:lnTo>
                  <a:lnTo>
                    <a:pt x="1443990" y="878205"/>
                  </a:lnTo>
                  <a:lnTo>
                    <a:pt x="1443990" y="885825"/>
                  </a:lnTo>
                  <a:lnTo>
                    <a:pt x="1444943" y="891540"/>
                  </a:lnTo>
                  <a:lnTo>
                    <a:pt x="1446847" y="896303"/>
                  </a:lnTo>
                  <a:lnTo>
                    <a:pt x="1449705" y="899160"/>
                  </a:lnTo>
                  <a:lnTo>
                    <a:pt x="1453515" y="902018"/>
                  </a:lnTo>
                  <a:lnTo>
                    <a:pt x="1461135" y="905828"/>
                  </a:lnTo>
                  <a:lnTo>
                    <a:pt x="1465897" y="906780"/>
                  </a:lnTo>
                  <a:lnTo>
                    <a:pt x="1469707" y="906780"/>
                  </a:lnTo>
                  <a:lnTo>
                    <a:pt x="1476375" y="905828"/>
                  </a:lnTo>
                  <a:lnTo>
                    <a:pt x="1482090" y="906780"/>
                  </a:lnTo>
                  <a:lnTo>
                    <a:pt x="1484947" y="908685"/>
                  </a:lnTo>
                  <a:lnTo>
                    <a:pt x="1485900" y="910590"/>
                  </a:lnTo>
                  <a:lnTo>
                    <a:pt x="1485900" y="914400"/>
                  </a:lnTo>
                  <a:lnTo>
                    <a:pt x="1484947" y="917258"/>
                  </a:lnTo>
                  <a:lnTo>
                    <a:pt x="1477327" y="924878"/>
                  </a:lnTo>
                  <a:lnTo>
                    <a:pt x="1474470" y="928688"/>
                  </a:lnTo>
                  <a:lnTo>
                    <a:pt x="1477327" y="933450"/>
                  </a:lnTo>
                  <a:lnTo>
                    <a:pt x="1480185" y="937260"/>
                  </a:lnTo>
                  <a:lnTo>
                    <a:pt x="1512570" y="956310"/>
                  </a:lnTo>
                  <a:lnTo>
                    <a:pt x="1499235" y="992505"/>
                  </a:lnTo>
                  <a:lnTo>
                    <a:pt x="1490663" y="1004888"/>
                  </a:lnTo>
                  <a:lnTo>
                    <a:pt x="1488757" y="1007745"/>
                  </a:lnTo>
                  <a:lnTo>
                    <a:pt x="1487805" y="1009650"/>
                  </a:lnTo>
                  <a:lnTo>
                    <a:pt x="1488757" y="1013460"/>
                  </a:lnTo>
                  <a:lnTo>
                    <a:pt x="1491615" y="1018223"/>
                  </a:lnTo>
                  <a:lnTo>
                    <a:pt x="1492568" y="1021080"/>
                  </a:lnTo>
                  <a:lnTo>
                    <a:pt x="1489710" y="1027748"/>
                  </a:lnTo>
                  <a:lnTo>
                    <a:pt x="1475422" y="1048703"/>
                  </a:lnTo>
                  <a:lnTo>
                    <a:pt x="1468755" y="1045845"/>
                  </a:lnTo>
                  <a:lnTo>
                    <a:pt x="1463993" y="1042988"/>
                  </a:lnTo>
                  <a:lnTo>
                    <a:pt x="1459230" y="1040130"/>
                  </a:lnTo>
                  <a:lnTo>
                    <a:pt x="1455420" y="1038225"/>
                  </a:lnTo>
                  <a:lnTo>
                    <a:pt x="1448752" y="1038225"/>
                  </a:lnTo>
                  <a:lnTo>
                    <a:pt x="1445895" y="1038225"/>
                  </a:lnTo>
                  <a:lnTo>
                    <a:pt x="1441132" y="1040130"/>
                  </a:lnTo>
                  <a:lnTo>
                    <a:pt x="1438275" y="1042035"/>
                  </a:lnTo>
                  <a:lnTo>
                    <a:pt x="1436370" y="1044893"/>
                  </a:lnTo>
                  <a:lnTo>
                    <a:pt x="1430655" y="1051560"/>
                  </a:lnTo>
                  <a:lnTo>
                    <a:pt x="1427797" y="1056323"/>
                  </a:lnTo>
                  <a:lnTo>
                    <a:pt x="1425893" y="1060133"/>
                  </a:lnTo>
                  <a:lnTo>
                    <a:pt x="1424940" y="1066800"/>
                  </a:lnTo>
                  <a:lnTo>
                    <a:pt x="1424940" y="1072515"/>
                  </a:lnTo>
                  <a:lnTo>
                    <a:pt x="1426845" y="1076325"/>
                  </a:lnTo>
                  <a:lnTo>
                    <a:pt x="1434465" y="1086803"/>
                  </a:lnTo>
                  <a:lnTo>
                    <a:pt x="1436370" y="1091565"/>
                  </a:lnTo>
                  <a:lnTo>
                    <a:pt x="1436370" y="1097280"/>
                  </a:lnTo>
                  <a:lnTo>
                    <a:pt x="1435418" y="1100138"/>
                  </a:lnTo>
                  <a:lnTo>
                    <a:pt x="1432560" y="1105853"/>
                  </a:lnTo>
                  <a:lnTo>
                    <a:pt x="1428750" y="1110615"/>
                  </a:lnTo>
                  <a:lnTo>
                    <a:pt x="1418272" y="1122045"/>
                  </a:lnTo>
                  <a:lnTo>
                    <a:pt x="1411605" y="1124903"/>
                  </a:lnTo>
                  <a:lnTo>
                    <a:pt x="1404938" y="1125855"/>
                  </a:lnTo>
                  <a:lnTo>
                    <a:pt x="1401127" y="1125855"/>
                  </a:lnTo>
                  <a:lnTo>
                    <a:pt x="1396365" y="1122998"/>
                  </a:lnTo>
                  <a:lnTo>
                    <a:pt x="1393507" y="1123950"/>
                  </a:lnTo>
                  <a:lnTo>
                    <a:pt x="1391602" y="1128713"/>
                  </a:lnTo>
                  <a:lnTo>
                    <a:pt x="1388745" y="1136333"/>
                  </a:lnTo>
                  <a:lnTo>
                    <a:pt x="1385888" y="1142048"/>
                  </a:lnTo>
                  <a:lnTo>
                    <a:pt x="1383030" y="1144905"/>
                  </a:lnTo>
                  <a:lnTo>
                    <a:pt x="1365885" y="1158240"/>
                  </a:lnTo>
                  <a:lnTo>
                    <a:pt x="1362075" y="1163003"/>
                  </a:lnTo>
                  <a:lnTo>
                    <a:pt x="1359218" y="1166813"/>
                  </a:lnTo>
                  <a:lnTo>
                    <a:pt x="1360170" y="1169670"/>
                  </a:lnTo>
                  <a:lnTo>
                    <a:pt x="1363980" y="1180148"/>
                  </a:lnTo>
                  <a:lnTo>
                    <a:pt x="1364932" y="1185863"/>
                  </a:lnTo>
                  <a:lnTo>
                    <a:pt x="1364932" y="1192530"/>
                  </a:lnTo>
                  <a:lnTo>
                    <a:pt x="1367790" y="1203960"/>
                  </a:lnTo>
                  <a:lnTo>
                    <a:pt x="1370647" y="1214438"/>
                  </a:lnTo>
                  <a:lnTo>
                    <a:pt x="1372552" y="1219200"/>
                  </a:lnTo>
                  <a:lnTo>
                    <a:pt x="1371600" y="1225868"/>
                  </a:lnTo>
                  <a:lnTo>
                    <a:pt x="1368743" y="1228725"/>
                  </a:lnTo>
                  <a:lnTo>
                    <a:pt x="1363980" y="1230630"/>
                  </a:lnTo>
                  <a:lnTo>
                    <a:pt x="1343977" y="1237298"/>
                  </a:lnTo>
                  <a:lnTo>
                    <a:pt x="1341120" y="1238250"/>
                  </a:lnTo>
                  <a:lnTo>
                    <a:pt x="1339215" y="1240155"/>
                  </a:lnTo>
                  <a:lnTo>
                    <a:pt x="1337310" y="1243965"/>
                  </a:lnTo>
                  <a:lnTo>
                    <a:pt x="1336357" y="1245870"/>
                  </a:lnTo>
                  <a:lnTo>
                    <a:pt x="1338263" y="1257300"/>
                  </a:lnTo>
                  <a:lnTo>
                    <a:pt x="1338263" y="1263968"/>
                  </a:lnTo>
                  <a:lnTo>
                    <a:pt x="1338263" y="1270635"/>
                  </a:lnTo>
                  <a:lnTo>
                    <a:pt x="1337310" y="1277303"/>
                  </a:lnTo>
                  <a:lnTo>
                    <a:pt x="1334452" y="1283018"/>
                  </a:lnTo>
                  <a:lnTo>
                    <a:pt x="1329690" y="1294448"/>
                  </a:lnTo>
                  <a:lnTo>
                    <a:pt x="1316355" y="1312545"/>
                  </a:lnTo>
                  <a:lnTo>
                    <a:pt x="1314450" y="1317308"/>
                  </a:lnTo>
                  <a:lnTo>
                    <a:pt x="1315402" y="1325880"/>
                  </a:lnTo>
                  <a:lnTo>
                    <a:pt x="1313497" y="1332548"/>
                  </a:lnTo>
                  <a:lnTo>
                    <a:pt x="1312545" y="1334453"/>
                  </a:lnTo>
                  <a:lnTo>
                    <a:pt x="1303020" y="1343978"/>
                  </a:lnTo>
                  <a:lnTo>
                    <a:pt x="1297305" y="1353503"/>
                  </a:lnTo>
                  <a:lnTo>
                    <a:pt x="1291590" y="1364933"/>
                  </a:lnTo>
                  <a:lnTo>
                    <a:pt x="1289685" y="1368743"/>
                  </a:lnTo>
                  <a:lnTo>
                    <a:pt x="1284922" y="1370648"/>
                  </a:lnTo>
                  <a:lnTo>
                    <a:pt x="1235393" y="1361123"/>
                  </a:lnTo>
                  <a:lnTo>
                    <a:pt x="1232535" y="1359218"/>
                  </a:lnTo>
                  <a:lnTo>
                    <a:pt x="1231582" y="1357313"/>
                  </a:lnTo>
                  <a:lnTo>
                    <a:pt x="1230630" y="1354455"/>
                  </a:lnTo>
                  <a:lnTo>
                    <a:pt x="1231582" y="1337310"/>
                  </a:lnTo>
                  <a:lnTo>
                    <a:pt x="1230630" y="1332548"/>
                  </a:lnTo>
                  <a:lnTo>
                    <a:pt x="1228725" y="1329690"/>
                  </a:lnTo>
                  <a:lnTo>
                    <a:pt x="1225868" y="1328738"/>
                  </a:lnTo>
                  <a:lnTo>
                    <a:pt x="1223010" y="1328738"/>
                  </a:lnTo>
                  <a:lnTo>
                    <a:pt x="1221105" y="1330643"/>
                  </a:lnTo>
                  <a:lnTo>
                    <a:pt x="1219200" y="1334453"/>
                  </a:lnTo>
                  <a:lnTo>
                    <a:pt x="1216343" y="1349693"/>
                  </a:lnTo>
                  <a:lnTo>
                    <a:pt x="1215390" y="1352550"/>
                  </a:lnTo>
                  <a:lnTo>
                    <a:pt x="1212532" y="1357313"/>
                  </a:lnTo>
                  <a:lnTo>
                    <a:pt x="1209675" y="1359218"/>
                  </a:lnTo>
                  <a:lnTo>
                    <a:pt x="1205865" y="1360170"/>
                  </a:lnTo>
                  <a:lnTo>
                    <a:pt x="1199197" y="1361123"/>
                  </a:lnTo>
                  <a:lnTo>
                    <a:pt x="1195388" y="1360170"/>
                  </a:lnTo>
                  <a:lnTo>
                    <a:pt x="1192530" y="1358265"/>
                  </a:lnTo>
                  <a:lnTo>
                    <a:pt x="1187768" y="1354455"/>
                  </a:lnTo>
                  <a:lnTo>
                    <a:pt x="1185863" y="1354455"/>
                  </a:lnTo>
                  <a:lnTo>
                    <a:pt x="1183005" y="1355408"/>
                  </a:lnTo>
                  <a:lnTo>
                    <a:pt x="1180147" y="1360170"/>
                  </a:lnTo>
                  <a:lnTo>
                    <a:pt x="1178243" y="1363980"/>
                  </a:lnTo>
                  <a:lnTo>
                    <a:pt x="1177290" y="1371600"/>
                  </a:lnTo>
                  <a:lnTo>
                    <a:pt x="1176338" y="1374458"/>
                  </a:lnTo>
                  <a:lnTo>
                    <a:pt x="1173480" y="1376363"/>
                  </a:lnTo>
                  <a:lnTo>
                    <a:pt x="1170622" y="1374458"/>
                  </a:lnTo>
                  <a:lnTo>
                    <a:pt x="1166813" y="1368743"/>
                  </a:lnTo>
                  <a:lnTo>
                    <a:pt x="1163002" y="1363980"/>
                  </a:lnTo>
                  <a:lnTo>
                    <a:pt x="1160145" y="1359218"/>
                  </a:lnTo>
                  <a:lnTo>
                    <a:pt x="1160145" y="1352550"/>
                  </a:lnTo>
                  <a:lnTo>
                    <a:pt x="1158240" y="1347788"/>
                  </a:lnTo>
                  <a:lnTo>
                    <a:pt x="1152525" y="1342073"/>
                  </a:lnTo>
                  <a:lnTo>
                    <a:pt x="1149668" y="1337310"/>
                  </a:lnTo>
                  <a:lnTo>
                    <a:pt x="1148715" y="1334453"/>
                  </a:lnTo>
                  <a:lnTo>
                    <a:pt x="1147763" y="1325880"/>
                  </a:lnTo>
                  <a:lnTo>
                    <a:pt x="1145857" y="1323975"/>
                  </a:lnTo>
                  <a:lnTo>
                    <a:pt x="1143952" y="1323023"/>
                  </a:lnTo>
                  <a:lnTo>
                    <a:pt x="1138238" y="1322070"/>
                  </a:lnTo>
                  <a:lnTo>
                    <a:pt x="1134427" y="1323023"/>
                  </a:lnTo>
                  <a:lnTo>
                    <a:pt x="1124902" y="1325880"/>
                  </a:lnTo>
                  <a:lnTo>
                    <a:pt x="1119188" y="1326833"/>
                  </a:lnTo>
                  <a:lnTo>
                    <a:pt x="1100138" y="1326833"/>
                  </a:lnTo>
                  <a:lnTo>
                    <a:pt x="1094423" y="1327785"/>
                  </a:lnTo>
                  <a:lnTo>
                    <a:pt x="1088707" y="1329690"/>
                  </a:lnTo>
                  <a:lnTo>
                    <a:pt x="1047750" y="1358265"/>
                  </a:lnTo>
                  <a:lnTo>
                    <a:pt x="1029652" y="1360170"/>
                  </a:lnTo>
                  <a:lnTo>
                    <a:pt x="1026795" y="1362075"/>
                  </a:lnTo>
                  <a:lnTo>
                    <a:pt x="1022985" y="1364933"/>
                  </a:lnTo>
                  <a:lnTo>
                    <a:pt x="1019175" y="1369695"/>
                  </a:lnTo>
                  <a:lnTo>
                    <a:pt x="1014413" y="1380173"/>
                  </a:lnTo>
                  <a:lnTo>
                    <a:pt x="1007745" y="1388745"/>
                  </a:lnTo>
                  <a:lnTo>
                    <a:pt x="1005840" y="1391603"/>
                  </a:lnTo>
                  <a:lnTo>
                    <a:pt x="1005840" y="1393508"/>
                  </a:lnTo>
                  <a:lnTo>
                    <a:pt x="1006792" y="1396365"/>
                  </a:lnTo>
                  <a:lnTo>
                    <a:pt x="1008697" y="1398270"/>
                  </a:lnTo>
                  <a:lnTo>
                    <a:pt x="1015365" y="1403033"/>
                  </a:lnTo>
                  <a:lnTo>
                    <a:pt x="1016317" y="1404938"/>
                  </a:lnTo>
                  <a:lnTo>
                    <a:pt x="1015365" y="1410653"/>
                  </a:lnTo>
                  <a:lnTo>
                    <a:pt x="1009650" y="1423035"/>
                  </a:lnTo>
                  <a:lnTo>
                    <a:pt x="1007745" y="1426845"/>
                  </a:lnTo>
                  <a:lnTo>
                    <a:pt x="1007745" y="1433513"/>
                  </a:lnTo>
                  <a:lnTo>
                    <a:pt x="1008697" y="1435418"/>
                  </a:lnTo>
                  <a:lnTo>
                    <a:pt x="1013460" y="1439228"/>
                  </a:lnTo>
                  <a:lnTo>
                    <a:pt x="1014413" y="1441133"/>
                  </a:lnTo>
                  <a:lnTo>
                    <a:pt x="1015365" y="1443990"/>
                  </a:lnTo>
                  <a:lnTo>
                    <a:pt x="1015365" y="1446848"/>
                  </a:lnTo>
                  <a:lnTo>
                    <a:pt x="1010602" y="1476375"/>
                  </a:lnTo>
                  <a:lnTo>
                    <a:pt x="1009650" y="1479233"/>
                  </a:lnTo>
                  <a:lnTo>
                    <a:pt x="1002030" y="1491615"/>
                  </a:lnTo>
                  <a:lnTo>
                    <a:pt x="1001077" y="1494473"/>
                  </a:lnTo>
                  <a:lnTo>
                    <a:pt x="1001077" y="1497330"/>
                  </a:lnTo>
                  <a:lnTo>
                    <a:pt x="1001077" y="1499235"/>
                  </a:lnTo>
                  <a:lnTo>
                    <a:pt x="1003935" y="1506855"/>
                  </a:lnTo>
                  <a:lnTo>
                    <a:pt x="1003935" y="1509713"/>
                  </a:lnTo>
                  <a:lnTo>
                    <a:pt x="1002982" y="1516380"/>
                  </a:lnTo>
                  <a:lnTo>
                    <a:pt x="997267" y="1526858"/>
                  </a:lnTo>
                  <a:lnTo>
                    <a:pt x="990600" y="1544955"/>
                  </a:lnTo>
                  <a:lnTo>
                    <a:pt x="988695" y="1547813"/>
                  </a:lnTo>
                  <a:lnTo>
                    <a:pt x="982980" y="1553528"/>
                  </a:lnTo>
                  <a:lnTo>
                    <a:pt x="980122" y="1557338"/>
                  </a:lnTo>
                  <a:lnTo>
                    <a:pt x="979170" y="1560195"/>
                  </a:lnTo>
                  <a:lnTo>
                    <a:pt x="979170" y="1569720"/>
                  </a:lnTo>
                  <a:lnTo>
                    <a:pt x="980122" y="1575435"/>
                  </a:lnTo>
                  <a:lnTo>
                    <a:pt x="982027" y="1577340"/>
                  </a:lnTo>
                  <a:lnTo>
                    <a:pt x="983932" y="1578293"/>
                  </a:lnTo>
                  <a:lnTo>
                    <a:pt x="990600" y="1580198"/>
                  </a:lnTo>
                  <a:lnTo>
                    <a:pt x="992505" y="1582103"/>
                  </a:lnTo>
                  <a:lnTo>
                    <a:pt x="994410" y="1584008"/>
                  </a:lnTo>
                  <a:lnTo>
                    <a:pt x="995363" y="1586865"/>
                  </a:lnTo>
                  <a:lnTo>
                    <a:pt x="995363" y="1592580"/>
                  </a:lnTo>
                  <a:lnTo>
                    <a:pt x="994410" y="1602105"/>
                  </a:lnTo>
                  <a:lnTo>
                    <a:pt x="993457" y="1607820"/>
                  </a:lnTo>
                  <a:lnTo>
                    <a:pt x="990600" y="1610678"/>
                  </a:lnTo>
                  <a:lnTo>
                    <a:pt x="974407" y="1622108"/>
                  </a:lnTo>
                  <a:lnTo>
                    <a:pt x="969645" y="1626870"/>
                  </a:lnTo>
                  <a:lnTo>
                    <a:pt x="966788" y="1630680"/>
                  </a:lnTo>
                  <a:lnTo>
                    <a:pt x="958215" y="1652588"/>
                  </a:lnTo>
                  <a:lnTo>
                    <a:pt x="955357" y="1656398"/>
                  </a:lnTo>
                  <a:lnTo>
                    <a:pt x="952500" y="1661160"/>
                  </a:lnTo>
                  <a:lnTo>
                    <a:pt x="929640" y="1676400"/>
                  </a:lnTo>
                  <a:lnTo>
                    <a:pt x="926782" y="1679258"/>
                  </a:lnTo>
                  <a:lnTo>
                    <a:pt x="923925" y="1684020"/>
                  </a:lnTo>
                  <a:lnTo>
                    <a:pt x="910590" y="1696402"/>
                  </a:lnTo>
                  <a:lnTo>
                    <a:pt x="904875" y="1702118"/>
                  </a:lnTo>
                  <a:lnTo>
                    <a:pt x="900113" y="1709738"/>
                  </a:lnTo>
                  <a:lnTo>
                    <a:pt x="898207" y="1711643"/>
                  </a:lnTo>
                  <a:lnTo>
                    <a:pt x="888682" y="1719263"/>
                  </a:lnTo>
                  <a:lnTo>
                    <a:pt x="882967" y="1725930"/>
                  </a:lnTo>
                  <a:lnTo>
                    <a:pt x="870585" y="1748790"/>
                  </a:lnTo>
                  <a:lnTo>
                    <a:pt x="868680" y="1755458"/>
                  </a:lnTo>
                  <a:lnTo>
                    <a:pt x="868680" y="1758315"/>
                  </a:lnTo>
                  <a:lnTo>
                    <a:pt x="868680" y="1767840"/>
                  </a:lnTo>
                  <a:lnTo>
                    <a:pt x="868680" y="1770698"/>
                  </a:lnTo>
                  <a:lnTo>
                    <a:pt x="866775" y="1774508"/>
                  </a:lnTo>
                  <a:lnTo>
                    <a:pt x="862965" y="1778318"/>
                  </a:lnTo>
                  <a:lnTo>
                    <a:pt x="856297" y="1776413"/>
                  </a:lnTo>
                  <a:lnTo>
                    <a:pt x="852488" y="1774508"/>
                  </a:lnTo>
                  <a:lnTo>
                    <a:pt x="850582" y="1771650"/>
                  </a:lnTo>
                  <a:lnTo>
                    <a:pt x="847725" y="1766888"/>
                  </a:lnTo>
                  <a:lnTo>
                    <a:pt x="845820" y="1765935"/>
                  </a:lnTo>
                  <a:lnTo>
                    <a:pt x="842010" y="1765935"/>
                  </a:lnTo>
                  <a:lnTo>
                    <a:pt x="837247" y="1769745"/>
                  </a:lnTo>
                  <a:lnTo>
                    <a:pt x="831532" y="1775460"/>
                  </a:lnTo>
                  <a:lnTo>
                    <a:pt x="828675" y="1776413"/>
                  </a:lnTo>
                  <a:lnTo>
                    <a:pt x="822960" y="1777365"/>
                  </a:lnTo>
                  <a:lnTo>
                    <a:pt x="814388" y="1773555"/>
                  </a:lnTo>
                  <a:lnTo>
                    <a:pt x="811530" y="1772602"/>
                  </a:lnTo>
                  <a:lnTo>
                    <a:pt x="806767" y="1775460"/>
                  </a:lnTo>
                  <a:lnTo>
                    <a:pt x="803910" y="1778318"/>
                  </a:lnTo>
                  <a:lnTo>
                    <a:pt x="798195" y="1784985"/>
                  </a:lnTo>
                  <a:lnTo>
                    <a:pt x="796290" y="1786890"/>
                  </a:lnTo>
                  <a:lnTo>
                    <a:pt x="779145" y="1791652"/>
                  </a:lnTo>
                  <a:lnTo>
                    <a:pt x="769620" y="1798320"/>
                  </a:lnTo>
                  <a:lnTo>
                    <a:pt x="766763" y="1798320"/>
                  </a:lnTo>
                  <a:lnTo>
                    <a:pt x="763905" y="1798320"/>
                  </a:lnTo>
                  <a:lnTo>
                    <a:pt x="761047" y="1796415"/>
                  </a:lnTo>
                  <a:lnTo>
                    <a:pt x="759142" y="1793558"/>
                  </a:lnTo>
                  <a:lnTo>
                    <a:pt x="748665" y="1775460"/>
                  </a:lnTo>
                  <a:lnTo>
                    <a:pt x="744855" y="1771650"/>
                  </a:lnTo>
                  <a:lnTo>
                    <a:pt x="741997" y="1771650"/>
                  </a:lnTo>
                  <a:lnTo>
                    <a:pt x="737235" y="1771650"/>
                  </a:lnTo>
                  <a:lnTo>
                    <a:pt x="729615" y="1774508"/>
                  </a:lnTo>
                  <a:lnTo>
                    <a:pt x="722947" y="1773555"/>
                  </a:lnTo>
                  <a:lnTo>
                    <a:pt x="719138" y="1772602"/>
                  </a:lnTo>
                  <a:lnTo>
                    <a:pt x="715327" y="1768793"/>
                  </a:lnTo>
                  <a:lnTo>
                    <a:pt x="713422" y="1767840"/>
                  </a:lnTo>
                  <a:lnTo>
                    <a:pt x="710565" y="1767840"/>
                  </a:lnTo>
                  <a:lnTo>
                    <a:pt x="708660" y="1770698"/>
                  </a:lnTo>
                  <a:lnTo>
                    <a:pt x="701992" y="1784985"/>
                  </a:lnTo>
                  <a:lnTo>
                    <a:pt x="699135" y="1789748"/>
                  </a:lnTo>
                  <a:lnTo>
                    <a:pt x="697230" y="1790700"/>
                  </a:lnTo>
                  <a:lnTo>
                    <a:pt x="694372" y="1791652"/>
                  </a:lnTo>
                  <a:lnTo>
                    <a:pt x="679132" y="1783080"/>
                  </a:lnTo>
                  <a:lnTo>
                    <a:pt x="677227" y="1782127"/>
                  </a:lnTo>
                  <a:lnTo>
                    <a:pt x="674370" y="1782127"/>
                  </a:lnTo>
                  <a:lnTo>
                    <a:pt x="668655" y="1787843"/>
                  </a:lnTo>
                  <a:lnTo>
                    <a:pt x="665797" y="1789748"/>
                  </a:lnTo>
                  <a:lnTo>
                    <a:pt x="648652" y="1795463"/>
                  </a:lnTo>
                  <a:lnTo>
                    <a:pt x="644842" y="1795463"/>
                  </a:lnTo>
                  <a:lnTo>
                    <a:pt x="641032" y="1791652"/>
                  </a:lnTo>
                  <a:lnTo>
                    <a:pt x="636270" y="1784033"/>
                  </a:lnTo>
                  <a:lnTo>
                    <a:pt x="630555" y="1778318"/>
                  </a:lnTo>
                  <a:lnTo>
                    <a:pt x="625792" y="1775460"/>
                  </a:lnTo>
                  <a:lnTo>
                    <a:pt x="622935" y="1774508"/>
                  </a:lnTo>
                  <a:lnTo>
                    <a:pt x="619125" y="1774508"/>
                  </a:lnTo>
                  <a:lnTo>
                    <a:pt x="615315" y="1776413"/>
                  </a:lnTo>
                  <a:lnTo>
                    <a:pt x="609600" y="1779270"/>
                  </a:lnTo>
                  <a:lnTo>
                    <a:pt x="607695" y="1783080"/>
                  </a:lnTo>
                  <a:lnTo>
                    <a:pt x="605790" y="1785938"/>
                  </a:lnTo>
                  <a:lnTo>
                    <a:pt x="603885" y="1792605"/>
                  </a:lnTo>
                  <a:lnTo>
                    <a:pt x="603885" y="1799273"/>
                  </a:lnTo>
                  <a:lnTo>
                    <a:pt x="603885" y="1808798"/>
                  </a:lnTo>
                  <a:lnTo>
                    <a:pt x="602932" y="1811655"/>
                  </a:lnTo>
                  <a:lnTo>
                    <a:pt x="600075" y="1821180"/>
                  </a:lnTo>
                  <a:lnTo>
                    <a:pt x="589597" y="1864995"/>
                  </a:lnTo>
                  <a:lnTo>
                    <a:pt x="588645" y="1867852"/>
                  </a:lnTo>
                  <a:lnTo>
                    <a:pt x="585788" y="1869758"/>
                  </a:lnTo>
                  <a:lnTo>
                    <a:pt x="581025" y="1869758"/>
                  </a:lnTo>
                  <a:lnTo>
                    <a:pt x="576263" y="1866900"/>
                  </a:lnTo>
                  <a:lnTo>
                    <a:pt x="573405" y="1863090"/>
                  </a:lnTo>
                  <a:lnTo>
                    <a:pt x="573405" y="1860233"/>
                  </a:lnTo>
                  <a:lnTo>
                    <a:pt x="573405" y="1853565"/>
                  </a:lnTo>
                  <a:lnTo>
                    <a:pt x="572452" y="1851660"/>
                  </a:lnTo>
                  <a:lnTo>
                    <a:pt x="568642" y="1848802"/>
                  </a:lnTo>
                  <a:lnTo>
                    <a:pt x="476250" y="1829752"/>
                  </a:lnTo>
                  <a:lnTo>
                    <a:pt x="473392" y="1827848"/>
                  </a:lnTo>
                  <a:lnTo>
                    <a:pt x="471488" y="1825943"/>
                  </a:lnTo>
                  <a:lnTo>
                    <a:pt x="470535" y="1824038"/>
                  </a:lnTo>
                  <a:lnTo>
                    <a:pt x="470535" y="1821180"/>
                  </a:lnTo>
                  <a:lnTo>
                    <a:pt x="471488" y="1817370"/>
                  </a:lnTo>
                  <a:lnTo>
                    <a:pt x="474345" y="1812608"/>
                  </a:lnTo>
                  <a:lnTo>
                    <a:pt x="480060" y="1803083"/>
                  </a:lnTo>
                  <a:lnTo>
                    <a:pt x="481013" y="1800225"/>
                  </a:lnTo>
                  <a:lnTo>
                    <a:pt x="481013" y="1798320"/>
                  </a:lnTo>
                  <a:lnTo>
                    <a:pt x="479107" y="1796415"/>
                  </a:lnTo>
                  <a:lnTo>
                    <a:pt x="467677" y="1791652"/>
                  </a:lnTo>
                  <a:lnTo>
                    <a:pt x="464820" y="1791652"/>
                  </a:lnTo>
                  <a:lnTo>
                    <a:pt x="461963" y="1792605"/>
                  </a:lnTo>
                  <a:lnTo>
                    <a:pt x="456247" y="1799273"/>
                  </a:lnTo>
                  <a:lnTo>
                    <a:pt x="452438" y="1804035"/>
                  </a:lnTo>
                  <a:lnTo>
                    <a:pt x="444817" y="1807845"/>
                  </a:lnTo>
                  <a:lnTo>
                    <a:pt x="441007" y="1811655"/>
                  </a:lnTo>
                  <a:lnTo>
                    <a:pt x="439102" y="1814513"/>
                  </a:lnTo>
                  <a:lnTo>
                    <a:pt x="439102" y="1816418"/>
                  </a:lnTo>
                  <a:lnTo>
                    <a:pt x="441007" y="1820227"/>
                  </a:lnTo>
                  <a:lnTo>
                    <a:pt x="443865" y="1826895"/>
                  </a:lnTo>
                  <a:lnTo>
                    <a:pt x="445770" y="1831658"/>
                  </a:lnTo>
                  <a:lnTo>
                    <a:pt x="445770" y="1834515"/>
                  </a:lnTo>
                  <a:lnTo>
                    <a:pt x="442913" y="1835468"/>
                  </a:lnTo>
                  <a:lnTo>
                    <a:pt x="438150" y="1834515"/>
                  </a:lnTo>
                  <a:lnTo>
                    <a:pt x="436245" y="1833563"/>
                  </a:lnTo>
                  <a:lnTo>
                    <a:pt x="430530" y="1830705"/>
                  </a:lnTo>
                  <a:lnTo>
                    <a:pt x="427672" y="1829752"/>
                  </a:lnTo>
                  <a:lnTo>
                    <a:pt x="412432" y="1828800"/>
                  </a:lnTo>
                  <a:lnTo>
                    <a:pt x="408622" y="1827848"/>
                  </a:lnTo>
                  <a:lnTo>
                    <a:pt x="404813" y="1826895"/>
                  </a:lnTo>
                  <a:lnTo>
                    <a:pt x="401002" y="1828800"/>
                  </a:lnTo>
                  <a:lnTo>
                    <a:pt x="397192" y="1833563"/>
                  </a:lnTo>
                  <a:lnTo>
                    <a:pt x="391477" y="1842135"/>
                  </a:lnTo>
                  <a:lnTo>
                    <a:pt x="387667" y="1844040"/>
                  </a:lnTo>
                  <a:lnTo>
                    <a:pt x="382905" y="1844993"/>
                  </a:lnTo>
                  <a:lnTo>
                    <a:pt x="364807" y="1844993"/>
                  </a:lnTo>
                  <a:lnTo>
                    <a:pt x="360045" y="1846898"/>
                  </a:lnTo>
                  <a:lnTo>
                    <a:pt x="348615" y="1855470"/>
                  </a:lnTo>
                  <a:lnTo>
                    <a:pt x="341947" y="1858327"/>
                  </a:lnTo>
                  <a:lnTo>
                    <a:pt x="339090" y="1863090"/>
                  </a:lnTo>
                  <a:lnTo>
                    <a:pt x="336232" y="1871663"/>
                  </a:lnTo>
                  <a:lnTo>
                    <a:pt x="335280" y="1875473"/>
                  </a:lnTo>
                  <a:lnTo>
                    <a:pt x="330517" y="1883093"/>
                  </a:lnTo>
                  <a:lnTo>
                    <a:pt x="326707" y="1886902"/>
                  </a:lnTo>
                  <a:lnTo>
                    <a:pt x="319088" y="1894523"/>
                  </a:lnTo>
                  <a:lnTo>
                    <a:pt x="316230" y="1898333"/>
                  </a:lnTo>
                  <a:lnTo>
                    <a:pt x="316230" y="1901190"/>
                  </a:lnTo>
                  <a:lnTo>
                    <a:pt x="315277" y="1904048"/>
                  </a:lnTo>
                  <a:lnTo>
                    <a:pt x="317182" y="1912620"/>
                  </a:lnTo>
                  <a:lnTo>
                    <a:pt x="315277" y="1915477"/>
                  </a:lnTo>
                  <a:lnTo>
                    <a:pt x="311467" y="1917383"/>
                  </a:lnTo>
                  <a:lnTo>
                    <a:pt x="298132" y="1916430"/>
                  </a:lnTo>
                  <a:lnTo>
                    <a:pt x="266700" y="1920240"/>
                  </a:lnTo>
                  <a:lnTo>
                    <a:pt x="258127" y="1916430"/>
                  </a:lnTo>
                  <a:lnTo>
                    <a:pt x="247650" y="1908810"/>
                  </a:lnTo>
                  <a:lnTo>
                    <a:pt x="243840" y="1904048"/>
                  </a:lnTo>
                  <a:lnTo>
                    <a:pt x="241935" y="1900238"/>
                  </a:lnTo>
                  <a:lnTo>
                    <a:pt x="240982" y="1894523"/>
                  </a:lnTo>
                  <a:lnTo>
                    <a:pt x="241935" y="1891665"/>
                  </a:lnTo>
                  <a:lnTo>
                    <a:pt x="244792" y="1889760"/>
                  </a:lnTo>
                  <a:lnTo>
                    <a:pt x="248602" y="1887855"/>
                  </a:lnTo>
                  <a:lnTo>
                    <a:pt x="249555" y="1884998"/>
                  </a:lnTo>
                  <a:lnTo>
                    <a:pt x="244792" y="1880235"/>
                  </a:lnTo>
                  <a:lnTo>
                    <a:pt x="224790" y="1874520"/>
                  </a:lnTo>
                  <a:lnTo>
                    <a:pt x="220027" y="1863090"/>
                  </a:lnTo>
                  <a:lnTo>
                    <a:pt x="214313" y="1860233"/>
                  </a:lnTo>
                  <a:lnTo>
                    <a:pt x="205740" y="1861185"/>
                  </a:lnTo>
                  <a:lnTo>
                    <a:pt x="199072" y="1861185"/>
                  </a:lnTo>
                  <a:lnTo>
                    <a:pt x="195263" y="1859280"/>
                  </a:lnTo>
                  <a:lnTo>
                    <a:pt x="193357" y="1857375"/>
                  </a:lnTo>
                  <a:lnTo>
                    <a:pt x="192405" y="1853565"/>
                  </a:lnTo>
                  <a:lnTo>
                    <a:pt x="188595" y="1845945"/>
                  </a:lnTo>
                  <a:lnTo>
                    <a:pt x="179070" y="1831658"/>
                  </a:lnTo>
                  <a:lnTo>
                    <a:pt x="172402" y="1815465"/>
                  </a:lnTo>
                  <a:lnTo>
                    <a:pt x="169545" y="1812608"/>
                  </a:lnTo>
                  <a:lnTo>
                    <a:pt x="167640" y="1809750"/>
                  </a:lnTo>
                  <a:lnTo>
                    <a:pt x="165735" y="1808798"/>
                  </a:lnTo>
                  <a:lnTo>
                    <a:pt x="150495" y="1806893"/>
                  </a:lnTo>
                  <a:lnTo>
                    <a:pt x="144780" y="1804988"/>
                  </a:lnTo>
                  <a:lnTo>
                    <a:pt x="137160" y="1801177"/>
                  </a:lnTo>
                  <a:lnTo>
                    <a:pt x="134302" y="1797368"/>
                  </a:lnTo>
                  <a:lnTo>
                    <a:pt x="132397" y="1794510"/>
                  </a:lnTo>
                  <a:lnTo>
                    <a:pt x="132397" y="1787843"/>
                  </a:lnTo>
                  <a:lnTo>
                    <a:pt x="130492" y="1783080"/>
                  </a:lnTo>
                  <a:lnTo>
                    <a:pt x="128588" y="1777365"/>
                  </a:lnTo>
                  <a:lnTo>
                    <a:pt x="120967" y="1762125"/>
                  </a:lnTo>
                  <a:lnTo>
                    <a:pt x="120015" y="1754505"/>
                  </a:lnTo>
                  <a:lnTo>
                    <a:pt x="120967" y="1748790"/>
                  </a:lnTo>
                  <a:lnTo>
                    <a:pt x="122872" y="1744980"/>
                  </a:lnTo>
                  <a:lnTo>
                    <a:pt x="126682" y="1741170"/>
                  </a:lnTo>
                  <a:lnTo>
                    <a:pt x="152400" y="1724025"/>
                  </a:lnTo>
                  <a:lnTo>
                    <a:pt x="154305" y="1722120"/>
                  </a:lnTo>
                  <a:lnTo>
                    <a:pt x="157163" y="1716405"/>
                  </a:lnTo>
                  <a:lnTo>
                    <a:pt x="157163" y="1709738"/>
                  </a:lnTo>
                  <a:lnTo>
                    <a:pt x="157163" y="1699260"/>
                  </a:lnTo>
                  <a:lnTo>
                    <a:pt x="155257" y="1692593"/>
                  </a:lnTo>
                  <a:lnTo>
                    <a:pt x="143827" y="1667828"/>
                  </a:lnTo>
                  <a:lnTo>
                    <a:pt x="141922" y="1663065"/>
                  </a:lnTo>
                  <a:lnTo>
                    <a:pt x="141922" y="1660208"/>
                  </a:lnTo>
                  <a:lnTo>
                    <a:pt x="142875" y="1657350"/>
                  </a:lnTo>
                  <a:lnTo>
                    <a:pt x="145732" y="1654493"/>
                  </a:lnTo>
                  <a:lnTo>
                    <a:pt x="149542" y="1652588"/>
                  </a:lnTo>
                  <a:lnTo>
                    <a:pt x="153352" y="1649730"/>
                  </a:lnTo>
                  <a:lnTo>
                    <a:pt x="155257" y="1645920"/>
                  </a:lnTo>
                  <a:lnTo>
                    <a:pt x="156210" y="1636395"/>
                  </a:lnTo>
                  <a:lnTo>
                    <a:pt x="156210" y="1630680"/>
                  </a:lnTo>
                  <a:lnTo>
                    <a:pt x="155257" y="1626870"/>
                  </a:lnTo>
                  <a:lnTo>
                    <a:pt x="153352" y="1624013"/>
                  </a:lnTo>
                  <a:lnTo>
                    <a:pt x="132397" y="1613535"/>
                  </a:lnTo>
                  <a:lnTo>
                    <a:pt x="129540" y="1611630"/>
                  </a:lnTo>
                  <a:lnTo>
                    <a:pt x="125730" y="1607820"/>
                  </a:lnTo>
                  <a:lnTo>
                    <a:pt x="121920" y="1602105"/>
                  </a:lnTo>
                  <a:lnTo>
                    <a:pt x="120015" y="1597343"/>
                  </a:lnTo>
                  <a:lnTo>
                    <a:pt x="119063" y="1593533"/>
                  </a:lnTo>
                  <a:lnTo>
                    <a:pt x="118110" y="1584960"/>
                  </a:lnTo>
                  <a:lnTo>
                    <a:pt x="118110" y="1578293"/>
                  </a:lnTo>
                  <a:lnTo>
                    <a:pt x="119063" y="1571625"/>
                  </a:lnTo>
                  <a:lnTo>
                    <a:pt x="120015" y="1568768"/>
                  </a:lnTo>
                  <a:lnTo>
                    <a:pt x="125730" y="1558290"/>
                  </a:lnTo>
                  <a:lnTo>
                    <a:pt x="127635" y="1550670"/>
                  </a:lnTo>
                  <a:lnTo>
                    <a:pt x="128588" y="1544955"/>
                  </a:lnTo>
                  <a:lnTo>
                    <a:pt x="127635" y="1542098"/>
                  </a:lnTo>
                  <a:lnTo>
                    <a:pt x="126682" y="1539240"/>
                  </a:lnTo>
                  <a:lnTo>
                    <a:pt x="121920" y="1536383"/>
                  </a:lnTo>
                  <a:lnTo>
                    <a:pt x="119063" y="1534478"/>
                  </a:lnTo>
                  <a:lnTo>
                    <a:pt x="92392" y="1530668"/>
                  </a:lnTo>
                  <a:lnTo>
                    <a:pt x="94297" y="1518285"/>
                  </a:lnTo>
                  <a:lnTo>
                    <a:pt x="99060" y="1514475"/>
                  </a:lnTo>
                  <a:lnTo>
                    <a:pt x="106680" y="1510665"/>
                  </a:lnTo>
                  <a:lnTo>
                    <a:pt x="108585" y="1506855"/>
                  </a:lnTo>
                  <a:lnTo>
                    <a:pt x="110490" y="1503045"/>
                  </a:lnTo>
                  <a:lnTo>
                    <a:pt x="111442" y="1499235"/>
                  </a:lnTo>
                  <a:lnTo>
                    <a:pt x="111442" y="1492568"/>
                  </a:lnTo>
                  <a:lnTo>
                    <a:pt x="111442" y="1487805"/>
                  </a:lnTo>
                  <a:lnTo>
                    <a:pt x="110490" y="1484948"/>
                  </a:lnTo>
                  <a:lnTo>
                    <a:pt x="109538" y="1483043"/>
                  </a:lnTo>
                  <a:lnTo>
                    <a:pt x="103822" y="1483043"/>
                  </a:lnTo>
                  <a:lnTo>
                    <a:pt x="91440" y="1484948"/>
                  </a:lnTo>
                  <a:lnTo>
                    <a:pt x="84772" y="1484948"/>
                  </a:lnTo>
                  <a:lnTo>
                    <a:pt x="78105" y="1483995"/>
                  </a:lnTo>
                  <a:lnTo>
                    <a:pt x="78105" y="1480185"/>
                  </a:lnTo>
                  <a:lnTo>
                    <a:pt x="81915" y="1475423"/>
                  </a:lnTo>
                  <a:lnTo>
                    <a:pt x="84772" y="1470660"/>
                  </a:lnTo>
                  <a:lnTo>
                    <a:pt x="88582" y="1463040"/>
                  </a:lnTo>
                  <a:lnTo>
                    <a:pt x="91440" y="1453515"/>
                  </a:lnTo>
                  <a:lnTo>
                    <a:pt x="93345" y="1443038"/>
                  </a:lnTo>
                  <a:lnTo>
                    <a:pt x="94297" y="1437323"/>
                  </a:lnTo>
                  <a:lnTo>
                    <a:pt x="93345" y="1432560"/>
                  </a:lnTo>
                  <a:lnTo>
                    <a:pt x="90488" y="1426845"/>
                  </a:lnTo>
                  <a:lnTo>
                    <a:pt x="89535" y="1423035"/>
                  </a:lnTo>
                  <a:lnTo>
                    <a:pt x="87630" y="1416368"/>
                  </a:lnTo>
                  <a:lnTo>
                    <a:pt x="88582" y="1412558"/>
                  </a:lnTo>
                  <a:lnTo>
                    <a:pt x="89535" y="1409700"/>
                  </a:lnTo>
                  <a:lnTo>
                    <a:pt x="94297" y="1406843"/>
                  </a:lnTo>
                  <a:lnTo>
                    <a:pt x="96202" y="1405890"/>
                  </a:lnTo>
                  <a:lnTo>
                    <a:pt x="99060" y="1405890"/>
                  </a:lnTo>
                  <a:lnTo>
                    <a:pt x="105727" y="1406843"/>
                  </a:lnTo>
                  <a:lnTo>
                    <a:pt x="109538" y="1404938"/>
                  </a:lnTo>
                  <a:lnTo>
                    <a:pt x="112395" y="1402080"/>
                  </a:lnTo>
                  <a:lnTo>
                    <a:pt x="115252" y="1396365"/>
                  </a:lnTo>
                  <a:lnTo>
                    <a:pt x="118110" y="1394460"/>
                  </a:lnTo>
                  <a:lnTo>
                    <a:pt x="120967" y="1393508"/>
                  </a:lnTo>
                  <a:lnTo>
                    <a:pt x="125730" y="1394460"/>
                  </a:lnTo>
                  <a:lnTo>
                    <a:pt x="130492" y="1393508"/>
                  </a:lnTo>
                  <a:lnTo>
                    <a:pt x="149542" y="1379220"/>
                  </a:lnTo>
                  <a:lnTo>
                    <a:pt x="166688" y="1371600"/>
                  </a:lnTo>
                  <a:lnTo>
                    <a:pt x="170497" y="1368743"/>
                  </a:lnTo>
                  <a:lnTo>
                    <a:pt x="176213" y="1362075"/>
                  </a:lnTo>
                  <a:lnTo>
                    <a:pt x="179070" y="1361123"/>
                  </a:lnTo>
                  <a:lnTo>
                    <a:pt x="186690" y="1358265"/>
                  </a:lnTo>
                  <a:lnTo>
                    <a:pt x="189547" y="1356360"/>
                  </a:lnTo>
                  <a:lnTo>
                    <a:pt x="193357" y="1352550"/>
                  </a:lnTo>
                  <a:lnTo>
                    <a:pt x="201930" y="1341120"/>
                  </a:lnTo>
                  <a:lnTo>
                    <a:pt x="205740" y="1332548"/>
                  </a:lnTo>
                  <a:lnTo>
                    <a:pt x="208597" y="1328738"/>
                  </a:lnTo>
                  <a:lnTo>
                    <a:pt x="210502" y="1326833"/>
                  </a:lnTo>
                  <a:lnTo>
                    <a:pt x="224790" y="1319213"/>
                  </a:lnTo>
                  <a:lnTo>
                    <a:pt x="228600" y="1316355"/>
                  </a:lnTo>
                  <a:lnTo>
                    <a:pt x="240982" y="1303020"/>
                  </a:lnTo>
                  <a:lnTo>
                    <a:pt x="243840" y="1298258"/>
                  </a:lnTo>
                  <a:lnTo>
                    <a:pt x="244792" y="1293495"/>
                  </a:lnTo>
                  <a:lnTo>
                    <a:pt x="243840" y="1287780"/>
                  </a:lnTo>
                  <a:lnTo>
                    <a:pt x="213360" y="1238250"/>
                  </a:lnTo>
                  <a:lnTo>
                    <a:pt x="211455" y="1231583"/>
                  </a:lnTo>
                  <a:lnTo>
                    <a:pt x="211455" y="1225868"/>
                  </a:lnTo>
                  <a:lnTo>
                    <a:pt x="213360" y="1223010"/>
                  </a:lnTo>
                  <a:lnTo>
                    <a:pt x="216217" y="1219200"/>
                  </a:lnTo>
                  <a:lnTo>
                    <a:pt x="218122" y="1214438"/>
                  </a:lnTo>
                  <a:lnTo>
                    <a:pt x="210502" y="1183958"/>
                  </a:lnTo>
                  <a:lnTo>
                    <a:pt x="209550" y="1176338"/>
                  </a:lnTo>
                  <a:lnTo>
                    <a:pt x="209550" y="1171575"/>
                  </a:lnTo>
                  <a:lnTo>
                    <a:pt x="210502" y="1167765"/>
                  </a:lnTo>
                  <a:lnTo>
                    <a:pt x="212407" y="1164908"/>
                  </a:lnTo>
                  <a:lnTo>
                    <a:pt x="215265" y="1163955"/>
                  </a:lnTo>
                  <a:lnTo>
                    <a:pt x="232410" y="1159193"/>
                  </a:lnTo>
                  <a:lnTo>
                    <a:pt x="236220" y="1157288"/>
                  </a:lnTo>
                  <a:lnTo>
                    <a:pt x="240030" y="1153478"/>
                  </a:lnTo>
                  <a:lnTo>
                    <a:pt x="243840" y="1144905"/>
                  </a:lnTo>
                  <a:lnTo>
                    <a:pt x="243840" y="1141095"/>
                  </a:lnTo>
                  <a:lnTo>
                    <a:pt x="242888" y="1137285"/>
                  </a:lnTo>
                  <a:lnTo>
                    <a:pt x="240030" y="1132523"/>
                  </a:lnTo>
                  <a:lnTo>
                    <a:pt x="240030" y="1122045"/>
                  </a:lnTo>
                  <a:lnTo>
                    <a:pt x="240030" y="1116330"/>
                  </a:lnTo>
                  <a:lnTo>
                    <a:pt x="238125" y="1112520"/>
                  </a:lnTo>
                  <a:lnTo>
                    <a:pt x="236220" y="1110615"/>
                  </a:lnTo>
                  <a:lnTo>
                    <a:pt x="228600" y="1105853"/>
                  </a:lnTo>
                  <a:lnTo>
                    <a:pt x="224790" y="1102995"/>
                  </a:lnTo>
                  <a:lnTo>
                    <a:pt x="223838" y="1100138"/>
                  </a:lnTo>
                  <a:lnTo>
                    <a:pt x="221932" y="1095375"/>
                  </a:lnTo>
                  <a:lnTo>
                    <a:pt x="220980" y="1092518"/>
                  </a:lnTo>
                  <a:lnTo>
                    <a:pt x="221932" y="1074420"/>
                  </a:lnTo>
                  <a:lnTo>
                    <a:pt x="220980" y="1064895"/>
                  </a:lnTo>
                  <a:lnTo>
                    <a:pt x="223838" y="1032510"/>
                  </a:lnTo>
                  <a:lnTo>
                    <a:pt x="223838" y="1024890"/>
                  </a:lnTo>
                  <a:lnTo>
                    <a:pt x="221932" y="1021080"/>
                  </a:lnTo>
                  <a:lnTo>
                    <a:pt x="215265" y="1018223"/>
                  </a:lnTo>
                  <a:lnTo>
                    <a:pt x="213360" y="1017270"/>
                  </a:lnTo>
                  <a:lnTo>
                    <a:pt x="209550" y="1013460"/>
                  </a:lnTo>
                  <a:lnTo>
                    <a:pt x="204788" y="1004888"/>
                  </a:lnTo>
                  <a:lnTo>
                    <a:pt x="199072" y="989648"/>
                  </a:lnTo>
                  <a:lnTo>
                    <a:pt x="195263" y="984885"/>
                  </a:lnTo>
                  <a:lnTo>
                    <a:pt x="193357" y="982980"/>
                  </a:lnTo>
                  <a:lnTo>
                    <a:pt x="186690" y="982028"/>
                  </a:lnTo>
                  <a:lnTo>
                    <a:pt x="180022" y="982028"/>
                  </a:lnTo>
                  <a:lnTo>
                    <a:pt x="178117" y="980123"/>
                  </a:lnTo>
                  <a:lnTo>
                    <a:pt x="175260" y="975360"/>
                  </a:lnTo>
                  <a:lnTo>
                    <a:pt x="173355" y="962978"/>
                  </a:lnTo>
                  <a:lnTo>
                    <a:pt x="166688" y="944880"/>
                  </a:lnTo>
                  <a:lnTo>
                    <a:pt x="163830" y="922020"/>
                  </a:lnTo>
                  <a:lnTo>
                    <a:pt x="161925" y="918210"/>
                  </a:lnTo>
                  <a:lnTo>
                    <a:pt x="156210" y="909638"/>
                  </a:lnTo>
                  <a:lnTo>
                    <a:pt x="149542" y="901065"/>
                  </a:lnTo>
                  <a:lnTo>
                    <a:pt x="145732" y="897255"/>
                  </a:lnTo>
                  <a:lnTo>
                    <a:pt x="142875" y="896303"/>
                  </a:lnTo>
                  <a:lnTo>
                    <a:pt x="140017" y="895350"/>
                  </a:lnTo>
                  <a:lnTo>
                    <a:pt x="117157" y="896303"/>
                  </a:lnTo>
                  <a:lnTo>
                    <a:pt x="114300" y="896303"/>
                  </a:lnTo>
                  <a:lnTo>
                    <a:pt x="94297" y="904875"/>
                  </a:lnTo>
                  <a:lnTo>
                    <a:pt x="91440" y="905828"/>
                  </a:lnTo>
                  <a:lnTo>
                    <a:pt x="88582" y="905828"/>
                  </a:lnTo>
                  <a:lnTo>
                    <a:pt x="84772" y="902970"/>
                  </a:lnTo>
                  <a:lnTo>
                    <a:pt x="81915" y="897255"/>
                  </a:lnTo>
                  <a:lnTo>
                    <a:pt x="80963" y="893445"/>
                  </a:lnTo>
                  <a:lnTo>
                    <a:pt x="82867" y="890588"/>
                  </a:lnTo>
                  <a:lnTo>
                    <a:pt x="94297" y="889635"/>
                  </a:lnTo>
                  <a:lnTo>
                    <a:pt x="97155" y="888683"/>
                  </a:lnTo>
                  <a:lnTo>
                    <a:pt x="100013" y="886778"/>
                  </a:lnTo>
                  <a:lnTo>
                    <a:pt x="102870" y="881063"/>
                  </a:lnTo>
                  <a:lnTo>
                    <a:pt x="102870" y="878205"/>
                  </a:lnTo>
                  <a:lnTo>
                    <a:pt x="100965" y="876300"/>
                  </a:lnTo>
                  <a:lnTo>
                    <a:pt x="92392" y="871538"/>
                  </a:lnTo>
                  <a:lnTo>
                    <a:pt x="90488" y="868680"/>
                  </a:lnTo>
                  <a:lnTo>
                    <a:pt x="90488" y="865823"/>
                  </a:lnTo>
                  <a:lnTo>
                    <a:pt x="91440" y="862965"/>
                  </a:lnTo>
                  <a:lnTo>
                    <a:pt x="93345" y="862013"/>
                  </a:lnTo>
                  <a:lnTo>
                    <a:pt x="96202" y="862013"/>
                  </a:lnTo>
                  <a:lnTo>
                    <a:pt x="105727" y="863918"/>
                  </a:lnTo>
                  <a:lnTo>
                    <a:pt x="108585" y="863918"/>
                  </a:lnTo>
                  <a:lnTo>
                    <a:pt x="110490" y="862965"/>
                  </a:lnTo>
                  <a:lnTo>
                    <a:pt x="112395" y="861060"/>
                  </a:lnTo>
                  <a:lnTo>
                    <a:pt x="115252" y="855345"/>
                  </a:lnTo>
                  <a:lnTo>
                    <a:pt x="120015" y="839153"/>
                  </a:lnTo>
                  <a:lnTo>
                    <a:pt x="120967" y="832485"/>
                  </a:lnTo>
                  <a:lnTo>
                    <a:pt x="120015" y="830580"/>
                  </a:lnTo>
                  <a:lnTo>
                    <a:pt x="117157" y="825818"/>
                  </a:lnTo>
                  <a:lnTo>
                    <a:pt x="111442" y="822960"/>
                  </a:lnTo>
                  <a:lnTo>
                    <a:pt x="108585" y="820103"/>
                  </a:lnTo>
                  <a:lnTo>
                    <a:pt x="106680" y="813435"/>
                  </a:lnTo>
                  <a:lnTo>
                    <a:pt x="106680" y="809625"/>
                  </a:lnTo>
                  <a:lnTo>
                    <a:pt x="108585" y="807720"/>
                  </a:lnTo>
                  <a:lnTo>
                    <a:pt x="114300" y="806768"/>
                  </a:lnTo>
                  <a:lnTo>
                    <a:pt x="117157" y="805815"/>
                  </a:lnTo>
                  <a:lnTo>
                    <a:pt x="120015" y="801053"/>
                  </a:lnTo>
                  <a:lnTo>
                    <a:pt x="124777" y="785813"/>
                  </a:lnTo>
                  <a:lnTo>
                    <a:pt x="127635" y="776288"/>
                  </a:lnTo>
                  <a:lnTo>
                    <a:pt x="126682" y="773430"/>
                  </a:lnTo>
                  <a:lnTo>
                    <a:pt x="125730" y="770573"/>
                  </a:lnTo>
                  <a:lnTo>
                    <a:pt x="116205" y="763905"/>
                  </a:lnTo>
                  <a:lnTo>
                    <a:pt x="112395" y="759143"/>
                  </a:lnTo>
                  <a:lnTo>
                    <a:pt x="109538" y="754380"/>
                  </a:lnTo>
                  <a:lnTo>
                    <a:pt x="109538" y="751523"/>
                  </a:lnTo>
                  <a:lnTo>
                    <a:pt x="110490" y="747713"/>
                  </a:lnTo>
                  <a:lnTo>
                    <a:pt x="115252" y="736283"/>
                  </a:lnTo>
                  <a:lnTo>
                    <a:pt x="120967" y="727710"/>
                  </a:lnTo>
                  <a:lnTo>
                    <a:pt x="135255" y="704850"/>
                  </a:lnTo>
                  <a:lnTo>
                    <a:pt x="140017" y="693420"/>
                  </a:lnTo>
                  <a:lnTo>
                    <a:pt x="143827" y="688658"/>
                  </a:lnTo>
                  <a:lnTo>
                    <a:pt x="160020" y="680085"/>
                  </a:lnTo>
                  <a:lnTo>
                    <a:pt x="162877" y="677228"/>
                  </a:lnTo>
                  <a:lnTo>
                    <a:pt x="165735" y="673418"/>
                  </a:lnTo>
                  <a:lnTo>
                    <a:pt x="168592" y="665798"/>
                  </a:lnTo>
                  <a:lnTo>
                    <a:pt x="169545" y="661035"/>
                  </a:lnTo>
                  <a:lnTo>
                    <a:pt x="169545" y="657225"/>
                  </a:lnTo>
                  <a:lnTo>
                    <a:pt x="161925" y="628650"/>
                  </a:lnTo>
                  <a:lnTo>
                    <a:pt x="160020" y="616268"/>
                  </a:lnTo>
                  <a:lnTo>
                    <a:pt x="158115" y="608648"/>
                  </a:lnTo>
                  <a:lnTo>
                    <a:pt x="156210" y="605790"/>
                  </a:lnTo>
                  <a:lnTo>
                    <a:pt x="152400" y="601980"/>
                  </a:lnTo>
                  <a:lnTo>
                    <a:pt x="146685" y="600075"/>
                  </a:lnTo>
                  <a:lnTo>
                    <a:pt x="140017" y="599123"/>
                  </a:lnTo>
                  <a:lnTo>
                    <a:pt x="120015" y="601028"/>
                  </a:lnTo>
                  <a:lnTo>
                    <a:pt x="118110" y="601028"/>
                  </a:lnTo>
                  <a:lnTo>
                    <a:pt x="115252" y="599123"/>
                  </a:lnTo>
                  <a:lnTo>
                    <a:pt x="114300" y="595313"/>
                  </a:lnTo>
                  <a:lnTo>
                    <a:pt x="114300" y="592455"/>
                  </a:lnTo>
                  <a:lnTo>
                    <a:pt x="124777" y="533400"/>
                  </a:lnTo>
                  <a:lnTo>
                    <a:pt x="123825" y="527685"/>
                  </a:lnTo>
                  <a:lnTo>
                    <a:pt x="122872" y="523875"/>
                  </a:lnTo>
                  <a:lnTo>
                    <a:pt x="121920" y="521970"/>
                  </a:lnTo>
                  <a:lnTo>
                    <a:pt x="109538" y="507683"/>
                  </a:lnTo>
                  <a:lnTo>
                    <a:pt x="80010" y="461010"/>
                  </a:lnTo>
                  <a:lnTo>
                    <a:pt x="78105" y="459105"/>
                  </a:lnTo>
                  <a:lnTo>
                    <a:pt x="75247" y="458153"/>
                  </a:lnTo>
                  <a:lnTo>
                    <a:pt x="72390" y="458153"/>
                  </a:lnTo>
                  <a:lnTo>
                    <a:pt x="69532" y="456248"/>
                  </a:lnTo>
                  <a:lnTo>
                    <a:pt x="66675" y="451485"/>
                  </a:lnTo>
                  <a:lnTo>
                    <a:pt x="63817" y="440055"/>
                  </a:lnTo>
                  <a:lnTo>
                    <a:pt x="64770" y="435293"/>
                  </a:lnTo>
                  <a:lnTo>
                    <a:pt x="66675" y="432435"/>
                  </a:lnTo>
                  <a:lnTo>
                    <a:pt x="83820" y="432435"/>
                  </a:lnTo>
                  <a:lnTo>
                    <a:pt x="86677" y="433388"/>
                  </a:lnTo>
                  <a:lnTo>
                    <a:pt x="89535" y="434340"/>
                  </a:lnTo>
                  <a:lnTo>
                    <a:pt x="96202" y="440055"/>
                  </a:lnTo>
                  <a:lnTo>
                    <a:pt x="98107" y="441008"/>
                  </a:lnTo>
                  <a:lnTo>
                    <a:pt x="100965" y="441008"/>
                  </a:lnTo>
                  <a:lnTo>
                    <a:pt x="102870" y="435293"/>
                  </a:lnTo>
                  <a:lnTo>
                    <a:pt x="102870" y="429578"/>
                  </a:lnTo>
                  <a:lnTo>
                    <a:pt x="100965" y="410528"/>
                  </a:lnTo>
                  <a:lnTo>
                    <a:pt x="100965" y="404813"/>
                  </a:lnTo>
                  <a:lnTo>
                    <a:pt x="101917" y="395288"/>
                  </a:lnTo>
                  <a:lnTo>
                    <a:pt x="102870" y="391478"/>
                  </a:lnTo>
                  <a:lnTo>
                    <a:pt x="105727" y="385763"/>
                  </a:lnTo>
                  <a:lnTo>
                    <a:pt x="112395" y="375285"/>
                  </a:lnTo>
                  <a:lnTo>
                    <a:pt x="115252" y="369570"/>
                  </a:lnTo>
                  <a:lnTo>
                    <a:pt x="115252" y="365760"/>
                  </a:lnTo>
                  <a:lnTo>
                    <a:pt x="115252" y="361950"/>
                  </a:lnTo>
                  <a:lnTo>
                    <a:pt x="114300" y="360045"/>
                  </a:lnTo>
                  <a:lnTo>
                    <a:pt x="111442" y="354330"/>
                  </a:lnTo>
                  <a:lnTo>
                    <a:pt x="107632" y="350520"/>
                  </a:lnTo>
                  <a:lnTo>
                    <a:pt x="105727" y="348615"/>
                  </a:lnTo>
                  <a:lnTo>
                    <a:pt x="100965" y="345758"/>
                  </a:lnTo>
                  <a:lnTo>
                    <a:pt x="87630" y="341948"/>
                  </a:lnTo>
                  <a:lnTo>
                    <a:pt x="85725" y="340043"/>
                  </a:lnTo>
                  <a:lnTo>
                    <a:pt x="82867" y="338138"/>
                  </a:lnTo>
                  <a:lnTo>
                    <a:pt x="81915" y="335280"/>
                  </a:lnTo>
                  <a:lnTo>
                    <a:pt x="80963" y="329565"/>
                  </a:lnTo>
                  <a:lnTo>
                    <a:pt x="79057" y="324803"/>
                  </a:lnTo>
                  <a:lnTo>
                    <a:pt x="77152" y="321945"/>
                  </a:lnTo>
                  <a:lnTo>
                    <a:pt x="74295" y="318135"/>
                  </a:lnTo>
                  <a:lnTo>
                    <a:pt x="58102" y="302895"/>
                  </a:lnTo>
                  <a:lnTo>
                    <a:pt x="48577" y="296228"/>
                  </a:lnTo>
                  <a:lnTo>
                    <a:pt x="42863" y="294323"/>
                  </a:lnTo>
                  <a:lnTo>
                    <a:pt x="40005" y="294323"/>
                  </a:lnTo>
                  <a:lnTo>
                    <a:pt x="37147" y="294323"/>
                  </a:lnTo>
                  <a:lnTo>
                    <a:pt x="36195" y="296228"/>
                  </a:lnTo>
                  <a:lnTo>
                    <a:pt x="24765" y="314325"/>
                  </a:lnTo>
                  <a:lnTo>
                    <a:pt x="23813" y="316230"/>
                  </a:lnTo>
                  <a:lnTo>
                    <a:pt x="21907" y="317183"/>
                  </a:lnTo>
                  <a:lnTo>
                    <a:pt x="20002" y="313373"/>
                  </a:lnTo>
                  <a:lnTo>
                    <a:pt x="18097" y="307658"/>
                  </a:lnTo>
                  <a:lnTo>
                    <a:pt x="15240" y="296228"/>
                  </a:lnTo>
                  <a:lnTo>
                    <a:pt x="9525" y="252413"/>
                  </a:lnTo>
                  <a:lnTo>
                    <a:pt x="0" y="216218"/>
                  </a:lnTo>
                  <a:lnTo>
                    <a:pt x="0" y="212408"/>
                  </a:lnTo>
                  <a:lnTo>
                    <a:pt x="2857" y="211455"/>
                  </a:lnTo>
                  <a:lnTo>
                    <a:pt x="9525" y="210503"/>
                  </a:lnTo>
                  <a:lnTo>
                    <a:pt x="15240" y="209550"/>
                  </a:lnTo>
                  <a:lnTo>
                    <a:pt x="24765" y="203835"/>
                  </a:lnTo>
                  <a:lnTo>
                    <a:pt x="40957" y="191453"/>
                  </a:lnTo>
                  <a:lnTo>
                    <a:pt x="47625" y="184785"/>
                  </a:lnTo>
                  <a:lnTo>
                    <a:pt x="54292" y="176213"/>
                  </a:lnTo>
                  <a:lnTo>
                    <a:pt x="60007" y="164783"/>
                  </a:lnTo>
                  <a:lnTo>
                    <a:pt x="60960" y="158115"/>
                  </a:lnTo>
                  <a:lnTo>
                    <a:pt x="61913" y="148590"/>
                  </a:lnTo>
                  <a:lnTo>
                    <a:pt x="63817" y="117158"/>
                  </a:lnTo>
                  <a:lnTo>
                    <a:pt x="62865" y="110490"/>
                  </a:lnTo>
                  <a:lnTo>
                    <a:pt x="62865" y="108585"/>
                  </a:lnTo>
                  <a:lnTo>
                    <a:pt x="60960" y="105728"/>
                  </a:lnTo>
                  <a:lnTo>
                    <a:pt x="59055" y="106680"/>
                  </a:lnTo>
                  <a:lnTo>
                    <a:pt x="54292" y="109538"/>
                  </a:lnTo>
                  <a:lnTo>
                    <a:pt x="52388" y="110490"/>
                  </a:lnTo>
                  <a:lnTo>
                    <a:pt x="49530" y="109538"/>
                  </a:lnTo>
                  <a:lnTo>
                    <a:pt x="46672" y="105728"/>
                  </a:lnTo>
                  <a:lnTo>
                    <a:pt x="42863" y="98108"/>
                  </a:lnTo>
                  <a:lnTo>
                    <a:pt x="57150" y="85725"/>
                  </a:lnTo>
                  <a:lnTo>
                    <a:pt x="69532" y="81915"/>
                  </a:lnTo>
                  <a:lnTo>
                    <a:pt x="92392" y="91440"/>
                  </a:lnTo>
                  <a:lnTo>
                    <a:pt x="102870" y="91440"/>
                  </a:lnTo>
                  <a:lnTo>
                    <a:pt x="110490" y="77153"/>
                  </a:lnTo>
                  <a:lnTo>
                    <a:pt x="118110" y="57150"/>
                  </a:lnTo>
                  <a:lnTo>
                    <a:pt x="123825" y="46673"/>
                  </a:lnTo>
                  <a:lnTo>
                    <a:pt x="130492" y="42863"/>
                  </a:lnTo>
                  <a:lnTo>
                    <a:pt x="144780" y="41910"/>
                  </a:lnTo>
                  <a:lnTo>
                    <a:pt x="156210" y="36195"/>
                  </a:lnTo>
                  <a:lnTo>
                    <a:pt x="164782" y="27623"/>
                  </a:lnTo>
                  <a:lnTo>
                    <a:pt x="172402" y="16193"/>
                  </a:lnTo>
                  <a:lnTo>
                    <a:pt x="182880" y="5715"/>
                  </a:lnTo>
                  <a:lnTo>
                    <a:pt x="193357" y="1905"/>
                  </a:lnTo>
                  <a:lnTo>
                    <a:pt x="205740" y="0"/>
                  </a:lnTo>
                  <a:lnTo>
                    <a:pt x="217170" y="953"/>
                  </a:lnTo>
                  <a:lnTo>
                    <a:pt x="225742" y="7620"/>
                  </a:lnTo>
                  <a:lnTo>
                    <a:pt x="234315" y="22860"/>
                  </a:lnTo>
                  <a:lnTo>
                    <a:pt x="239077" y="36195"/>
                  </a:lnTo>
                  <a:lnTo>
                    <a:pt x="245745" y="44768"/>
                  </a:lnTo>
                  <a:lnTo>
                    <a:pt x="294322" y="53340"/>
                  </a:lnTo>
                  <a:lnTo>
                    <a:pt x="303847" y="50483"/>
                  </a:lnTo>
                  <a:lnTo>
                    <a:pt x="308610" y="44768"/>
                  </a:lnTo>
                  <a:lnTo>
                    <a:pt x="317182" y="28575"/>
                  </a:lnTo>
                  <a:lnTo>
                    <a:pt x="323850" y="23813"/>
                  </a:lnTo>
                  <a:lnTo>
                    <a:pt x="329565" y="24765"/>
                  </a:lnTo>
                  <a:lnTo>
                    <a:pt x="338138" y="30480"/>
                  </a:lnTo>
                  <a:lnTo>
                    <a:pt x="344805" y="29528"/>
                  </a:lnTo>
                  <a:lnTo>
                    <a:pt x="377190" y="12383"/>
                  </a:lnTo>
                  <a:lnTo>
                    <a:pt x="388620" y="9525"/>
                  </a:lnTo>
                  <a:lnTo>
                    <a:pt x="462915" y="7620"/>
                  </a:lnTo>
                  <a:lnTo>
                    <a:pt x="478155" y="11430"/>
                  </a:lnTo>
                  <a:lnTo>
                    <a:pt x="492442" y="21908"/>
                  </a:lnTo>
                  <a:lnTo>
                    <a:pt x="512445" y="49530"/>
                  </a:lnTo>
                  <a:lnTo>
                    <a:pt x="520065" y="57150"/>
                  </a:lnTo>
                  <a:lnTo>
                    <a:pt x="546735" y="70485"/>
                  </a:lnTo>
                  <a:lnTo>
                    <a:pt x="553402" y="77153"/>
                  </a:lnTo>
                  <a:lnTo>
                    <a:pt x="556260" y="82868"/>
                  </a:lnTo>
                  <a:lnTo>
                    <a:pt x="558165" y="88583"/>
                  </a:lnTo>
                  <a:lnTo>
                    <a:pt x="558165" y="95250"/>
                  </a:lnTo>
                  <a:lnTo>
                    <a:pt x="558165" y="103823"/>
                  </a:lnTo>
                  <a:lnTo>
                    <a:pt x="557213" y="110490"/>
                  </a:lnTo>
                  <a:lnTo>
                    <a:pt x="553402" y="127635"/>
                  </a:lnTo>
                  <a:lnTo>
                    <a:pt x="551497" y="128588"/>
                  </a:lnTo>
                  <a:lnTo>
                    <a:pt x="555307" y="138113"/>
                  </a:lnTo>
                  <a:lnTo>
                    <a:pt x="571500" y="159068"/>
                  </a:lnTo>
                  <a:lnTo>
                    <a:pt x="578167" y="164783"/>
                  </a:lnTo>
                  <a:lnTo>
                    <a:pt x="586740" y="168593"/>
                  </a:lnTo>
                  <a:lnTo>
                    <a:pt x="601980" y="168593"/>
                  </a:lnTo>
                  <a:lnTo>
                    <a:pt x="609600" y="170498"/>
                  </a:lnTo>
                  <a:lnTo>
                    <a:pt x="618172" y="177165"/>
                  </a:lnTo>
                  <a:lnTo>
                    <a:pt x="629602" y="195263"/>
                  </a:lnTo>
                  <a:lnTo>
                    <a:pt x="638175" y="198120"/>
                  </a:lnTo>
                  <a:lnTo>
                    <a:pt x="644842" y="197168"/>
                  </a:lnTo>
                  <a:lnTo>
                    <a:pt x="652463" y="199073"/>
                  </a:lnTo>
                  <a:lnTo>
                    <a:pt x="659130" y="202883"/>
                  </a:lnTo>
                  <a:lnTo>
                    <a:pt x="664845" y="209550"/>
                  </a:lnTo>
                  <a:lnTo>
                    <a:pt x="668655" y="218123"/>
                  </a:lnTo>
                  <a:lnTo>
                    <a:pt x="674370" y="216218"/>
                  </a:lnTo>
                  <a:lnTo>
                    <a:pt x="677227" y="211455"/>
                  </a:lnTo>
                  <a:close/>
                  <a:moveTo>
                    <a:pt x="828675" y="762953"/>
                  </a:moveTo>
                  <a:lnTo>
                    <a:pt x="824865" y="717233"/>
                  </a:lnTo>
                  <a:lnTo>
                    <a:pt x="802005" y="704850"/>
                  </a:lnTo>
                  <a:lnTo>
                    <a:pt x="773430" y="692468"/>
                  </a:lnTo>
                  <a:lnTo>
                    <a:pt x="762000" y="705803"/>
                  </a:lnTo>
                  <a:lnTo>
                    <a:pt x="762952" y="729615"/>
                  </a:lnTo>
                  <a:lnTo>
                    <a:pt x="751522" y="740093"/>
                  </a:lnTo>
                  <a:lnTo>
                    <a:pt x="734377" y="746760"/>
                  </a:lnTo>
                  <a:lnTo>
                    <a:pt x="725805" y="769620"/>
                  </a:lnTo>
                  <a:lnTo>
                    <a:pt x="675322" y="764858"/>
                  </a:lnTo>
                  <a:lnTo>
                    <a:pt x="668655" y="772478"/>
                  </a:lnTo>
                  <a:lnTo>
                    <a:pt x="673417" y="791528"/>
                  </a:lnTo>
                  <a:lnTo>
                    <a:pt x="660082" y="783908"/>
                  </a:lnTo>
                  <a:lnTo>
                    <a:pt x="649605" y="766763"/>
                  </a:lnTo>
                  <a:lnTo>
                    <a:pt x="635317" y="752475"/>
                  </a:lnTo>
                  <a:lnTo>
                    <a:pt x="627697" y="723900"/>
                  </a:lnTo>
                  <a:lnTo>
                    <a:pt x="615315" y="721043"/>
                  </a:lnTo>
                  <a:lnTo>
                    <a:pt x="612457" y="697230"/>
                  </a:lnTo>
                  <a:lnTo>
                    <a:pt x="560070" y="697230"/>
                  </a:lnTo>
                  <a:lnTo>
                    <a:pt x="560070" y="718185"/>
                  </a:lnTo>
                  <a:lnTo>
                    <a:pt x="526732" y="721995"/>
                  </a:lnTo>
                  <a:lnTo>
                    <a:pt x="538163" y="741998"/>
                  </a:lnTo>
                  <a:lnTo>
                    <a:pt x="535305" y="758190"/>
                  </a:lnTo>
                  <a:lnTo>
                    <a:pt x="525780" y="742950"/>
                  </a:lnTo>
                  <a:lnTo>
                    <a:pt x="516255" y="748665"/>
                  </a:lnTo>
                  <a:lnTo>
                    <a:pt x="521017" y="762000"/>
                  </a:lnTo>
                  <a:lnTo>
                    <a:pt x="521017" y="777240"/>
                  </a:lnTo>
                  <a:lnTo>
                    <a:pt x="510540" y="786765"/>
                  </a:lnTo>
                  <a:lnTo>
                    <a:pt x="499110" y="797243"/>
                  </a:lnTo>
                  <a:lnTo>
                    <a:pt x="496252" y="811530"/>
                  </a:lnTo>
                  <a:lnTo>
                    <a:pt x="499110" y="827723"/>
                  </a:lnTo>
                  <a:lnTo>
                    <a:pt x="496252" y="842963"/>
                  </a:lnTo>
                  <a:lnTo>
                    <a:pt x="489585" y="850583"/>
                  </a:lnTo>
                  <a:lnTo>
                    <a:pt x="490538" y="863918"/>
                  </a:lnTo>
                  <a:lnTo>
                    <a:pt x="491490" y="878205"/>
                  </a:lnTo>
                  <a:lnTo>
                    <a:pt x="485775" y="890588"/>
                  </a:lnTo>
                  <a:lnTo>
                    <a:pt x="484822" y="904875"/>
                  </a:lnTo>
                  <a:lnTo>
                    <a:pt x="481965" y="925830"/>
                  </a:lnTo>
                  <a:lnTo>
                    <a:pt x="487680" y="936308"/>
                  </a:lnTo>
                  <a:lnTo>
                    <a:pt x="493395" y="927735"/>
                  </a:lnTo>
                  <a:lnTo>
                    <a:pt x="501967" y="929640"/>
                  </a:lnTo>
                  <a:lnTo>
                    <a:pt x="509588" y="902970"/>
                  </a:lnTo>
                  <a:lnTo>
                    <a:pt x="532447" y="909638"/>
                  </a:lnTo>
                  <a:lnTo>
                    <a:pt x="543877" y="902970"/>
                  </a:lnTo>
                  <a:lnTo>
                    <a:pt x="552450" y="908685"/>
                  </a:lnTo>
                  <a:lnTo>
                    <a:pt x="559117" y="941070"/>
                  </a:lnTo>
                  <a:lnTo>
                    <a:pt x="573405" y="958215"/>
                  </a:lnTo>
                  <a:lnTo>
                    <a:pt x="589597" y="972503"/>
                  </a:lnTo>
                  <a:lnTo>
                    <a:pt x="601980" y="994410"/>
                  </a:lnTo>
                  <a:lnTo>
                    <a:pt x="597217" y="1010603"/>
                  </a:lnTo>
                  <a:lnTo>
                    <a:pt x="601027" y="1029653"/>
                  </a:lnTo>
                  <a:lnTo>
                    <a:pt x="610552" y="1029653"/>
                  </a:lnTo>
                  <a:lnTo>
                    <a:pt x="619125" y="1027748"/>
                  </a:lnTo>
                  <a:lnTo>
                    <a:pt x="622935" y="1046798"/>
                  </a:lnTo>
                  <a:lnTo>
                    <a:pt x="624840" y="1062038"/>
                  </a:lnTo>
                  <a:lnTo>
                    <a:pt x="634365" y="1066800"/>
                  </a:lnTo>
                  <a:lnTo>
                    <a:pt x="635317" y="1080135"/>
                  </a:lnTo>
                  <a:lnTo>
                    <a:pt x="644842" y="1076325"/>
                  </a:lnTo>
                  <a:lnTo>
                    <a:pt x="659130" y="1088708"/>
                  </a:lnTo>
                  <a:lnTo>
                    <a:pt x="653415" y="1124903"/>
                  </a:lnTo>
                  <a:lnTo>
                    <a:pt x="666750" y="1124903"/>
                  </a:lnTo>
                  <a:lnTo>
                    <a:pt x="669607" y="1164908"/>
                  </a:lnTo>
                  <a:lnTo>
                    <a:pt x="683895" y="1169670"/>
                  </a:lnTo>
                  <a:lnTo>
                    <a:pt x="691515" y="1195388"/>
                  </a:lnTo>
                  <a:lnTo>
                    <a:pt x="693420" y="1233488"/>
                  </a:lnTo>
                  <a:lnTo>
                    <a:pt x="725805" y="1217295"/>
                  </a:lnTo>
                  <a:lnTo>
                    <a:pt x="721042" y="1203960"/>
                  </a:lnTo>
                  <a:lnTo>
                    <a:pt x="726757" y="1195388"/>
                  </a:lnTo>
                  <a:lnTo>
                    <a:pt x="715327" y="1165860"/>
                  </a:lnTo>
                  <a:lnTo>
                    <a:pt x="711517" y="1143953"/>
                  </a:lnTo>
                  <a:lnTo>
                    <a:pt x="721995" y="1143000"/>
                  </a:lnTo>
                  <a:lnTo>
                    <a:pt x="729615" y="1116330"/>
                  </a:lnTo>
                  <a:lnTo>
                    <a:pt x="720090" y="1085850"/>
                  </a:lnTo>
                  <a:lnTo>
                    <a:pt x="704850" y="1044893"/>
                  </a:lnTo>
                  <a:lnTo>
                    <a:pt x="710565" y="1038225"/>
                  </a:lnTo>
                  <a:lnTo>
                    <a:pt x="703897" y="1024890"/>
                  </a:lnTo>
                  <a:lnTo>
                    <a:pt x="722947" y="1018223"/>
                  </a:lnTo>
                  <a:lnTo>
                    <a:pt x="725805" y="1029653"/>
                  </a:lnTo>
                  <a:lnTo>
                    <a:pt x="737235" y="1026795"/>
                  </a:lnTo>
                  <a:lnTo>
                    <a:pt x="752475" y="1032510"/>
                  </a:lnTo>
                  <a:lnTo>
                    <a:pt x="762952" y="1028700"/>
                  </a:lnTo>
                  <a:lnTo>
                    <a:pt x="762000" y="1003935"/>
                  </a:lnTo>
                  <a:lnTo>
                    <a:pt x="765810" y="989648"/>
                  </a:lnTo>
                  <a:lnTo>
                    <a:pt x="782002" y="1006793"/>
                  </a:lnTo>
                  <a:lnTo>
                    <a:pt x="802005" y="1003935"/>
                  </a:lnTo>
                  <a:lnTo>
                    <a:pt x="801052" y="970598"/>
                  </a:lnTo>
                  <a:lnTo>
                    <a:pt x="822007" y="970598"/>
                  </a:lnTo>
                  <a:lnTo>
                    <a:pt x="830580" y="953453"/>
                  </a:lnTo>
                  <a:lnTo>
                    <a:pt x="815340" y="942023"/>
                  </a:lnTo>
                  <a:lnTo>
                    <a:pt x="814388" y="927735"/>
                  </a:lnTo>
                  <a:lnTo>
                    <a:pt x="784860" y="882015"/>
                  </a:lnTo>
                  <a:lnTo>
                    <a:pt x="783907" y="851535"/>
                  </a:lnTo>
                  <a:lnTo>
                    <a:pt x="789622" y="842010"/>
                  </a:lnTo>
                  <a:lnTo>
                    <a:pt x="780097" y="826770"/>
                  </a:lnTo>
                  <a:lnTo>
                    <a:pt x="781050" y="814388"/>
                  </a:lnTo>
                  <a:lnTo>
                    <a:pt x="793432" y="795338"/>
                  </a:lnTo>
                  <a:lnTo>
                    <a:pt x="808672" y="785813"/>
                  </a:lnTo>
                  <a:lnTo>
                    <a:pt x="828675" y="76295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5" name="Полилиния: фигура 17">
              <a:extLst>
                <a:ext uri="{FF2B5EF4-FFF2-40B4-BE49-F238E27FC236}">
                  <a16:creationId xmlns:a16="http://schemas.microsoft.com/office/drawing/2014/main" id="{EF03DEE6-C55F-4D99-C024-BA6F7777B10A}"/>
                </a:ext>
              </a:extLst>
            </p:cNvPr>
            <p:cNvSpPr/>
            <p:nvPr/>
          </p:nvSpPr>
          <p:spPr>
            <a:xfrm>
              <a:off x="4542472" y="3674745"/>
              <a:ext cx="1638300" cy="2314575"/>
            </a:xfrm>
            <a:custGeom>
              <a:avLst/>
              <a:gdLst>
                <a:gd name="connsiteX0" fmla="*/ 847725 w 1638300"/>
                <a:gd name="connsiteY0" fmla="*/ 2015490 h 2314575"/>
                <a:gd name="connsiteX1" fmla="*/ 806768 w 1638300"/>
                <a:gd name="connsiteY1" fmla="*/ 2032635 h 2314575"/>
                <a:gd name="connsiteX2" fmla="*/ 833438 w 1638300"/>
                <a:gd name="connsiteY2" fmla="*/ 2018348 h 2314575"/>
                <a:gd name="connsiteX3" fmla="*/ 844868 w 1638300"/>
                <a:gd name="connsiteY3" fmla="*/ 2009775 h 2314575"/>
                <a:gd name="connsiteX4" fmla="*/ 848678 w 1638300"/>
                <a:gd name="connsiteY4" fmla="*/ 2002155 h 2314575"/>
                <a:gd name="connsiteX5" fmla="*/ 851535 w 1638300"/>
                <a:gd name="connsiteY5" fmla="*/ 1995488 h 2314575"/>
                <a:gd name="connsiteX6" fmla="*/ 858203 w 1638300"/>
                <a:gd name="connsiteY6" fmla="*/ 1992630 h 2314575"/>
                <a:gd name="connsiteX7" fmla="*/ 866775 w 1638300"/>
                <a:gd name="connsiteY7" fmla="*/ 1991678 h 2314575"/>
                <a:gd name="connsiteX8" fmla="*/ 873443 w 1638300"/>
                <a:gd name="connsiteY8" fmla="*/ 1988820 h 2314575"/>
                <a:gd name="connsiteX9" fmla="*/ 882015 w 1638300"/>
                <a:gd name="connsiteY9" fmla="*/ 1982153 h 2314575"/>
                <a:gd name="connsiteX10" fmla="*/ 897255 w 1638300"/>
                <a:gd name="connsiteY10" fmla="*/ 1965007 h 2314575"/>
                <a:gd name="connsiteX11" fmla="*/ 905828 w 1638300"/>
                <a:gd name="connsiteY11" fmla="*/ 1957388 h 2314575"/>
                <a:gd name="connsiteX12" fmla="*/ 988695 w 1638300"/>
                <a:gd name="connsiteY12" fmla="*/ 1881188 h 2314575"/>
                <a:gd name="connsiteX13" fmla="*/ 1015365 w 1638300"/>
                <a:gd name="connsiteY13" fmla="*/ 1866900 h 2314575"/>
                <a:gd name="connsiteX14" fmla="*/ 901065 w 1638300"/>
                <a:gd name="connsiteY14" fmla="*/ 1976438 h 2314575"/>
                <a:gd name="connsiteX15" fmla="*/ 847725 w 1638300"/>
                <a:gd name="connsiteY15" fmla="*/ 2015490 h 2314575"/>
                <a:gd name="connsiteX16" fmla="*/ 1103948 w 1638300"/>
                <a:gd name="connsiteY16" fmla="*/ 68580 h 2314575"/>
                <a:gd name="connsiteX17" fmla="*/ 1103948 w 1638300"/>
                <a:gd name="connsiteY17" fmla="*/ 82868 h 2314575"/>
                <a:gd name="connsiteX18" fmla="*/ 1104900 w 1638300"/>
                <a:gd name="connsiteY18" fmla="*/ 86678 h 2314575"/>
                <a:gd name="connsiteX19" fmla="*/ 1106805 w 1638300"/>
                <a:gd name="connsiteY19" fmla="*/ 88583 h 2314575"/>
                <a:gd name="connsiteX20" fmla="*/ 1113473 w 1638300"/>
                <a:gd name="connsiteY20" fmla="*/ 92393 h 2314575"/>
                <a:gd name="connsiteX21" fmla="*/ 1116330 w 1638300"/>
                <a:gd name="connsiteY21" fmla="*/ 95250 h 2314575"/>
                <a:gd name="connsiteX22" fmla="*/ 1116330 w 1638300"/>
                <a:gd name="connsiteY22" fmla="*/ 99060 h 2314575"/>
                <a:gd name="connsiteX23" fmla="*/ 1115378 w 1638300"/>
                <a:gd name="connsiteY23" fmla="*/ 102870 h 2314575"/>
                <a:gd name="connsiteX24" fmla="*/ 1113473 w 1638300"/>
                <a:gd name="connsiteY24" fmla="*/ 104775 h 2314575"/>
                <a:gd name="connsiteX25" fmla="*/ 1110615 w 1638300"/>
                <a:gd name="connsiteY25" fmla="*/ 105728 h 2314575"/>
                <a:gd name="connsiteX26" fmla="*/ 1104900 w 1638300"/>
                <a:gd name="connsiteY26" fmla="*/ 103823 h 2314575"/>
                <a:gd name="connsiteX27" fmla="*/ 1102043 w 1638300"/>
                <a:gd name="connsiteY27" fmla="*/ 103823 h 2314575"/>
                <a:gd name="connsiteX28" fmla="*/ 1099185 w 1638300"/>
                <a:gd name="connsiteY28" fmla="*/ 103823 h 2314575"/>
                <a:gd name="connsiteX29" fmla="*/ 1097280 w 1638300"/>
                <a:gd name="connsiteY29" fmla="*/ 105728 h 2314575"/>
                <a:gd name="connsiteX30" fmla="*/ 1094423 w 1638300"/>
                <a:gd name="connsiteY30" fmla="*/ 109538 h 2314575"/>
                <a:gd name="connsiteX31" fmla="*/ 1092518 w 1638300"/>
                <a:gd name="connsiteY31" fmla="*/ 110490 h 2314575"/>
                <a:gd name="connsiteX32" fmla="*/ 1083945 w 1638300"/>
                <a:gd name="connsiteY32" fmla="*/ 109538 h 2314575"/>
                <a:gd name="connsiteX33" fmla="*/ 1065848 w 1638300"/>
                <a:gd name="connsiteY33" fmla="*/ 117158 h 2314575"/>
                <a:gd name="connsiteX34" fmla="*/ 1060133 w 1638300"/>
                <a:gd name="connsiteY34" fmla="*/ 122873 h 2314575"/>
                <a:gd name="connsiteX35" fmla="*/ 1059180 w 1638300"/>
                <a:gd name="connsiteY35" fmla="*/ 124778 h 2314575"/>
                <a:gd name="connsiteX36" fmla="*/ 1060133 w 1638300"/>
                <a:gd name="connsiteY36" fmla="*/ 126683 h 2314575"/>
                <a:gd name="connsiteX37" fmla="*/ 1066800 w 1638300"/>
                <a:gd name="connsiteY37" fmla="*/ 131445 h 2314575"/>
                <a:gd name="connsiteX38" fmla="*/ 1067753 w 1638300"/>
                <a:gd name="connsiteY38" fmla="*/ 134303 h 2314575"/>
                <a:gd name="connsiteX39" fmla="*/ 1068705 w 1638300"/>
                <a:gd name="connsiteY39" fmla="*/ 138113 h 2314575"/>
                <a:gd name="connsiteX40" fmla="*/ 1067753 w 1638300"/>
                <a:gd name="connsiteY40" fmla="*/ 148590 h 2314575"/>
                <a:gd name="connsiteX41" fmla="*/ 1068705 w 1638300"/>
                <a:gd name="connsiteY41" fmla="*/ 151448 h 2314575"/>
                <a:gd name="connsiteX42" fmla="*/ 1067753 w 1638300"/>
                <a:gd name="connsiteY42" fmla="*/ 157163 h 2314575"/>
                <a:gd name="connsiteX43" fmla="*/ 1063943 w 1638300"/>
                <a:gd name="connsiteY43" fmla="*/ 163830 h 2314575"/>
                <a:gd name="connsiteX44" fmla="*/ 1062990 w 1638300"/>
                <a:gd name="connsiteY44" fmla="*/ 169545 h 2314575"/>
                <a:gd name="connsiteX45" fmla="*/ 1062990 w 1638300"/>
                <a:gd name="connsiteY45" fmla="*/ 177165 h 2314575"/>
                <a:gd name="connsiteX46" fmla="*/ 1064895 w 1638300"/>
                <a:gd name="connsiteY46" fmla="*/ 181928 h 2314575"/>
                <a:gd name="connsiteX47" fmla="*/ 1068705 w 1638300"/>
                <a:gd name="connsiteY47" fmla="*/ 183833 h 2314575"/>
                <a:gd name="connsiteX48" fmla="*/ 1082040 w 1638300"/>
                <a:gd name="connsiteY48" fmla="*/ 187643 h 2314575"/>
                <a:gd name="connsiteX49" fmla="*/ 1083945 w 1638300"/>
                <a:gd name="connsiteY49" fmla="*/ 188595 h 2314575"/>
                <a:gd name="connsiteX50" fmla="*/ 1087755 w 1638300"/>
                <a:gd name="connsiteY50" fmla="*/ 193358 h 2314575"/>
                <a:gd name="connsiteX51" fmla="*/ 1093470 w 1638300"/>
                <a:gd name="connsiteY51" fmla="*/ 200978 h 2314575"/>
                <a:gd name="connsiteX52" fmla="*/ 1102995 w 1638300"/>
                <a:gd name="connsiteY52" fmla="*/ 213360 h 2314575"/>
                <a:gd name="connsiteX53" fmla="*/ 1104900 w 1638300"/>
                <a:gd name="connsiteY53" fmla="*/ 216218 h 2314575"/>
                <a:gd name="connsiteX54" fmla="*/ 1105853 w 1638300"/>
                <a:gd name="connsiteY54" fmla="*/ 219075 h 2314575"/>
                <a:gd name="connsiteX55" fmla="*/ 1119188 w 1638300"/>
                <a:gd name="connsiteY55" fmla="*/ 303848 h 2314575"/>
                <a:gd name="connsiteX56" fmla="*/ 1120140 w 1638300"/>
                <a:gd name="connsiteY56" fmla="*/ 310515 h 2314575"/>
                <a:gd name="connsiteX57" fmla="*/ 1123950 w 1638300"/>
                <a:gd name="connsiteY57" fmla="*/ 317183 h 2314575"/>
                <a:gd name="connsiteX58" fmla="*/ 1132523 w 1638300"/>
                <a:gd name="connsiteY58" fmla="*/ 324803 h 2314575"/>
                <a:gd name="connsiteX59" fmla="*/ 1138238 w 1638300"/>
                <a:gd name="connsiteY59" fmla="*/ 328613 h 2314575"/>
                <a:gd name="connsiteX60" fmla="*/ 1151573 w 1638300"/>
                <a:gd name="connsiteY60" fmla="*/ 334328 h 2314575"/>
                <a:gd name="connsiteX61" fmla="*/ 1154430 w 1638300"/>
                <a:gd name="connsiteY61" fmla="*/ 336233 h 2314575"/>
                <a:gd name="connsiteX62" fmla="*/ 1157288 w 1638300"/>
                <a:gd name="connsiteY62" fmla="*/ 340043 h 2314575"/>
                <a:gd name="connsiteX63" fmla="*/ 1160145 w 1638300"/>
                <a:gd name="connsiteY63" fmla="*/ 351473 h 2314575"/>
                <a:gd name="connsiteX64" fmla="*/ 1160145 w 1638300"/>
                <a:gd name="connsiteY64" fmla="*/ 355283 h 2314575"/>
                <a:gd name="connsiteX65" fmla="*/ 1158240 w 1638300"/>
                <a:gd name="connsiteY65" fmla="*/ 359093 h 2314575"/>
                <a:gd name="connsiteX66" fmla="*/ 1156335 w 1638300"/>
                <a:gd name="connsiteY66" fmla="*/ 360998 h 2314575"/>
                <a:gd name="connsiteX67" fmla="*/ 1151573 w 1638300"/>
                <a:gd name="connsiteY67" fmla="*/ 366713 h 2314575"/>
                <a:gd name="connsiteX68" fmla="*/ 1149668 w 1638300"/>
                <a:gd name="connsiteY68" fmla="*/ 368618 h 2314575"/>
                <a:gd name="connsiteX69" fmla="*/ 1148715 w 1638300"/>
                <a:gd name="connsiteY69" fmla="*/ 371475 h 2314575"/>
                <a:gd name="connsiteX70" fmla="*/ 1148715 w 1638300"/>
                <a:gd name="connsiteY70" fmla="*/ 375285 h 2314575"/>
                <a:gd name="connsiteX71" fmla="*/ 1150620 w 1638300"/>
                <a:gd name="connsiteY71" fmla="*/ 378143 h 2314575"/>
                <a:gd name="connsiteX72" fmla="*/ 1157288 w 1638300"/>
                <a:gd name="connsiteY72" fmla="*/ 385763 h 2314575"/>
                <a:gd name="connsiteX73" fmla="*/ 1163955 w 1638300"/>
                <a:gd name="connsiteY73" fmla="*/ 390525 h 2314575"/>
                <a:gd name="connsiteX74" fmla="*/ 1167765 w 1638300"/>
                <a:gd name="connsiteY74" fmla="*/ 396240 h 2314575"/>
                <a:gd name="connsiteX75" fmla="*/ 1167765 w 1638300"/>
                <a:gd name="connsiteY75" fmla="*/ 401955 h 2314575"/>
                <a:gd name="connsiteX76" fmla="*/ 1166813 w 1638300"/>
                <a:gd name="connsiteY76" fmla="*/ 405765 h 2314575"/>
                <a:gd name="connsiteX77" fmla="*/ 1165860 w 1638300"/>
                <a:gd name="connsiteY77" fmla="*/ 408623 h 2314575"/>
                <a:gd name="connsiteX78" fmla="*/ 1162050 w 1638300"/>
                <a:gd name="connsiteY78" fmla="*/ 416243 h 2314575"/>
                <a:gd name="connsiteX79" fmla="*/ 1161098 w 1638300"/>
                <a:gd name="connsiteY79" fmla="*/ 421958 h 2314575"/>
                <a:gd name="connsiteX80" fmla="*/ 1162050 w 1638300"/>
                <a:gd name="connsiteY80" fmla="*/ 428625 h 2314575"/>
                <a:gd name="connsiteX81" fmla="*/ 1165860 w 1638300"/>
                <a:gd name="connsiteY81" fmla="*/ 438150 h 2314575"/>
                <a:gd name="connsiteX82" fmla="*/ 1167765 w 1638300"/>
                <a:gd name="connsiteY82" fmla="*/ 445770 h 2314575"/>
                <a:gd name="connsiteX83" fmla="*/ 1170623 w 1638300"/>
                <a:gd name="connsiteY83" fmla="*/ 452438 h 2314575"/>
                <a:gd name="connsiteX84" fmla="*/ 1176338 w 1638300"/>
                <a:gd name="connsiteY84" fmla="*/ 456248 h 2314575"/>
                <a:gd name="connsiteX85" fmla="*/ 1188720 w 1638300"/>
                <a:gd name="connsiteY85" fmla="*/ 462915 h 2314575"/>
                <a:gd name="connsiteX86" fmla="*/ 1190625 w 1638300"/>
                <a:gd name="connsiteY86" fmla="*/ 464820 h 2314575"/>
                <a:gd name="connsiteX87" fmla="*/ 1197293 w 1638300"/>
                <a:gd name="connsiteY87" fmla="*/ 472440 h 2314575"/>
                <a:gd name="connsiteX88" fmla="*/ 1200150 w 1638300"/>
                <a:gd name="connsiteY88" fmla="*/ 473393 h 2314575"/>
                <a:gd name="connsiteX89" fmla="*/ 1223963 w 1638300"/>
                <a:gd name="connsiteY89" fmla="*/ 468630 h 2314575"/>
                <a:gd name="connsiteX90" fmla="*/ 1226820 w 1638300"/>
                <a:gd name="connsiteY90" fmla="*/ 468630 h 2314575"/>
                <a:gd name="connsiteX91" fmla="*/ 1229678 w 1638300"/>
                <a:gd name="connsiteY91" fmla="*/ 469583 h 2314575"/>
                <a:gd name="connsiteX92" fmla="*/ 1233488 w 1638300"/>
                <a:gd name="connsiteY92" fmla="*/ 474345 h 2314575"/>
                <a:gd name="connsiteX93" fmla="*/ 1236345 w 1638300"/>
                <a:gd name="connsiteY93" fmla="*/ 476250 h 2314575"/>
                <a:gd name="connsiteX94" fmla="*/ 1239203 w 1638300"/>
                <a:gd name="connsiteY94" fmla="*/ 476250 h 2314575"/>
                <a:gd name="connsiteX95" fmla="*/ 1241108 w 1638300"/>
                <a:gd name="connsiteY95" fmla="*/ 476250 h 2314575"/>
                <a:gd name="connsiteX96" fmla="*/ 1245870 w 1638300"/>
                <a:gd name="connsiteY96" fmla="*/ 473393 h 2314575"/>
                <a:gd name="connsiteX97" fmla="*/ 1254443 w 1638300"/>
                <a:gd name="connsiteY97" fmla="*/ 467678 h 2314575"/>
                <a:gd name="connsiteX98" fmla="*/ 1259205 w 1638300"/>
                <a:gd name="connsiteY98" fmla="*/ 461963 h 2314575"/>
                <a:gd name="connsiteX99" fmla="*/ 1262063 w 1638300"/>
                <a:gd name="connsiteY99" fmla="*/ 461010 h 2314575"/>
                <a:gd name="connsiteX100" fmla="*/ 1264920 w 1638300"/>
                <a:gd name="connsiteY100" fmla="*/ 461010 h 2314575"/>
                <a:gd name="connsiteX101" fmla="*/ 1267778 w 1638300"/>
                <a:gd name="connsiteY101" fmla="*/ 461963 h 2314575"/>
                <a:gd name="connsiteX102" fmla="*/ 1274445 w 1638300"/>
                <a:gd name="connsiteY102" fmla="*/ 467678 h 2314575"/>
                <a:gd name="connsiteX103" fmla="*/ 1278255 w 1638300"/>
                <a:gd name="connsiteY103" fmla="*/ 469583 h 2314575"/>
                <a:gd name="connsiteX104" fmla="*/ 1281113 w 1638300"/>
                <a:gd name="connsiteY104" fmla="*/ 469583 h 2314575"/>
                <a:gd name="connsiteX105" fmla="*/ 1300163 w 1638300"/>
                <a:gd name="connsiteY105" fmla="*/ 470535 h 2314575"/>
                <a:gd name="connsiteX106" fmla="*/ 1303020 w 1638300"/>
                <a:gd name="connsiteY106" fmla="*/ 472440 h 2314575"/>
                <a:gd name="connsiteX107" fmla="*/ 1304925 w 1638300"/>
                <a:gd name="connsiteY107" fmla="*/ 475298 h 2314575"/>
                <a:gd name="connsiteX108" fmla="*/ 1307783 w 1638300"/>
                <a:gd name="connsiteY108" fmla="*/ 489585 h 2314575"/>
                <a:gd name="connsiteX109" fmla="*/ 1310640 w 1638300"/>
                <a:gd name="connsiteY109" fmla="*/ 495300 h 2314575"/>
                <a:gd name="connsiteX110" fmla="*/ 1312545 w 1638300"/>
                <a:gd name="connsiteY110" fmla="*/ 498158 h 2314575"/>
                <a:gd name="connsiteX111" fmla="*/ 1315403 w 1638300"/>
                <a:gd name="connsiteY111" fmla="*/ 500063 h 2314575"/>
                <a:gd name="connsiteX112" fmla="*/ 1318260 w 1638300"/>
                <a:gd name="connsiteY112" fmla="*/ 500063 h 2314575"/>
                <a:gd name="connsiteX113" fmla="*/ 1321118 w 1638300"/>
                <a:gd name="connsiteY113" fmla="*/ 496253 h 2314575"/>
                <a:gd name="connsiteX114" fmla="*/ 1323975 w 1638300"/>
                <a:gd name="connsiteY114" fmla="*/ 490538 h 2314575"/>
                <a:gd name="connsiteX115" fmla="*/ 1326833 w 1638300"/>
                <a:gd name="connsiteY115" fmla="*/ 478155 h 2314575"/>
                <a:gd name="connsiteX116" fmla="*/ 1326833 w 1638300"/>
                <a:gd name="connsiteY116" fmla="*/ 474345 h 2314575"/>
                <a:gd name="connsiteX117" fmla="*/ 1328738 w 1638300"/>
                <a:gd name="connsiteY117" fmla="*/ 472440 h 2314575"/>
                <a:gd name="connsiteX118" fmla="*/ 1330643 w 1638300"/>
                <a:gd name="connsiteY118" fmla="*/ 470535 h 2314575"/>
                <a:gd name="connsiteX119" fmla="*/ 1360170 w 1638300"/>
                <a:gd name="connsiteY119" fmla="*/ 463868 h 2314575"/>
                <a:gd name="connsiteX120" fmla="*/ 1363028 w 1638300"/>
                <a:gd name="connsiteY120" fmla="*/ 466725 h 2314575"/>
                <a:gd name="connsiteX121" fmla="*/ 1364933 w 1638300"/>
                <a:gd name="connsiteY121" fmla="*/ 471488 h 2314575"/>
                <a:gd name="connsiteX122" fmla="*/ 1365885 w 1638300"/>
                <a:gd name="connsiteY122" fmla="*/ 485775 h 2314575"/>
                <a:gd name="connsiteX123" fmla="*/ 1365885 w 1638300"/>
                <a:gd name="connsiteY123" fmla="*/ 491490 h 2314575"/>
                <a:gd name="connsiteX124" fmla="*/ 1363980 w 1638300"/>
                <a:gd name="connsiteY124" fmla="*/ 496253 h 2314575"/>
                <a:gd name="connsiteX125" fmla="*/ 1363028 w 1638300"/>
                <a:gd name="connsiteY125" fmla="*/ 498158 h 2314575"/>
                <a:gd name="connsiteX126" fmla="*/ 1363028 w 1638300"/>
                <a:gd name="connsiteY126" fmla="*/ 501015 h 2314575"/>
                <a:gd name="connsiteX127" fmla="*/ 1365885 w 1638300"/>
                <a:gd name="connsiteY127" fmla="*/ 501968 h 2314575"/>
                <a:gd name="connsiteX128" fmla="*/ 1383983 w 1638300"/>
                <a:gd name="connsiteY128" fmla="*/ 502920 h 2314575"/>
                <a:gd name="connsiteX129" fmla="*/ 1387793 w 1638300"/>
                <a:gd name="connsiteY129" fmla="*/ 505778 h 2314575"/>
                <a:gd name="connsiteX130" fmla="*/ 1390650 w 1638300"/>
                <a:gd name="connsiteY130" fmla="*/ 510540 h 2314575"/>
                <a:gd name="connsiteX131" fmla="*/ 1396365 w 1638300"/>
                <a:gd name="connsiteY131" fmla="*/ 521018 h 2314575"/>
                <a:gd name="connsiteX132" fmla="*/ 1403985 w 1638300"/>
                <a:gd name="connsiteY132" fmla="*/ 529590 h 2314575"/>
                <a:gd name="connsiteX133" fmla="*/ 1406843 w 1638300"/>
                <a:gd name="connsiteY133" fmla="*/ 534353 h 2314575"/>
                <a:gd name="connsiteX134" fmla="*/ 1408748 w 1638300"/>
                <a:gd name="connsiteY134" fmla="*/ 550545 h 2314575"/>
                <a:gd name="connsiteX135" fmla="*/ 1408748 w 1638300"/>
                <a:gd name="connsiteY135" fmla="*/ 558165 h 2314575"/>
                <a:gd name="connsiteX136" fmla="*/ 1406843 w 1638300"/>
                <a:gd name="connsiteY136" fmla="*/ 563880 h 2314575"/>
                <a:gd name="connsiteX137" fmla="*/ 1404938 w 1638300"/>
                <a:gd name="connsiteY137" fmla="*/ 565785 h 2314575"/>
                <a:gd name="connsiteX138" fmla="*/ 1401128 w 1638300"/>
                <a:gd name="connsiteY138" fmla="*/ 568643 h 2314575"/>
                <a:gd name="connsiteX139" fmla="*/ 1400175 w 1638300"/>
                <a:gd name="connsiteY139" fmla="*/ 573405 h 2314575"/>
                <a:gd name="connsiteX140" fmla="*/ 1401128 w 1638300"/>
                <a:gd name="connsiteY140" fmla="*/ 579120 h 2314575"/>
                <a:gd name="connsiteX141" fmla="*/ 1400175 w 1638300"/>
                <a:gd name="connsiteY141" fmla="*/ 586740 h 2314575"/>
                <a:gd name="connsiteX142" fmla="*/ 1398270 w 1638300"/>
                <a:gd name="connsiteY142" fmla="*/ 594360 h 2314575"/>
                <a:gd name="connsiteX143" fmla="*/ 1395413 w 1638300"/>
                <a:gd name="connsiteY143" fmla="*/ 606743 h 2314575"/>
                <a:gd name="connsiteX144" fmla="*/ 1388745 w 1638300"/>
                <a:gd name="connsiteY144" fmla="*/ 623888 h 2314575"/>
                <a:gd name="connsiteX145" fmla="*/ 1391603 w 1638300"/>
                <a:gd name="connsiteY145" fmla="*/ 636270 h 2314575"/>
                <a:gd name="connsiteX146" fmla="*/ 1416368 w 1638300"/>
                <a:gd name="connsiteY146" fmla="*/ 711518 h 2314575"/>
                <a:gd name="connsiteX147" fmla="*/ 1424940 w 1638300"/>
                <a:gd name="connsiteY147" fmla="*/ 731520 h 2314575"/>
                <a:gd name="connsiteX148" fmla="*/ 1431608 w 1638300"/>
                <a:gd name="connsiteY148" fmla="*/ 741998 h 2314575"/>
                <a:gd name="connsiteX149" fmla="*/ 1461135 w 1638300"/>
                <a:gd name="connsiteY149" fmla="*/ 747713 h 2314575"/>
                <a:gd name="connsiteX150" fmla="*/ 1482090 w 1638300"/>
                <a:gd name="connsiteY150" fmla="*/ 748665 h 2314575"/>
                <a:gd name="connsiteX151" fmla="*/ 1483995 w 1638300"/>
                <a:gd name="connsiteY151" fmla="*/ 748665 h 2314575"/>
                <a:gd name="connsiteX152" fmla="*/ 1485900 w 1638300"/>
                <a:gd name="connsiteY152" fmla="*/ 750570 h 2314575"/>
                <a:gd name="connsiteX153" fmla="*/ 1491615 w 1638300"/>
                <a:gd name="connsiteY153" fmla="*/ 761048 h 2314575"/>
                <a:gd name="connsiteX154" fmla="*/ 1494473 w 1638300"/>
                <a:gd name="connsiteY154" fmla="*/ 762000 h 2314575"/>
                <a:gd name="connsiteX155" fmla="*/ 1497330 w 1638300"/>
                <a:gd name="connsiteY155" fmla="*/ 762000 h 2314575"/>
                <a:gd name="connsiteX156" fmla="*/ 1513523 w 1638300"/>
                <a:gd name="connsiteY156" fmla="*/ 755333 h 2314575"/>
                <a:gd name="connsiteX157" fmla="*/ 1555433 w 1638300"/>
                <a:gd name="connsiteY157" fmla="*/ 745808 h 2314575"/>
                <a:gd name="connsiteX158" fmla="*/ 1557338 w 1638300"/>
                <a:gd name="connsiteY158" fmla="*/ 746760 h 2314575"/>
                <a:gd name="connsiteX159" fmla="*/ 1561148 w 1638300"/>
                <a:gd name="connsiteY159" fmla="*/ 750570 h 2314575"/>
                <a:gd name="connsiteX160" fmla="*/ 1564958 w 1638300"/>
                <a:gd name="connsiteY160" fmla="*/ 759143 h 2314575"/>
                <a:gd name="connsiteX161" fmla="*/ 1565910 w 1638300"/>
                <a:gd name="connsiteY161" fmla="*/ 763905 h 2314575"/>
                <a:gd name="connsiteX162" fmla="*/ 1566863 w 1638300"/>
                <a:gd name="connsiteY162" fmla="*/ 770573 h 2314575"/>
                <a:gd name="connsiteX163" fmla="*/ 1564958 w 1638300"/>
                <a:gd name="connsiteY163" fmla="*/ 776288 h 2314575"/>
                <a:gd name="connsiteX164" fmla="*/ 1564005 w 1638300"/>
                <a:gd name="connsiteY164" fmla="*/ 779145 h 2314575"/>
                <a:gd name="connsiteX165" fmla="*/ 1556385 w 1638300"/>
                <a:gd name="connsiteY165" fmla="*/ 786765 h 2314575"/>
                <a:gd name="connsiteX166" fmla="*/ 1554480 w 1638300"/>
                <a:gd name="connsiteY166" fmla="*/ 788670 h 2314575"/>
                <a:gd name="connsiteX167" fmla="*/ 1549718 w 1638300"/>
                <a:gd name="connsiteY167" fmla="*/ 790575 h 2314575"/>
                <a:gd name="connsiteX168" fmla="*/ 1544955 w 1638300"/>
                <a:gd name="connsiteY168" fmla="*/ 792480 h 2314575"/>
                <a:gd name="connsiteX169" fmla="*/ 1540193 w 1638300"/>
                <a:gd name="connsiteY169" fmla="*/ 794385 h 2314575"/>
                <a:gd name="connsiteX170" fmla="*/ 1538288 w 1638300"/>
                <a:gd name="connsiteY170" fmla="*/ 796290 h 2314575"/>
                <a:gd name="connsiteX171" fmla="*/ 1537335 w 1638300"/>
                <a:gd name="connsiteY171" fmla="*/ 802958 h 2314575"/>
                <a:gd name="connsiteX172" fmla="*/ 1537335 w 1638300"/>
                <a:gd name="connsiteY172" fmla="*/ 809625 h 2314575"/>
                <a:gd name="connsiteX173" fmla="*/ 1538288 w 1638300"/>
                <a:gd name="connsiteY173" fmla="*/ 815340 h 2314575"/>
                <a:gd name="connsiteX174" fmla="*/ 1540193 w 1638300"/>
                <a:gd name="connsiteY174" fmla="*/ 818198 h 2314575"/>
                <a:gd name="connsiteX175" fmla="*/ 1542098 w 1638300"/>
                <a:gd name="connsiteY175" fmla="*/ 821055 h 2314575"/>
                <a:gd name="connsiteX176" fmla="*/ 1544955 w 1638300"/>
                <a:gd name="connsiteY176" fmla="*/ 822008 h 2314575"/>
                <a:gd name="connsiteX177" fmla="*/ 1557338 w 1638300"/>
                <a:gd name="connsiteY177" fmla="*/ 824865 h 2314575"/>
                <a:gd name="connsiteX178" fmla="*/ 1562100 w 1638300"/>
                <a:gd name="connsiteY178" fmla="*/ 827723 h 2314575"/>
                <a:gd name="connsiteX179" fmla="*/ 1567815 w 1638300"/>
                <a:gd name="connsiteY179" fmla="*/ 832485 h 2314575"/>
                <a:gd name="connsiteX180" fmla="*/ 1572578 w 1638300"/>
                <a:gd name="connsiteY180" fmla="*/ 834390 h 2314575"/>
                <a:gd name="connsiteX181" fmla="*/ 1577340 w 1638300"/>
                <a:gd name="connsiteY181" fmla="*/ 833438 h 2314575"/>
                <a:gd name="connsiteX182" fmla="*/ 1584008 w 1638300"/>
                <a:gd name="connsiteY182" fmla="*/ 830580 h 2314575"/>
                <a:gd name="connsiteX183" fmla="*/ 1588770 w 1638300"/>
                <a:gd name="connsiteY183" fmla="*/ 828675 h 2314575"/>
                <a:gd name="connsiteX184" fmla="*/ 1594485 w 1638300"/>
                <a:gd name="connsiteY184" fmla="*/ 828675 h 2314575"/>
                <a:gd name="connsiteX185" fmla="*/ 1596390 w 1638300"/>
                <a:gd name="connsiteY185" fmla="*/ 830580 h 2314575"/>
                <a:gd name="connsiteX186" fmla="*/ 1598295 w 1638300"/>
                <a:gd name="connsiteY186" fmla="*/ 834390 h 2314575"/>
                <a:gd name="connsiteX187" fmla="*/ 1601153 w 1638300"/>
                <a:gd name="connsiteY187" fmla="*/ 842010 h 2314575"/>
                <a:gd name="connsiteX188" fmla="*/ 1604963 w 1638300"/>
                <a:gd name="connsiteY188" fmla="*/ 847725 h 2314575"/>
                <a:gd name="connsiteX189" fmla="*/ 1610678 w 1638300"/>
                <a:gd name="connsiteY189" fmla="*/ 853440 h 2314575"/>
                <a:gd name="connsiteX190" fmla="*/ 1611630 w 1638300"/>
                <a:gd name="connsiteY190" fmla="*/ 855345 h 2314575"/>
                <a:gd name="connsiteX191" fmla="*/ 1615440 w 1638300"/>
                <a:gd name="connsiteY191" fmla="*/ 862013 h 2314575"/>
                <a:gd name="connsiteX192" fmla="*/ 1616393 w 1638300"/>
                <a:gd name="connsiteY192" fmla="*/ 867728 h 2314575"/>
                <a:gd name="connsiteX193" fmla="*/ 1618298 w 1638300"/>
                <a:gd name="connsiteY193" fmla="*/ 871538 h 2314575"/>
                <a:gd name="connsiteX194" fmla="*/ 1620203 w 1638300"/>
                <a:gd name="connsiteY194" fmla="*/ 873443 h 2314575"/>
                <a:gd name="connsiteX195" fmla="*/ 1623060 w 1638300"/>
                <a:gd name="connsiteY195" fmla="*/ 874395 h 2314575"/>
                <a:gd name="connsiteX196" fmla="*/ 1632585 w 1638300"/>
                <a:gd name="connsiteY196" fmla="*/ 875348 h 2314575"/>
                <a:gd name="connsiteX197" fmla="*/ 1634490 w 1638300"/>
                <a:gd name="connsiteY197" fmla="*/ 876300 h 2314575"/>
                <a:gd name="connsiteX198" fmla="*/ 1636395 w 1638300"/>
                <a:gd name="connsiteY198" fmla="*/ 878205 h 2314575"/>
                <a:gd name="connsiteX199" fmla="*/ 1637348 w 1638300"/>
                <a:gd name="connsiteY199" fmla="*/ 881063 h 2314575"/>
                <a:gd name="connsiteX200" fmla="*/ 1638300 w 1638300"/>
                <a:gd name="connsiteY200" fmla="*/ 886778 h 2314575"/>
                <a:gd name="connsiteX201" fmla="*/ 1632585 w 1638300"/>
                <a:gd name="connsiteY201" fmla="*/ 900113 h 2314575"/>
                <a:gd name="connsiteX202" fmla="*/ 1632585 w 1638300"/>
                <a:gd name="connsiteY202" fmla="*/ 907733 h 2314575"/>
                <a:gd name="connsiteX203" fmla="*/ 1632585 w 1638300"/>
                <a:gd name="connsiteY203" fmla="*/ 913448 h 2314575"/>
                <a:gd name="connsiteX204" fmla="*/ 1631633 w 1638300"/>
                <a:gd name="connsiteY204" fmla="*/ 918210 h 2314575"/>
                <a:gd name="connsiteX205" fmla="*/ 1628775 w 1638300"/>
                <a:gd name="connsiteY205" fmla="*/ 922973 h 2314575"/>
                <a:gd name="connsiteX206" fmla="*/ 1625918 w 1638300"/>
                <a:gd name="connsiteY206" fmla="*/ 925830 h 2314575"/>
                <a:gd name="connsiteX207" fmla="*/ 1623060 w 1638300"/>
                <a:gd name="connsiteY207" fmla="*/ 929640 h 2314575"/>
                <a:gd name="connsiteX208" fmla="*/ 1620203 w 1638300"/>
                <a:gd name="connsiteY208" fmla="*/ 934403 h 2314575"/>
                <a:gd name="connsiteX209" fmla="*/ 1617345 w 1638300"/>
                <a:gd name="connsiteY209" fmla="*/ 945833 h 2314575"/>
                <a:gd name="connsiteX210" fmla="*/ 1614488 w 1638300"/>
                <a:gd name="connsiteY210" fmla="*/ 955358 h 2314575"/>
                <a:gd name="connsiteX211" fmla="*/ 1611630 w 1638300"/>
                <a:gd name="connsiteY211" fmla="*/ 958215 h 2314575"/>
                <a:gd name="connsiteX212" fmla="*/ 1601153 w 1638300"/>
                <a:gd name="connsiteY212" fmla="*/ 963930 h 2314575"/>
                <a:gd name="connsiteX213" fmla="*/ 1599248 w 1638300"/>
                <a:gd name="connsiteY213" fmla="*/ 964883 h 2314575"/>
                <a:gd name="connsiteX214" fmla="*/ 1597343 w 1638300"/>
                <a:gd name="connsiteY214" fmla="*/ 967740 h 2314575"/>
                <a:gd name="connsiteX215" fmla="*/ 1594485 w 1638300"/>
                <a:gd name="connsiteY215" fmla="*/ 974408 h 2314575"/>
                <a:gd name="connsiteX216" fmla="*/ 1592580 w 1638300"/>
                <a:gd name="connsiteY216" fmla="*/ 976313 h 2314575"/>
                <a:gd name="connsiteX217" fmla="*/ 1589723 w 1638300"/>
                <a:gd name="connsiteY217" fmla="*/ 976313 h 2314575"/>
                <a:gd name="connsiteX218" fmla="*/ 1557338 w 1638300"/>
                <a:gd name="connsiteY218" fmla="*/ 979170 h 2314575"/>
                <a:gd name="connsiteX219" fmla="*/ 1549718 w 1638300"/>
                <a:gd name="connsiteY219" fmla="*/ 981075 h 2314575"/>
                <a:gd name="connsiteX220" fmla="*/ 1547813 w 1638300"/>
                <a:gd name="connsiteY220" fmla="*/ 980123 h 2314575"/>
                <a:gd name="connsiteX221" fmla="*/ 1544003 w 1638300"/>
                <a:gd name="connsiteY221" fmla="*/ 977265 h 2314575"/>
                <a:gd name="connsiteX222" fmla="*/ 1542098 w 1638300"/>
                <a:gd name="connsiteY222" fmla="*/ 976313 h 2314575"/>
                <a:gd name="connsiteX223" fmla="*/ 1536383 w 1638300"/>
                <a:gd name="connsiteY223" fmla="*/ 976313 h 2314575"/>
                <a:gd name="connsiteX224" fmla="*/ 1534478 w 1638300"/>
                <a:gd name="connsiteY224" fmla="*/ 977265 h 2314575"/>
                <a:gd name="connsiteX225" fmla="*/ 1532573 w 1638300"/>
                <a:gd name="connsiteY225" fmla="*/ 979170 h 2314575"/>
                <a:gd name="connsiteX226" fmla="*/ 1526858 w 1638300"/>
                <a:gd name="connsiteY226" fmla="*/ 988695 h 2314575"/>
                <a:gd name="connsiteX227" fmla="*/ 1523048 w 1638300"/>
                <a:gd name="connsiteY227" fmla="*/ 991553 h 2314575"/>
                <a:gd name="connsiteX228" fmla="*/ 1496378 w 1638300"/>
                <a:gd name="connsiteY228" fmla="*/ 993458 h 2314575"/>
                <a:gd name="connsiteX229" fmla="*/ 1494473 w 1638300"/>
                <a:gd name="connsiteY229" fmla="*/ 993458 h 2314575"/>
                <a:gd name="connsiteX230" fmla="*/ 1493520 w 1638300"/>
                <a:gd name="connsiteY230" fmla="*/ 997268 h 2314575"/>
                <a:gd name="connsiteX231" fmla="*/ 1493520 w 1638300"/>
                <a:gd name="connsiteY231" fmla="*/ 1004888 h 2314575"/>
                <a:gd name="connsiteX232" fmla="*/ 1498283 w 1638300"/>
                <a:gd name="connsiteY232" fmla="*/ 1021080 h 2314575"/>
                <a:gd name="connsiteX233" fmla="*/ 1503045 w 1638300"/>
                <a:gd name="connsiteY233" fmla="*/ 1030605 h 2314575"/>
                <a:gd name="connsiteX234" fmla="*/ 1505903 w 1638300"/>
                <a:gd name="connsiteY234" fmla="*/ 1036320 h 2314575"/>
                <a:gd name="connsiteX235" fmla="*/ 1528763 w 1638300"/>
                <a:gd name="connsiteY235" fmla="*/ 1051560 h 2314575"/>
                <a:gd name="connsiteX236" fmla="*/ 1531620 w 1638300"/>
                <a:gd name="connsiteY236" fmla="*/ 1055370 h 2314575"/>
                <a:gd name="connsiteX237" fmla="*/ 1535430 w 1638300"/>
                <a:gd name="connsiteY237" fmla="*/ 1062038 h 2314575"/>
                <a:gd name="connsiteX238" fmla="*/ 1541145 w 1638300"/>
                <a:gd name="connsiteY238" fmla="*/ 1075373 h 2314575"/>
                <a:gd name="connsiteX239" fmla="*/ 1544955 w 1638300"/>
                <a:gd name="connsiteY239" fmla="*/ 1080135 h 2314575"/>
                <a:gd name="connsiteX240" fmla="*/ 1552575 w 1638300"/>
                <a:gd name="connsiteY240" fmla="*/ 1083945 h 2314575"/>
                <a:gd name="connsiteX241" fmla="*/ 1562100 w 1638300"/>
                <a:gd name="connsiteY241" fmla="*/ 1091565 h 2314575"/>
                <a:gd name="connsiteX242" fmla="*/ 1563053 w 1638300"/>
                <a:gd name="connsiteY242" fmla="*/ 1099185 h 2314575"/>
                <a:gd name="connsiteX243" fmla="*/ 1566863 w 1638300"/>
                <a:gd name="connsiteY243" fmla="*/ 1160145 h 2314575"/>
                <a:gd name="connsiteX244" fmla="*/ 1569720 w 1638300"/>
                <a:gd name="connsiteY244" fmla="*/ 1167765 h 2314575"/>
                <a:gd name="connsiteX245" fmla="*/ 1569720 w 1638300"/>
                <a:gd name="connsiteY245" fmla="*/ 1172528 h 2314575"/>
                <a:gd name="connsiteX246" fmla="*/ 1570673 w 1638300"/>
                <a:gd name="connsiteY246" fmla="*/ 1177290 h 2314575"/>
                <a:gd name="connsiteX247" fmla="*/ 1568768 w 1638300"/>
                <a:gd name="connsiteY247" fmla="*/ 1182053 h 2314575"/>
                <a:gd name="connsiteX248" fmla="*/ 1567815 w 1638300"/>
                <a:gd name="connsiteY248" fmla="*/ 1185863 h 2314575"/>
                <a:gd name="connsiteX249" fmla="*/ 1567815 w 1638300"/>
                <a:gd name="connsiteY249" fmla="*/ 1200150 h 2314575"/>
                <a:gd name="connsiteX250" fmla="*/ 1575435 w 1638300"/>
                <a:gd name="connsiteY250" fmla="*/ 1243013 h 2314575"/>
                <a:gd name="connsiteX251" fmla="*/ 1560195 w 1638300"/>
                <a:gd name="connsiteY251" fmla="*/ 1243013 h 2314575"/>
                <a:gd name="connsiteX252" fmla="*/ 1533525 w 1638300"/>
                <a:gd name="connsiteY252" fmla="*/ 1251585 h 2314575"/>
                <a:gd name="connsiteX253" fmla="*/ 1504950 w 1638300"/>
                <a:gd name="connsiteY253" fmla="*/ 1255395 h 2314575"/>
                <a:gd name="connsiteX254" fmla="*/ 1483043 w 1638300"/>
                <a:gd name="connsiteY254" fmla="*/ 1263015 h 2314575"/>
                <a:gd name="connsiteX255" fmla="*/ 1471613 w 1638300"/>
                <a:gd name="connsiteY255" fmla="*/ 1263968 h 2314575"/>
                <a:gd name="connsiteX256" fmla="*/ 1466850 w 1638300"/>
                <a:gd name="connsiteY256" fmla="*/ 1267778 h 2314575"/>
                <a:gd name="connsiteX257" fmla="*/ 1454468 w 1638300"/>
                <a:gd name="connsiteY257" fmla="*/ 1278255 h 2314575"/>
                <a:gd name="connsiteX258" fmla="*/ 1450658 w 1638300"/>
                <a:gd name="connsiteY258" fmla="*/ 1277303 h 2314575"/>
                <a:gd name="connsiteX259" fmla="*/ 1443990 w 1638300"/>
                <a:gd name="connsiteY259" fmla="*/ 1274445 h 2314575"/>
                <a:gd name="connsiteX260" fmla="*/ 1437323 w 1638300"/>
                <a:gd name="connsiteY260" fmla="*/ 1277303 h 2314575"/>
                <a:gd name="connsiteX261" fmla="*/ 1405890 w 1638300"/>
                <a:gd name="connsiteY261" fmla="*/ 1299210 h 2314575"/>
                <a:gd name="connsiteX262" fmla="*/ 1400175 w 1638300"/>
                <a:gd name="connsiteY262" fmla="*/ 1301115 h 2314575"/>
                <a:gd name="connsiteX263" fmla="*/ 1377315 w 1638300"/>
                <a:gd name="connsiteY263" fmla="*/ 1296353 h 2314575"/>
                <a:gd name="connsiteX264" fmla="*/ 1372553 w 1638300"/>
                <a:gd name="connsiteY264" fmla="*/ 1295400 h 2314575"/>
                <a:gd name="connsiteX265" fmla="*/ 1365885 w 1638300"/>
                <a:gd name="connsiteY265" fmla="*/ 1301115 h 2314575"/>
                <a:gd name="connsiteX266" fmla="*/ 1350645 w 1638300"/>
                <a:gd name="connsiteY266" fmla="*/ 1323023 h 2314575"/>
                <a:gd name="connsiteX267" fmla="*/ 1346835 w 1638300"/>
                <a:gd name="connsiteY267" fmla="*/ 1329690 h 2314575"/>
                <a:gd name="connsiteX268" fmla="*/ 1348740 w 1638300"/>
                <a:gd name="connsiteY268" fmla="*/ 1340168 h 2314575"/>
                <a:gd name="connsiteX269" fmla="*/ 1358265 w 1638300"/>
                <a:gd name="connsiteY269" fmla="*/ 1359218 h 2314575"/>
                <a:gd name="connsiteX270" fmla="*/ 1361123 w 1638300"/>
                <a:gd name="connsiteY270" fmla="*/ 1374458 h 2314575"/>
                <a:gd name="connsiteX271" fmla="*/ 1363980 w 1638300"/>
                <a:gd name="connsiteY271" fmla="*/ 1374458 h 2314575"/>
                <a:gd name="connsiteX272" fmla="*/ 1367790 w 1638300"/>
                <a:gd name="connsiteY272" fmla="*/ 1378268 h 2314575"/>
                <a:gd name="connsiteX273" fmla="*/ 1369695 w 1638300"/>
                <a:gd name="connsiteY273" fmla="*/ 1383030 h 2314575"/>
                <a:gd name="connsiteX274" fmla="*/ 1365885 w 1638300"/>
                <a:gd name="connsiteY274" fmla="*/ 1386840 h 2314575"/>
                <a:gd name="connsiteX275" fmla="*/ 1362075 w 1638300"/>
                <a:gd name="connsiteY275" fmla="*/ 1395413 h 2314575"/>
                <a:gd name="connsiteX276" fmla="*/ 1357313 w 1638300"/>
                <a:gd name="connsiteY276" fmla="*/ 1418273 h 2314575"/>
                <a:gd name="connsiteX277" fmla="*/ 1356360 w 1638300"/>
                <a:gd name="connsiteY277" fmla="*/ 1421130 h 2314575"/>
                <a:gd name="connsiteX278" fmla="*/ 1334453 w 1638300"/>
                <a:gd name="connsiteY278" fmla="*/ 1450657 h 2314575"/>
                <a:gd name="connsiteX279" fmla="*/ 1325880 w 1638300"/>
                <a:gd name="connsiteY279" fmla="*/ 1458278 h 2314575"/>
                <a:gd name="connsiteX280" fmla="*/ 1297305 w 1638300"/>
                <a:gd name="connsiteY280" fmla="*/ 1456373 h 2314575"/>
                <a:gd name="connsiteX281" fmla="*/ 1292543 w 1638300"/>
                <a:gd name="connsiteY281" fmla="*/ 1461135 h 2314575"/>
                <a:gd name="connsiteX282" fmla="*/ 1295400 w 1638300"/>
                <a:gd name="connsiteY282" fmla="*/ 1464945 h 2314575"/>
                <a:gd name="connsiteX283" fmla="*/ 1307783 w 1638300"/>
                <a:gd name="connsiteY283" fmla="*/ 1473518 h 2314575"/>
                <a:gd name="connsiteX284" fmla="*/ 1311593 w 1638300"/>
                <a:gd name="connsiteY284" fmla="*/ 1480185 h 2314575"/>
                <a:gd name="connsiteX285" fmla="*/ 1311593 w 1638300"/>
                <a:gd name="connsiteY285" fmla="*/ 1487805 h 2314575"/>
                <a:gd name="connsiteX286" fmla="*/ 1308735 w 1638300"/>
                <a:gd name="connsiteY286" fmla="*/ 1495425 h 2314575"/>
                <a:gd name="connsiteX287" fmla="*/ 1293495 w 1638300"/>
                <a:gd name="connsiteY287" fmla="*/ 1525905 h 2314575"/>
                <a:gd name="connsiteX288" fmla="*/ 1256348 w 1638300"/>
                <a:gd name="connsiteY288" fmla="*/ 1578293 h 2314575"/>
                <a:gd name="connsiteX289" fmla="*/ 1245870 w 1638300"/>
                <a:gd name="connsiteY289" fmla="*/ 1600200 h 2314575"/>
                <a:gd name="connsiteX290" fmla="*/ 1238250 w 1638300"/>
                <a:gd name="connsiteY290" fmla="*/ 1610678 h 2314575"/>
                <a:gd name="connsiteX291" fmla="*/ 1229678 w 1638300"/>
                <a:gd name="connsiteY291" fmla="*/ 1615440 h 2314575"/>
                <a:gd name="connsiteX292" fmla="*/ 1224915 w 1638300"/>
                <a:gd name="connsiteY292" fmla="*/ 1622107 h 2314575"/>
                <a:gd name="connsiteX293" fmla="*/ 1214438 w 1638300"/>
                <a:gd name="connsiteY293" fmla="*/ 1651635 h 2314575"/>
                <a:gd name="connsiteX294" fmla="*/ 1209675 w 1638300"/>
                <a:gd name="connsiteY294" fmla="*/ 1662113 h 2314575"/>
                <a:gd name="connsiteX295" fmla="*/ 1144905 w 1638300"/>
                <a:gd name="connsiteY295" fmla="*/ 1724978 h 2314575"/>
                <a:gd name="connsiteX296" fmla="*/ 1086803 w 1638300"/>
                <a:gd name="connsiteY296" fmla="*/ 1803082 h 2314575"/>
                <a:gd name="connsiteX297" fmla="*/ 1057275 w 1638300"/>
                <a:gd name="connsiteY297" fmla="*/ 1832610 h 2314575"/>
                <a:gd name="connsiteX298" fmla="*/ 1022033 w 1638300"/>
                <a:gd name="connsiteY298" fmla="*/ 1860232 h 2314575"/>
                <a:gd name="connsiteX299" fmla="*/ 1022985 w 1638300"/>
                <a:gd name="connsiteY299" fmla="*/ 1849755 h 2314575"/>
                <a:gd name="connsiteX300" fmla="*/ 1020128 w 1638300"/>
                <a:gd name="connsiteY300" fmla="*/ 1807845 h 2314575"/>
                <a:gd name="connsiteX301" fmla="*/ 1016318 w 1638300"/>
                <a:gd name="connsiteY301" fmla="*/ 1805940 h 2314575"/>
                <a:gd name="connsiteX302" fmla="*/ 1011555 w 1638300"/>
                <a:gd name="connsiteY302" fmla="*/ 1810703 h 2314575"/>
                <a:gd name="connsiteX303" fmla="*/ 1007745 w 1638300"/>
                <a:gd name="connsiteY303" fmla="*/ 1818323 h 2314575"/>
                <a:gd name="connsiteX304" fmla="*/ 1004888 w 1638300"/>
                <a:gd name="connsiteY304" fmla="*/ 1826895 h 2314575"/>
                <a:gd name="connsiteX305" fmla="*/ 1002983 w 1638300"/>
                <a:gd name="connsiteY305" fmla="*/ 1846898 h 2314575"/>
                <a:gd name="connsiteX306" fmla="*/ 1002030 w 1638300"/>
                <a:gd name="connsiteY306" fmla="*/ 1852613 h 2314575"/>
                <a:gd name="connsiteX307" fmla="*/ 1000125 w 1638300"/>
                <a:gd name="connsiteY307" fmla="*/ 1857375 h 2314575"/>
                <a:gd name="connsiteX308" fmla="*/ 1000125 w 1638300"/>
                <a:gd name="connsiteY308" fmla="*/ 1861185 h 2314575"/>
                <a:gd name="connsiteX309" fmla="*/ 999172 w 1638300"/>
                <a:gd name="connsiteY309" fmla="*/ 1864043 h 2314575"/>
                <a:gd name="connsiteX310" fmla="*/ 994410 w 1638300"/>
                <a:gd name="connsiteY310" fmla="*/ 1864995 h 2314575"/>
                <a:gd name="connsiteX311" fmla="*/ 990600 w 1638300"/>
                <a:gd name="connsiteY311" fmla="*/ 1860232 h 2314575"/>
                <a:gd name="connsiteX312" fmla="*/ 987743 w 1638300"/>
                <a:gd name="connsiteY312" fmla="*/ 1859280 h 2314575"/>
                <a:gd name="connsiteX313" fmla="*/ 985838 w 1638300"/>
                <a:gd name="connsiteY313" fmla="*/ 1862138 h 2314575"/>
                <a:gd name="connsiteX314" fmla="*/ 981075 w 1638300"/>
                <a:gd name="connsiteY314" fmla="*/ 1864995 h 2314575"/>
                <a:gd name="connsiteX315" fmla="*/ 957263 w 1638300"/>
                <a:gd name="connsiteY315" fmla="*/ 1844993 h 2314575"/>
                <a:gd name="connsiteX316" fmla="*/ 943928 w 1638300"/>
                <a:gd name="connsiteY316" fmla="*/ 1839278 h 2314575"/>
                <a:gd name="connsiteX317" fmla="*/ 932497 w 1638300"/>
                <a:gd name="connsiteY317" fmla="*/ 1845945 h 2314575"/>
                <a:gd name="connsiteX318" fmla="*/ 928688 w 1638300"/>
                <a:gd name="connsiteY318" fmla="*/ 1860232 h 2314575"/>
                <a:gd name="connsiteX319" fmla="*/ 926783 w 1638300"/>
                <a:gd name="connsiteY319" fmla="*/ 1879282 h 2314575"/>
                <a:gd name="connsiteX320" fmla="*/ 923925 w 1638300"/>
                <a:gd name="connsiteY320" fmla="*/ 1896428 h 2314575"/>
                <a:gd name="connsiteX321" fmla="*/ 919163 w 1638300"/>
                <a:gd name="connsiteY321" fmla="*/ 1887855 h 2314575"/>
                <a:gd name="connsiteX322" fmla="*/ 913447 w 1638300"/>
                <a:gd name="connsiteY322" fmla="*/ 1881188 h 2314575"/>
                <a:gd name="connsiteX323" fmla="*/ 913447 w 1638300"/>
                <a:gd name="connsiteY323" fmla="*/ 1875473 h 2314575"/>
                <a:gd name="connsiteX324" fmla="*/ 917258 w 1638300"/>
                <a:gd name="connsiteY324" fmla="*/ 1866900 h 2314575"/>
                <a:gd name="connsiteX325" fmla="*/ 914400 w 1638300"/>
                <a:gd name="connsiteY325" fmla="*/ 1863090 h 2314575"/>
                <a:gd name="connsiteX326" fmla="*/ 910590 w 1638300"/>
                <a:gd name="connsiteY326" fmla="*/ 1864995 h 2314575"/>
                <a:gd name="connsiteX327" fmla="*/ 905828 w 1638300"/>
                <a:gd name="connsiteY327" fmla="*/ 1875473 h 2314575"/>
                <a:gd name="connsiteX328" fmla="*/ 905828 w 1638300"/>
                <a:gd name="connsiteY328" fmla="*/ 1887855 h 2314575"/>
                <a:gd name="connsiteX329" fmla="*/ 907733 w 1638300"/>
                <a:gd name="connsiteY329" fmla="*/ 1898332 h 2314575"/>
                <a:gd name="connsiteX330" fmla="*/ 912495 w 1638300"/>
                <a:gd name="connsiteY330" fmla="*/ 1905953 h 2314575"/>
                <a:gd name="connsiteX331" fmla="*/ 917258 w 1638300"/>
                <a:gd name="connsiteY331" fmla="*/ 1911668 h 2314575"/>
                <a:gd name="connsiteX332" fmla="*/ 913447 w 1638300"/>
                <a:gd name="connsiteY332" fmla="*/ 1932623 h 2314575"/>
                <a:gd name="connsiteX333" fmla="*/ 910590 w 1638300"/>
                <a:gd name="connsiteY333" fmla="*/ 1925003 h 2314575"/>
                <a:gd name="connsiteX334" fmla="*/ 906780 w 1638300"/>
                <a:gd name="connsiteY334" fmla="*/ 1920240 h 2314575"/>
                <a:gd name="connsiteX335" fmla="*/ 895350 w 1638300"/>
                <a:gd name="connsiteY335" fmla="*/ 1911668 h 2314575"/>
                <a:gd name="connsiteX336" fmla="*/ 894397 w 1638300"/>
                <a:gd name="connsiteY336" fmla="*/ 1908810 h 2314575"/>
                <a:gd name="connsiteX337" fmla="*/ 894397 w 1638300"/>
                <a:gd name="connsiteY337" fmla="*/ 1905000 h 2314575"/>
                <a:gd name="connsiteX338" fmla="*/ 894397 w 1638300"/>
                <a:gd name="connsiteY338" fmla="*/ 1903095 h 2314575"/>
                <a:gd name="connsiteX339" fmla="*/ 889635 w 1638300"/>
                <a:gd name="connsiteY339" fmla="*/ 1901190 h 2314575"/>
                <a:gd name="connsiteX340" fmla="*/ 886778 w 1638300"/>
                <a:gd name="connsiteY340" fmla="*/ 1903095 h 2314575"/>
                <a:gd name="connsiteX341" fmla="*/ 883920 w 1638300"/>
                <a:gd name="connsiteY341" fmla="*/ 1909763 h 2314575"/>
                <a:gd name="connsiteX342" fmla="*/ 882968 w 1638300"/>
                <a:gd name="connsiteY342" fmla="*/ 1911668 h 2314575"/>
                <a:gd name="connsiteX343" fmla="*/ 870585 w 1638300"/>
                <a:gd name="connsiteY343" fmla="*/ 1911668 h 2314575"/>
                <a:gd name="connsiteX344" fmla="*/ 856297 w 1638300"/>
                <a:gd name="connsiteY344" fmla="*/ 1914525 h 2314575"/>
                <a:gd name="connsiteX345" fmla="*/ 844868 w 1638300"/>
                <a:gd name="connsiteY345" fmla="*/ 1922145 h 2314575"/>
                <a:gd name="connsiteX346" fmla="*/ 841058 w 1638300"/>
                <a:gd name="connsiteY346" fmla="*/ 1937385 h 2314575"/>
                <a:gd name="connsiteX347" fmla="*/ 845820 w 1638300"/>
                <a:gd name="connsiteY347" fmla="*/ 1947863 h 2314575"/>
                <a:gd name="connsiteX348" fmla="*/ 852488 w 1638300"/>
                <a:gd name="connsiteY348" fmla="*/ 1952625 h 2314575"/>
                <a:gd name="connsiteX349" fmla="*/ 866775 w 1638300"/>
                <a:gd name="connsiteY349" fmla="*/ 1957388 h 2314575"/>
                <a:gd name="connsiteX350" fmla="*/ 874395 w 1638300"/>
                <a:gd name="connsiteY350" fmla="*/ 1965960 h 2314575"/>
                <a:gd name="connsiteX351" fmla="*/ 878205 w 1638300"/>
                <a:gd name="connsiteY351" fmla="*/ 1971675 h 2314575"/>
                <a:gd name="connsiteX352" fmla="*/ 875347 w 1638300"/>
                <a:gd name="connsiteY352" fmla="*/ 1974532 h 2314575"/>
                <a:gd name="connsiteX353" fmla="*/ 865822 w 1638300"/>
                <a:gd name="connsiteY353" fmla="*/ 1978343 h 2314575"/>
                <a:gd name="connsiteX354" fmla="*/ 857250 w 1638300"/>
                <a:gd name="connsiteY354" fmla="*/ 1985010 h 2314575"/>
                <a:gd name="connsiteX355" fmla="*/ 848678 w 1638300"/>
                <a:gd name="connsiteY355" fmla="*/ 1989773 h 2314575"/>
                <a:gd name="connsiteX356" fmla="*/ 838200 w 1638300"/>
                <a:gd name="connsiteY356" fmla="*/ 1984057 h 2314575"/>
                <a:gd name="connsiteX357" fmla="*/ 836295 w 1638300"/>
                <a:gd name="connsiteY357" fmla="*/ 1989773 h 2314575"/>
                <a:gd name="connsiteX358" fmla="*/ 835343 w 1638300"/>
                <a:gd name="connsiteY358" fmla="*/ 1990725 h 2314575"/>
                <a:gd name="connsiteX359" fmla="*/ 835343 w 1638300"/>
                <a:gd name="connsiteY359" fmla="*/ 1993582 h 2314575"/>
                <a:gd name="connsiteX360" fmla="*/ 838200 w 1638300"/>
                <a:gd name="connsiteY360" fmla="*/ 1999298 h 2314575"/>
                <a:gd name="connsiteX361" fmla="*/ 829628 w 1638300"/>
                <a:gd name="connsiteY361" fmla="*/ 2004060 h 2314575"/>
                <a:gd name="connsiteX362" fmla="*/ 815340 w 1638300"/>
                <a:gd name="connsiteY362" fmla="*/ 2008823 h 2314575"/>
                <a:gd name="connsiteX363" fmla="*/ 808672 w 1638300"/>
                <a:gd name="connsiteY363" fmla="*/ 2015490 h 2314575"/>
                <a:gd name="connsiteX364" fmla="*/ 809625 w 1638300"/>
                <a:gd name="connsiteY364" fmla="*/ 1995488 h 2314575"/>
                <a:gd name="connsiteX365" fmla="*/ 803910 w 1638300"/>
                <a:gd name="connsiteY365" fmla="*/ 1975485 h 2314575"/>
                <a:gd name="connsiteX366" fmla="*/ 793433 w 1638300"/>
                <a:gd name="connsiteY366" fmla="*/ 1959293 h 2314575"/>
                <a:gd name="connsiteX367" fmla="*/ 782003 w 1638300"/>
                <a:gd name="connsiteY367" fmla="*/ 1953578 h 2314575"/>
                <a:gd name="connsiteX368" fmla="*/ 782955 w 1638300"/>
                <a:gd name="connsiteY368" fmla="*/ 1947863 h 2314575"/>
                <a:gd name="connsiteX369" fmla="*/ 780097 w 1638300"/>
                <a:gd name="connsiteY369" fmla="*/ 1911668 h 2314575"/>
                <a:gd name="connsiteX370" fmla="*/ 782955 w 1638300"/>
                <a:gd name="connsiteY370" fmla="*/ 1899285 h 2314575"/>
                <a:gd name="connsiteX371" fmla="*/ 786765 w 1638300"/>
                <a:gd name="connsiteY371" fmla="*/ 1893570 h 2314575"/>
                <a:gd name="connsiteX372" fmla="*/ 787718 w 1638300"/>
                <a:gd name="connsiteY372" fmla="*/ 1888807 h 2314575"/>
                <a:gd name="connsiteX373" fmla="*/ 783908 w 1638300"/>
                <a:gd name="connsiteY373" fmla="*/ 1881188 h 2314575"/>
                <a:gd name="connsiteX374" fmla="*/ 781050 w 1638300"/>
                <a:gd name="connsiteY374" fmla="*/ 1876425 h 2314575"/>
                <a:gd name="connsiteX375" fmla="*/ 777240 w 1638300"/>
                <a:gd name="connsiteY375" fmla="*/ 1873568 h 2314575"/>
                <a:gd name="connsiteX376" fmla="*/ 766763 w 1638300"/>
                <a:gd name="connsiteY376" fmla="*/ 1864995 h 2314575"/>
                <a:gd name="connsiteX377" fmla="*/ 762953 w 1638300"/>
                <a:gd name="connsiteY377" fmla="*/ 1861185 h 2314575"/>
                <a:gd name="connsiteX378" fmla="*/ 761047 w 1638300"/>
                <a:gd name="connsiteY378" fmla="*/ 1854518 h 2314575"/>
                <a:gd name="connsiteX379" fmla="*/ 758190 w 1638300"/>
                <a:gd name="connsiteY379" fmla="*/ 1855470 h 2314575"/>
                <a:gd name="connsiteX380" fmla="*/ 756285 w 1638300"/>
                <a:gd name="connsiteY380" fmla="*/ 1859280 h 2314575"/>
                <a:gd name="connsiteX381" fmla="*/ 754380 w 1638300"/>
                <a:gd name="connsiteY381" fmla="*/ 1864995 h 2314575"/>
                <a:gd name="connsiteX382" fmla="*/ 756285 w 1638300"/>
                <a:gd name="connsiteY382" fmla="*/ 1869757 h 2314575"/>
                <a:gd name="connsiteX383" fmla="*/ 763905 w 1638300"/>
                <a:gd name="connsiteY383" fmla="*/ 1880235 h 2314575"/>
                <a:gd name="connsiteX384" fmla="*/ 765810 w 1638300"/>
                <a:gd name="connsiteY384" fmla="*/ 1883093 h 2314575"/>
                <a:gd name="connsiteX385" fmla="*/ 763905 w 1638300"/>
                <a:gd name="connsiteY385" fmla="*/ 1889760 h 2314575"/>
                <a:gd name="connsiteX386" fmla="*/ 753428 w 1638300"/>
                <a:gd name="connsiteY386" fmla="*/ 1903095 h 2314575"/>
                <a:gd name="connsiteX387" fmla="*/ 750570 w 1638300"/>
                <a:gd name="connsiteY387" fmla="*/ 1911668 h 2314575"/>
                <a:gd name="connsiteX388" fmla="*/ 750570 w 1638300"/>
                <a:gd name="connsiteY388" fmla="*/ 1923098 h 2314575"/>
                <a:gd name="connsiteX389" fmla="*/ 751522 w 1638300"/>
                <a:gd name="connsiteY389" fmla="*/ 1929765 h 2314575"/>
                <a:gd name="connsiteX390" fmla="*/ 754380 w 1638300"/>
                <a:gd name="connsiteY390" fmla="*/ 1934528 h 2314575"/>
                <a:gd name="connsiteX391" fmla="*/ 758190 w 1638300"/>
                <a:gd name="connsiteY391" fmla="*/ 1943100 h 2314575"/>
                <a:gd name="connsiteX392" fmla="*/ 740093 w 1638300"/>
                <a:gd name="connsiteY392" fmla="*/ 1957388 h 2314575"/>
                <a:gd name="connsiteX393" fmla="*/ 736283 w 1638300"/>
                <a:gd name="connsiteY393" fmla="*/ 1986915 h 2314575"/>
                <a:gd name="connsiteX394" fmla="*/ 738188 w 1638300"/>
                <a:gd name="connsiteY394" fmla="*/ 2023110 h 2314575"/>
                <a:gd name="connsiteX395" fmla="*/ 732472 w 1638300"/>
                <a:gd name="connsiteY395" fmla="*/ 2057400 h 2314575"/>
                <a:gd name="connsiteX396" fmla="*/ 745808 w 1638300"/>
                <a:gd name="connsiteY396" fmla="*/ 2064068 h 2314575"/>
                <a:gd name="connsiteX397" fmla="*/ 753428 w 1638300"/>
                <a:gd name="connsiteY397" fmla="*/ 2065973 h 2314575"/>
                <a:gd name="connsiteX398" fmla="*/ 763905 w 1638300"/>
                <a:gd name="connsiteY398" fmla="*/ 2066925 h 2314575"/>
                <a:gd name="connsiteX399" fmla="*/ 773430 w 1638300"/>
                <a:gd name="connsiteY399" fmla="*/ 2065020 h 2314575"/>
                <a:gd name="connsiteX400" fmla="*/ 781050 w 1638300"/>
                <a:gd name="connsiteY400" fmla="*/ 2060257 h 2314575"/>
                <a:gd name="connsiteX401" fmla="*/ 794385 w 1638300"/>
                <a:gd name="connsiteY401" fmla="*/ 2045970 h 2314575"/>
                <a:gd name="connsiteX402" fmla="*/ 787718 w 1638300"/>
                <a:gd name="connsiteY402" fmla="*/ 2054543 h 2314575"/>
                <a:gd name="connsiteX403" fmla="*/ 770572 w 1638300"/>
                <a:gd name="connsiteY403" fmla="*/ 2082165 h 2314575"/>
                <a:gd name="connsiteX404" fmla="*/ 763905 w 1638300"/>
                <a:gd name="connsiteY404" fmla="*/ 2087880 h 2314575"/>
                <a:gd name="connsiteX405" fmla="*/ 758190 w 1638300"/>
                <a:gd name="connsiteY405" fmla="*/ 2090738 h 2314575"/>
                <a:gd name="connsiteX406" fmla="*/ 755333 w 1638300"/>
                <a:gd name="connsiteY406" fmla="*/ 2098358 h 2314575"/>
                <a:gd name="connsiteX407" fmla="*/ 752475 w 1638300"/>
                <a:gd name="connsiteY407" fmla="*/ 2105025 h 2314575"/>
                <a:gd name="connsiteX408" fmla="*/ 749618 w 1638300"/>
                <a:gd name="connsiteY408" fmla="*/ 2108835 h 2314575"/>
                <a:gd name="connsiteX409" fmla="*/ 741045 w 1638300"/>
                <a:gd name="connsiteY409" fmla="*/ 2111693 h 2314575"/>
                <a:gd name="connsiteX410" fmla="*/ 741045 w 1638300"/>
                <a:gd name="connsiteY410" fmla="*/ 2118360 h 2314575"/>
                <a:gd name="connsiteX411" fmla="*/ 749618 w 1638300"/>
                <a:gd name="connsiteY411" fmla="*/ 2135505 h 2314575"/>
                <a:gd name="connsiteX412" fmla="*/ 753428 w 1638300"/>
                <a:gd name="connsiteY412" fmla="*/ 2141220 h 2314575"/>
                <a:gd name="connsiteX413" fmla="*/ 760095 w 1638300"/>
                <a:gd name="connsiteY413" fmla="*/ 2145030 h 2314575"/>
                <a:gd name="connsiteX414" fmla="*/ 765810 w 1638300"/>
                <a:gd name="connsiteY414" fmla="*/ 2144078 h 2314575"/>
                <a:gd name="connsiteX415" fmla="*/ 767715 w 1638300"/>
                <a:gd name="connsiteY415" fmla="*/ 2137410 h 2314575"/>
                <a:gd name="connsiteX416" fmla="*/ 766763 w 1638300"/>
                <a:gd name="connsiteY416" fmla="*/ 2128838 h 2314575"/>
                <a:gd name="connsiteX417" fmla="*/ 767715 w 1638300"/>
                <a:gd name="connsiteY417" fmla="*/ 2121218 h 2314575"/>
                <a:gd name="connsiteX418" fmla="*/ 776288 w 1638300"/>
                <a:gd name="connsiteY418" fmla="*/ 2118360 h 2314575"/>
                <a:gd name="connsiteX419" fmla="*/ 776288 w 1638300"/>
                <a:gd name="connsiteY419" fmla="*/ 2136458 h 2314575"/>
                <a:gd name="connsiteX420" fmla="*/ 778193 w 1638300"/>
                <a:gd name="connsiteY420" fmla="*/ 2139315 h 2314575"/>
                <a:gd name="connsiteX421" fmla="*/ 781050 w 1638300"/>
                <a:gd name="connsiteY421" fmla="*/ 2139315 h 2314575"/>
                <a:gd name="connsiteX422" fmla="*/ 783908 w 1638300"/>
                <a:gd name="connsiteY422" fmla="*/ 2136458 h 2314575"/>
                <a:gd name="connsiteX423" fmla="*/ 783908 w 1638300"/>
                <a:gd name="connsiteY423" fmla="*/ 2133600 h 2314575"/>
                <a:gd name="connsiteX424" fmla="*/ 787718 w 1638300"/>
                <a:gd name="connsiteY424" fmla="*/ 2134553 h 2314575"/>
                <a:gd name="connsiteX425" fmla="*/ 792480 w 1638300"/>
                <a:gd name="connsiteY425" fmla="*/ 2134553 h 2314575"/>
                <a:gd name="connsiteX426" fmla="*/ 795338 w 1638300"/>
                <a:gd name="connsiteY426" fmla="*/ 2137410 h 2314575"/>
                <a:gd name="connsiteX427" fmla="*/ 798195 w 1638300"/>
                <a:gd name="connsiteY427" fmla="*/ 2149793 h 2314575"/>
                <a:gd name="connsiteX428" fmla="*/ 801053 w 1638300"/>
                <a:gd name="connsiteY428" fmla="*/ 2138363 h 2314575"/>
                <a:gd name="connsiteX429" fmla="*/ 803910 w 1638300"/>
                <a:gd name="connsiteY429" fmla="*/ 2125980 h 2314575"/>
                <a:gd name="connsiteX430" fmla="*/ 807720 w 1638300"/>
                <a:gd name="connsiteY430" fmla="*/ 2120265 h 2314575"/>
                <a:gd name="connsiteX431" fmla="*/ 816293 w 1638300"/>
                <a:gd name="connsiteY431" fmla="*/ 2128838 h 2314575"/>
                <a:gd name="connsiteX432" fmla="*/ 820103 w 1638300"/>
                <a:gd name="connsiteY432" fmla="*/ 2141220 h 2314575"/>
                <a:gd name="connsiteX433" fmla="*/ 820103 w 1638300"/>
                <a:gd name="connsiteY433" fmla="*/ 2155508 h 2314575"/>
                <a:gd name="connsiteX434" fmla="*/ 816293 w 1638300"/>
                <a:gd name="connsiteY434" fmla="*/ 2165985 h 2314575"/>
                <a:gd name="connsiteX435" fmla="*/ 805815 w 1638300"/>
                <a:gd name="connsiteY435" fmla="*/ 2165033 h 2314575"/>
                <a:gd name="connsiteX436" fmla="*/ 813435 w 1638300"/>
                <a:gd name="connsiteY436" fmla="*/ 2173605 h 2314575"/>
                <a:gd name="connsiteX437" fmla="*/ 817245 w 1638300"/>
                <a:gd name="connsiteY437" fmla="*/ 2187893 h 2314575"/>
                <a:gd name="connsiteX438" fmla="*/ 819150 w 1638300"/>
                <a:gd name="connsiteY438" fmla="*/ 2204085 h 2314575"/>
                <a:gd name="connsiteX439" fmla="*/ 820103 w 1638300"/>
                <a:gd name="connsiteY439" fmla="*/ 2235518 h 2314575"/>
                <a:gd name="connsiteX440" fmla="*/ 820103 w 1638300"/>
                <a:gd name="connsiteY440" fmla="*/ 2242185 h 2314575"/>
                <a:gd name="connsiteX441" fmla="*/ 818197 w 1638300"/>
                <a:gd name="connsiteY441" fmla="*/ 2248853 h 2314575"/>
                <a:gd name="connsiteX442" fmla="*/ 813435 w 1638300"/>
                <a:gd name="connsiteY442" fmla="*/ 2259330 h 2314575"/>
                <a:gd name="connsiteX443" fmla="*/ 812483 w 1638300"/>
                <a:gd name="connsiteY443" fmla="*/ 2265045 h 2314575"/>
                <a:gd name="connsiteX444" fmla="*/ 806768 w 1638300"/>
                <a:gd name="connsiteY444" fmla="*/ 2283143 h 2314575"/>
                <a:gd name="connsiteX445" fmla="*/ 805815 w 1638300"/>
                <a:gd name="connsiteY445" fmla="*/ 2290763 h 2314575"/>
                <a:gd name="connsiteX446" fmla="*/ 805815 w 1638300"/>
                <a:gd name="connsiteY446" fmla="*/ 2297430 h 2314575"/>
                <a:gd name="connsiteX447" fmla="*/ 805815 w 1638300"/>
                <a:gd name="connsiteY447" fmla="*/ 2299335 h 2314575"/>
                <a:gd name="connsiteX448" fmla="*/ 795338 w 1638300"/>
                <a:gd name="connsiteY448" fmla="*/ 2308860 h 2314575"/>
                <a:gd name="connsiteX449" fmla="*/ 786765 w 1638300"/>
                <a:gd name="connsiteY449" fmla="*/ 2314575 h 2314575"/>
                <a:gd name="connsiteX450" fmla="*/ 777240 w 1638300"/>
                <a:gd name="connsiteY450" fmla="*/ 2316480 h 2314575"/>
                <a:gd name="connsiteX451" fmla="*/ 769620 w 1638300"/>
                <a:gd name="connsiteY451" fmla="*/ 2314575 h 2314575"/>
                <a:gd name="connsiteX452" fmla="*/ 772478 w 1638300"/>
                <a:gd name="connsiteY452" fmla="*/ 2309813 h 2314575"/>
                <a:gd name="connsiteX453" fmla="*/ 773430 w 1638300"/>
                <a:gd name="connsiteY453" fmla="*/ 2304098 h 2314575"/>
                <a:gd name="connsiteX454" fmla="*/ 772478 w 1638300"/>
                <a:gd name="connsiteY454" fmla="*/ 2298383 h 2314575"/>
                <a:gd name="connsiteX455" fmla="*/ 769620 w 1638300"/>
                <a:gd name="connsiteY455" fmla="*/ 2293620 h 2314575"/>
                <a:gd name="connsiteX456" fmla="*/ 776288 w 1638300"/>
                <a:gd name="connsiteY456" fmla="*/ 2271713 h 2314575"/>
                <a:gd name="connsiteX457" fmla="*/ 773430 w 1638300"/>
                <a:gd name="connsiteY457" fmla="*/ 2243138 h 2314575"/>
                <a:gd name="connsiteX458" fmla="*/ 764858 w 1638300"/>
                <a:gd name="connsiteY458" fmla="*/ 2217420 h 2314575"/>
                <a:gd name="connsiteX459" fmla="*/ 753428 w 1638300"/>
                <a:gd name="connsiteY459" fmla="*/ 2205990 h 2314575"/>
                <a:gd name="connsiteX460" fmla="*/ 746760 w 1638300"/>
                <a:gd name="connsiteY460" fmla="*/ 2203133 h 2314575"/>
                <a:gd name="connsiteX461" fmla="*/ 721995 w 1638300"/>
                <a:gd name="connsiteY461" fmla="*/ 2180273 h 2314575"/>
                <a:gd name="connsiteX462" fmla="*/ 648653 w 1638300"/>
                <a:gd name="connsiteY462" fmla="*/ 2153603 h 2314575"/>
                <a:gd name="connsiteX463" fmla="*/ 608647 w 1638300"/>
                <a:gd name="connsiteY463" fmla="*/ 2149793 h 2314575"/>
                <a:gd name="connsiteX464" fmla="*/ 602933 w 1638300"/>
                <a:gd name="connsiteY464" fmla="*/ 2147888 h 2314575"/>
                <a:gd name="connsiteX465" fmla="*/ 597218 w 1638300"/>
                <a:gd name="connsiteY465" fmla="*/ 2145030 h 2314575"/>
                <a:gd name="connsiteX466" fmla="*/ 591503 w 1638300"/>
                <a:gd name="connsiteY466" fmla="*/ 2144078 h 2314575"/>
                <a:gd name="connsiteX467" fmla="*/ 586740 w 1638300"/>
                <a:gd name="connsiteY467" fmla="*/ 2146935 h 2314575"/>
                <a:gd name="connsiteX468" fmla="*/ 583883 w 1638300"/>
                <a:gd name="connsiteY468" fmla="*/ 2150745 h 2314575"/>
                <a:gd name="connsiteX469" fmla="*/ 580072 w 1638300"/>
                <a:gd name="connsiteY469" fmla="*/ 2155508 h 2314575"/>
                <a:gd name="connsiteX470" fmla="*/ 575310 w 1638300"/>
                <a:gd name="connsiteY470" fmla="*/ 2158365 h 2314575"/>
                <a:gd name="connsiteX471" fmla="*/ 570547 w 1638300"/>
                <a:gd name="connsiteY471" fmla="*/ 2160270 h 2314575"/>
                <a:gd name="connsiteX472" fmla="*/ 559118 w 1638300"/>
                <a:gd name="connsiteY472" fmla="*/ 2160270 h 2314575"/>
                <a:gd name="connsiteX473" fmla="*/ 550545 w 1638300"/>
                <a:gd name="connsiteY473" fmla="*/ 2158365 h 2314575"/>
                <a:gd name="connsiteX474" fmla="*/ 541972 w 1638300"/>
                <a:gd name="connsiteY474" fmla="*/ 2159318 h 2314575"/>
                <a:gd name="connsiteX475" fmla="*/ 530543 w 1638300"/>
                <a:gd name="connsiteY475" fmla="*/ 2165033 h 2314575"/>
                <a:gd name="connsiteX476" fmla="*/ 522922 w 1638300"/>
                <a:gd name="connsiteY476" fmla="*/ 2171700 h 2314575"/>
                <a:gd name="connsiteX477" fmla="*/ 518160 w 1638300"/>
                <a:gd name="connsiteY477" fmla="*/ 2177415 h 2314575"/>
                <a:gd name="connsiteX478" fmla="*/ 516255 w 1638300"/>
                <a:gd name="connsiteY478" fmla="*/ 2183130 h 2314575"/>
                <a:gd name="connsiteX479" fmla="*/ 513397 w 1638300"/>
                <a:gd name="connsiteY479" fmla="*/ 2185035 h 2314575"/>
                <a:gd name="connsiteX480" fmla="*/ 501015 w 1638300"/>
                <a:gd name="connsiteY480" fmla="*/ 2185988 h 2314575"/>
                <a:gd name="connsiteX481" fmla="*/ 496253 w 1638300"/>
                <a:gd name="connsiteY481" fmla="*/ 2187893 h 2314575"/>
                <a:gd name="connsiteX482" fmla="*/ 488633 w 1638300"/>
                <a:gd name="connsiteY482" fmla="*/ 2195513 h 2314575"/>
                <a:gd name="connsiteX483" fmla="*/ 480060 w 1638300"/>
                <a:gd name="connsiteY483" fmla="*/ 2200275 h 2314575"/>
                <a:gd name="connsiteX484" fmla="*/ 458153 w 1638300"/>
                <a:gd name="connsiteY484" fmla="*/ 2205990 h 2314575"/>
                <a:gd name="connsiteX485" fmla="*/ 431483 w 1638300"/>
                <a:gd name="connsiteY485" fmla="*/ 2228850 h 2314575"/>
                <a:gd name="connsiteX486" fmla="*/ 423863 w 1638300"/>
                <a:gd name="connsiteY486" fmla="*/ 2232660 h 2314575"/>
                <a:gd name="connsiteX487" fmla="*/ 412433 w 1638300"/>
                <a:gd name="connsiteY487" fmla="*/ 2232660 h 2314575"/>
                <a:gd name="connsiteX488" fmla="*/ 407670 w 1638300"/>
                <a:gd name="connsiteY488" fmla="*/ 2233613 h 2314575"/>
                <a:gd name="connsiteX489" fmla="*/ 403860 w 1638300"/>
                <a:gd name="connsiteY489" fmla="*/ 2236470 h 2314575"/>
                <a:gd name="connsiteX490" fmla="*/ 401003 w 1638300"/>
                <a:gd name="connsiteY490" fmla="*/ 2243138 h 2314575"/>
                <a:gd name="connsiteX491" fmla="*/ 399097 w 1638300"/>
                <a:gd name="connsiteY491" fmla="*/ 2257425 h 2314575"/>
                <a:gd name="connsiteX492" fmla="*/ 397193 w 1638300"/>
                <a:gd name="connsiteY492" fmla="*/ 2263140 h 2314575"/>
                <a:gd name="connsiteX493" fmla="*/ 384810 w 1638300"/>
                <a:gd name="connsiteY493" fmla="*/ 2267903 h 2314575"/>
                <a:gd name="connsiteX494" fmla="*/ 374333 w 1638300"/>
                <a:gd name="connsiteY494" fmla="*/ 2261235 h 2314575"/>
                <a:gd name="connsiteX495" fmla="*/ 365760 w 1638300"/>
                <a:gd name="connsiteY495" fmla="*/ 2251710 h 2314575"/>
                <a:gd name="connsiteX496" fmla="*/ 359093 w 1638300"/>
                <a:gd name="connsiteY496" fmla="*/ 2246948 h 2314575"/>
                <a:gd name="connsiteX497" fmla="*/ 346710 w 1638300"/>
                <a:gd name="connsiteY497" fmla="*/ 2245043 h 2314575"/>
                <a:gd name="connsiteX498" fmla="*/ 333375 w 1638300"/>
                <a:gd name="connsiteY498" fmla="*/ 2235518 h 2314575"/>
                <a:gd name="connsiteX499" fmla="*/ 324803 w 1638300"/>
                <a:gd name="connsiteY499" fmla="*/ 2232660 h 2314575"/>
                <a:gd name="connsiteX500" fmla="*/ 310515 w 1638300"/>
                <a:gd name="connsiteY500" fmla="*/ 2235518 h 2314575"/>
                <a:gd name="connsiteX501" fmla="*/ 310515 w 1638300"/>
                <a:gd name="connsiteY501" fmla="*/ 2246948 h 2314575"/>
                <a:gd name="connsiteX502" fmla="*/ 311468 w 1638300"/>
                <a:gd name="connsiteY502" fmla="*/ 2257425 h 2314575"/>
                <a:gd name="connsiteX503" fmla="*/ 296228 w 1638300"/>
                <a:gd name="connsiteY503" fmla="*/ 2265045 h 2314575"/>
                <a:gd name="connsiteX504" fmla="*/ 295275 w 1638300"/>
                <a:gd name="connsiteY504" fmla="*/ 2270760 h 2314575"/>
                <a:gd name="connsiteX505" fmla="*/ 296228 w 1638300"/>
                <a:gd name="connsiteY505" fmla="*/ 2278380 h 2314575"/>
                <a:gd name="connsiteX506" fmla="*/ 299085 w 1638300"/>
                <a:gd name="connsiteY506" fmla="*/ 2283143 h 2314575"/>
                <a:gd name="connsiteX507" fmla="*/ 302895 w 1638300"/>
                <a:gd name="connsiteY507" fmla="*/ 2286953 h 2314575"/>
                <a:gd name="connsiteX508" fmla="*/ 318135 w 1638300"/>
                <a:gd name="connsiteY508" fmla="*/ 2293620 h 2314575"/>
                <a:gd name="connsiteX509" fmla="*/ 311468 w 1638300"/>
                <a:gd name="connsiteY509" fmla="*/ 2300288 h 2314575"/>
                <a:gd name="connsiteX510" fmla="*/ 304800 w 1638300"/>
                <a:gd name="connsiteY510" fmla="*/ 2303145 h 2314575"/>
                <a:gd name="connsiteX511" fmla="*/ 288608 w 1638300"/>
                <a:gd name="connsiteY511" fmla="*/ 2304098 h 2314575"/>
                <a:gd name="connsiteX512" fmla="*/ 268605 w 1638300"/>
                <a:gd name="connsiteY512" fmla="*/ 2306955 h 2314575"/>
                <a:gd name="connsiteX513" fmla="*/ 199072 w 1638300"/>
                <a:gd name="connsiteY513" fmla="*/ 2290763 h 2314575"/>
                <a:gd name="connsiteX514" fmla="*/ 155258 w 1638300"/>
                <a:gd name="connsiteY514" fmla="*/ 2267903 h 2314575"/>
                <a:gd name="connsiteX515" fmla="*/ 108585 w 1638300"/>
                <a:gd name="connsiteY515" fmla="*/ 2255520 h 2314575"/>
                <a:gd name="connsiteX516" fmla="*/ 89535 w 1638300"/>
                <a:gd name="connsiteY516" fmla="*/ 2245043 h 2314575"/>
                <a:gd name="connsiteX517" fmla="*/ 80963 w 1638300"/>
                <a:gd name="connsiteY517" fmla="*/ 2242185 h 2314575"/>
                <a:gd name="connsiteX518" fmla="*/ 68580 w 1638300"/>
                <a:gd name="connsiteY518" fmla="*/ 2234565 h 2314575"/>
                <a:gd name="connsiteX519" fmla="*/ 58103 w 1638300"/>
                <a:gd name="connsiteY519" fmla="*/ 2215515 h 2314575"/>
                <a:gd name="connsiteX520" fmla="*/ 42863 w 1638300"/>
                <a:gd name="connsiteY520" fmla="*/ 2175510 h 2314575"/>
                <a:gd name="connsiteX521" fmla="*/ 45720 w 1638300"/>
                <a:gd name="connsiteY521" fmla="*/ 2160270 h 2314575"/>
                <a:gd name="connsiteX522" fmla="*/ 35243 w 1638300"/>
                <a:gd name="connsiteY522" fmla="*/ 2145983 h 2314575"/>
                <a:gd name="connsiteX523" fmla="*/ 20003 w 1638300"/>
                <a:gd name="connsiteY523" fmla="*/ 2137410 h 2314575"/>
                <a:gd name="connsiteX524" fmla="*/ 6668 w 1638300"/>
                <a:gd name="connsiteY524" fmla="*/ 2139315 h 2314575"/>
                <a:gd name="connsiteX525" fmla="*/ 0 w 1638300"/>
                <a:gd name="connsiteY525" fmla="*/ 2130743 h 2314575"/>
                <a:gd name="connsiteX526" fmla="*/ 953 w 1638300"/>
                <a:gd name="connsiteY526" fmla="*/ 2125028 h 2314575"/>
                <a:gd name="connsiteX527" fmla="*/ 4763 w 1638300"/>
                <a:gd name="connsiteY527" fmla="*/ 2115503 h 2314575"/>
                <a:gd name="connsiteX528" fmla="*/ 8572 w 1638300"/>
                <a:gd name="connsiteY528" fmla="*/ 2106930 h 2314575"/>
                <a:gd name="connsiteX529" fmla="*/ 37147 w 1638300"/>
                <a:gd name="connsiteY529" fmla="*/ 2085023 h 2314575"/>
                <a:gd name="connsiteX530" fmla="*/ 74295 w 1638300"/>
                <a:gd name="connsiteY530" fmla="*/ 2087880 h 2314575"/>
                <a:gd name="connsiteX531" fmla="*/ 114300 w 1638300"/>
                <a:gd name="connsiteY531" fmla="*/ 2098358 h 2314575"/>
                <a:gd name="connsiteX532" fmla="*/ 147638 w 1638300"/>
                <a:gd name="connsiteY532" fmla="*/ 2100263 h 2314575"/>
                <a:gd name="connsiteX533" fmla="*/ 159068 w 1638300"/>
                <a:gd name="connsiteY533" fmla="*/ 2094548 h 2314575"/>
                <a:gd name="connsiteX534" fmla="*/ 161925 w 1638300"/>
                <a:gd name="connsiteY534" fmla="*/ 2085975 h 2314575"/>
                <a:gd name="connsiteX535" fmla="*/ 158115 w 1638300"/>
                <a:gd name="connsiteY535" fmla="*/ 2060257 h 2314575"/>
                <a:gd name="connsiteX536" fmla="*/ 157163 w 1638300"/>
                <a:gd name="connsiteY536" fmla="*/ 2057400 h 2314575"/>
                <a:gd name="connsiteX537" fmla="*/ 160972 w 1638300"/>
                <a:gd name="connsiteY537" fmla="*/ 2050732 h 2314575"/>
                <a:gd name="connsiteX538" fmla="*/ 163830 w 1638300"/>
                <a:gd name="connsiteY538" fmla="*/ 2047875 h 2314575"/>
                <a:gd name="connsiteX539" fmla="*/ 177165 w 1638300"/>
                <a:gd name="connsiteY539" fmla="*/ 2041207 h 2314575"/>
                <a:gd name="connsiteX540" fmla="*/ 170497 w 1638300"/>
                <a:gd name="connsiteY540" fmla="*/ 2031682 h 2314575"/>
                <a:gd name="connsiteX541" fmla="*/ 167640 w 1638300"/>
                <a:gd name="connsiteY541" fmla="*/ 2021205 h 2314575"/>
                <a:gd name="connsiteX542" fmla="*/ 166688 w 1638300"/>
                <a:gd name="connsiteY542" fmla="*/ 2010728 h 2314575"/>
                <a:gd name="connsiteX543" fmla="*/ 163830 w 1638300"/>
                <a:gd name="connsiteY543" fmla="*/ 2000250 h 2314575"/>
                <a:gd name="connsiteX544" fmla="*/ 157163 w 1638300"/>
                <a:gd name="connsiteY544" fmla="*/ 1992630 h 2314575"/>
                <a:gd name="connsiteX545" fmla="*/ 149543 w 1638300"/>
                <a:gd name="connsiteY545" fmla="*/ 1987868 h 2314575"/>
                <a:gd name="connsiteX546" fmla="*/ 144780 w 1638300"/>
                <a:gd name="connsiteY546" fmla="*/ 1982153 h 2314575"/>
                <a:gd name="connsiteX547" fmla="*/ 147638 w 1638300"/>
                <a:gd name="connsiteY547" fmla="*/ 1973580 h 2314575"/>
                <a:gd name="connsiteX548" fmla="*/ 160020 w 1638300"/>
                <a:gd name="connsiteY548" fmla="*/ 1955482 h 2314575"/>
                <a:gd name="connsiteX549" fmla="*/ 165735 w 1638300"/>
                <a:gd name="connsiteY549" fmla="*/ 1948815 h 2314575"/>
                <a:gd name="connsiteX550" fmla="*/ 175260 w 1638300"/>
                <a:gd name="connsiteY550" fmla="*/ 1943100 h 2314575"/>
                <a:gd name="connsiteX551" fmla="*/ 190500 w 1638300"/>
                <a:gd name="connsiteY551" fmla="*/ 1938338 h 2314575"/>
                <a:gd name="connsiteX552" fmla="*/ 193358 w 1638300"/>
                <a:gd name="connsiteY552" fmla="*/ 1932623 h 2314575"/>
                <a:gd name="connsiteX553" fmla="*/ 190500 w 1638300"/>
                <a:gd name="connsiteY553" fmla="*/ 1918335 h 2314575"/>
                <a:gd name="connsiteX554" fmla="*/ 198120 w 1638300"/>
                <a:gd name="connsiteY554" fmla="*/ 1904048 h 2314575"/>
                <a:gd name="connsiteX555" fmla="*/ 234315 w 1638300"/>
                <a:gd name="connsiteY555" fmla="*/ 1900238 h 2314575"/>
                <a:gd name="connsiteX556" fmla="*/ 247650 w 1638300"/>
                <a:gd name="connsiteY556" fmla="*/ 1892618 h 2314575"/>
                <a:gd name="connsiteX557" fmla="*/ 249555 w 1638300"/>
                <a:gd name="connsiteY557" fmla="*/ 1884998 h 2314575"/>
                <a:gd name="connsiteX558" fmla="*/ 248603 w 1638300"/>
                <a:gd name="connsiteY558" fmla="*/ 1877378 h 2314575"/>
                <a:gd name="connsiteX559" fmla="*/ 247650 w 1638300"/>
                <a:gd name="connsiteY559" fmla="*/ 1870710 h 2314575"/>
                <a:gd name="connsiteX560" fmla="*/ 247650 w 1638300"/>
                <a:gd name="connsiteY560" fmla="*/ 1865948 h 2314575"/>
                <a:gd name="connsiteX561" fmla="*/ 251460 w 1638300"/>
                <a:gd name="connsiteY561" fmla="*/ 1862138 h 2314575"/>
                <a:gd name="connsiteX562" fmla="*/ 266700 w 1638300"/>
                <a:gd name="connsiteY562" fmla="*/ 1859280 h 2314575"/>
                <a:gd name="connsiteX563" fmla="*/ 277178 w 1638300"/>
                <a:gd name="connsiteY563" fmla="*/ 1853565 h 2314575"/>
                <a:gd name="connsiteX564" fmla="*/ 283845 w 1638300"/>
                <a:gd name="connsiteY564" fmla="*/ 1846898 h 2314575"/>
                <a:gd name="connsiteX565" fmla="*/ 287655 w 1638300"/>
                <a:gd name="connsiteY565" fmla="*/ 1837373 h 2314575"/>
                <a:gd name="connsiteX566" fmla="*/ 287655 w 1638300"/>
                <a:gd name="connsiteY566" fmla="*/ 1822132 h 2314575"/>
                <a:gd name="connsiteX567" fmla="*/ 285750 w 1638300"/>
                <a:gd name="connsiteY567" fmla="*/ 1808798 h 2314575"/>
                <a:gd name="connsiteX568" fmla="*/ 278130 w 1638300"/>
                <a:gd name="connsiteY568" fmla="*/ 1783080 h 2314575"/>
                <a:gd name="connsiteX569" fmla="*/ 279083 w 1638300"/>
                <a:gd name="connsiteY569" fmla="*/ 1769745 h 2314575"/>
                <a:gd name="connsiteX570" fmla="*/ 284797 w 1638300"/>
                <a:gd name="connsiteY570" fmla="*/ 1759268 h 2314575"/>
                <a:gd name="connsiteX571" fmla="*/ 294322 w 1638300"/>
                <a:gd name="connsiteY571" fmla="*/ 1752600 h 2314575"/>
                <a:gd name="connsiteX572" fmla="*/ 385763 w 1638300"/>
                <a:gd name="connsiteY572" fmla="*/ 1728788 h 2314575"/>
                <a:gd name="connsiteX573" fmla="*/ 399097 w 1638300"/>
                <a:gd name="connsiteY573" fmla="*/ 1722120 h 2314575"/>
                <a:gd name="connsiteX574" fmla="*/ 400050 w 1638300"/>
                <a:gd name="connsiteY574" fmla="*/ 1707832 h 2314575"/>
                <a:gd name="connsiteX575" fmla="*/ 390525 w 1638300"/>
                <a:gd name="connsiteY575" fmla="*/ 1674495 h 2314575"/>
                <a:gd name="connsiteX576" fmla="*/ 389572 w 1638300"/>
                <a:gd name="connsiteY576" fmla="*/ 1655445 h 2314575"/>
                <a:gd name="connsiteX577" fmla="*/ 393383 w 1638300"/>
                <a:gd name="connsiteY577" fmla="*/ 1644015 h 2314575"/>
                <a:gd name="connsiteX578" fmla="*/ 411480 w 1638300"/>
                <a:gd name="connsiteY578" fmla="*/ 1623060 h 2314575"/>
                <a:gd name="connsiteX579" fmla="*/ 423863 w 1638300"/>
                <a:gd name="connsiteY579" fmla="*/ 1603057 h 2314575"/>
                <a:gd name="connsiteX580" fmla="*/ 429578 w 1638300"/>
                <a:gd name="connsiteY580" fmla="*/ 1584960 h 2314575"/>
                <a:gd name="connsiteX581" fmla="*/ 426720 w 1638300"/>
                <a:gd name="connsiteY581" fmla="*/ 1567815 h 2314575"/>
                <a:gd name="connsiteX582" fmla="*/ 396240 w 1638300"/>
                <a:gd name="connsiteY582" fmla="*/ 1538288 h 2314575"/>
                <a:gd name="connsiteX583" fmla="*/ 386715 w 1638300"/>
                <a:gd name="connsiteY583" fmla="*/ 1525905 h 2314575"/>
                <a:gd name="connsiteX584" fmla="*/ 386715 w 1638300"/>
                <a:gd name="connsiteY584" fmla="*/ 1516380 h 2314575"/>
                <a:gd name="connsiteX585" fmla="*/ 390525 w 1638300"/>
                <a:gd name="connsiteY585" fmla="*/ 1504950 h 2314575"/>
                <a:gd name="connsiteX586" fmla="*/ 393383 w 1638300"/>
                <a:gd name="connsiteY586" fmla="*/ 1491615 h 2314575"/>
                <a:gd name="connsiteX587" fmla="*/ 392430 w 1638300"/>
                <a:gd name="connsiteY587" fmla="*/ 1479232 h 2314575"/>
                <a:gd name="connsiteX588" fmla="*/ 383858 w 1638300"/>
                <a:gd name="connsiteY588" fmla="*/ 1443038 h 2314575"/>
                <a:gd name="connsiteX589" fmla="*/ 379095 w 1638300"/>
                <a:gd name="connsiteY589" fmla="*/ 1415415 h 2314575"/>
                <a:gd name="connsiteX590" fmla="*/ 382905 w 1638300"/>
                <a:gd name="connsiteY590" fmla="*/ 1393508 h 2314575"/>
                <a:gd name="connsiteX591" fmla="*/ 393383 w 1638300"/>
                <a:gd name="connsiteY591" fmla="*/ 1376363 h 2314575"/>
                <a:gd name="connsiteX592" fmla="*/ 432435 w 1638300"/>
                <a:gd name="connsiteY592" fmla="*/ 1349693 h 2314575"/>
                <a:gd name="connsiteX593" fmla="*/ 461010 w 1638300"/>
                <a:gd name="connsiteY593" fmla="*/ 1339215 h 2314575"/>
                <a:gd name="connsiteX594" fmla="*/ 507683 w 1638300"/>
                <a:gd name="connsiteY594" fmla="*/ 1312545 h 2314575"/>
                <a:gd name="connsiteX595" fmla="*/ 519113 w 1638300"/>
                <a:gd name="connsiteY595" fmla="*/ 1312545 h 2314575"/>
                <a:gd name="connsiteX596" fmla="*/ 527685 w 1638300"/>
                <a:gd name="connsiteY596" fmla="*/ 1323975 h 2314575"/>
                <a:gd name="connsiteX597" fmla="*/ 530543 w 1638300"/>
                <a:gd name="connsiteY597" fmla="*/ 1340168 h 2314575"/>
                <a:gd name="connsiteX598" fmla="*/ 531495 w 1638300"/>
                <a:gd name="connsiteY598" fmla="*/ 1404938 h 2314575"/>
                <a:gd name="connsiteX599" fmla="*/ 530543 w 1638300"/>
                <a:gd name="connsiteY599" fmla="*/ 1413510 h 2314575"/>
                <a:gd name="connsiteX600" fmla="*/ 526733 w 1638300"/>
                <a:gd name="connsiteY600" fmla="*/ 1421130 h 2314575"/>
                <a:gd name="connsiteX601" fmla="*/ 521970 w 1638300"/>
                <a:gd name="connsiteY601" fmla="*/ 1428750 h 2314575"/>
                <a:gd name="connsiteX602" fmla="*/ 518160 w 1638300"/>
                <a:gd name="connsiteY602" fmla="*/ 1435418 h 2314575"/>
                <a:gd name="connsiteX603" fmla="*/ 519113 w 1638300"/>
                <a:gd name="connsiteY603" fmla="*/ 1443990 h 2314575"/>
                <a:gd name="connsiteX604" fmla="*/ 527685 w 1638300"/>
                <a:gd name="connsiteY604" fmla="*/ 1451610 h 2314575"/>
                <a:gd name="connsiteX605" fmla="*/ 539115 w 1638300"/>
                <a:gd name="connsiteY605" fmla="*/ 1443990 h 2314575"/>
                <a:gd name="connsiteX606" fmla="*/ 558165 w 1638300"/>
                <a:gd name="connsiteY606" fmla="*/ 1423035 h 2314575"/>
                <a:gd name="connsiteX607" fmla="*/ 564833 w 1638300"/>
                <a:gd name="connsiteY607" fmla="*/ 1420178 h 2314575"/>
                <a:gd name="connsiteX608" fmla="*/ 568643 w 1638300"/>
                <a:gd name="connsiteY608" fmla="*/ 1422083 h 2314575"/>
                <a:gd name="connsiteX609" fmla="*/ 571500 w 1638300"/>
                <a:gd name="connsiteY609" fmla="*/ 1420178 h 2314575"/>
                <a:gd name="connsiteX610" fmla="*/ 574358 w 1638300"/>
                <a:gd name="connsiteY610" fmla="*/ 1410653 h 2314575"/>
                <a:gd name="connsiteX611" fmla="*/ 575310 w 1638300"/>
                <a:gd name="connsiteY611" fmla="*/ 1403985 h 2314575"/>
                <a:gd name="connsiteX612" fmla="*/ 572453 w 1638300"/>
                <a:gd name="connsiteY612" fmla="*/ 1388745 h 2314575"/>
                <a:gd name="connsiteX613" fmla="*/ 574358 w 1638300"/>
                <a:gd name="connsiteY613" fmla="*/ 1379220 h 2314575"/>
                <a:gd name="connsiteX614" fmla="*/ 583883 w 1638300"/>
                <a:gd name="connsiteY614" fmla="*/ 1363028 h 2314575"/>
                <a:gd name="connsiteX615" fmla="*/ 590550 w 1638300"/>
                <a:gd name="connsiteY615" fmla="*/ 1365885 h 2314575"/>
                <a:gd name="connsiteX616" fmla="*/ 602933 w 1638300"/>
                <a:gd name="connsiteY616" fmla="*/ 1392555 h 2314575"/>
                <a:gd name="connsiteX617" fmla="*/ 612458 w 1638300"/>
                <a:gd name="connsiteY617" fmla="*/ 1406843 h 2314575"/>
                <a:gd name="connsiteX618" fmla="*/ 619125 w 1638300"/>
                <a:gd name="connsiteY618" fmla="*/ 1405890 h 2314575"/>
                <a:gd name="connsiteX619" fmla="*/ 641985 w 1638300"/>
                <a:gd name="connsiteY619" fmla="*/ 1370648 h 2314575"/>
                <a:gd name="connsiteX620" fmla="*/ 652463 w 1638300"/>
                <a:gd name="connsiteY620" fmla="*/ 1360170 h 2314575"/>
                <a:gd name="connsiteX621" fmla="*/ 662940 w 1638300"/>
                <a:gd name="connsiteY621" fmla="*/ 1353503 h 2314575"/>
                <a:gd name="connsiteX622" fmla="*/ 675322 w 1638300"/>
                <a:gd name="connsiteY622" fmla="*/ 1355408 h 2314575"/>
                <a:gd name="connsiteX623" fmla="*/ 678180 w 1638300"/>
                <a:gd name="connsiteY623" fmla="*/ 1360170 h 2314575"/>
                <a:gd name="connsiteX624" fmla="*/ 679133 w 1638300"/>
                <a:gd name="connsiteY624" fmla="*/ 1365885 h 2314575"/>
                <a:gd name="connsiteX625" fmla="*/ 678180 w 1638300"/>
                <a:gd name="connsiteY625" fmla="*/ 1370648 h 2314575"/>
                <a:gd name="connsiteX626" fmla="*/ 672465 w 1638300"/>
                <a:gd name="connsiteY626" fmla="*/ 1382078 h 2314575"/>
                <a:gd name="connsiteX627" fmla="*/ 671513 w 1638300"/>
                <a:gd name="connsiteY627" fmla="*/ 1387793 h 2314575"/>
                <a:gd name="connsiteX628" fmla="*/ 672465 w 1638300"/>
                <a:gd name="connsiteY628" fmla="*/ 1393508 h 2314575"/>
                <a:gd name="connsiteX629" fmla="*/ 675322 w 1638300"/>
                <a:gd name="connsiteY629" fmla="*/ 1399223 h 2314575"/>
                <a:gd name="connsiteX630" fmla="*/ 682943 w 1638300"/>
                <a:gd name="connsiteY630" fmla="*/ 1403033 h 2314575"/>
                <a:gd name="connsiteX631" fmla="*/ 700088 w 1638300"/>
                <a:gd name="connsiteY631" fmla="*/ 1405890 h 2314575"/>
                <a:gd name="connsiteX632" fmla="*/ 707708 w 1638300"/>
                <a:gd name="connsiteY632" fmla="*/ 1408748 h 2314575"/>
                <a:gd name="connsiteX633" fmla="*/ 714375 w 1638300"/>
                <a:gd name="connsiteY633" fmla="*/ 1415415 h 2314575"/>
                <a:gd name="connsiteX634" fmla="*/ 721995 w 1638300"/>
                <a:gd name="connsiteY634" fmla="*/ 1432560 h 2314575"/>
                <a:gd name="connsiteX635" fmla="*/ 729615 w 1638300"/>
                <a:gd name="connsiteY635" fmla="*/ 1442085 h 2314575"/>
                <a:gd name="connsiteX636" fmla="*/ 737235 w 1638300"/>
                <a:gd name="connsiteY636" fmla="*/ 1446848 h 2314575"/>
                <a:gd name="connsiteX637" fmla="*/ 746760 w 1638300"/>
                <a:gd name="connsiteY637" fmla="*/ 1447800 h 2314575"/>
                <a:gd name="connsiteX638" fmla="*/ 755333 w 1638300"/>
                <a:gd name="connsiteY638" fmla="*/ 1444943 h 2314575"/>
                <a:gd name="connsiteX639" fmla="*/ 762000 w 1638300"/>
                <a:gd name="connsiteY639" fmla="*/ 1437323 h 2314575"/>
                <a:gd name="connsiteX640" fmla="*/ 765810 w 1638300"/>
                <a:gd name="connsiteY640" fmla="*/ 1424940 h 2314575"/>
                <a:gd name="connsiteX641" fmla="*/ 763905 w 1638300"/>
                <a:gd name="connsiteY641" fmla="*/ 1405890 h 2314575"/>
                <a:gd name="connsiteX642" fmla="*/ 766763 w 1638300"/>
                <a:gd name="connsiteY642" fmla="*/ 1401128 h 2314575"/>
                <a:gd name="connsiteX643" fmla="*/ 782003 w 1638300"/>
                <a:gd name="connsiteY643" fmla="*/ 1401128 h 2314575"/>
                <a:gd name="connsiteX644" fmla="*/ 792480 w 1638300"/>
                <a:gd name="connsiteY644" fmla="*/ 1397318 h 2314575"/>
                <a:gd name="connsiteX645" fmla="*/ 798195 w 1638300"/>
                <a:gd name="connsiteY645" fmla="*/ 1385888 h 2314575"/>
                <a:gd name="connsiteX646" fmla="*/ 798195 w 1638300"/>
                <a:gd name="connsiteY646" fmla="*/ 1363980 h 2314575"/>
                <a:gd name="connsiteX647" fmla="*/ 804863 w 1638300"/>
                <a:gd name="connsiteY647" fmla="*/ 1376363 h 2314575"/>
                <a:gd name="connsiteX648" fmla="*/ 832485 w 1638300"/>
                <a:gd name="connsiteY648" fmla="*/ 1402080 h 2314575"/>
                <a:gd name="connsiteX649" fmla="*/ 843915 w 1638300"/>
                <a:gd name="connsiteY649" fmla="*/ 1420178 h 2314575"/>
                <a:gd name="connsiteX650" fmla="*/ 846772 w 1638300"/>
                <a:gd name="connsiteY650" fmla="*/ 1425893 h 2314575"/>
                <a:gd name="connsiteX651" fmla="*/ 846772 w 1638300"/>
                <a:gd name="connsiteY651" fmla="*/ 1433513 h 2314575"/>
                <a:gd name="connsiteX652" fmla="*/ 846772 w 1638300"/>
                <a:gd name="connsiteY652" fmla="*/ 1447800 h 2314575"/>
                <a:gd name="connsiteX653" fmla="*/ 847725 w 1638300"/>
                <a:gd name="connsiteY653" fmla="*/ 1453515 h 2314575"/>
                <a:gd name="connsiteX654" fmla="*/ 858203 w 1638300"/>
                <a:gd name="connsiteY654" fmla="*/ 1464945 h 2314575"/>
                <a:gd name="connsiteX655" fmla="*/ 868680 w 1638300"/>
                <a:gd name="connsiteY655" fmla="*/ 1463040 h 2314575"/>
                <a:gd name="connsiteX656" fmla="*/ 888683 w 1638300"/>
                <a:gd name="connsiteY656" fmla="*/ 1445895 h 2314575"/>
                <a:gd name="connsiteX657" fmla="*/ 897255 w 1638300"/>
                <a:gd name="connsiteY657" fmla="*/ 1440180 h 2314575"/>
                <a:gd name="connsiteX658" fmla="*/ 905828 w 1638300"/>
                <a:gd name="connsiteY658" fmla="*/ 1439228 h 2314575"/>
                <a:gd name="connsiteX659" fmla="*/ 968693 w 1638300"/>
                <a:gd name="connsiteY659" fmla="*/ 1442085 h 2314575"/>
                <a:gd name="connsiteX660" fmla="*/ 991553 w 1638300"/>
                <a:gd name="connsiteY660" fmla="*/ 1438275 h 2314575"/>
                <a:gd name="connsiteX661" fmla="*/ 1005840 w 1638300"/>
                <a:gd name="connsiteY661" fmla="*/ 1424940 h 2314575"/>
                <a:gd name="connsiteX662" fmla="*/ 1018222 w 1638300"/>
                <a:gd name="connsiteY662" fmla="*/ 1401128 h 2314575"/>
                <a:gd name="connsiteX663" fmla="*/ 1011555 w 1638300"/>
                <a:gd name="connsiteY663" fmla="*/ 1396365 h 2314575"/>
                <a:gd name="connsiteX664" fmla="*/ 1002983 w 1638300"/>
                <a:gd name="connsiteY664" fmla="*/ 1395413 h 2314575"/>
                <a:gd name="connsiteX665" fmla="*/ 995363 w 1638300"/>
                <a:gd name="connsiteY665" fmla="*/ 1396365 h 2314575"/>
                <a:gd name="connsiteX666" fmla="*/ 989647 w 1638300"/>
                <a:gd name="connsiteY666" fmla="*/ 1401128 h 2314575"/>
                <a:gd name="connsiteX667" fmla="*/ 981075 w 1638300"/>
                <a:gd name="connsiteY667" fmla="*/ 1390650 h 2314575"/>
                <a:gd name="connsiteX668" fmla="*/ 956310 w 1638300"/>
                <a:gd name="connsiteY668" fmla="*/ 1371600 h 2314575"/>
                <a:gd name="connsiteX669" fmla="*/ 960120 w 1638300"/>
                <a:gd name="connsiteY669" fmla="*/ 1364933 h 2314575"/>
                <a:gd name="connsiteX670" fmla="*/ 954405 w 1638300"/>
                <a:gd name="connsiteY670" fmla="*/ 1351598 h 2314575"/>
                <a:gd name="connsiteX671" fmla="*/ 950595 w 1638300"/>
                <a:gd name="connsiteY671" fmla="*/ 1346835 h 2314575"/>
                <a:gd name="connsiteX672" fmla="*/ 946785 w 1638300"/>
                <a:gd name="connsiteY672" fmla="*/ 1343025 h 2314575"/>
                <a:gd name="connsiteX673" fmla="*/ 942975 w 1638300"/>
                <a:gd name="connsiteY673" fmla="*/ 1343025 h 2314575"/>
                <a:gd name="connsiteX674" fmla="*/ 937260 w 1638300"/>
                <a:gd name="connsiteY674" fmla="*/ 1346835 h 2314575"/>
                <a:gd name="connsiteX675" fmla="*/ 933450 w 1638300"/>
                <a:gd name="connsiteY675" fmla="*/ 1348740 h 2314575"/>
                <a:gd name="connsiteX676" fmla="*/ 931545 w 1638300"/>
                <a:gd name="connsiteY676" fmla="*/ 1346835 h 2314575"/>
                <a:gd name="connsiteX677" fmla="*/ 928688 w 1638300"/>
                <a:gd name="connsiteY677" fmla="*/ 1339215 h 2314575"/>
                <a:gd name="connsiteX678" fmla="*/ 927735 w 1638300"/>
                <a:gd name="connsiteY678" fmla="*/ 1337310 h 2314575"/>
                <a:gd name="connsiteX679" fmla="*/ 904875 w 1638300"/>
                <a:gd name="connsiteY679" fmla="*/ 1327785 h 2314575"/>
                <a:gd name="connsiteX680" fmla="*/ 897255 w 1638300"/>
                <a:gd name="connsiteY680" fmla="*/ 1318260 h 2314575"/>
                <a:gd name="connsiteX681" fmla="*/ 895350 w 1638300"/>
                <a:gd name="connsiteY681" fmla="*/ 1301115 h 2314575"/>
                <a:gd name="connsiteX682" fmla="*/ 904875 w 1638300"/>
                <a:gd name="connsiteY682" fmla="*/ 1300163 h 2314575"/>
                <a:gd name="connsiteX683" fmla="*/ 916305 w 1638300"/>
                <a:gd name="connsiteY683" fmla="*/ 1298258 h 2314575"/>
                <a:gd name="connsiteX684" fmla="*/ 922972 w 1638300"/>
                <a:gd name="connsiteY684" fmla="*/ 1281113 h 2314575"/>
                <a:gd name="connsiteX685" fmla="*/ 921068 w 1638300"/>
                <a:gd name="connsiteY685" fmla="*/ 1274445 h 2314575"/>
                <a:gd name="connsiteX686" fmla="*/ 914400 w 1638300"/>
                <a:gd name="connsiteY686" fmla="*/ 1258253 h 2314575"/>
                <a:gd name="connsiteX687" fmla="*/ 912495 w 1638300"/>
                <a:gd name="connsiteY687" fmla="*/ 1250633 h 2314575"/>
                <a:gd name="connsiteX688" fmla="*/ 913447 w 1638300"/>
                <a:gd name="connsiteY688" fmla="*/ 1240155 h 2314575"/>
                <a:gd name="connsiteX689" fmla="*/ 915353 w 1638300"/>
                <a:gd name="connsiteY689" fmla="*/ 1233488 h 2314575"/>
                <a:gd name="connsiteX690" fmla="*/ 917258 w 1638300"/>
                <a:gd name="connsiteY690" fmla="*/ 1225868 h 2314575"/>
                <a:gd name="connsiteX691" fmla="*/ 920115 w 1638300"/>
                <a:gd name="connsiteY691" fmla="*/ 1217295 h 2314575"/>
                <a:gd name="connsiteX692" fmla="*/ 923925 w 1638300"/>
                <a:gd name="connsiteY692" fmla="*/ 1169670 h 2314575"/>
                <a:gd name="connsiteX693" fmla="*/ 922972 w 1638300"/>
                <a:gd name="connsiteY693" fmla="*/ 1155383 h 2314575"/>
                <a:gd name="connsiteX694" fmla="*/ 921068 w 1638300"/>
                <a:gd name="connsiteY694" fmla="*/ 1149668 h 2314575"/>
                <a:gd name="connsiteX695" fmla="*/ 915353 w 1638300"/>
                <a:gd name="connsiteY695" fmla="*/ 1138238 h 2314575"/>
                <a:gd name="connsiteX696" fmla="*/ 913447 w 1638300"/>
                <a:gd name="connsiteY696" fmla="*/ 1132523 h 2314575"/>
                <a:gd name="connsiteX697" fmla="*/ 912495 w 1638300"/>
                <a:gd name="connsiteY697" fmla="*/ 1125855 h 2314575"/>
                <a:gd name="connsiteX698" fmla="*/ 912495 w 1638300"/>
                <a:gd name="connsiteY698" fmla="*/ 1108710 h 2314575"/>
                <a:gd name="connsiteX699" fmla="*/ 911543 w 1638300"/>
                <a:gd name="connsiteY699" fmla="*/ 1103948 h 2314575"/>
                <a:gd name="connsiteX700" fmla="*/ 905828 w 1638300"/>
                <a:gd name="connsiteY700" fmla="*/ 1101090 h 2314575"/>
                <a:gd name="connsiteX701" fmla="*/ 900113 w 1638300"/>
                <a:gd name="connsiteY701" fmla="*/ 1102995 h 2314575"/>
                <a:gd name="connsiteX702" fmla="*/ 895350 w 1638300"/>
                <a:gd name="connsiteY702" fmla="*/ 1106805 h 2314575"/>
                <a:gd name="connsiteX703" fmla="*/ 890588 w 1638300"/>
                <a:gd name="connsiteY703" fmla="*/ 1105853 h 2314575"/>
                <a:gd name="connsiteX704" fmla="*/ 888683 w 1638300"/>
                <a:gd name="connsiteY704" fmla="*/ 1102043 h 2314575"/>
                <a:gd name="connsiteX705" fmla="*/ 883920 w 1638300"/>
                <a:gd name="connsiteY705" fmla="*/ 1087755 h 2314575"/>
                <a:gd name="connsiteX706" fmla="*/ 882015 w 1638300"/>
                <a:gd name="connsiteY706" fmla="*/ 1082040 h 2314575"/>
                <a:gd name="connsiteX707" fmla="*/ 866775 w 1638300"/>
                <a:gd name="connsiteY707" fmla="*/ 1069658 h 2314575"/>
                <a:gd name="connsiteX708" fmla="*/ 851535 w 1638300"/>
                <a:gd name="connsiteY708" fmla="*/ 1067753 h 2314575"/>
                <a:gd name="connsiteX709" fmla="*/ 836295 w 1638300"/>
                <a:gd name="connsiteY709" fmla="*/ 1069658 h 2314575"/>
                <a:gd name="connsiteX710" fmla="*/ 819150 w 1638300"/>
                <a:gd name="connsiteY710" fmla="*/ 1066800 h 2314575"/>
                <a:gd name="connsiteX711" fmla="*/ 809625 w 1638300"/>
                <a:gd name="connsiteY711" fmla="*/ 1059180 h 2314575"/>
                <a:gd name="connsiteX712" fmla="*/ 797243 w 1638300"/>
                <a:gd name="connsiteY712" fmla="*/ 1039178 h 2314575"/>
                <a:gd name="connsiteX713" fmla="*/ 788670 w 1638300"/>
                <a:gd name="connsiteY713" fmla="*/ 1030605 h 2314575"/>
                <a:gd name="connsiteX714" fmla="*/ 781050 w 1638300"/>
                <a:gd name="connsiteY714" fmla="*/ 1027748 h 2314575"/>
                <a:gd name="connsiteX715" fmla="*/ 763905 w 1638300"/>
                <a:gd name="connsiteY715" fmla="*/ 1025843 h 2314575"/>
                <a:gd name="connsiteX716" fmla="*/ 755333 w 1638300"/>
                <a:gd name="connsiteY716" fmla="*/ 1022985 h 2314575"/>
                <a:gd name="connsiteX717" fmla="*/ 750570 w 1638300"/>
                <a:gd name="connsiteY717" fmla="*/ 1019175 h 2314575"/>
                <a:gd name="connsiteX718" fmla="*/ 741997 w 1638300"/>
                <a:gd name="connsiteY718" fmla="*/ 1009650 h 2314575"/>
                <a:gd name="connsiteX719" fmla="*/ 737235 w 1638300"/>
                <a:gd name="connsiteY719" fmla="*/ 1006793 h 2314575"/>
                <a:gd name="connsiteX720" fmla="*/ 723900 w 1638300"/>
                <a:gd name="connsiteY720" fmla="*/ 1008698 h 2314575"/>
                <a:gd name="connsiteX721" fmla="*/ 721043 w 1638300"/>
                <a:gd name="connsiteY721" fmla="*/ 1007745 h 2314575"/>
                <a:gd name="connsiteX722" fmla="*/ 716280 w 1638300"/>
                <a:gd name="connsiteY722" fmla="*/ 999173 h 2314575"/>
                <a:gd name="connsiteX723" fmla="*/ 717233 w 1638300"/>
                <a:gd name="connsiteY723" fmla="*/ 988695 h 2314575"/>
                <a:gd name="connsiteX724" fmla="*/ 720090 w 1638300"/>
                <a:gd name="connsiteY724" fmla="*/ 976313 h 2314575"/>
                <a:gd name="connsiteX725" fmla="*/ 723900 w 1638300"/>
                <a:gd name="connsiteY725" fmla="*/ 947738 h 2314575"/>
                <a:gd name="connsiteX726" fmla="*/ 729615 w 1638300"/>
                <a:gd name="connsiteY726" fmla="*/ 939165 h 2314575"/>
                <a:gd name="connsiteX727" fmla="*/ 735330 w 1638300"/>
                <a:gd name="connsiteY727" fmla="*/ 932498 h 2314575"/>
                <a:gd name="connsiteX728" fmla="*/ 740093 w 1638300"/>
                <a:gd name="connsiteY728" fmla="*/ 922020 h 2314575"/>
                <a:gd name="connsiteX729" fmla="*/ 739140 w 1638300"/>
                <a:gd name="connsiteY729" fmla="*/ 909638 h 2314575"/>
                <a:gd name="connsiteX730" fmla="*/ 735330 w 1638300"/>
                <a:gd name="connsiteY730" fmla="*/ 899160 h 2314575"/>
                <a:gd name="connsiteX731" fmla="*/ 729615 w 1638300"/>
                <a:gd name="connsiteY731" fmla="*/ 890588 h 2314575"/>
                <a:gd name="connsiteX732" fmla="*/ 721995 w 1638300"/>
                <a:gd name="connsiteY732" fmla="*/ 885825 h 2314575"/>
                <a:gd name="connsiteX733" fmla="*/ 712470 w 1638300"/>
                <a:gd name="connsiteY733" fmla="*/ 886778 h 2314575"/>
                <a:gd name="connsiteX734" fmla="*/ 706755 w 1638300"/>
                <a:gd name="connsiteY734" fmla="*/ 896303 h 2314575"/>
                <a:gd name="connsiteX735" fmla="*/ 701993 w 1638300"/>
                <a:gd name="connsiteY735" fmla="*/ 905828 h 2314575"/>
                <a:gd name="connsiteX736" fmla="*/ 696278 w 1638300"/>
                <a:gd name="connsiteY736" fmla="*/ 910590 h 2314575"/>
                <a:gd name="connsiteX737" fmla="*/ 691515 w 1638300"/>
                <a:gd name="connsiteY737" fmla="*/ 905828 h 2314575"/>
                <a:gd name="connsiteX738" fmla="*/ 675322 w 1638300"/>
                <a:gd name="connsiteY738" fmla="*/ 875348 h 2314575"/>
                <a:gd name="connsiteX739" fmla="*/ 673418 w 1638300"/>
                <a:gd name="connsiteY739" fmla="*/ 870585 h 2314575"/>
                <a:gd name="connsiteX740" fmla="*/ 674370 w 1638300"/>
                <a:gd name="connsiteY740" fmla="*/ 868680 h 2314575"/>
                <a:gd name="connsiteX741" fmla="*/ 675322 w 1638300"/>
                <a:gd name="connsiteY741" fmla="*/ 865823 h 2314575"/>
                <a:gd name="connsiteX742" fmla="*/ 689610 w 1638300"/>
                <a:gd name="connsiteY742" fmla="*/ 864870 h 2314575"/>
                <a:gd name="connsiteX743" fmla="*/ 701040 w 1638300"/>
                <a:gd name="connsiteY743" fmla="*/ 861060 h 2314575"/>
                <a:gd name="connsiteX744" fmla="*/ 708660 w 1638300"/>
                <a:gd name="connsiteY744" fmla="*/ 852488 h 2314575"/>
                <a:gd name="connsiteX745" fmla="*/ 712470 w 1638300"/>
                <a:gd name="connsiteY745" fmla="*/ 832485 h 2314575"/>
                <a:gd name="connsiteX746" fmla="*/ 706755 w 1638300"/>
                <a:gd name="connsiteY746" fmla="*/ 792480 h 2314575"/>
                <a:gd name="connsiteX747" fmla="*/ 708660 w 1638300"/>
                <a:gd name="connsiteY747" fmla="*/ 775335 h 2314575"/>
                <a:gd name="connsiteX748" fmla="*/ 721995 w 1638300"/>
                <a:gd name="connsiteY748" fmla="*/ 768668 h 2314575"/>
                <a:gd name="connsiteX749" fmla="*/ 727710 w 1638300"/>
                <a:gd name="connsiteY749" fmla="*/ 755333 h 2314575"/>
                <a:gd name="connsiteX750" fmla="*/ 727710 w 1638300"/>
                <a:gd name="connsiteY750" fmla="*/ 737235 h 2314575"/>
                <a:gd name="connsiteX751" fmla="*/ 721995 w 1638300"/>
                <a:gd name="connsiteY751" fmla="*/ 719138 h 2314575"/>
                <a:gd name="connsiteX752" fmla="*/ 715328 w 1638300"/>
                <a:gd name="connsiteY752" fmla="*/ 705803 h 2314575"/>
                <a:gd name="connsiteX753" fmla="*/ 706755 w 1638300"/>
                <a:gd name="connsiteY753" fmla="*/ 697230 h 2314575"/>
                <a:gd name="connsiteX754" fmla="*/ 696278 w 1638300"/>
                <a:gd name="connsiteY754" fmla="*/ 694373 h 2314575"/>
                <a:gd name="connsiteX755" fmla="*/ 685800 w 1638300"/>
                <a:gd name="connsiteY755" fmla="*/ 693420 h 2314575"/>
                <a:gd name="connsiteX756" fmla="*/ 675322 w 1638300"/>
                <a:gd name="connsiteY756" fmla="*/ 694373 h 2314575"/>
                <a:gd name="connsiteX757" fmla="*/ 669608 w 1638300"/>
                <a:gd name="connsiteY757" fmla="*/ 706755 h 2314575"/>
                <a:gd name="connsiteX758" fmla="*/ 667703 w 1638300"/>
                <a:gd name="connsiteY758" fmla="*/ 718185 h 2314575"/>
                <a:gd name="connsiteX759" fmla="*/ 663893 w 1638300"/>
                <a:gd name="connsiteY759" fmla="*/ 729615 h 2314575"/>
                <a:gd name="connsiteX760" fmla="*/ 654368 w 1638300"/>
                <a:gd name="connsiteY760" fmla="*/ 738188 h 2314575"/>
                <a:gd name="connsiteX761" fmla="*/ 645795 w 1638300"/>
                <a:gd name="connsiteY761" fmla="*/ 741045 h 2314575"/>
                <a:gd name="connsiteX762" fmla="*/ 638175 w 1638300"/>
                <a:gd name="connsiteY762" fmla="*/ 740093 h 2314575"/>
                <a:gd name="connsiteX763" fmla="*/ 629603 w 1638300"/>
                <a:gd name="connsiteY763" fmla="*/ 736283 h 2314575"/>
                <a:gd name="connsiteX764" fmla="*/ 622935 w 1638300"/>
                <a:gd name="connsiteY764" fmla="*/ 729615 h 2314575"/>
                <a:gd name="connsiteX765" fmla="*/ 615315 w 1638300"/>
                <a:gd name="connsiteY765" fmla="*/ 718185 h 2314575"/>
                <a:gd name="connsiteX766" fmla="*/ 614363 w 1638300"/>
                <a:gd name="connsiteY766" fmla="*/ 706755 h 2314575"/>
                <a:gd name="connsiteX767" fmla="*/ 613410 w 1638300"/>
                <a:gd name="connsiteY767" fmla="*/ 695325 h 2314575"/>
                <a:gd name="connsiteX768" fmla="*/ 611505 w 1638300"/>
                <a:gd name="connsiteY768" fmla="*/ 682943 h 2314575"/>
                <a:gd name="connsiteX769" fmla="*/ 603885 w 1638300"/>
                <a:gd name="connsiteY769" fmla="*/ 673418 h 2314575"/>
                <a:gd name="connsiteX770" fmla="*/ 596265 w 1638300"/>
                <a:gd name="connsiteY770" fmla="*/ 669608 h 2314575"/>
                <a:gd name="connsiteX771" fmla="*/ 587693 w 1638300"/>
                <a:gd name="connsiteY771" fmla="*/ 667703 h 2314575"/>
                <a:gd name="connsiteX772" fmla="*/ 580072 w 1638300"/>
                <a:gd name="connsiteY772" fmla="*/ 663893 h 2314575"/>
                <a:gd name="connsiteX773" fmla="*/ 576263 w 1638300"/>
                <a:gd name="connsiteY773" fmla="*/ 655320 h 2314575"/>
                <a:gd name="connsiteX774" fmla="*/ 573405 w 1638300"/>
                <a:gd name="connsiteY774" fmla="*/ 645795 h 2314575"/>
                <a:gd name="connsiteX775" fmla="*/ 570547 w 1638300"/>
                <a:gd name="connsiteY775" fmla="*/ 637223 h 2314575"/>
                <a:gd name="connsiteX776" fmla="*/ 554355 w 1638300"/>
                <a:gd name="connsiteY776" fmla="*/ 626745 h 2314575"/>
                <a:gd name="connsiteX777" fmla="*/ 544830 w 1638300"/>
                <a:gd name="connsiteY777" fmla="*/ 610553 h 2314575"/>
                <a:gd name="connsiteX778" fmla="*/ 537210 w 1638300"/>
                <a:gd name="connsiteY778" fmla="*/ 605790 h 2314575"/>
                <a:gd name="connsiteX779" fmla="*/ 528638 w 1638300"/>
                <a:gd name="connsiteY779" fmla="*/ 610553 h 2314575"/>
                <a:gd name="connsiteX780" fmla="*/ 522922 w 1638300"/>
                <a:gd name="connsiteY780" fmla="*/ 618173 h 2314575"/>
                <a:gd name="connsiteX781" fmla="*/ 518160 w 1638300"/>
                <a:gd name="connsiteY781" fmla="*/ 622935 h 2314575"/>
                <a:gd name="connsiteX782" fmla="*/ 508635 w 1638300"/>
                <a:gd name="connsiteY782" fmla="*/ 615315 h 2314575"/>
                <a:gd name="connsiteX783" fmla="*/ 503872 w 1638300"/>
                <a:gd name="connsiteY783" fmla="*/ 607695 h 2314575"/>
                <a:gd name="connsiteX784" fmla="*/ 495300 w 1638300"/>
                <a:gd name="connsiteY784" fmla="*/ 583883 h 2314575"/>
                <a:gd name="connsiteX785" fmla="*/ 490538 w 1638300"/>
                <a:gd name="connsiteY785" fmla="*/ 573405 h 2314575"/>
                <a:gd name="connsiteX786" fmla="*/ 483870 w 1638300"/>
                <a:gd name="connsiteY786" fmla="*/ 541973 h 2314575"/>
                <a:gd name="connsiteX787" fmla="*/ 490538 w 1638300"/>
                <a:gd name="connsiteY787" fmla="*/ 521970 h 2314575"/>
                <a:gd name="connsiteX788" fmla="*/ 503872 w 1638300"/>
                <a:gd name="connsiteY788" fmla="*/ 503873 h 2314575"/>
                <a:gd name="connsiteX789" fmla="*/ 518160 w 1638300"/>
                <a:gd name="connsiteY789" fmla="*/ 480060 h 2314575"/>
                <a:gd name="connsiteX790" fmla="*/ 522922 w 1638300"/>
                <a:gd name="connsiteY790" fmla="*/ 450533 h 2314575"/>
                <a:gd name="connsiteX791" fmla="*/ 522922 w 1638300"/>
                <a:gd name="connsiteY791" fmla="*/ 422910 h 2314575"/>
                <a:gd name="connsiteX792" fmla="*/ 525780 w 1638300"/>
                <a:gd name="connsiteY792" fmla="*/ 398145 h 2314575"/>
                <a:gd name="connsiteX793" fmla="*/ 541020 w 1638300"/>
                <a:gd name="connsiteY793" fmla="*/ 378143 h 2314575"/>
                <a:gd name="connsiteX794" fmla="*/ 547688 w 1638300"/>
                <a:gd name="connsiteY794" fmla="*/ 367665 h 2314575"/>
                <a:gd name="connsiteX795" fmla="*/ 545783 w 1638300"/>
                <a:gd name="connsiteY795" fmla="*/ 359093 h 2314575"/>
                <a:gd name="connsiteX796" fmla="*/ 539115 w 1638300"/>
                <a:gd name="connsiteY796" fmla="*/ 353378 h 2314575"/>
                <a:gd name="connsiteX797" fmla="*/ 521018 w 1638300"/>
                <a:gd name="connsiteY797" fmla="*/ 346710 h 2314575"/>
                <a:gd name="connsiteX798" fmla="*/ 515303 w 1638300"/>
                <a:gd name="connsiteY798" fmla="*/ 341948 h 2314575"/>
                <a:gd name="connsiteX799" fmla="*/ 515303 w 1638300"/>
                <a:gd name="connsiteY799" fmla="*/ 333375 h 2314575"/>
                <a:gd name="connsiteX800" fmla="*/ 520065 w 1638300"/>
                <a:gd name="connsiteY800" fmla="*/ 319088 h 2314575"/>
                <a:gd name="connsiteX801" fmla="*/ 526733 w 1638300"/>
                <a:gd name="connsiteY801" fmla="*/ 310515 h 2314575"/>
                <a:gd name="connsiteX802" fmla="*/ 536258 w 1638300"/>
                <a:gd name="connsiteY802" fmla="*/ 300038 h 2314575"/>
                <a:gd name="connsiteX803" fmla="*/ 544830 w 1638300"/>
                <a:gd name="connsiteY803" fmla="*/ 288608 h 2314575"/>
                <a:gd name="connsiteX804" fmla="*/ 545783 w 1638300"/>
                <a:gd name="connsiteY804" fmla="*/ 278130 h 2314575"/>
                <a:gd name="connsiteX805" fmla="*/ 541020 w 1638300"/>
                <a:gd name="connsiteY805" fmla="*/ 274320 h 2314575"/>
                <a:gd name="connsiteX806" fmla="*/ 520065 w 1638300"/>
                <a:gd name="connsiteY806" fmla="*/ 267653 h 2314575"/>
                <a:gd name="connsiteX807" fmla="*/ 512445 w 1638300"/>
                <a:gd name="connsiteY807" fmla="*/ 261938 h 2314575"/>
                <a:gd name="connsiteX808" fmla="*/ 508635 w 1638300"/>
                <a:gd name="connsiteY808" fmla="*/ 250508 h 2314575"/>
                <a:gd name="connsiteX809" fmla="*/ 503872 w 1638300"/>
                <a:gd name="connsiteY809" fmla="*/ 223838 h 2314575"/>
                <a:gd name="connsiteX810" fmla="*/ 500063 w 1638300"/>
                <a:gd name="connsiteY810" fmla="*/ 211455 h 2314575"/>
                <a:gd name="connsiteX811" fmla="*/ 493395 w 1638300"/>
                <a:gd name="connsiteY811" fmla="*/ 200978 h 2314575"/>
                <a:gd name="connsiteX812" fmla="*/ 486728 w 1638300"/>
                <a:gd name="connsiteY812" fmla="*/ 195263 h 2314575"/>
                <a:gd name="connsiteX813" fmla="*/ 480060 w 1638300"/>
                <a:gd name="connsiteY813" fmla="*/ 192405 h 2314575"/>
                <a:gd name="connsiteX814" fmla="*/ 470535 w 1638300"/>
                <a:gd name="connsiteY814" fmla="*/ 191453 h 2314575"/>
                <a:gd name="connsiteX815" fmla="*/ 454343 w 1638300"/>
                <a:gd name="connsiteY815" fmla="*/ 200025 h 2314575"/>
                <a:gd name="connsiteX816" fmla="*/ 430530 w 1638300"/>
                <a:gd name="connsiteY816" fmla="*/ 230505 h 2314575"/>
                <a:gd name="connsiteX817" fmla="*/ 411480 w 1638300"/>
                <a:gd name="connsiteY817" fmla="*/ 234315 h 2314575"/>
                <a:gd name="connsiteX818" fmla="*/ 395288 w 1638300"/>
                <a:gd name="connsiteY818" fmla="*/ 227648 h 2314575"/>
                <a:gd name="connsiteX819" fmla="*/ 377190 w 1638300"/>
                <a:gd name="connsiteY819" fmla="*/ 213360 h 2314575"/>
                <a:gd name="connsiteX820" fmla="*/ 360045 w 1638300"/>
                <a:gd name="connsiteY820" fmla="*/ 194310 h 2314575"/>
                <a:gd name="connsiteX821" fmla="*/ 348615 w 1638300"/>
                <a:gd name="connsiteY821" fmla="*/ 175260 h 2314575"/>
                <a:gd name="connsiteX822" fmla="*/ 358140 w 1638300"/>
                <a:gd name="connsiteY822" fmla="*/ 167640 h 2314575"/>
                <a:gd name="connsiteX823" fmla="*/ 402908 w 1638300"/>
                <a:gd name="connsiteY823" fmla="*/ 147638 h 2314575"/>
                <a:gd name="connsiteX824" fmla="*/ 414338 w 1638300"/>
                <a:gd name="connsiteY824" fmla="*/ 140018 h 2314575"/>
                <a:gd name="connsiteX825" fmla="*/ 420053 w 1638300"/>
                <a:gd name="connsiteY825" fmla="*/ 131445 h 2314575"/>
                <a:gd name="connsiteX826" fmla="*/ 426720 w 1638300"/>
                <a:gd name="connsiteY826" fmla="*/ 123825 h 2314575"/>
                <a:gd name="connsiteX827" fmla="*/ 431483 w 1638300"/>
                <a:gd name="connsiteY827" fmla="*/ 120015 h 2314575"/>
                <a:gd name="connsiteX828" fmla="*/ 440055 w 1638300"/>
                <a:gd name="connsiteY828" fmla="*/ 115253 h 2314575"/>
                <a:gd name="connsiteX829" fmla="*/ 445770 w 1638300"/>
                <a:gd name="connsiteY829" fmla="*/ 110490 h 2314575"/>
                <a:gd name="connsiteX830" fmla="*/ 447675 w 1638300"/>
                <a:gd name="connsiteY830" fmla="*/ 108585 h 2314575"/>
                <a:gd name="connsiteX831" fmla="*/ 448628 w 1638300"/>
                <a:gd name="connsiteY831" fmla="*/ 105728 h 2314575"/>
                <a:gd name="connsiteX832" fmla="*/ 447675 w 1638300"/>
                <a:gd name="connsiteY832" fmla="*/ 100013 h 2314575"/>
                <a:gd name="connsiteX833" fmla="*/ 443865 w 1638300"/>
                <a:gd name="connsiteY833" fmla="*/ 80010 h 2314575"/>
                <a:gd name="connsiteX834" fmla="*/ 443865 w 1638300"/>
                <a:gd name="connsiteY834" fmla="*/ 75248 h 2314575"/>
                <a:gd name="connsiteX835" fmla="*/ 443865 w 1638300"/>
                <a:gd name="connsiteY835" fmla="*/ 72390 h 2314575"/>
                <a:gd name="connsiteX836" fmla="*/ 445770 w 1638300"/>
                <a:gd name="connsiteY836" fmla="*/ 69533 h 2314575"/>
                <a:gd name="connsiteX837" fmla="*/ 447675 w 1638300"/>
                <a:gd name="connsiteY837" fmla="*/ 68580 h 2314575"/>
                <a:gd name="connsiteX838" fmla="*/ 462915 w 1638300"/>
                <a:gd name="connsiteY838" fmla="*/ 61913 h 2314575"/>
                <a:gd name="connsiteX839" fmla="*/ 467678 w 1638300"/>
                <a:gd name="connsiteY839" fmla="*/ 60960 h 2314575"/>
                <a:gd name="connsiteX840" fmla="*/ 470535 w 1638300"/>
                <a:gd name="connsiteY840" fmla="*/ 60960 h 2314575"/>
                <a:gd name="connsiteX841" fmla="*/ 476250 w 1638300"/>
                <a:gd name="connsiteY841" fmla="*/ 62865 h 2314575"/>
                <a:gd name="connsiteX842" fmla="*/ 479108 w 1638300"/>
                <a:gd name="connsiteY842" fmla="*/ 64770 h 2314575"/>
                <a:gd name="connsiteX843" fmla="*/ 483870 w 1638300"/>
                <a:gd name="connsiteY843" fmla="*/ 68580 h 2314575"/>
                <a:gd name="connsiteX844" fmla="*/ 493395 w 1638300"/>
                <a:gd name="connsiteY844" fmla="*/ 77153 h 2314575"/>
                <a:gd name="connsiteX845" fmla="*/ 500063 w 1638300"/>
                <a:gd name="connsiteY845" fmla="*/ 81915 h 2314575"/>
                <a:gd name="connsiteX846" fmla="*/ 501968 w 1638300"/>
                <a:gd name="connsiteY846" fmla="*/ 83820 h 2314575"/>
                <a:gd name="connsiteX847" fmla="*/ 506730 w 1638300"/>
                <a:gd name="connsiteY847" fmla="*/ 89535 h 2314575"/>
                <a:gd name="connsiteX848" fmla="*/ 511493 w 1638300"/>
                <a:gd name="connsiteY848" fmla="*/ 92393 h 2314575"/>
                <a:gd name="connsiteX849" fmla="*/ 539115 w 1638300"/>
                <a:gd name="connsiteY849" fmla="*/ 103823 h 2314575"/>
                <a:gd name="connsiteX850" fmla="*/ 548640 w 1638300"/>
                <a:gd name="connsiteY850" fmla="*/ 108585 h 2314575"/>
                <a:gd name="connsiteX851" fmla="*/ 551497 w 1638300"/>
                <a:gd name="connsiteY851" fmla="*/ 109538 h 2314575"/>
                <a:gd name="connsiteX852" fmla="*/ 600075 w 1638300"/>
                <a:gd name="connsiteY852" fmla="*/ 107633 h 2314575"/>
                <a:gd name="connsiteX853" fmla="*/ 650558 w 1638300"/>
                <a:gd name="connsiteY853" fmla="*/ 86678 h 2314575"/>
                <a:gd name="connsiteX854" fmla="*/ 659130 w 1638300"/>
                <a:gd name="connsiteY854" fmla="*/ 86678 h 2314575"/>
                <a:gd name="connsiteX855" fmla="*/ 663893 w 1638300"/>
                <a:gd name="connsiteY855" fmla="*/ 90488 h 2314575"/>
                <a:gd name="connsiteX856" fmla="*/ 683895 w 1638300"/>
                <a:gd name="connsiteY856" fmla="*/ 102870 h 2314575"/>
                <a:gd name="connsiteX857" fmla="*/ 690563 w 1638300"/>
                <a:gd name="connsiteY857" fmla="*/ 104775 h 2314575"/>
                <a:gd name="connsiteX858" fmla="*/ 730568 w 1638300"/>
                <a:gd name="connsiteY858" fmla="*/ 107633 h 2314575"/>
                <a:gd name="connsiteX859" fmla="*/ 760095 w 1638300"/>
                <a:gd name="connsiteY859" fmla="*/ 104775 h 2314575"/>
                <a:gd name="connsiteX860" fmla="*/ 764858 w 1638300"/>
                <a:gd name="connsiteY860" fmla="*/ 102870 h 2314575"/>
                <a:gd name="connsiteX861" fmla="*/ 767715 w 1638300"/>
                <a:gd name="connsiteY861" fmla="*/ 101918 h 2314575"/>
                <a:gd name="connsiteX862" fmla="*/ 770572 w 1638300"/>
                <a:gd name="connsiteY862" fmla="*/ 102870 h 2314575"/>
                <a:gd name="connsiteX863" fmla="*/ 775335 w 1638300"/>
                <a:gd name="connsiteY863" fmla="*/ 104775 h 2314575"/>
                <a:gd name="connsiteX864" fmla="*/ 778193 w 1638300"/>
                <a:gd name="connsiteY864" fmla="*/ 104775 h 2314575"/>
                <a:gd name="connsiteX865" fmla="*/ 780097 w 1638300"/>
                <a:gd name="connsiteY865" fmla="*/ 102870 h 2314575"/>
                <a:gd name="connsiteX866" fmla="*/ 788670 w 1638300"/>
                <a:gd name="connsiteY866" fmla="*/ 77153 h 2314575"/>
                <a:gd name="connsiteX867" fmla="*/ 789622 w 1638300"/>
                <a:gd name="connsiteY867" fmla="*/ 72390 h 2314575"/>
                <a:gd name="connsiteX868" fmla="*/ 789622 w 1638300"/>
                <a:gd name="connsiteY868" fmla="*/ 68580 h 2314575"/>
                <a:gd name="connsiteX869" fmla="*/ 786765 w 1638300"/>
                <a:gd name="connsiteY869" fmla="*/ 63818 h 2314575"/>
                <a:gd name="connsiteX870" fmla="*/ 776288 w 1638300"/>
                <a:gd name="connsiteY870" fmla="*/ 49530 h 2314575"/>
                <a:gd name="connsiteX871" fmla="*/ 773430 w 1638300"/>
                <a:gd name="connsiteY871" fmla="*/ 44768 h 2314575"/>
                <a:gd name="connsiteX872" fmla="*/ 772478 w 1638300"/>
                <a:gd name="connsiteY872" fmla="*/ 42863 h 2314575"/>
                <a:gd name="connsiteX873" fmla="*/ 773430 w 1638300"/>
                <a:gd name="connsiteY873" fmla="*/ 39053 h 2314575"/>
                <a:gd name="connsiteX874" fmla="*/ 775335 w 1638300"/>
                <a:gd name="connsiteY874" fmla="*/ 36195 h 2314575"/>
                <a:gd name="connsiteX875" fmla="*/ 782003 w 1638300"/>
                <a:gd name="connsiteY875" fmla="*/ 32385 h 2314575"/>
                <a:gd name="connsiteX876" fmla="*/ 786765 w 1638300"/>
                <a:gd name="connsiteY876" fmla="*/ 33338 h 2314575"/>
                <a:gd name="connsiteX877" fmla="*/ 790575 w 1638300"/>
                <a:gd name="connsiteY877" fmla="*/ 34290 h 2314575"/>
                <a:gd name="connsiteX878" fmla="*/ 795338 w 1638300"/>
                <a:gd name="connsiteY878" fmla="*/ 33338 h 2314575"/>
                <a:gd name="connsiteX879" fmla="*/ 800100 w 1638300"/>
                <a:gd name="connsiteY879" fmla="*/ 32385 h 2314575"/>
                <a:gd name="connsiteX880" fmla="*/ 830580 w 1638300"/>
                <a:gd name="connsiteY880" fmla="*/ 15240 h 2314575"/>
                <a:gd name="connsiteX881" fmla="*/ 843915 w 1638300"/>
                <a:gd name="connsiteY881" fmla="*/ 13335 h 2314575"/>
                <a:gd name="connsiteX882" fmla="*/ 852488 w 1638300"/>
                <a:gd name="connsiteY882" fmla="*/ 9525 h 2314575"/>
                <a:gd name="connsiteX883" fmla="*/ 854393 w 1638300"/>
                <a:gd name="connsiteY883" fmla="*/ 9525 h 2314575"/>
                <a:gd name="connsiteX884" fmla="*/ 857250 w 1638300"/>
                <a:gd name="connsiteY884" fmla="*/ 10478 h 2314575"/>
                <a:gd name="connsiteX885" fmla="*/ 860108 w 1638300"/>
                <a:gd name="connsiteY885" fmla="*/ 11430 h 2314575"/>
                <a:gd name="connsiteX886" fmla="*/ 869633 w 1638300"/>
                <a:gd name="connsiteY886" fmla="*/ 19050 h 2314575"/>
                <a:gd name="connsiteX887" fmla="*/ 879158 w 1638300"/>
                <a:gd name="connsiteY887" fmla="*/ 31433 h 2314575"/>
                <a:gd name="connsiteX888" fmla="*/ 882015 w 1638300"/>
                <a:gd name="connsiteY888" fmla="*/ 33338 h 2314575"/>
                <a:gd name="connsiteX889" fmla="*/ 883920 w 1638300"/>
                <a:gd name="connsiteY889" fmla="*/ 34290 h 2314575"/>
                <a:gd name="connsiteX890" fmla="*/ 886778 w 1638300"/>
                <a:gd name="connsiteY890" fmla="*/ 34290 h 2314575"/>
                <a:gd name="connsiteX891" fmla="*/ 889635 w 1638300"/>
                <a:gd name="connsiteY891" fmla="*/ 32385 h 2314575"/>
                <a:gd name="connsiteX892" fmla="*/ 892493 w 1638300"/>
                <a:gd name="connsiteY892" fmla="*/ 29528 h 2314575"/>
                <a:gd name="connsiteX893" fmla="*/ 903922 w 1638300"/>
                <a:gd name="connsiteY893" fmla="*/ 7620 h 2314575"/>
                <a:gd name="connsiteX894" fmla="*/ 907733 w 1638300"/>
                <a:gd name="connsiteY894" fmla="*/ 2858 h 2314575"/>
                <a:gd name="connsiteX895" fmla="*/ 908685 w 1638300"/>
                <a:gd name="connsiteY895" fmla="*/ 953 h 2314575"/>
                <a:gd name="connsiteX896" fmla="*/ 911543 w 1638300"/>
                <a:gd name="connsiteY896" fmla="*/ 0 h 2314575"/>
                <a:gd name="connsiteX897" fmla="*/ 915353 w 1638300"/>
                <a:gd name="connsiteY897" fmla="*/ 953 h 2314575"/>
                <a:gd name="connsiteX898" fmla="*/ 922020 w 1638300"/>
                <a:gd name="connsiteY898" fmla="*/ 7620 h 2314575"/>
                <a:gd name="connsiteX899" fmla="*/ 924878 w 1638300"/>
                <a:gd name="connsiteY899" fmla="*/ 10478 h 2314575"/>
                <a:gd name="connsiteX900" fmla="*/ 927735 w 1638300"/>
                <a:gd name="connsiteY900" fmla="*/ 10478 h 2314575"/>
                <a:gd name="connsiteX901" fmla="*/ 932497 w 1638300"/>
                <a:gd name="connsiteY901" fmla="*/ 9525 h 2314575"/>
                <a:gd name="connsiteX902" fmla="*/ 939165 w 1638300"/>
                <a:gd name="connsiteY902" fmla="*/ 4763 h 2314575"/>
                <a:gd name="connsiteX903" fmla="*/ 947738 w 1638300"/>
                <a:gd name="connsiteY903" fmla="*/ 1905 h 2314575"/>
                <a:gd name="connsiteX904" fmla="*/ 956310 w 1638300"/>
                <a:gd name="connsiteY904" fmla="*/ 19050 h 2314575"/>
                <a:gd name="connsiteX905" fmla="*/ 963930 w 1638300"/>
                <a:gd name="connsiteY905" fmla="*/ 38100 h 2314575"/>
                <a:gd name="connsiteX906" fmla="*/ 974408 w 1638300"/>
                <a:gd name="connsiteY906" fmla="*/ 53340 h 2314575"/>
                <a:gd name="connsiteX907" fmla="*/ 993458 w 1638300"/>
                <a:gd name="connsiteY907" fmla="*/ 62865 h 2314575"/>
                <a:gd name="connsiteX908" fmla="*/ 1103948 w 1638300"/>
                <a:gd name="connsiteY908" fmla="*/ 68580 h 2314575"/>
                <a:gd name="connsiteX909" fmla="*/ 1017270 w 1638300"/>
                <a:gd name="connsiteY909" fmla="*/ 1438275 h 2314575"/>
                <a:gd name="connsiteX910" fmla="*/ 1010603 w 1638300"/>
                <a:gd name="connsiteY910" fmla="*/ 1450657 h 2314575"/>
                <a:gd name="connsiteX911" fmla="*/ 1009650 w 1638300"/>
                <a:gd name="connsiteY911" fmla="*/ 1456373 h 2314575"/>
                <a:gd name="connsiteX912" fmla="*/ 1007745 w 1638300"/>
                <a:gd name="connsiteY912" fmla="*/ 1461135 h 2314575"/>
                <a:gd name="connsiteX913" fmla="*/ 1006793 w 1638300"/>
                <a:gd name="connsiteY913" fmla="*/ 1465898 h 2314575"/>
                <a:gd name="connsiteX914" fmla="*/ 1007745 w 1638300"/>
                <a:gd name="connsiteY914" fmla="*/ 1474470 h 2314575"/>
                <a:gd name="connsiteX915" fmla="*/ 1009650 w 1638300"/>
                <a:gd name="connsiteY915" fmla="*/ 1479232 h 2314575"/>
                <a:gd name="connsiteX916" fmla="*/ 1015365 w 1638300"/>
                <a:gd name="connsiteY916" fmla="*/ 1491615 h 2314575"/>
                <a:gd name="connsiteX917" fmla="*/ 1050608 w 1638300"/>
                <a:gd name="connsiteY917" fmla="*/ 1531620 h 2314575"/>
                <a:gd name="connsiteX918" fmla="*/ 1060133 w 1638300"/>
                <a:gd name="connsiteY918" fmla="*/ 1536382 h 2314575"/>
                <a:gd name="connsiteX919" fmla="*/ 1071563 w 1638300"/>
                <a:gd name="connsiteY919" fmla="*/ 1538288 h 2314575"/>
                <a:gd name="connsiteX920" fmla="*/ 1108710 w 1638300"/>
                <a:gd name="connsiteY920" fmla="*/ 1553528 h 2314575"/>
                <a:gd name="connsiteX921" fmla="*/ 1128713 w 1638300"/>
                <a:gd name="connsiteY921" fmla="*/ 1569720 h 2314575"/>
                <a:gd name="connsiteX922" fmla="*/ 1142048 w 1638300"/>
                <a:gd name="connsiteY922" fmla="*/ 1589723 h 2314575"/>
                <a:gd name="connsiteX923" fmla="*/ 1172528 w 1638300"/>
                <a:gd name="connsiteY923" fmla="*/ 1654493 h 2314575"/>
                <a:gd name="connsiteX924" fmla="*/ 1176338 w 1638300"/>
                <a:gd name="connsiteY924" fmla="*/ 1660207 h 2314575"/>
                <a:gd name="connsiteX925" fmla="*/ 1183005 w 1638300"/>
                <a:gd name="connsiteY925" fmla="*/ 1662113 h 2314575"/>
                <a:gd name="connsiteX926" fmla="*/ 1186815 w 1638300"/>
                <a:gd name="connsiteY926" fmla="*/ 1660207 h 2314575"/>
                <a:gd name="connsiteX927" fmla="*/ 1200150 w 1638300"/>
                <a:gd name="connsiteY927" fmla="*/ 1647825 h 2314575"/>
                <a:gd name="connsiteX928" fmla="*/ 1202055 w 1638300"/>
                <a:gd name="connsiteY928" fmla="*/ 1644015 h 2314575"/>
                <a:gd name="connsiteX929" fmla="*/ 1203960 w 1638300"/>
                <a:gd name="connsiteY929" fmla="*/ 1640205 h 2314575"/>
                <a:gd name="connsiteX930" fmla="*/ 1207770 w 1638300"/>
                <a:gd name="connsiteY930" fmla="*/ 1634490 h 2314575"/>
                <a:gd name="connsiteX931" fmla="*/ 1211580 w 1638300"/>
                <a:gd name="connsiteY931" fmla="*/ 1628775 h 2314575"/>
                <a:gd name="connsiteX932" fmla="*/ 1213485 w 1638300"/>
                <a:gd name="connsiteY932" fmla="*/ 1620203 h 2314575"/>
                <a:gd name="connsiteX933" fmla="*/ 1213485 w 1638300"/>
                <a:gd name="connsiteY933" fmla="*/ 1614488 h 2314575"/>
                <a:gd name="connsiteX934" fmla="*/ 1211580 w 1638300"/>
                <a:gd name="connsiteY934" fmla="*/ 1612582 h 2314575"/>
                <a:gd name="connsiteX935" fmla="*/ 1207770 w 1638300"/>
                <a:gd name="connsiteY935" fmla="*/ 1609725 h 2314575"/>
                <a:gd name="connsiteX936" fmla="*/ 1202055 w 1638300"/>
                <a:gd name="connsiteY936" fmla="*/ 1604963 h 2314575"/>
                <a:gd name="connsiteX937" fmla="*/ 1171575 w 1638300"/>
                <a:gd name="connsiteY937" fmla="*/ 1575435 h 2314575"/>
                <a:gd name="connsiteX938" fmla="*/ 1166813 w 1638300"/>
                <a:gd name="connsiteY938" fmla="*/ 1565910 h 2314575"/>
                <a:gd name="connsiteX939" fmla="*/ 1167765 w 1638300"/>
                <a:gd name="connsiteY939" fmla="*/ 1559243 h 2314575"/>
                <a:gd name="connsiteX940" fmla="*/ 1169670 w 1638300"/>
                <a:gd name="connsiteY940" fmla="*/ 1548765 h 2314575"/>
                <a:gd name="connsiteX941" fmla="*/ 1169670 w 1638300"/>
                <a:gd name="connsiteY941" fmla="*/ 1542098 h 2314575"/>
                <a:gd name="connsiteX942" fmla="*/ 1167765 w 1638300"/>
                <a:gd name="connsiteY942" fmla="*/ 1534478 h 2314575"/>
                <a:gd name="connsiteX943" fmla="*/ 1166813 w 1638300"/>
                <a:gd name="connsiteY943" fmla="*/ 1529715 h 2314575"/>
                <a:gd name="connsiteX944" fmla="*/ 1163955 w 1638300"/>
                <a:gd name="connsiteY944" fmla="*/ 1525905 h 2314575"/>
                <a:gd name="connsiteX945" fmla="*/ 1159193 w 1638300"/>
                <a:gd name="connsiteY945" fmla="*/ 1521143 h 2314575"/>
                <a:gd name="connsiteX946" fmla="*/ 1127760 w 1638300"/>
                <a:gd name="connsiteY946" fmla="*/ 1503045 h 2314575"/>
                <a:gd name="connsiteX947" fmla="*/ 1122998 w 1638300"/>
                <a:gd name="connsiteY947" fmla="*/ 1492568 h 2314575"/>
                <a:gd name="connsiteX948" fmla="*/ 1122998 w 1638300"/>
                <a:gd name="connsiteY948" fmla="*/ 1477328 h 2314575"/>
                <a:gd name="connsiteX949" fmla="*/ 1121093 w 1638300"/>
                <a:gd name="connsiteY949" fmla="*/ 1462088 h 2314575"/>
                <a:gd name="connsiteX950" fmla="*/ 1118235 w 1638300"/>
                <a:gd name="connsiteY950" fmla="*/ 1447800 h 2314575"/>
                <a:gd name="connsiteX951" fmla="*/ 1112520 w 1638300"/>
                <a:gd name="connsiteY951" fmla="*/ 1438275 h 2314575"/>
                <a:gd name="connsiteX952" fmla="*/ 1109663 w 1638300"/>
                <a:gd name="connsiteY952" fmla="*/ 1456373 h 2314575"/>
                <a:gd name="connsiteX953" fmla="*/ 1107758 w 1638300"/>
                <a:gd name="connsiteY953" fmla="*/ 1475423 h 2314575"/>
                <a:gd name="connsiteX954" fmla="*/ 1104900 w 1638300"/>
                <a:gd name="connsiteY954" fmla="*/ 1486853 h 2314575"/>
                <a:gd name="connsiteX955" fmla="*/ 1094423 w 1638300"/>
                <a:gd name="connsiteY955" fmla="*/ 1484948 h 2314575"/>
                <a:gd name="connsiteX956" fmla="*/ 1085850 w 1638300"/>
                <a:gd name="connsiteY956" fmla="*/ 1476375 h 2314575"/>
                <a:gd name="connsiteX957" fmla="*/ 1077278 w 1638300"/>
                <a:gd name="connsiteY957" fmla="*/ 1463040 h 2314575"/>
                <a:gd name="connsiteX958" fmla="*/ 1072515 w 1638300"/>
                <a:gd name="connsiteY958" fmla="*/ 1446848 h 2314575"/>
                <a:gd name="connsiteX959" fmla="*/ 1076325 w 1638300"/>
                <a:gd name="connsiteY959" fmla="*/ 1432560 h 2314575"/>
                <a:gd name="connsiteX960" fmla="*/ 1073468 w 1638300"/>
                <a:gd name="connsiteY960" fmla="*/ 1427798 h 2314575"/>
                <a:gd name="connsiteX961" fmla="*/ 1069658 w 1638300"/>
                <a:gd name="connsiteY961" fmla="*/ 1423988 h 2314575"/>
                <a:gd name="connsiteX962" fmla="*/ 1063943 w 1638300"/>
                <a:gd name="connsiteY962" fmla="*/ 1421130 h 2314575"/>
                <a:gd name="connsiteX963" fmla="*/ 1058228 w 1638300"/>
                <a:gd name="connsiteY963" fmla="*/ 1421130 h 2314575"/>
                <a:gd name="connsiteX964" fmla="*/ 1017270 w 1638300"/>
                <a:gd name="connsiteY964" fmla="*/ 1438275 h 2314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</a:cxnLst>
              <a:rect l="l" t="t" r="r" b="b"/>
              <a:pathLst>
                <a:path w="1638300" h="2314575">
                  <a:moveTo>
                    <a:pt x="847725" y="2015490"/>
                  </a:moveTo>
                  <a:lnTo>
                    <a:pt x="806768" y="2032635"/>
                  </a:lnTo>
                  <a:lnTo>
                    <a:pt x="833438" y="2018348"/>
                  </a:lnTo>
                  <a:lnTo>
                    <a:pt x="844868" y="2009775"/>
                  </a:lnTo>
                  <a:lnTo>
                    <a:pt x="848678" y="2002155"/>
                  </a:lnTo>
                  <a:lnTo>
                    <a:pt x="851535" y="1995488"/>
                  </a:lnTo>
                  <a:lnTo>
                    <a:pt x="858203" y="1992630"/>
                  </a:lnTo>
                  <a:lnTo>
                    <a:pt x="866775" y="1991678"/>
                  </a:lnTo>
                  <a:lnTo>
                    <a:pt x="873443" y="1988820"/>
                  </a:lnTo>
                  <a:lnTo>
                    <a:pt x="882015" y="1982153"/>
                  </a:lnTo>
                  <a:lnTo>
                    <a:pt x="897255" y="1965007"/>
                  </a:lnTo>
                  <a:lnTo>
                    <a:pt x="905828" y="1957388"/>
                  </a:lnTo>
                  <a:lnTo>
                    <a:pt x="988695" y="1881188"/>
                  </a:lnTo>
                  <a:lnTo>
                    <a:pt x="1015365" y="1866900"/>
                  </a:lnTo>
                  <a:lnTo>
                    <a:pt x="901065" y="1976438"/>
                  </a:lnTo>
                  <a:lnTo>
                    <a:pt x="847725" y="2015490"/>
                  </a:lnTo>
                  <a:close/>
                  <a:moveTo>
                    <a:pt x="1103948" y="68580"/>
                  </a:moveTo>
                  <a:lnTo>
                    <a:pt x="1103948" y="82868"/>
                  </a:lnTo>
                  <a:lnTo>
                    <a:pt x="1104900" y="86678"/>
                  </a:lnTo>
                  <a:lnTo>
                    <a:pt x="1106805" y="88583"/>
                  </a:lnTo>
                  <a:lnTo>
                    <a:pt x="1113473" y="92393"/>
                  </a:lnTo>
                  <a:lnTo>
                    <a:pt x="1116330" y="95250"/>
                  </a:lnTo>
                  <a:lnTo>
                    <a:pt x="1116330" y="99060"/>
                  </a:lnTo>
                  <a:lnTo>
                    <a:pt x="1115378" y="102870"/>
                  </a:lnTo>
                  <a:lnTo>
                    <a:pt x="1113473" y="104775"/>
                  </a:lnTo>
                  <a:lnTo>
                    <a:pt x="1110615" y="105728"/>
                  </a:lnTo>
                  <a:lnTo>
                    <a:pt x="1104900" y="103823"/>
                  </a:lnTo>
                  <a:lnTo>
                    <a:pt x="1102043" y="103823"/>
                  </a:lnTo>
                  <a:lnTo>
                    <a:pt x="1099185" y="103823"/>
                  </a:lnTo>
                  <a:lnTo>
                    <a:pt x="1097280" y="105728"/>
                  </a:lnTo>
                  <a:lnTo>
                    <a:pt x="1094423" y="109538"/>
                  </a:lnTo>
                  <a:lnTo>
                    <a:pt x="1092518" y="110490"/>
                  </a:lnTo>
                  <a:lnTo>
                    <a:pt x="1083945" y="109538"/>
                  </a:lnTo>
                  <a:lnTo>
                    <a:pt x="1065848" y="117158"/>
                  </a:lnTo>
                  <a:lnTo>
                    <a:pt x="1060133" y="122873"/>
                  </a:lnTo>
                  <a:lnTo>
                    <a:pt x="1059180" y="124778"/>
                  </a:lnTo>
                  <a:lnTo>
                    <a:pt x="1060133" y="126683"/>
                  </a:lnTo>
                  <a:lnTo>
                    <a:pt x="1066800" y="131445"/>
                  </a:lnTo>
                  <a:lnTo>
                    <a:pt x="1067753" y="134303"/>
                  </a:lnTo>
                  <a:lnTo>
                    <a:pt x="1068705" y="138113"/>
                  </a:lnTo>
                  <a:lnTo>
                    <a:pt x="1067753" y="148590"/>
                  </a:lnTo>
                  <a:lnTo>
                    <a:pt x="1068705" y="151448"/>
                  </a:lnTo>
                  <a:lnTo>
                    <a:pt x="1067753" y="157163"/>
                  </a:lnTo>
                  <a:lnTo>
                    <a:pt x="1063943" y="163830"/>
                  </a:lnTo>
                  <a:lnTo>
                    <a:pt x="1062990" y="169545"/>
                  </a:lnTo>
                  <a:lnTo>
                    <a:pt x="1062990" y="177165"/>
                  </a:lnTo>
                  <a:lnTo>
                    <a:pt x="1064895" y="181928"/>
                  </a:lnTo>
                  <a:lnTo>
                    <a:pt x="1068705" y="183833"/>
                  </a:lnTo>
                  <a:lnTo>
                    <a:pt x="1082040" y="187643"/>
                  </a:lnTo>
                  <a:lnTo>
                    <a:pt x="1083945" y="188595"/>
                  </a:lnTo>
                  <a:lnTo>
                    <a:pt x="1087755" y="193358"/>
                  </a:lnTo>
                  <a:lnTo>
                    <a:pt x="1093470" y="200978"/>
                  </a:lnTo>
                  <a:lnTo>
                    <a:pt x="1102995" y="213360"/>
                  </a:lnTo>
                  <a:lnTo>
                    <a:pt x="1104900" y="216218"/>
                  </a:lnTo>
                  <a:lnTo>
                    <a:pt x="1105853" y="219075"/>
                  </a:lnTo>
                  <a:lnTo>
                    <a:pt x="1119188" y="303848"/>
                  </a:lnTo>
                  <a:lnTo>
                    <a:pt x="1120140" y="310515"/>
                  </a:lnTo>
                  <a:lnTo>
                    <a:pt x="1123950" y="317183"/>
                  </a:lnTo>
                  <a:lnTo>
                    <a:pt x="1132523" y="324803"/>
                  </a:lnTo>
                  <a:lnTo>
                    <a:pt x="1138238" y="328613"/>
                  </a:lnTo>
                  <a:lnTo>
                    <a:pt x="1151573" y="334328"/>
                  </a:lnTo>
                  <a:lnTo>
                    <a:pt x="1154430" y="336233"/>
                  </a:lnTo>
                  <a:lnTo>
                    <a:pt x="1157288" y="340043"/>
                  </a:lnTo>
                  <a:lnTo>
                    <a:pt x="1160145" y="351473"/>
                  </a:lnTo>
                  <a:lnTo>
                    <a:pt x="1160145" y="355283"/>
                  </a:lnTo>
                  <a:lnTo>
                    <a:pt x="1158240" y="359093"/>
                  </a:lnTo>
                  <a:lnTo>
                    <a:pt x="1156335" y="360998"/>
                  </a:lnTo>
                  <a:lnTo>
                    <a:pt x="1151573" y="366713"/>
                  </a:lnTo>
                  <a:lnTo>
                    <a:pt x="1149668" y="368618"/>
                  </a:lnTo>
                  <a:lnTo>
                    <a:pt x="1148715" y="371475"/>
                  </a:lnTo>
                  <a:lnTo>
                    <a:pt x="1148715" y="375285"/>
                  </a:lnTo>
                  <a:lnTo>
                    <a:pt x="1150620" y="378143"/>
                  </a:lnTo>
                  <a:lnTo>
                    <a:pt x="1157288" y="385763"/>
                  </a:lnTo>
                  <a:lnTo>
                    <a:pt x="1163955" y="390525"/>
                  </a:lnTo>
                  <a:lnTo>
                    <a:pt x="1167765" y="396240"/>
                  </a:lnTo>
                  <a:lnTo>
                    <a:pt x="1167765" y="401955"/>
                  </a:lnTo>
                  <a:lnTo>
                    <a:pt x="1166813" y="405765"/>
                  </a:lnTo>
                  <a:lnTo>
                    <a:pt x="1165860" y="408623"/>
                  </a:lnTo>
                  <a:lnTo>
                    <a:pt x="1162050" y="416243"/>
                  </a:lnTo>
                  <a:lnTo>
                    <a:pt x="1161098" y="421958"/>
                  </a:lnTo>
                  <a:lnTo>
                    <a:pt x="1162050" y="428625"/>
                  </a:lnTo>
                  <a:lnTo>
                    <a:pt x="1165860" y="438150"/>
                  </a:lnTo>
                  <a:lnTo>
                    <a:pt x="1167765" y="445770"/>
                  </a:lnTo>
                  <a:lnTo>
                    <a:pt x="1170623" y="452438"/>
                  </a:lnTo>
                  <a:lnTo>
                    <a:pt x="1176338" y="456248"/>
                  </a:lnTo>
                  <a:lnTo>
                    <a:pt x="1188720" y="462915"/>
                  </a:lnTo>
                  <a:lnTo>
                    <a:pt x="1190625" y="464820"/>
                  </a:lnTo>
                  <a:lnTo>
                    <a:pt x="1197293" y="472440"/>
                  </a:lnTo>
                  <a:lnTo>
                    <a:pt x="1200150" y="473393"/>
                  </a:lnTo>
                  <a:lnTo>
                    <a:pt x="1223963" y="468630"/>
                  </a:lnTo>
                  <a:lnTo>
                    <a:pt x="1226820" y="468630"/>
                  </a:lnTo>
                  <a:lnTo>
                    <a:pt x="1229678" y="469583"/>
                  </a:lnTo>
                  <a:lnTo>
                    <a:pt x="1233488" y="474345"/>
                  </a:lnTo>
                  <a:lnTo>
                    <a:pt x="1236345" y="476250"/>
                  </a:lnTo>
                  <a:lnTo>
                    <a:pt x="1239203" y="476250"/>
                  </a:lnTo>
                  <a:lnTo>
                    <a:pt x="1241108" y="476250"/>
                  </a:lnTo>
                  <a:lnTo>
                    <a:pt x="1245870" y="473393"/>
                  </a:lnTo>
                  <a:lnTo>
                    <a:pt x="1254443" y="467678"/>
                  </a:lnTo>
                  <a:lnTo>
                    <a:pt x="1259205" y="461963"/>
                  </a:lnTo>
                  <a:lnTo>
                    <a:pt x="1262063" y="461010"/>
                  </a:lnTo>
                  <a:lnTo>
                    <a:pt x="1264920" y="461010"/>
                  </a:lnTo>
                  <a:lnTo>
                    <a:pt x="1267778" y="461963"/>
                  </a:lnTo>
                  <a:lnTo>
                    <a:pt x="1274445" y="467678"/>
                  </a:lnTo>
                  <a:lnTo>
                    <a:pt x="1278255" y="469583"/>
                  </a:lnTo>
                  <a:lnTo>
                    <a:pt x="1281113" y="469583"/>
                  </a:lnTo>
                  <a:lnTo>
                    <a:pt x="1300163" y="470535"/>
                  </a:lnTo>
                  <a:lnTo>
                    <a:pt x="1303020" y="472440"/>
                  </a:lnTo>
                  <a:lnTo>
                    <a:pt x="1304925" y="475298"/>
                  </a:lnTo>
                  <a:lnTo>
                    <a:pt x="1307783" y="489585"/>
                  </a:lnTo>
                  <a:lnTo>
                    <a:pt x="1310640" y="495300"/>
                  </a:lnTo>
                  <a:lnTo>
                    <a:pt x="1312545" y="498158"/>
                  </a:lnTo>
                  <a:lnTo>
                    <a:pt x="1315403" y="500063"/>
                  </a:lnTo>
                  <a:lnTo>
                    <a:pt x="1318260" y="500063"/>
                  </a:lnTo>
                  <a:lnTo>
                    <a:pt x="1321118" y="496253"/>
                  </a:lnTo>
                  <a:lnTo>
                    <a:pt x="1323975" y="490538"/>
                  </a:lnTo>
                  <a:lnTo>
                    <a:pt x="1326833" y="478155"/>
                  </a:lnTo>
                  <a:lnTo>
                    <a:pt x="1326833" y="474345"/>
                  </a:lnTo>
                  <a:lnTo>
                    <a:pt x="1328738" y="472440"/>
                  </a:lnTo>
                  <a:lnTo>
                    <a:pt x="1330643" y="470535"/>
                  </a:lnTo>
                  <a:lnTo>
                    <a:pt x="1360170" y="463868"/>
                  </a:lnTo>
                  <a:lnTo>
                    <a:pt x="1363028" y="466725"/>
                  </a:lnTo>
                  <a:lnTo>
                    <a:pt x="1364933" y="471488"/>
                  </a:lnTo>
                  <a:lnTo>
                    <a:pt x="1365885" y="485775"/>
                  </a:lnTo>
                  <a:lnTo>
                    <a:pt x="1365885" y="491490"/>
                  </a:lnTo>
                  <a:lnTo>
                    <a:pt x="1363980" y="496253"/>
                  </a:lnTo>
                  <a:lnTo>
                    <a:pt x="1363028" y="498158"/>
                  </a:lnTo>
                  <a:lnTo>
                    <a:pt x="1363028" y="501015"/>
                  </a:lnTo>
                  <a:lnTo>
                    <a:pt x="1365885" y="501968"/>
                  </a:lnTo>
                  <a:lnTo>
                    <a:pt x="1383983" y="502920"/>
                  </a:lnTo>
                  <a:lnTo>
                    <a:pt x="1387793" y="505778"/>
                  </a:lnTo>
                  <a:lnTo>
                    <a:pt x="1390650" y="510540"/>
                  </a:lnTo>
                  <a:lnTo>
                    <a:pt x="1396365" y="521018"/>
                  </a:lnTo>
                  <a:lnTo>
                    <a:pt x="1403985" y="529590"/>
                  </a:lnTo>
                  <a:lnTo>
                    <a:pt x="1406843" y="534353"/>
                  </a:lnTo>
                  <a:lnTo>
                    <a:pt x="1408748" y="550545"/>
                  </a:lnTo>
                  <a:lnTo>
                    <a:pt x="1408748" y="558165"/>
                  </a:lnTo>
                  <a:lnTo>
                    <a:pt x="1406843" y="563880"/>
                  </a:lnTo>
                  <a:lnTo>
                    <a:pt x="1404938" y="565785"/>
                  </a:lnTo>
                  <a:lnTo>
                    <a:pt x="1401128" y="568643"/>
                  </a:lnTo>
                  <a:lnTo>
                    <a:pt x="1400175" y="573405"/>
                  </a:lnTo>
                  <a:lnTo>
                    <a:pt x="1401128" y="579120"/>
                  </a:lnTo>
                  <a:lnTo>
                    <a:pt x="1400175" y="586740"/>
                  </a:lnTo>
                  <a:lnTo>
                    <a:pt x="1398270" y="594360"/>
                  </a:lnTo>
                  <a:lnTo>
                    <a:pt x="1395413" y="606743"/>
                  </a:lnTo>
                  <a:lnTo>
                    <a:pt x="1388745" y="623888"/>
                  </a:lnTo>
                  <a:lnTo>
                    <a:pt x="1391603" y="636270"/>
                  </a:lnTo>
                  <a:lnTo>
                    <a:pt x="1416368" y="711518"/>
                  </a:lnTo>
                  <a:lnTo>
                    <a:pt x="1424940" y="731520"/>
                  </a:lnTo>
                  <a:lnTo>
                    <a:pt x="1431608" y="741998"/>
                  </a:lnTo>
                  <a:lnTo>
                    <a:pt x="1461135" y="747713"/>
                  </a:lnTo>
                  <a:lnTo>
                    <a:pt x="1482090" y="748665"/>
                  </a:lnTo>
                  <a:lnTo>
                    <a:pt x="1483995" y="748665"/>
                  </a:lnTo>
                  <a:lnTo>
                    <a:pt x="1485900" y="750570"/>
                  </a:lnTo>
                  <a:lnTo>
                    <a:pt x="1491615" y="761048"/>
                  </a:lnTo>
                  <a:lnTo>
                    <a:pt x="1494473" y="762000"/>
                  </a:lnTo>
                  <a:lnTo>
                    <a:pt x="1497330" y="762000"/>
                  </a:lnTo>
                  <a:lnTo>
                    <a:pt x="1513523" y="755333"/>
                  </a:lnTo>
                  <a:lnTo>
                    <a:pt x="1555433" y="745808"/>
                  </a:lnTo>
                  <a:lnTo>
                    <a:pt x="1557338" y="746760"/>
                  </a:lnTo>
                  <a:lnTo>
                    <a:pt x="1561148" y="750570"/>
                  </a:lnTo>
                  <a:lnTo>
                    <a:pt x="1564958" y="759143"/>
                  </a:lnTo>
                  <a:lnTo>
                    <a:pt x="1565910" y="763905"/>
                  </a:lnTo>
                  <a:lnTo>
                    <a:pt x="1566863" y="770573"/>
                  </a:lnTo>
                  <a:lnTo>
                    <a:pt x="1564958" y="776288"/>
                  </a:lnTo>
                  <a:lnTo>
                    <a:pt x="1564005" y="779145"/>
                  </a:lnTo>
                  <a:lnTo>
                    <a:pt x="1556385" y="786765"/>
                  </a:lnTo>
                  <a:lnTo>
                    <a:pt x="1554480" y="788670"/>
                  </a:lnTo>
                  <a:lnTo>
                    <a:pt x="1549718" y="790575"/>
                  </a:lnTo>
                  <a:lnTo>
                    <a:pt x="1544955" y="792480"/>
                  </a:lnTo>
                  <a:lnTo>
                    <a:pt x="1540193" y="794385"/>
                  </a:lnTo>
                  <a:lnTo>
                    <a:pt x="1538288" y="796290"/>
                  </a:lnTo>
                  <a:lnTo>
                    <a:pt x="1537335" y="802958"/>
                  </a:lnTo>
                  <a:lnTo>
                    <a:pt x="1537335" y="809625"/>
                  </a:lnTo>
                  <a:lnTo>
                    <a:pt x="1538288" y="815340"/>
                  </a:lnTo>
                  <a:lnTo>
                    <a:pt x="1540193" y="818198"/>
                  </a:lnTo>
                  <a:lnTo>
                    <a:pt x="1542098" y="821055"/>
                  </a:lnTo>
                  <a:lnTo>
                    <a:pt x="1544955" y="822008"/>
                  </a:lnTo>
                  <a:lnTo>
                    <a:pt x="1557338" y="824865"/>
                  </a:lnTo>
                  <a:lnTo>
                    <a:pt x="1562100" y="827723"/>
                  </a:lnTo>
                  <a:lnTo>
                    <a:pt x="1567815" y="832485"/>
                  </a:lnTo>
                  <a:lnTo>
                    <a:pt x="1572578" y="834390"/>
                  </a:lnTo>
                  <a:lnTo>
                    <a:pt x="1577340" y="833438"/>
                  </a:lnTo>
                  <a:lnTo>
                    <a:pt x="1584008" y="830580"/>
                  </a:lnTo>
                  <a:lnTo>
                    <a:pt x="1588770" y="828675"/>
                  </a:lnTo>
                  <a:lnTo>
                    <a:pt x="1594485" y="828675"/>
                  </a:lnTo>
                  <a:lnTo>
                    <a:pt x="1596390" y="830580"/>
                  </a:lnTo>
                  <a:lnTo>
                    <a:pt x="1598295" y="834390"/>
                  </a:lnTo>
                  <a:lnTo>
                    <a:pt x="1601153" y="842010"/>
                  </a:lnTo>
                  <a:lnTo>
                    <a:pt x="1604963" y="847725"/>
                  </a:lnTo>
                  <a:lnTo>
                    <a:pt x="1610678" y="853440"/>
                  </a:lnTo>
                  <a:lnTo>
                    <a:pt x="1611630" y="855345"/>
                  </a:lnTo>
                  <a:lnTo>
                    <a:pt x="1615440" y="862013"/>
                  </a:lnTo>
                  <a:lnTo>
                    <a:pt x="1616393" y="867728"/>
                  </a:lnTo>
                  <a:lnTo>
                    <a:pt x="1618298" y="871538"/>
                  </a:lnTo>
                  <a:lnTo>
                    <a:pt x="1620203" y="873443"/>
                  </a:lnTo>
                  <a:lnTo>
                    <a:pt x="1623060" y="874395"/>
                  </a:lnTo>
                  <a:lnTo>
                    <a:pt x="1632585" y="875348"/>
                  </a:lnTo>
                  <a:lnTo>
                    <a:pt x="1634490" y="876300"/>
                  </a:lnTo>
                  <a:lnTo>
                    <a:pt x="1636395" y="878205"/>
                  </a:lnTo>
                  <a:lnTo>
                    <a:pt x="1637348" y="881063"/>
                  </a:lnTo>
                  <a:lnTo>
                    <a:pt x="1638300" y="886778"/>
                  </a:lnTo>
                  <a:lnTo>
                    <a:pt x="1632585" y="900113"/>
                  </a:lnTo>
                  <a:lnTo>
                    <a:pt x="1632585" y="907733"/>
                  </a:lnTo>
                  <a:lnTo>
                    <a:pt x="1632585" y="913448"/>
                  </a:lnTo>
                  <a:lnTo>
                    <a:pt x="1631633" y="918210"/>
                  </a:lnTo>
                  <a:lnTo>
                    <a:pt x="1628775" y="922973"/>
                  </a:lnTo>
                  <a:lnTo>
                    <a:pt x="1625918" y="925830"/>
                  </a:lnTo>
                  <a:lnTo>
                    <a:pt x="1623060" y="929640"/>
                  </a:lnTo>
                  <a:lnTo>
                    <a:pt x="1620203" y="934403"/>
                  </a:lnTo>
                  <a:lnTo>
                    <a:pt x="1617345" y="945833"/>
                  </a:lnTo>
                  <a:lnTo>
                    <a:pt x="1614488" y="955358"/>
                  </a:lnTo>
                  <a:lnTo>
                    <a:pt x="1611630" y="958215"/>
                  </a:lnTo>
                  <a:lnTo>
                    <a:pt x="1601153" y="963930"/>
                  </a:lnTo>
                  <a:lnTo>
                    <a:pt x="1599248" y="964883"/>
                  </a:lnTo>
                  <a:lnTo>
                    <a:pt x="1597343" y="967740"/>
                  </a:lnTo>
                  <a:lnTo>
                    <a:pt x="1594485" y="974408"/>
                  </a:lnTo>
                  <a:lnTo>
                    <a:pt x="1592580" y="976313"/>
                  </a:lnTo>
                  <a:lnTo>
                    <a:pt x="1589723" y="976313"/>
                  </a:lnTo>
                  <a:lnTo>
                    <a:pt x="1557338" y="979170"/>
                  </a:lnTo>
                  <a:lnTo>
                    <a:pt x="1549718" y="981075"/>
                  </a:lnTo>
                  <a:lnTo>
                    <a:pt x="1547813" y="980123"/>
                  </a:lnTo>
                  <a:lnTo>
                    <a:pt x="1544003" y="977265"/>
                  </a:lnTo>
                  <a:lnTo>
                    <a:pt x="1542098" y="976313"/>
                  </a:lnTo>
                  <a:lnTo>
                    <a:pt x="1536383" y="976313"/>
                  </a:lnTo>
                  <a:lnTo>
                    <a:pt x="1534478" y="977265"/>
                  </a:lnTo>
                  <a:lnTo>
                    <a:pt x="1532573" y="979170"/>
                  </a:lnTo>
                  <a:lnTo>
                    <a:pt x="1526858" y="988695"/>
                  </a:lnTo>
                  <a:lnTo>
                    <a:pt x="1523048" y="991553"/>
                  </a:lnTo>
                  <a:lnTo>
                    <a:pt x="1496378" y="993458"/>
                  </a:lnTo>
                  <a:lnTo>
                    <a:pt x="1494473" y="993458"/>
                  </a:lnTo>
                  <a:lnTo>
                    <a:pt x="1493520" y="997268"/>
                  </a:lnTo>
                  <a:lnTo>
                    <a:pt x="1493520" y="1004888"/>
                  </a:lnTo>
                  <a:lnTo>
                    <a:pt x="1498283" y="1021080"/>
                  </a:lnTo>
                  <a:lnTo>
                    <a:pt x="1503045" y="1030605"/>
                  </a:lnTo>
                  <a:lnTo>
                    <a:pt x="1505903" y="1036320"/>
                  </a:lnTo>
                  <a:lnTo>
                    <a:pt x="1528763" y="1051560"/>
                  </a:lnTo>
                  <a:lnTo>
                    <a:pt x="1531620" y="1055370"/>
                  </a:lnTo>
                  <a:lnTo>
                    <a:pt x="1535430" y="1062038"/>
                  </a:lnTo>
                  <a:lnTo>
                    <a:pt x="1541145" y="1075373"/>
                  </a:lnTo>
                  <a:lnTo>
                    <a:pt x="1544955" y="1080135"/>
                  </a:lnTo>
                  <a:lnTo>
                    <a:pt x="1552575" y="1083945"/>
                  </a:lnTo>
                  <a:lnTo>
                    <a:pt x="1562100" y="1091565"/>
                  </a:lnTo>
                  <a:lnTo>
                    <a:pt x="1563053" y="1099185"/>
                  </a:lnTo>
                  <a:lnTo>
                    <a:pt x="1566863" y="1160145"/>
                  </a:lnTo>
                  <a:lnTo>
                    <a:pt x="1569720" y="1167765"/>
                  </a:lnTo>
                  <a:lnTo>
                    <a:pt x="1569720" y="1172528"/>
                  </a:lnTo>
                  <a:lnTo>
                    <a:pt x="1570673" y="1177290"/>
                  </a:lnTo>
                  <a:lnTo>
                    <a:pt x="1568768" y="1182053"/>
                  </a:lnTo>
                  <a:lnTo>
                    <a:pt x="1567815" y="1185863"/>
                  </a:lnTo>
                  <a:lnTo>
                    <a:pt x="1567815" y="1200150"/>
                  </a:lnTo>
                  <a:lnTo>
                    <a:pt x="1575435" y="1243013"/>
                  </a:lnTo>
                  <a:lnTo>
                    <a:pt x="1560195" y="1243013"/>
                  </a:lnTo>
                  <a:lnTo>
                    <a:pt x="1533525" y="1251585"/>
                  </a:lnTo>
                  <a:lnTo>
                    <a:pt x="1504950" y="1255395"/>
                  </a:lnTo>
                  <a:lnTo>
                    <a:pt x="1483043" y="1263015"/>
                  </a:lnTo>
                  <a:lnTo>
                    <a:pt x="1471613" y="1263968"/>
                  </a:lnTo>
                  <a:lnTo>
                    <a:pt x="1466850" y="1267778"/>
                  </a:lnTo>
                  <a:lnTo>
                    <a:pt x="1454468" y="1278255"/>
                  </a:lnTo>
                  <a:lnTo>
                    <a:pt x="1450658" y="1277303"/>
                  </a:lnTo>
                  <a:lnTo>
                    <a:pt x="1443990" y="1274445"/>
                  </a:lnTo>
                  <a:lnTo>
                    <a:pt x="1437323" y="1277303"/>
                  </a:lnTo>
                  <a:lnTo>
                    <a:pt x="1405890" y="1299210"/>
                  </a:lnTo>
                  <a:lnTo>
                    <a:pt x="1400175" y="1301115"/>
                  </a:lnTo>
                  <a:lnTo>
                    <a:pt x="1377315" y="1296353"/>
                  </a:lnTo>
                  <a:lnTo>
                    <a:pt x="1372553" y="1295400"/>
                  </a:lnTo>
                  <a:lnTo>
                    <a:pt x="1365885" y="1301115"/>
                  </a:lnTo>
                  <a:lnTo>
                    <a:pt x="1350645" y="1323023"/>
                  </a:lnTo>
                  <a:lnTo>
                    <a:pt x="1346835" y="1329690"/>
                  </a:lnTo>
                  <a:lnTo>
                    <a:pt x="1348740" y="1340168"/>
                  </a:lnTo>
                  <a:lnTo>
                    <a:pt x="1358265" y="1359218"/>
                  </a:lnTo>
                  <a:lnTo>
                    <a:pt x="1361123" y="1374458"/>
                  </a:lnTo>
                  <a:lnTo>
                    <a:pt x="1363980" y="1374458"/>
                  </a:lnTo>
                  <a:lnTo>
                    <a:pt x="1367790" y="1378268"/>
                  </a:lnTo>
                  <a:lnTo>
                    <a:pt x="1369695" y="1383030"/>
                  </a:lnTo>
                  <a:lnTo>
                    <a:pt x="1365885" y="1386840"/>
                  </a:lnTo>
                  <a:lnTo>
                    <a:pt x="1362075" y="1395413"/>
                  </a:lnTo>
                  <a:lnTo>
                    <a:pt x="1357313" y="1418273"/>
                  </a:lnTo>
                  <a:lnTo>
                    <a:pt x="1356360" y="1421130"/>
                  </a:lnTo>
                  <a:lnTo>
                    <a:pt x="1334453" y="1450657"/>
                  </a:lnTo>
                  <a:lnTo>
                    <a:pt x="1325880" y="1458278"/>
                  </a:lnTo>
                  <a:lnTo>
                    <a:pt x="1297305" y="1456373"/>
                  </a:lnTo>
                  <a:lnTo>
                    <a:pt x="1292543" y="1461135"/>
                  </a:lnTo>
                  <a:lnTo>
                    <a:pt x="1295400" y="1464945"/>
                  </a:lnTo>
                  <a:lnTo>
                    <a:pt x="1307783" y="1473518"/>
                  </a:lnTo>
                  <a:lnTo>
                    <a:pt x="1311593" y="1480185"/>
                  </a:lnTo>
                  <a:lnTo>
                    <a:pt x="1311593" y="1487805"/>
                  </a:lnTo>
                  <a:lnTo>
                    <a:pt x="1308735" y="1495425"/>
                  </a:lnTo>
                  <a:lnTo>
                    <a:pt x="1293495" y="1525905"/>
                  </a:lnTo>
                  <a:lnTo>
                    <a:pt x="1256348" y="1578293"/>
                  </a:lnTo>
                  <a:lnTo>
                    <a:pt x="1245870" y="1600200"/>
                  </a:lnTo>
                  <a:lnTo>
                    <a:pt x="1238250" y="1610678"/>
                  </a:lnTo>
                  <a:lnTo>
                    <a:pt x="1229678" y="1615440"/>
                  </a:lnTo>
                  <a:lnTo>
                    <a:pt x="1224915" y="1622107"/>
                  </a:lnTo>
                  <a:lnTo>
                    <a:pt x="1214438" y="1651635"/>
                  </a:lnTo>
                  <a:lnTo>
                    <a:pt x="1209675" y="1662113"/>
                  </a:lnTo>
                  <a:lnTo>
                    <a:pt x="1144905" y="1724978"/>
                  </a:lnTo>
                  <a:lnTo>
                    <a:pt x="1086803" y="1803082"/>
                  </a:lnTo>
                  <a:lnTo>
                    <a:pt x="1057275" y="1832610"/>
                  </a:lnTo>
                  <a:lnTo>
                    <a:pt x="1022033" y="1860232"/>
                  </a:lnTo>
                  <a:lnTo>
                    <a:pt x="1022985" y="1849755"/>
                  </a:lnTo>
                  <a:lnTo>
                    <a:pt x="1020128" y="1807845"/>
                  </a:lnTo>
                  <a:lnTo>
                    <a:pt x="1016318" y="1805940"/>
                  </a:lnTo>
                  <a:lnTo>
                    <a:pt x="1011555" y="1810703"/>
                  </a:lnTo>
                  <a:lnTo>
                    <a:pt x="1007745" y="1818323"/>
                  </a:lnTo>
                  <a:lnTo>
                    <a:pt x="1004888" y="1826895"/>
                  </a:lnTo>
                  <a:lnTo>
                    <a:pt x="1002983" y="1846898"/>
                  </a:lnTo>
                  <a:lnTo>
                    <a:pt x="1002030" y="1852613"/>
                  </a:lnTo>
                  <a:lnTo>
                    <a:pt x="1000125" y="1857375"/>
                  </a:lnTo>
                  <a:lnTo>
                    <a:pt x="1000125" y="1861185"/>
                  </a:lnTo>
                  <a:lnTo>
                    <a:pt x="999172" y="1864043"/>
                  </a:lnTo>
                  <a:lnTo>
                    <a:pt x="994410" y="1864995"/>
                  </a:lnTo>
                  <a:lnTo>
                    <a:pt x="990600" y="1860232"/>
                  </a:lnTo>
                  <a:lnTo>
                    <a:pt x="987743" y="1859280"/>
                  </a:lnTo>
                  <a:lnTo>
                    <a:pt x="985838" y="1862138"/>
                  </a:lnTo>
                  <a:lnTo>
                    <a:pt x="981075" y="1864995"/>
                  </a:lnTo>
                  <a:lnTo>
                    <a:pt x="957263" y="1844993"/>
                  </a:lnTo>
                  <a:lnTo>
                    <a:pt x="943928" y="1839278"/>
                  </a:lnTo>
                  <a:lnTo>
                    <a:pt x="932497" y="1845945"/>
                  </a:lnTo>
                  <a:lnTo>
                    <a:pt x="928688" y="1860232"/>
                  </a:lnTo>
                  <a:lnTo>
                    <a:pt x="926783" y="1879282"/>
                  </a:lnTo>
                  <a:lnTo>
                    <a:pt x="923925" y="1896428"/>
                  </a:lnTo>
                  <a:lnTo>
                    <a:pt x="919163" y="1887855"/>
                  </a:lnTo>
                  <a:lnTo>
                    <a:pt x="913447" y="1881188"/>
                  </a:lnTo>
                  <a:lnTo>
                    <a:pt x="913447" y="1875473"/>
                  </a:lnTo>
                  <a:lnTo>
                    <a:pt x="917258" y="1866900"/>
                  </a:lnTo>
                  <a:lnTo>
                    <a:pt x="914400" y="1863090"/>
                  </a:lnTo>
                  <a:lnTo>
                    <a:pt x="910590" y="1864995"/>
                  </a:lnTo>
                  <a:lnTo>
                    <a:pt x="905828" y="1875473"/>
                  </a:lnTo>
                  <a:lnTo>
                    <a:pt x="905828" y="1887855"/>
                  </a:lnTo>
                  <a:lnTo>
                    <a:pt x="907733" y="1898332"/>
                  </a:lnTo>
                  <a:lnTo>
                    <a:pt x="912495" y="1905953"/>
                  </a:lnTo>
                  <a:lnTo>
                    <a:pt x="917258" y="1911668"/>
                  </a:lnTo>
                  <a:lnTo>
                    <a:pt x="913447" y="1932623"/>
                  </a:lnTo>
                  <a:lnTo>
                    <a:pt x="910590" y="1925003"/>
                  </a:lnTo>
                  <a:lnTo>
                    <a:pt x="906780" y="1920240"/>
                  </a:lnTo>
                  <a:lnTo>
                    <a:pt x="895350" y="1911668"/>
                  </a:lnTo>
                  <a:lnTo>
                    <a:pt x="894397" y="1908810"/>
                  </a:lnTo>
                  <a:lnTo>
                    <a:pt x="894397" y="1905000"/>
                  </a:lnTo>
                  <a:lnTo>
                    <a:pt x="894397" y="1903095"/>
                  </a:lnTo>
                  <a:lnTo>
                    <a:pt x="889635" y="1901190"/>
                  </a:lnTo>
                  <a:lnTo>
                    <a:pt x="886778" y="1903095"/>
                  </a:lnTo>
                  <a:lnTo>
                    <a:pt x="883920" y="1909763"/>
                  </a:lnTo>
                  <a:lnTo>
                    <a:pt x="882968" y="1911668"/>
                  </a:lnTo>
                  <a:lnTo>
                    <a:pt x="870585" y="1911668"/>
                  </a:lnTo>
                  <a:lnTo>
                    <a:pt x="856297" y="1914525"/>
                  </a:lnTo>
                  <a:lnTo>
                    <a:pt x="844868" y="1922145"/>
                  </a:lnTo>
                  <a:lnTo>
                    <a:pt x="841058" y="1937385"/>
                  </a:lnTo>
                  <a:lnTo>
                    <a:pt x="845820" y="1947863"/>
                  </a:lnTo>
                  <a:lnTo>
                    <a:pt x="852488" y="1952625"/>
                  </a:lnTo>
                  <a:lnTo>
                    <a:pt x="866775" y="1957388"/>
                  </a:lnTo>
                  <a:lnTo>
                    <a:pt x="874395" y="1965960"/>
                  </a:lnTo>
                  <a:lnTo>
                    <a:pt x="878205" y="1971675"/>
                  </a:lnTo>
                  <a:lnTo>
                    <a:pt x="875347" y="1974532"/>
                  </a:lnTo>
                  <a:lnTo>
                    <a:pt x="865822" y="1978343"/>
                  </a:lnTo>
                  <a:lnTo>
                    <a:pt x="857250" y="1985010"/>
                  </a:lnTo>
                  <a:lnTo>
                    <a:pt x="848678" y="1989773"/>
                  </a:lnTo>
                  <a:lnTo>
                    <a:pt x="838200" y="1984057"/>
                  </a:lnTo>
                  <a:lnTo>
                    <a:pt x="836295" y="1989773"/>
                  </a:lnTo>
                  <a:lnTo>
                    <a:pt x="835343" y="1990725"/>
                  </a:lnTo>
                  <a:lnTo>
                    <a:pt x="835343" y="1993582"/>
                  </a:lnTo>
                  <a:lnTo>
                    <a:pt x="838200" y="1999298"/>
                  </a:lnTo>
                  <a:lnTo>
                    <a:pt x="829628" y="2004060"/>
                  </a:lnTo>
                  <a:lnTo>
                    <a:pt x="815340" y="2008823"/>
                  </a:lnTo>
                  <a:lnTo>
                    <a:pt x="808672" y="2015490"/>
                  </a:lnTo>
                  <a:lnTo>
                    <a:pt x="809625" y="1995488"/>
                  </a:lnTo>
                  <a:lnTo>
                    <a:pt x="803910" y="1975485"/>
                  </a:lnTo>
                  <a:lnTo>
                    <a:pt x="793433" y="1959293"/>
                  </a:lnTo>
                  <a:lnTo>
                    <a:pt x="782003" y="1953578"/>
                  </a:lnTo>
                  <a:lnTo>
                    <a:pt x="782955" y="1947863"/>
                  </a:lnTo>
                  <a:lnTo>
                    <a:pt x="780097" y="1911668"/>
                  </a:lnTo>
                  <a:lnTo>
                    <a:pt x="782955" y="1899285"/>
                  </a:lnTo>
                  <a:lnTo>
                    <a:pt x="786765" y="1893570"/>
                  </a:lnTo>
                  <a:lnTo>
                    <a:pt x="787718" y="1888807"/>
                  </a:lnTo>
                  <a:lnTo>
                    <a:pt x="783908" y="1881188"/>
                  </a:lnTo>
                  <a:lnTo>
                    <a:pt x="781050" y="1876425"/>
                  </a:lnTo>
                  <a:lnTo>
                    <a:pt x="777240" y="1873568"/>
                  </a:lnTo>
                  <a:lnTo>
                    <a:pt x="766763" y="1864995"/>
                  </a:lnTo>
                  <a:lnTo>
                    <a:pt x="762953" y="1861185"/>
                  </a:lnTo>
                  <a:lnTo>
                    <a:pt x="761047" y="1854518"/>
                  </a:lnTo>
                  <a:lnTo>
                    <a:pt x="758190" y="1855470"/>
                  </a:lnTo>
                  <a:lnTo>
                    <a:pt x="756285" y="1859280"/>
                  </a:lnTo>
                  <a:lnTo>
                    <a:pt x="754380" y="1864995"/>
                  </a:lnTo>
                  <a:lnTo>
                    <a:pt x="756285" y="1869757"/>
                  </a:lnTo>
                  <a:lnTo>
                    <a:pt x="763905" y="1880235"/>
                  </a:lnTo>
                  <a:lnTo>
                    <a:pt x="765810" y="1883093"/>
                  </a:lnTo>
                  <a:lnTo>
                    <a:pt x="763905" y="1889760"/>
                  </a:lnTo>
                  <a:lnTo>
                    <a:pt x="753428" y="1903095"/>
                  </a:lnTo>
                  <a:lnTo>
                    <a:pt x="750570" y="1911668"/>
                  </a:lnTo>
                  <a:lnTo>
                    <a:pt x="750570" y="1923098"/>
                  </a:lnTo>
                  <a:lnTo>
                    <a:pt x="751522" y="1929765"/>
                  </a:lnTo>
                  <a:lnTo>
                    <a:pt x="754380" y="1934528"/>
                  </a:lnTo>
                  <a:lnTo>
                    <a:pt x="758190" y="1943100"/>
                  </a:lnTo>
                  <a:lnTo>
                    <a:pt x="740093" y="1957388"/>
                  </a:lnTo>
                  <a:lnTo>
                    <a:pt x="736283" y="1986915"/>
                  </a:lnTo>
                  <a:lnTo>
                    <a:pt x="738188" y="2023110"/>
                  </a:lnTo>
                  <a:lnTo>
                    <a:pt x="732472" y="2057400"/>
                  </a:lnTo>
                  <a:lnTo>
                    <a:pt x="745808" y="2064068"/>
                  </a:lnTo>
                  <a:lnTo>
                    <a:pt x="753428" y="2065973"/>
                  </a:lnTo>
                  <a:lnTo>
                    <a:pt x="763905" y="2066925"/>
                  </a:lnTo>
                  <a:lnTo>
                    <a:pt x="773430" y="2065020"/>
                  </a:lnTo>
                  <a:lnTo>
                    <a:pt x="781050" y="2060257"/>
                  </a:lnTo>
                  <a:lnTo>
                    <a:pt x="794385" y="2045970"/>
                  </a:lnTo>
                  <a:lnTo>
                    <a:pt x="787718" y="2054543"/>
                  </a:lnTo>
                  <a:lnTo>
                    <a:pt x="770572" y="2082165"/>
                  </a:lnTo>
                  <a:lnTo>
                    <a:pt x="763905" y="2087880"/>
                  </a:lnTo>
                  <a:lnTo>
                    <a:pt x="758190" y="2090738"/>
                  </a:lnTo>
                  <a:lnTo>
                    <a:pt x="755333" y="2098358"/>
                  </a:lnTo>
                  <a:lnTo>
                    <a:pt x="752475" y="2105025"/>
                  </a:lnTo>
                  <a:lnTo>
                    <a:pt x="749618" y="2108835"/>
                  </a:lnTo>
                  <a:lnTo>
                    <a:pt x="741045" y="2111693"/>
                  </a:lnTo>
                  <a:lnTo>
                    <a:pt x="741045" y="2118360"/>
                  </a:lnTo>
                  <a:lnTo>
                    <a:pt x="749618" y="2135505"/>
                  </a:lnTo>
                  <a:lnTo>
                    <a:pt x="753428" y="2141220"/>
                  </a:lnTo>
                  <a:lnTo>
                    <a:pt x="760095" y="2145030"/>
                  </a:lnTo>
                  <a:lnTo>
                    <a:pt x="765810" y="2144078"/>
                  </a:lnTo>
                  <a:lnTo>
                    <a:pt x="767715" y="2137410"/>
                  </a:lnTo>
                  <a:lnTo>
                    <a:pt x="766763" y="2128838"/>
                  </a:lnTo>
                  <a:lnTo>
                    <a:pt x="767715" y="2121218"/>
                  </a:lnTo>
                  <a:lnTo>
                    <a:pt x="776288" y="2118360"/>
                  </a:lnTo>
                  <a:lnTo>
                    <a:pt x="776288" y="2136458"/>
                  </a:lnTo>
                  <a:lnTo>
                    <a:pt x="778193" y="2139315"/>
                  </a:lnTo>
                  <a:lnTo>
                    <a:pt x="781050" y="2139315"/>
                  </a:lnTo>
                  <a:lnTo>
                    <a:pt x="783908" y="2136458"/>
                  </a:lnTo>
                  <a:lnTo>
                    <a:pt x="783908" y="2133600"/>
                  </a:lnTo>
                  <a:lnTo>
                    <a:pt x="787718" y="2134553"/>
                  </a:lnTo>
                  <a:lnTo>
                    <a:pt x="792480" y="2134553"/>
                  </a:lnTo>
                  <a:lnTo>
                    <a:pt x="795338" y="2137410"/>
                  </a:lnTo>
                  <a:lnTo>
                    <a:pt x="798195" y="2149793"/>
                  </a:lnTo>
                  <a:lnTo>
                    <a:pt x="801053" y="2138363"/>
                  </a:lnTo>
                  <a:lnTo>
                    <a:pt x="803910" y="2125980"/>
                  </a:lnTo>
                  <a:lnTo>
                    <a:pt x="807720" y="2120265"/>
                  </a:lnTo>
                  <a:lnTo>
                    <a:pt x="816293" y="2128838"/>
                  </a:lnTo>
                  <a:lnTo>
                    <a:pt x="820103" y="2141220"/>
                  </a:lnTo>
                  <a:lnTo>
                    <a:pt x="820103" y="2155508"/>
                  </a:lnTo>
                  <a:lnTo>
                    <a:pt x="816293" y="2165985"/>
                  </a:lnTo>
                  <a:lnTo>
                    <a:pt x="805815" y="2165033"/>
                  </a:lnTo>
                  <a:lnTo>
                    <a:pt x="813435" y="2173605"/>
                  </a:lnTo>
                  <a:lnTo>
                    <a:pt x="817245" y="2187893"/>
                  </a:lnTo>
                  <a:lnTo>
                    <a:pt x="819150" y="2204085"/>
                  </a:lnTo>
                  <a:lnTo>
                    <a:pt x="820103" y="2235518"/>
                  </a:lnTo>
                  <a:lnTo>
                    <a:pt x="820103" y="2242185"/>
                  </a:lnTo>
                  <a:lnTo>
                    <a:pt x="818197" y="2248853"/>
                  </a:lnTo>
                  <a:lnTo>
                    <a:pt x="813435" y="2259330"/>
                  </a:lnTo>
                  <a:lnTo>
                    <a:pt x="812483" y="2265045"/>
                  </a:lnTo>
                  <a:lnTo>
                    <a:pt x="806768" y="2283143"/>
                  </a:lnTo>
                  <a:lnTo>
                    <a:pt x="805815" y="2290763"/>
                  </a:lnTo>
                  <a:lnTo>
                    <a:pt x="805815" y="2297430"/>
                  </a:lnTo>
                  <a:lnTo>
                    <a:pt x="805815" y="2299335"/>
                  </a:lnTo>
                  <a:lnTo>
                    <a:pt x="795338" y="2308860"/>
                  </a:lnTo>
                  <a:lnTo>
                    <a:pt x="786765" y="2314575"/>
                  </a:lnTo>
                  <a:lnTo>
                    <a:pt x="777240" y="2316480"/>
                  </a:lnTo>
                  <a:lnTo>
                    <a:pt x="769620" y="2314575"/>
                  </a:lnTo>
                  <a:lnTo>
                    <a:pt x="772478" y="2309813"/>
                  </a:lnTo>
                  <a:lnTo>
                    <a:pt x="773430" y="2304098"/>
                  </a:lnTo>
                  <a:lnTo>
                    <a:pt x="772478" y="2298383"/>
                  </a:lnTo>
                  <a:lnTo>
                    <a:pt x="769620" y="2293620"/>
                  </a:lnTo>
                  <a:lnTo>
                    <a:pt x="776288" y="2271713"/>
                  </a:lnTo>
                  <a:lnTo>
                    <a:pt x="773430" y="2243138"/>
                  </a:lnTo>
                  <a:lnTo>
                    <a:pt x="764858" y="2217420"/>
                  </a:lnTo>
                  <a:lnTo>
                    <a:pt x="753428" y="2205990"/>
                  </a:lnTo>
                  <a:lnTo>
                    <a:pt x="746760" y="2203133"/>
                  </a:lnTo>
                  <a:lnTo>
                    <a:pt x="721995" y="2180273"/>
                  </a:lnTo>
                  <a:lnTo>
                    <a:pt x="648653" y="2153603"/>
                  </a:lnTo>
                  <a:lnTo>
                    <a:pt x="608647" y="2149793"/>
                  </a:lnTo>
                  <a:lnTo>
                    <a:pt x="602933" y="2147888"/>
                  </a:lnTo>
                  <a:lnTo>
                    <a:pt x="597218" y="2145030"/>
                  </a:lnTo>
                  <a:lnTo>
                    <a:pt x="591503" y="2144078"/>
                  </a:lnTo>
                  <a:lnTo>
                    <a:pt x="586740" y="2146935"/>
                  </a:lnTo>
                  <a:lnTo>
                    <a:pt x="583883" y="2150745"/>
                  </a:lnTo>
                  <a:lnTo>
                    <a:pt x="580072" y="2155508"/>
                  </a:lnTo>
                  <a:lnTo>
                    <a:pt x="575310" y="2158365"/>
                  </a:lnTo>
                  <a:lnTo>
                    <a:pt x="570547" y="2160270"/>
                  </a:lnTo>
                  <a:lnTo>
                    <a:pt x="559118" y="2160270"/>
                  </a:lnTo>
                  <a:lnTo>
                    <a:pt x="550545" y="2158365"/>
                  </a:lnTo>
                  <a:lnTo>
                    <a:pt x="541972" y="2159318"/>
                  </a:lnTo>
                  <a:lnTo>
                    <a:pt x="530543" y="2165033"/>
                  </a:lnTo>
                  <a:lnTo>
                    <a:pt x="522922" y="2171700"/>
                  </a:lnTo>
                  <a:lnTo>
                    <a:pt x="518160" y="2177415"/>
                  </a:lnTo>
                  <a:lnTo>
                    <a:pt x="516255" y="2183130"/>
                  </a:lnTo>
                  <a:lnTo>
                    <a:pt x="513397" y="2185035"/>
                  </a:lnTo>
                  <a:lnTo>
                    <a:pt x="501015" y="2185988"/>
                  </a:lnTo>
                  <a:lnTo>
                    <a:pt x="496253" y="2187893"/>
                  </a:lnTo>
                  <a:lnTo>
                    <a:pt x="488633" y="2195513"/>
                  </a:lnTo>
                  <a:lnTo>
                    <a:pt x="480060" y="2200275"/>
                  </a:lnTo>
                  <a:lnTo>
                    <a:pt x="458153" y="2205990"/>
                  </a:lnTo>
                  <a:lnTo>
                    <a:pt x="431483" y="2228850"/>
                  </a:lnTo>
                  <a:lnTo>
                    <a:pt x="423863" y="2232660"/>
                  </a:lnTo>
                  <a:lnTo>
                    <a:pt x="412433" y="2232660"/>
                  </a:lnTo>
                  <a:lnTo>
                    <a:pt x="407670" y="2233613"/>
                  </a:lnTo>
                  <a:lnTo>
                    <a:pt x="403860" y="2236470"/>
                  </a:lnTo>
                  <a:lnTo>
                    <a:pt x="401003" y="2243138"/>
                  </a:lnTo>
                  <a:lnTo>
                    <a:pt x="399097" y="2257425"/>
                  </a:lnTo>
                  <a:lnTo>
                    <a:pt x="397193" y="2263140"/>
                  </a:lnTo>
                  <a:lnTo>
                    <a:pt x="384810" y="2267903"/>
                  </a:lnTo>
                  <a:lnTo>
                    <a:pt x="374333" y="2261235"/>
                  </a:lnTo>
                  <a:lnTo>
                    <a:pt x="365760" y="2251710"/>
                  </a:lnTo>
                  <a:lnTo>
                    <a:pt x="359093" y="2246948"/>
                  </a:lnTo>
                  <a:lnTo>
                    <a:pt x="346710" y="2245043"/>
                  </a:lnTo>
                  <a:lnTo>
                    <a:pt x="333375" y="2235518"/>
                  </a:lnTo>
                  <a:lnTo>
                    <a:pt x="324803" y="2232660"/>
                  </a:lnTo>
                  <a:lnTo>
                    <a:pt x="310515" y="2235518"/>
                  </a:lnTo>
                  <a:lnTo>
                    <a:pt x="310515" y="2246948"/>
                  </a:lnTo>
                  <a:lnTo>
                    <a:pt x="311468" y="2257425"/>
                  </a:lnTo>
                  <a:lnTo>
                    <a:pt x="296228" y="2265045"/>
                  </a:lnTo>
                  <a:lnTo>
                    <a:pt x="295275" y="2270760"/>
                  </a:lnTo>
                  <a:lnTo>
                    <a:pt x="296228" y="2278380"/>
                  </a:lnTo>
                  <a:lnTo>
                    <a:pt x="299085" y="2283143"/>
                  </a:lnTo>
                  <a:lnTo>
                    <a:pt x="302895" y="2286953"/>
                  </a:lnTo>
                  <a:lnTo>
                    <a:pt x="318135" y="2293620"/>
                  </a:lnTo>
                  <a:lnTo>
                    <a:pt x="311468" y="2300288"/>
                  </a:lnTo>
                  <a:lnTo>
                    <a:pt x="304800" y="2303145"/>
                  </a:lnTo>
                  <a:lnTo>
                    <a:pt x="288608" y="2304098"/>
                  </a:lnTo>
                  <a:lnTo>
                    <a:pt x="268605" y="2306955"/>
                  </a:lnTo>
                  <a:lnTo>
                    <a:pt x="199072" y="2290763"/>
                  </a:lnTo>
                  <a:lnTo>
                    <a:pt x="155258" y="2267903"/>
                  </a:lnTo>
                  <a:lnTo>
                    <a:pt x="108585" y="2255520"/>
                  </a:lnTo>
                  <a:lnTo>
                    <a:pt x="89535" y="2245043"/>
                  </a:lnTo>
                  <a:lnTo>
                    <a:pt x="80963" y="2242185"/>
                  </a:lnTo>
                  <a:lnTo>
                    <a:pt x="68580" y="2234565"/>
                  </a:lnTo>
                  <a:lnTo>
                    <a:pt x="58103" y="2215515"/>
                  </a:lnTo>
                  <a:lnTo>
                    <a:pt x="42863" y="2175510"/>
                  </a:lnTo>
                  <a:lnTo>
                    <a:pt x="45720" y="2160270"/>
                  </a:lnTo>
                  <a:lnTo>
                    <a:pt x="35243" y="2145983"/>
                  </a:lnTo>
                  <a:lnTo>
                    <a:pt x="20003" y="2137410"/>
                  </a:lnTo>
                  <a:lnTo>
                    <a:pt x="6668" y="2139315"/>
                  </a:lnTo>
                  <a:lnTo>
                    <a:pt x="0" y="2130743"/>
                  </a:lnTo>
                  <a:lnTo>
                    <a:pt x="953" y="2125028"/>
                  </a:lnTo>
                  <a:lnTo>
                    <a:pt x="4763" y="2115503"/>
                  </a:lnTo>
                  <a:lnTo>
                    <a:pt x="8572" y="2106930"/>
                  </a:lnTo>
                  <a:lnTo>
                    <a:pt x="37147" y="2085023"/>
                  </a:lnTo>
                  <a:lnTo>
                    <a:pt x="74295" y="2087880"/>
                  </a:lnTo>
                  <a:lnTo>
                    <a:pt x="114300" y="2098358"/>
                  </a:lnTo>
                  <a:lnTo>
                    <a:pt x="147638" y="2100263"/>
                  </a:lnTo>
                  <a:lnTo>
                    <a:pt x="159068" y="2094548"/>
                  </a:lnTo>
                  <a:lnTo>
                    <a:pt x="161925" y="2085975"/>
                  </a:lnTo>
                  <a:lnTo>
                    <a:pt x="158115" y="2060257"/>
                  </a:lnTo>
                  <a:lnTo>
                    <a:pt x="157163" y="2057400"/>
                  </a:lnTo>
                  <a:lnTo>
                    <a:pt x="160972" y="2050732"/>
                  </a:lnTo>
                  <a:lnTo>
                    <a:pt x="163830" y="2047875"/>
                  </a:lnTo>
                  <a:lnTo>
                    <a:pt x="177165" y="2041207"/>
                  </a:lnTo>
                  <a:lnTo>
                    <a:pt x="170497" y="2031682"/>
                  </a:lnTo>
                  <a:lnTo>
                    <a:pt x="167640" y="2021205"/>
                  </a:lnTo>
                  <a:lnTo>
                    <a:pt x="166688" y="2010728"/>
                  </a:lnTo>
                  <a:lnTo>
                    <a:pt x="163830" y="2000250"/>
                  </a:lnTo>
                  <a:lnTo>
                    <a:pt x="157163" y="1992630"/>
                  </a:lnTo>
                  <a:lnTo>
                    <a:pt x="149543" y="1987868"/>
                  </a:lnTo>
                  <a:lnTo>
                    <a:pt x="144780" y="1982153"/>
                  </a:lnTo>
                  <a:lnTo>
                    <a:pt x="147638" y="1973580"/>
                  </a:lnTo>
                  <a:lnTo>
                    <a:pt x="160020" y="1955482"/>
                  </a:lnTo>
                  <a:lnTo>
                    <a:pt x="165735" y="1948815"/>
                  </a:lnTo>
                  <a:lnTo>
                    <a:pt x="175260" y="1943100"/>
                  </a:lnTo>
                  <a:lnTo>
                    <a:pt x="190500" y="1938338"/>
                  </a:lnTo>
                  <a:lnTo>
                    <a:pt x="193358" y="1932623"/>
                  </a:lnTo>
                  <a:lnTo>
                    <a:pt x="190500" y="1918335"/>
                  </a:lnTo>
                  <a:lnTo>
                    <a:pt x="198120" y="1904048"/>
                  </a:lnTo>
                  <a:lnTo>
                    <a:pt x="234315" y="1900238"/>
                  </a:lnTo>
                  <a:lnTo>
                    <a:pt x="247650" y="1892618"/>
                  </a:lnTo>
                  <a:lnTo>
                    <a:pt x="249555" y="1884998"/>
                  </a:lnTo>
                  <a:lnTo>
                    <a:pt x="248603" y="1877378"/>
                  </a:lnTo>
                  <a:lnTo>
                    <a:pt x="247650" y="1870710"/>
                  </a:lnTo>
                  <a:lnTo>
                    <a:pt x="247650" y="1865948"/>
                  </a:lnTo>
                  <a:lnTo>
                    <a:pt x="251460" y="1862138"/>
                  </a:lnTo>
                  <a:lnTo>
                    <a:pt x="266700" y="1859280"/>
                  </a:lnTo>
                  <a:lnTo>
                    <a:pt x="277178" y="1853565"/>
                  </a:lnTo>
                  <a:lnTo>
                    <a:pt x="283845" y="1846898"/>
                  </a:lnTo>
                  <a:lnTo>
                    <a:pt x="287655" y="1837373"/>
                  </a:lnTo>
                  <a:lnTo>
                    <a:pt x="287655" y="1822132"/>
                  </a:lnTo>
                  <a:lnTo>
                    <a:pt x="285750" y="1808798"/>
                  </a:lnTo>
                  <a:lnTo>
                    <a:pt x="278130" y="1783080"/>
                  </a:lnTo>
                  <a:lnTo>
                    <a:pt x="279083" y="1769745"/>
                  </a:lnTo>
                  <a:lnTo>
                    <a:pt x="284797" y="1759268"/>
                  </a:lnTo>
                  <a:lnTo>
                    <a:pt x="294322" y="1752600"/>
                  </a:lnTo>
                  <a:lnTo>
                    <a:pt x="385763" y="1728788"/>
                  </a:lnTo>
                  <a:lnTo>
                    <a:pt x="399097" y="1722120"/>
                  </a:lnTo>
                  <a:lnTo>
                    <a:pt x="400050" y="1707832"/>
                  </a:lnTo>
                  <a:lnTo>
                    <a:pt x="390525" y="1674495"/>
                  </a:lnTo>
                  <a:lnTo>
                    <a:pt x="389572" y="1655445"/>
                  </a:lnTo>
                  <a:lnTo>
                    <a:pt x="393383" y="1644015"/>
                  </a:lnTo>
                  <a:lnTo>
                    <a:pt x="411480" y="1623060"/>
                  </a:lnTo>
                  <a:lnTo>
                    <a:pt x="423863" y="1603057"/>
                  </a:lnTo>
                  <a:lnTo>
                    <a:pt x="429578" y="1584960"/>
                  </a:lnTo>
                  <a:lnTo>
                    <a:pt x="426720" y="1567815"/>
                  </a:lnTo>
                  <a:lnTo>
                    <a:pt x="396240" y="1538288"/>
                  </a:lnTo>
                  <a:lnTo>
                    <a:pt x="386715" y="1525905"/>
                  </a:lnTo>
                  <a:lnTo>
                    <a:pt x="386715" y="1516380"/>
                  </a:lnTo>
                  <a:lnTo>
                    <a:pt x="390525" y="1504950"/>
                  </a:lnTo>
                  <a:lnTo>
                    <a:pt x="393383" y="1491615"/>
                  </a:lnTo>
                  <a:lnTo>
                    <a:pt x="392430" y="1479232"/>
                  </a:lnTo>
                  <a:lnTo>
                    <a:pt x="383858" y="1443038"/>
                  </a:lnTo>
                  <a:lnTo>
                    <a:pt x="379095" y="1415415"/>
                  </a:lnTo>
                  <a:lnTo>
                    <a:pt x="382905" y="1393508"/>
                  </a:lnTo>
                  <a:lnTo>
                    <a:pt x="393383" y="1376363"/>
                  </a:lnTo>
                  <a:lnTo>
                    <a:pt x="432435" y="1349693"/>
                  </a:lnTo>
                  <a:lnTo>
                    <a:pt x="461010" y="1339215"/>
                  </a:lnTo>
                  <a:lnTo>
                    <a:pt x="507683" y="1312545"/>
                  </a:lnTo>
                  <a:lnTo>
                    <a:pt x="519113" y="1312545"/>
                  </a:lnTo>
                  <a:lnTo>
                    <a:pt x="527685" y="1323975"/>
                  </a:lnTo>
                  <a:lnTo>
                    <a:pt x="530543" y="1340168"/>
                  </a:lnTo>
                  <a:lnTo>
                    <a:pt x="531495" y="1404938"/>
                  </a:lnTo>
                  <a:lnTo>
                    <a:pt x="530543" y="1413510"/>
                  </a:lnTo>
                  <a:lnTo>
                    <a:pt x="526733" y="1421130"/>
                  </a:lnTo>
                  <a:lnTo>
                    <a:pt x="521970" y="1428750"/>
                  </a:lnTo>
                  <a:lnTo>
                    <a:pt x="518160" y="1435418"/>
                  </a:lnTo>
                  <a:lnTo>
                    <a:pt x="519113" y="1443990"/>
                  </a:lnTo>
                  <a:lnTo>
                    <a:pt x="527685" y="1451610"/>
                  </a:lnTo>
                  <a:lnTo>
                    <a:pt x="539115" y="1443990"/>
                  </a:lnTo>
                  <a:lnTo>
                    <a:pt x="558165" y="1423035"/>
                  </a:lnTo>
                  <a:lnTo>
                    <a:pt x="564833" y="1420178"/>
                  </a:lnTo>
                  <a:lnTo>
                    <a:pt x="568643" y="1422083"/>
                  </a:lnTo>
                  <a:lnTo>
                    <a:pt x="571500" y="1420178"/>
                  </a:lnTo>
                  <a:lnTo>
                    <a:pt x="574358" y="1410653"/>
                  </a:lnTo>
                  <a:lnTo>
                    <a:pt x="575310" y="1403985"/>
                  </a:lnTo>
                  <a:lnTo>
                    <a:pt x="572453" y="1388745"/>
                  </a:lnTo>
                  <a:lnTo>
                    <a:pt x="574358" y="1379220"/>
                  </a:lnTo>
                  <a:lnTo>
                    <a:pt x="583883" y="1363028"/>
                  </a:lnTo>
                  <a:lnTo>
                    <a:pt x="590550" y="1365885"/>
                  </a:lnTo>
                  <a:lnTo>
                    <a:pt x="602933" y="1392555"/>
                  </a:lnTo>
                  <a:lnTo>
                    <a:pt x="612458" y="1406843"/>
                  </a:lnTo>
                  <a:lnTo>
                    <a:pt x="619125" y="1405890"/>
                  </a:lnTo>
                  <a:lnTo>
                    <a:pt x="641985" y="1370648"/>
                  </a:lnTo>
                  <a:lnTo>
                    <a:pt x="652463" y="1360170"/>
                  </a:lnTo>
                  <a:lnTo>
                    <a:pt x="662940" y="1353503"/>
                  </a:lnTo>
                  <a:lnTo>
                    <a:pt x="675322" y="1355408"/>
                  </a:lnTo>
                  <a:lnTo>
                    <a:pt x="678180" y="1360170"/>
                  </a:lnTo>
                  <a:lnTo>
                    <a:pt x="679133" y="1365885"/>
                  </a:lnTo>
                  <a:lnTo>
                    <a:pt x="678180" y="1370648"/>
                  </a:lnTo>
                  <a:lnTo>
                    <a:pt x="672465" y="1382078"/>
                  </a:lnTo>
                  <a:lnTo>
                    <a:pt x="671513" y="1387793"/>
                  </a:lnTo>
                  <a:lnTo>
                    <a:pt x="672465" y="1393508"/>
                  </a:lnTo>
                  <a:lnTo>
                    <a:pt x="675322" y="1399223"/>
                  </a:lnTo>
                  <a:lnTo>
                    <a:pt x="682943" y="1403033"/>
                  </a:lnTo>
                  <a:lnTo>
                    <a:pt x="700088" y="1405890"/>
                  </a:lnTo>
                  <a:lnTo>
                    <a:pt x="707708" y="1408748"/>
                  </a:lnTo>
                  <a:lnTo>
                    <a:pt x="714375" y="1415415"/>
                  </a:lnTo>
                  <a:lnTo>
                    <a:pt x="721995" y="1432560"/>
                  </a:lnTo>
                  <a:lnTo>
                    <a:pt x="729615" y="1442085"/>
                  </a:lnTo>
                  <a:lnTo>
                    <a:pt x="737235" y="1446848"/>
                  </a:lnTo>
                  <a:lnTo>
                    <a:pt x="746760" y="1447800"/>
                  </a:lnTo>
                  <a:lnTo>
                    <a:pt x="755333" y="1444943"/>
                  </a:lnTo>
                  <a:lnTo>
                    <a:pt x="762000" y="1437323"/>
                  </a:lnTo>
                  <a:lnTo>
                    <a:pt x="765810" y="1424940"/>
                  </a:lnTo>
                  <a:lnTo>
                    <a:pt x="763905" y="1405890"/>
                  </a:lnTo>
                  <a:lnTo>
                    <a:pt x="766763" y="1401128"/>
                  </a:lnTo>
                  <a:lnTo>
                    <a:pt x="782003" y="1401128"/>
                  </a:lnTo>
                  <a:lnTo>
                    <a:pt x="792480" y="1397318"/>
                  </a:lnTo>
                  <a:lnTo>
                    <a:pt x="798195" y="1385888"/>
                  </a:lnTo>
                  <a:lnTo>
                    <a:pt x="798195" y="1363980"/>
                  </a:lnTo>
                  <a:lnTo>
                    <a:pt x="804863" y="1376363"/>
                  </a:lnTo>
                  <a:lnTo>
                    <a:pt x="832485" y="1402080"/>
                  </a:lnTo>
                  <a:lnTo>
                    <a:pt x="843915" y="1420178"/>
                  </a:lnTo>
                  <a:lnTo>
                    <a:pt x="846772" y="1425893"/>
                  </a:lnTo>
                  <a:lnTo>
                    <a:pt x="846772" y="1433513"/>
                  </a:lnTo>
                  <a:lnTo>
                    <a:pt x="846772" y="1447800"/>
                  </a:lnTo>
                  <a:lnTo>
                    <a:pt x="847725" y="1453515"/>
                  </a:lnTo>
                  <a:lnTo>
                    <a:pt x="858203" y="1464945"/>
                  </a:lnTo>
                  <a:lnTo>
                    <a:pt x="868680" y="1463040"/>
                  </a:lnTo>
                  <a:lnTo>
                    <a:pt x="888683" y="1445895"/>
                  </a:lnTo>
                  <a:lnTo>
                    <a:pt x="897255" y="1440180"/>
                  </a:lnTo>
                  <a:lnTo>
                    <a:pt x="905828" y="1439228"/>
                  </a:lnTo>
                  <a:lnTo>
                    <a:pt x="968693" y="1442085"/>
                  </a:lnTo>
                  <a:lnTo>
                    <a:pt x="991553" y="1438275"/>
                  </a:lnTo>
                  <a:lnTo>
                    <a:pt x="1005840" y="1424940"/>
                  </a:lnTo>
                  <a:lnTo>
                    <a:pt x="1018222" y="1401128"/>
                  </a:lnTo>
                  <a:lnTo>
                    <a:pt x="1011555" y="1396365"/>
                  </a:lnTo>
                  <a:lnTo>
                    <a:pt x="1002983" y="1395413"/>
                  </a:lnTo>
                  <a:lnTo>
                    <a:pt x="995363" y="1396365"/>
                  </a:lnTo>
                  <a:lnTo>
                    <a:pt x="989647" y="1401128"/>
                  </a:lnTo>
                  <a:lnTo>
                    <a:pt x="981075" y="1390650"/>
                  </a:lnTo>
                  <a:lnTo>
                    <a:pt x="956310" y="1371600"/>
                  </a:lnTo>
                  <a:lnTo>
                    <a:pt x="960120" y="1364933"/>
                  </a:lnTo>
                  <a:lnTo>
                    <a:pt x="954405" y="1351598"/>
                  </a:lnTo>
                  <a:lnTo>
                    <a:pt x="950595" y="1346835"/>
                  </a:lnTo>
                  <a:lnTo>
                    <a:pt x="946785" y="1343025"/>
                  </a:lnTo>
                  <a:lnTo>
                    <a:pt x="942975" y="1343025"/>
                  </a:lnTo>
                  <a:lnTo>
                    <a:pt x="937260" y="1346835"/>
                  </a:lnTo>
                  <a:lnTo>
                    <a:pt x="933450" y="1348740"/>
                  </a:lnTo>
                  <a:lnTo>
                    <a:pt x="931545" y="1346835"/>
                  </a:lnTo>
                  <a:lnTo>
                    <a:pt x="928688" y="1339215"/>
                  </a:lnTo>
                  <a:lnTo>
                    <a:pt x="927735" y="1337310"/>
                  </a:lnTo>
                  <a:lnTo>
                    <a:pt x="904875" y="1327785"/>
                  </a:lnTo>
                  <a:lnTo>
                    <a:pt x="897255" y="1318260"/>
                  </a:lnTo>
                  <a:lnTo>
                    <a:pt x="895350" y="1301115"/>
                  </a:lnTo>
                  <a:lnTo>
                    <a:pt x="904875" y="1300163"/>
                  </a:lnTo>
                  <a:lnTo>
                    <a:pt x="916305" y="1298258"/>
                  </a:lnTo>
                  <a:lnTo>
                    <a:pt x="922972" y="1281113"/>
                  </a:lnTo>
                  <a:lnTo>
                    <a:pt x="921068" y="1274445"/>
                  </a:lnTo>
                  <a:lnTo>
                    <a:pt x="914400" y="1258253"/>
                  </a:lnTo>
                  <a:lnTo>
                    <a:pt x="912495" y="1250633"/>
                  </a:lnTo>
                  <a:lnTo>
                    <a:pt x="913447" y="1240155"/>
                  </a:lnTo>
                  <a:lnTo>
                    <a:pt x="915353" y="1233488"/>
                  </a:lnTo>
                  <a:lnTo>
                    <a:pt x="917258" y="1225868"/>
                  </a:lnTo>
                  <a:lnTo>
                    <a:pt x="920115" y="1217295"/>
                  </a:lnTo>
                  <a:lnTo>
                    <a:pt x="923925" y="1169670"/>
                  </a:lnTo>
                  <a:lnTo>
                    <a:pt x="922972" y="1155383"/>
                  </a:lnTo>
                  <a:lnTo>
                    <a:pt x="921068" y="1149668"/>
                  </a:lnTo>
                  <a:lnTo>
                    <a:pt x="915353" y="1138238"/>
                  </a:lnTo>
                  <a:lnTo>
                    <a:pt x="913447" y="1132523"/>
                  </a:lnTo>
                  <a:lnTo>
                    <a:pt x="912495" y="1125855"/>
                  </a:lnTo>
                  <a:lnTo>
                    <a:pt x="912495" y="1108710"/>
                  </a:lnTo>
                  <a:lnTo>
                    <a:pt x="911543" y="1103948"/>
                  </a:lnTo>
                  <a:lnTo>
                    <a:pt x="905828" y="1101090"/>
                  </a:lnTo>
                  <a:lnTo>
                    <a:pt x="900113" y="1102995"/>
                  </a:lnTo>
                  <a:lnTo>
                    <a:pt x="895350" y="1106805"/>
                  </a:lnTo>
                  <a:lnTo>
                    <a:pt x="890588" y="1105853"/>
                  </a:lnTo>
                  <a:lnTo>
                    <a:pt x="888683" y="1102043"/>
                  </a:lnTo>
                  <a:lnTo>
                    <a:pt x="883920" y="1087755"/>
                  </a:lnTo>
                  <a:lnTo>
                    <a:pt x="882015" y="1082040"/>
                  </a:lnTo>
                  <a:lnTo>
                    <a:pt x="866775" y="1069658"/>
                  </a:lnTo>
                  <a:lnTo>
                    <a:pt x="851535" y="1067753"/>
                  </a:lnTo>
                  <a:lnTo>
                    <a:pt x="836295" y="1069658"/>
                  </a:lnTo>
                  <a:lnTo>
                    <a:pt x="819150" y="1066800"/>
                  </a:lnTo>
                  <a:lnTo>
                    <a:pt x="809625" y="1059180"/>
                  </a:lnTo>
                  <a:lnTo>
                    <a:pt x="797243" y="1039178"/>
                  </a:lnTo>
                  <a:lnTo>
                    <a:pt x="788670" y="1030605"/>
                  </a:lnTo>
                  <a:lnTo>
                    <a:pt x="781050" y="1027748"/>
                  </a:lnTo>
                  <a:lnTo>
                    <a:pt x="763905" y="1025843"/>
                  </a:lnTo>
                  <a:lnTo>
                    <a:pt x="755333" y="1022985"/>
                  </a:lnTo>
                  <a:lnTo>
                    <a:pt x="750570" y="1019175"/>
                  </a:lnTo>
                  <a:lnTo>
                    <a:pt x="741997" y="1009650"/>
                  </a:lnTo>
                  <a:lnTo>
                    <a:pt x="737235" y="1006793"/>
                  </a:lnTo>
                  <a:lnTo>
                    <a:pt x="723900" y="1008698"/>
                  </a:lnTo>
                  <a:lnTo>
                    <a:pt x="721043" y="1007745"/>
                  </a:lnTo>
                  <a:lnTo>
                    <a:pt x="716280" y="999173"/>
                  </a:lnTo>
                  <a:lnTo>
                    <a:pt x="717233" y="988695"/>
                  </a:lnTo>
                  <a:lnTo>
                    <a:pt x="720090" y="976313"/>
                  </a:lnTo>
                  <a:lnTo>
                    <a:pt x="723900" y="947738"/>
                  </a:lnTo>
                  <a:lnTo>
                    <a:pt x="729615" y="939165"/>
                  </a:lnTo>
                  <a:lnTo>
                    <a:pt x="735330" y="932498"/>
                  </a:lnTo>
                  <a:lnTo>
                    <a:pt x="740093" y="922020"/>
                  </a:lnTo>
                  <a:lnTo>
                    <a:pt x="739140" y="909638"/>
                  </a:lnTo>
                  <a:lnTo>
                    <a:pt x="735330" y="899160"/>
                  </a:lnTo>
                  <a:lnTo>
                    <a:pt x="729615" y="890588"/>
                  </a:lnTo>
                  <a:lnTo>
                    <a:pt x="721995" y="885825"/>
                  </a:lnTo>
                  <a:lnTo>
                    <a:pt x="712470" y="886778"/>
                  </a:lnTo>
                  <a:lnTo>
                    <a:pt x="706755" y="896303"/>
                  </a:lnTo>
                  <a:lnTo>
                    <a:pt x="701993" y="905828"/>
                  </a:lnTo>
                  <a:lnTo>
                    <a:pt x="696278" y="910590"/>
                  </a:lnTo>
                  <a:lnTo>
                    <a:pt x="691515" y="905828"/>
                  </a:lnTo>
                  <a:lnTo>
                    <a:pt x="675322" y="875348"/>
                  </a:lnTo>
                  <a:lnTo>
                    <a:pt x="673418" y="870585"/>
                  </a:lnTo>
                  <a:lnTo>
                    <a:pt x="674370" y="868680"/>
                  </a:lnTo>
                  <a:lnTo>
                    <a:pt x="675322" y="865823"/>
                  </a:lnTo>
                  <a:lnTo>
                    <a:pt x="689610" y="864870"/>
                  </a:lnTo>
                  <a:lnTo>
                    <a:pt x="701040" y="861060"/>
                  </a:lnTo>
                  <a:lnTo>
                    <a:pt x="708660" y="852488"/>
                  </a:lnTo>
                  <a:lnTo>
                    <a:pt x="712470" y="832485"/>
                  </a:lnTo>
                  <a:lnTo>
                    <a:pt x="706755" y="792480"/>
                  </a:lnTo>
                  <a:lnTo>
                    <a:pt x="708660" y="775335"/>
                  </a:lnTo>
                  <a:lnTo>
                    <a:pt x="721995" y="768668"/>
                  </a:lnTo>
                  <a:lnTo>
                    <a:pt x="727710" y="755333"/>
                  </a:lnTo>
                  <a:lnTo>
                    <a:pt x="727710" y="737235"/>
                  </a:lnTo>
                  <a:lnTo>
                    <a:pt x="721995" y="719138"/>
                  </a:lnTo>
                  <a:lnTo>
                    <a:pt x="715328" y="705803"/>
                  </a:lnTo>
                  <a:lnTo>
                    <a:pt x="706755" y="697230"/>
                  </a:lnTo>
                  <a:lnTo>
                    <a:pt x="696278" y="694373"/>
                  </a:lnTo>
                  <a:lnTo>
                    <a:pt x="685800" y="693420"/>
                  </a:lnTo>
                  <a:lnTo>
                    <a:pt x="675322" y="694373"/>
                  </a:lnTo>
                  <a:lnTo>
                    <a:pt x="669608" y="706755"/>
                  </a:lnTo>
                  <a:lnTo>
                    <a:pt x="667703" y="718185"/>
                  </a:lnTo>
                  <a:lnTo>
                    <a:pt x="663893" y="729615"/>
                  </a:lnTo>
                  <a:lnTo>
                    <a:pt x="654368" y="738188"/>
                  </a:lnTo>
                  <a:lnTo>
                    <a:pt x="645795" y="741045"/>
                  </a:lnTo>
                  <a:lnTo>
                    <a:pt x="638175" y="740093"/>
                  </a:lnTo>
                  <a:lnTo>
                    <a:pt x="629603" y="736283"/>
                  </a:lnTo>
                  <a:lnTo>
                    <a:pt x="622935" y="729615"/>
                  </a:lnTo>
                  <a:lnTo>
                    <a:pt x="615315" y="718185"/>
                  </a:lnTo>
                  <a:lnTo>
                    <a:pt x="614363" y="706755"/>
                  </a:lnTo>
                  <a:lnTo>
                    <a:pt x="613410" y="695325"/>
                  </a:lnTo>
                  <a:lnTo>
                    <a:pt x="611505" y="682943"/>
                  </a:lnTo>
                  <a:lnTo>
                    <a:pt x="603885" y="673418"/>
                  </a:lnTo>
                  <a:lnTo>
                    <a:pt x="596265" y="669608"/>
                  </a:lnTo>
                  <a:lnTo>
                    <a:pt x="587693" y="667703"/>
                  </a:lnTo>
                  <a:lnTo>
                    <a:pt x="580072" y="663893"/>
                  </a:lnTo>
                  <a:lnTo>
                    <a:pt x="576263" y="655320"/>
                  </a:lnTo>
                  <a:lnTo>
                    <a:pt x="573405" y="645795"/>
                  </a:lnTo>
                  <a:lnTo>
                    <a:pt x="570547" y="637223"/>
                  </a:lnTo>
                  <a:lnTo>
                    <a:pt x="554355" y="626745"/>
                  </a:lnTo>
                  <a:lnTo>
                    <a:pt x="544830" y="610553"/>
                  </a:lnTo>
                  <a:lnTo>
                    <a:pt x="537210" y="605790"/>
                  </a:lnTo>
                  <a:lnTo>
                    <a:pt x="528638" y="610553"/>
                  </a:lnTo>
                  <a:lnTo>
                    <a:pt x="522922" y="618173"/>
                  </a:lnTo>
                  <a:lnTo>
                    <a:pt x="518160" y="622935"/>
                  </a:lnTo>
                  <a:lnTo>
                    <a:pt x="508635" y="615315"/>
                  </a:lnTo>
                  <a:lnTo>
                    <a:pt x="503872" y="607695"/>
                  </a:lnTo>
                  <a:lnTo>
                    <a:pt x="495300" y="583883"/>
                  </a:lnTo>
                  <a:lnTo>
                    <a:pt x="490538" y="573405"/>
                  </a:lnTo>
                  <a:lnTo>
                    <a:pt x="483870" y="541973"/>
                  </a:lnTo>
                  <a:lnTo>
                    <a:pt x="490538" y="521970"/>
                  </a:lnTo>
                  <a:lnTo>
                    <a:pt x="503872" y="503873"/>
                  </a:lnTo>
                  <a:lnTo>
                    <a:pt x="518160" y="480060"/>
                  </a:lnTo>
                  <a:lnTo>
                    <a:pt x="522922" y="450533"/>
                  </a:lnTo>
                  <a:lnTo>
                    <a:pt x="522922" y="422910"/>
                  </a:lnTo>
                  <a:lnTo>
                    <a:pt x="525780" y="398145"/>
                  </a:lnTo>
                  <a:lnTo>
                    <a:pt x="541020" y="378143"/>
                  </a:lnTo>
                  <a:lnTo>
                    <a:pt x="547688" y="367665"/>
                  </a:lnTo>
                  <a:lnTo>
                    <a:pt x="545783" y="359093"/>
                  </a:lnTo>
                  <a:lnTo>
                    <a:pt x="539115" y="353378"/>
                  </a:lnTo>
                  <a:lnTo>
                    <a:pt x="521018" y="346710"/>
                  </a:lnTo>
                  <a:lnTo>
                    <a:pt x="515303" y="341948"/>
                  </a:lnTo>
                  <a:lnTo>
                    <a:pt x="515303" y="333375"/>
                  </a:lnTo>
                  <a:lnTo>
                    <a:pt x="520065" y="319088"/>
                  </a:lnTo>
                  <a:lnTo>
                    <a:pt x="526733" y="310515"/>
                  </a:lnTo>
                  <a:lnTo>
                    <a:pt x="536258" y="300038"/>
                  </a:lnTo>
                  <a:lnTo>
                    <a:pt x="544830" y="288608"/>
                  </a:lnTo>
                  <a:lnTo>
                    <a:pt x="545783" y="278130"/>
                  </a:lnTo>
                  <a:lnTo>
                    <a:pt x="541020" y="274320"/>
                  </a:lnTo>
                  <a:lnTo>
                    <a:pt x="520065" y="267653"/>
                  </a:lnTo>
                  <a:lnTo>
                    <a:pt x="512445" y="261938"/>
                  </a:lnTo>
                  <a:lnTo>
                    <a:pt x="508635" y="250508"/>
                  </a:lnTo>
                  <a:lnTo>
                    <a:pt x="503872" y="223838"/>
                  </a:lnTo>
                  <a:lnTo>
                    <a:pt x="500063" y="211455"/>
                  </a:lnTo>
                  <a:lnTo>
                    <a:pt x="493395" y="200978"/>
                  </a:lnTo>
                  <a:lnTo>
                    <a:pt x="486728" y="195263"/>
                  </a:lnTo>
                  <a:lnTo>
                    <a:pt x="480060" y="192405"/>
                  </a:lnTo>
                  <a:lnTo>
                    <a:pt x="470535" y="191453"/>
                  </a:lnTo>
                  <a:lnTo>
                    <a:pt x="454343" y="200025"/>
                  </a:lnTo>
                  <a:lnTo>
                    <a:pt x="430530" y="230505"/>
                  </a:lnTo>
                  <a:lnTo>
                    <a:pt x="411480" y="234315"/>
                  </a:lnTo>
                  <a:lnTo>
                    <a:pt x="395288" y="227648"/>
                  </a:lnTo>
                  <a:lnTo>
                    <a:pt x="377190" y="213360"/>
                  </a:lnTo>
                  <a:lnTo>
                    <a:pt x="360045" y="194310"/>
                  </a:lnTo>
                  <a:lnTo>
                    <a:pt x="348615" y="175260"/>
                  </a:lnTo>
                  <a:lnTo>
                    <a:pt x="358140" y="167640"/>
                  </a:lnTo>
                  <a:lnTo>
                    <a:pt x="402908" y="147638"/>
                  </a:lnTo>
                  <a:lnTo>
                    <a:pt x="414338" y="140018"/>
                  </a:lnTo>
                  <a:lnTo>
                    <a:pt x="420053" y="131445"/>
                  </a:lnTo>
                  <a:lnTo>
                    <a:pt x="426720" y="123825"/>
                  </a:lnTo>
                  <a:lnTo>
                    <a:pt x="431483" y="120015"/>
                  </a:lnTo>
                  <a:lnTo>
                    <a:pt x="440055" y="115253"/>
                  </a:lnTo>
                  <a:lnTo>
                    <a:pt x="445770" y="110490"/>
                  </a:lnTo>
                  <a:lnTo>
                    <a:pt x="447675" y="108585"/>
                  </a:lnTo>
                  <a:lnTo>
                    <a:pt x="448628" y="105728"/>
                  </a:lnTo>
                  <a:lnTo>
                    <a:pt x="447675" y="100013"/>
                  </a:lnTo>
                  <a:lnTo>
                    <a:pt x="443865" y="80010"/>
                  </a:lnTo>
                  <a:lnTo>
                    <a:pt x="443865" y="75248"/>
                  </a:lnTo>
                  <a:lnTo>
                    <a:pt x="443865" y="72390"/>
                  </a:lnTo>
                  <a:lnTo>
                    <a:pt x="445770" y="69533"/>
                  </a:lnTo>
                  <a:lnTo>
                    <a:pt x="447675" y="68580"/>
                  </a:lnTo>
                  <a:lnTo>
                    <a:pt x="462915" y="61913"/>
                  </a:lnTo>
                  <a:lnTo>
                    <a:pt x="467678" y="60960"/>
                  </a:lnTo>
                  <a:lnTo>
                    <a:pt x="470535" y="60960"/>
                  </a:lnTo>
                  <a:lnTo>
                    <a:pt x="476250" y="62865"/>
                  </a:lnTo>
                  <a:lnTo>
                    <a:pt x="479108" y="64770"/>
                  </a:lnTo>
                  <a:lnTo>
                    <a:pt x="483870" y="68580"/>
                  </a:lnTo>
                  <a:lnTo>
                    <a:pt x="493395" y="77153"/>
                  </a:lnTo>
                  <a:lnTo>
                    <a:pt x="500063" y="81915"/>
                  </a:lnTo>
                  <a:lnTo>
                    <a:pt x="501968" y="83820"/>
                  </a:lnTo>
                  <a:lnTo>
                    <a:pt x="506730" y="89535"/>
                  </a:lnTo>
                  <a:lnTo>
                    <a:pt x="511493" y="92393"/>
                  </a:lnTo>
                  <a:lnTo>
                    <a:pt x="539115" y="103823"/>
                  </a:lnTo>
                  <a:lnTo>
                    <a:pt x="548640" y="108585"/>
                  </a:lnTo>
                  <a:lnTo>
                    <a:pt x="551497" y="109538"/>
                  </a:lnTo>
                  <a:lnTo>
                    <a:pt x="600075" y="107633"/>
                  </a:lnTo>
                  <a:lnTo>
                    <a:pt x="650558" y="86678"/>
                  </a:lnTo>
                  <a:lnTo>
                    <a:pt x="659130" y="86678"/>
                  </a:lnTo>
                  <a:lnTo>
                    <a:pt x="663893" y="90488"/>
                  </a:lnTo>
                  <a:lnTo>
                    <a:pt x="683895" y="102870"/>
                  </a:lnTo>
                  <a:lnTo>
                    <a:pt x="690563" y="104775"/>
                  </a:lnTo>
                  <a:lnTo>
                    <a:pt x="730568" y="107633"/>
                  </a:lnTo>
                  <a:lnTo>
                    <a:pt x="760095" y="104775"/>
                  </a:lnTo>
                  <a:lnTo>
                    <a:pt x="764858" y="102870"/>
                  </a:lnTo>
                  <a:lnTo>
                    <a:pt x="767715" y="101918"/>
                  </a:lnTo>
                  <a:lnTo>
                    <a:pt x="770572" y="102870"/>
                  </a:lnTo>
                  <a:lnTo>
                    <a:pt x="775335" y="104775"/>
                  </a:lnTo>
                  <a:lnTo>
                    <a:pt x="778193" y="104775"/>
                  </a:lnTo>
                  <a:lnTo>
                    <a:pt x="780097" y="102870"/>
                  </a:lnTo>
                  <a:lnTo>
                    <a:pt x="788670" y="77153"/>
                  </a:lnTo>
                  <a:lnTo>
                    <a:pt x="789622" y="72390"/>
                  </a:lnTo>
                  <a:lnTo>
                    <a:pt x="789622" y="68580"/>
                  </a:lnTo>
                  <a:lnTo>
                    <a:pt x="786765" y="63818"/>
                  </a:lnTo>
                  <a:lnTo>
                    <a:pt x="776288" y="49530"/>
                  </a:lnTo>
                  <a:lnTo>
                    <a:pt x="773430" y="44768"/>
                  </a:lnTo>
                  <a:lnTo>
                    <a:pt x="772478" y="42863"/>
                  </a:lnTo>
                  <a:lnTo>
                    <a:pt x="773430" y="39053"/>
                  </a:lnTo>
                  <a:lnTo>
                    <a:pt x="775335" y="36195"/>
                  </a:lnTo>
                  <a:lnTo>
                    <a:pt x="782003" y="32385"/>
                  </a:lnTo>
                  <a:lnTo>
                    <a:pt x="786765" y="33338"/>
                  </a:lnTo>
                  <a:lnTo>
                    <a:pt x="790575" y="34290"/>
                  </a:lnTo>
                  <a:lnTo>
                    <a:pt x="795338" y="33338"/>
                  </a:lnTo>
                  <a:lnTo>
                    <a:pt x="800100" y="32385"/>
                  </a:lnTo>
                  <a:lnTo>
                    <a:pt x="830580" y="15240"/>
                  </a:lnTo>
                  <a:lnTo>
                    <a:pt x="843915" y="13335"/>
                  </a:lnTo>
                  <a:lnTo>
                    <a:pt x="852488" y="9525"/>
                  </a:lnTo>
                  <a:lnTo>
                    <a:pt x="854393" y="9525"/>
                  </a:lnTo>
                  <a:lnTo>
                    <a:pt x="857250" y="10478"/>
                  </a:lnTo>
                  <a:lnTo>
                    <a:pt x="860108" y="11430"/>
                  </a:lnTo>
                  <a:lnTo>
                    <a:pt x="869633" y="19050"/>
                  </a:lnTo>
                  <a:lnTo>
                    <a:pt x="879158" y="31433"/>
                  </a:lnTo>
                  <a:lnTo>
                    <a:pt x="882015" y="33338"/>
                  </a:lnTo>
                  <a:lnTo>
                    <a:pt x="883920" y="34290"/>
                  </a:lnTo>
                  <a:lnTo>
                    <a:pt x="886778" y="34290"/>
                  </a:lnTo>
                  <a:lnTo>
                    <a:pt x="889635" y="32385"/>
                  </a:lnTo>
                  <a:lnTo>
                    <a:pt x="892493" y="29528"/>
                  </a:lnTo>
                  <a:lnTo>
                    <a:pt x="903922" y="7620"/>
                  </a:lnTo>
                  <a:lnTo>
                    <a:pt x="907733" y="2858"/>
                  </a:lnTo>
                  <a:lnTo>
                    <a:pt x="908685" y="953"/>
                  </a:lnTo>
                  <a:lnTo>
                    <a:pt x="911543" y="0"/>
                  </a:lnTo>
                  <a:lnTo>
                    <a:pt x="915353" y="953"/>
                  </a:lnTo>
                  <a:lnTo>
                    <a:pt x="922020" y="7620"/>
                  </a:lnTo>
                  <a:lnTo>
                    <a:pt x="924878" y="10478"/>
                  </a:lnTo>
                  <a:lnTo>
                    <a:pt x="927735" y="10478"/>
                  </a:lnTo>
                  <a:lnTo>
                    <a:pt x="932497" y="9525"/>
                  </a:lnTo>
                  <a:lnTo>
                    <a:pt x="939165" y="4763"/>
                  </a:lnTo>
                  <a:lnTo>
                    <a:pt x="947738" y="1905"/>
                  </a:lnTo>
                  <a:lnTo>
                    <a:pt x="956310" y="19050"/>
                  </a:lnTo>
                  <a:lnTo>
                    <a:pt x="963930" y="38100"/>
                  </a:lnTo>
                  <a:lnTo>
                    <a:pt x="974408" y="53340"/>
                  </a:lnTo>
                  <a:lnTo>
                    <a:pt x="993458" y="62865"/>
                  </a:lnTo>
                  <a:lnTo>
                    <a:pt x="1103948" y="68580"/>
                  </a:lnTo>
                  <a:close/>
                  <a:moveTo>
                    <a:pt x="1017270" y="1438275"/>
                  </a:moveTo>
                  <a:lnTo>
                    <a:pt x="1010603" y="1450657"/>
                  </a:lnTo>
                  <a:lnTo>
                    <a:pt x="1009650" y="1456373"/>
                  </a:lnTo>
                  <a:lnTo>
                    <a:pt x="1007745" y="1461135"/>
                  </a:lnTo>
                  <a:lnTo>
                    <a:pt x="1006793" y="1465898"/>
                  </a:lnTo>
                  <a:lnTo>
                    <a:pt x="1007745" y="1474470"/>
                  </a:lnTo>
                  <a:lnTo>
                    <a:pt x="1009650" y="1479232"/>
                  </a:lnTo>
                  <a:lnTo>
                    <a:pt x="1015365" y="1491615"/>
                  </a:lnTo>
                  <a:lnTo>
                    <a:pt x="1050608" y="1531620"/>
                  </a:lnTo>
                  <a:lnTo>
                    <a:pt x="1060133" y="1536382"/>
                  </a:lnTo>
                  <a:lnTo>
                    <a:pt x="1071563" y="1538288"/>
                  </a:lnTo>
                  <a:lnTo>
                    <a:pt x="1108710" y="1553528"/>
                  </a:lnTo>
                  <a:lnTo>
                    <a:pt x="1128713" y="1569720"/>
                  </a:lnTo>
                  <a:lnTo>
                    <a:pt x="1142048" y="1589723"/>
                  </a:lnTo>
                  <a:lnTo>
                    <a:pt x="1172528" y="1654493"/>
                  </a:lnTo>
                  <a:lnTo>
                    <a:pt x="1176338" y="1660207"/>
                  </a:lnTo>
                  <a:lnTo>
                    <a:pt x="1183005" y="1662113"/>
                  </a:lnTo>
                  <a:lnTo>
                    <a:pt x="1186815" y="1660207"/>
                  </a:lnTo>
                  <a:lnTo>
                    <a:pt x="1200150" y="1647825"/>
                  </a:lnTo>
                  <a:lnTo>
                    <a:pt x="1202055" y="1644015"/>
                  </a:lnTo>
                  <a:lnTo>
                    <a:pt x="1203960" y="1640205"/>
                  </a:lnTo>
                  <a:lnTo>
                    <a:pt x="1207770" y="1634490"/>
                  </a:lnTo>
                  <a:lnTo>
                    <a:pt x="1211580" y="1628775"/>
                  </a:lnTo>
                  <a:lnTo>
                    <a:pt x="1213485" y="1620203"/>
                  </a:lnTo>
                  <a:lnTo>
                    <a:pt x="1213485" y="1614488"/>
                  </a:lnTo>
                  <a:lnTo>
                    <a:pt x="1211580" y="1612582"/>
                  </a:lnTo>
                  <a:lnTo>
                    <a:pt x="1207770" y="1609725"/>
                  </a:lnTo>
                  <a:lnTo>
                    <a:pt x="1202055" y="1604963"/>
                  </a:lnTo>
                  <a:lnTo>
                    <a:pt x="1171575" y="1575435"/>
                  </a:lnTo>
                  <a:lnTo>
                    <a:pt x="1166813" y="1565910"/>
                  </a:lnTo>
                  <a:lnTo>
                    <a:pt x="1167765" y="1559243"/>
                  </a:lnTo>
                  <a:lnTo>
                    <a:pt x="1169670" y="1548765"/>
                  </a:lnTo>
                  <a:lnTo>
                    <a:pt x="1169670" y="1542098"/>
                  </a:lnTo>
                  <a:lnTo>
                    <a:pt x="1167765" y="1534478"/>
                  </a:lnTo>
                  <a:lnTo>
                    <a:pt x="1166813" y="1529715"/>
                  </a:lnTo>
                  <a:lnTo>
                    <a:pt x="1163955" y="1525905"/>
                  </a:lnTo>
                  <a:lnTo>
                    <a:pt x="1159193" y="1521143"/>
                  </a:lnTo>
                  <a:lnTo>
                    <a:pt x="1127760" y="1503045"/>
                  </a:lnTo>
                  <a:lnTo>
                    <a:pt x="1122998" y="1492568"/>
                  </a:lnTo>
                  <a:lnTo>
                    <a:pt x="1122998" y="1477328"/>
                  </a:lnTo>
                  <a:lnTo>
                    <a:pt x="1121093" y="1462088"/>
                  </a:lnTo>
                  <a:lnTo>
                    <a:pt x="1118235" y="1447800"/>
                  </a:lnTo>
                  <a:lnTo>
                    <a:pt x="1112520" y="1438275"/>
                  </a:lnTo>
                  <a:lnTo>
                    <a:pt x="1109663" y="1456373"/>
                  </a:lnTo>
                  <a:lnTo>
                    <a:pt x="1107758" y="1475423"/>
                  </a:lnTo>
                  <a:lnTo>
                    <a:pt x="1104900" y="1486853"/>
                  </a:lnTo>
                  <a:lnTo>
                    <a:pt x="1094423" y="1484948"/>
                  </a:lnTo>
                  <a:lnTo>
                    <a:pt x="1085850" y="1476375"/>
                  </a:lnTo>
                  <a:lnTo>
                    <a:pt x="1077278" y="1463040"/>
                  </a:lnTo>
                  <a:lnTo>
                    <a:pt x="1072515" y="1446848"/>
                  </a:lnTo>
                  <a:lnTo>
                    <a:pt x="1076325" y="1432560"/>
                  </a:lnTo>
                  <a:lnTo>
                    <a:pt x="1073468" y="1427798"/>
                  </a:lnTo>
                  <a:lnTo>
                    <a:pt x="1069658" y="1423988"/>
                  </a:lnTo>
                  <a:lnTo>
                    <a:pt x="1063943" y="1421130"/>
                  </a:lnTo>
                  <a:lnTo>
                    <a:pt x="1058228" y="1421130"/>
                  </a:lnTo>
                  <a:lnTo>
                    <a:pt x="1017270" y="1438275"/>
                  </a:lnTo>
                  <a:close/>
                </a:path>
              </a:pathLst>
            </a:custGeom>
            <a:solidFill>
              <a:srgbClr val="2B6AE9"/>
            </a:solidFill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6" name="Полилиния: фигура 18">
              <a:extLst>
                <a:ext uri="{FF2B5EF4-FFF2-40B4-BE49-F238E27FC236}">
                  <a16:creationId xmlns:a16="http://schemas.microsoft.com/office/drawing/2014/main" id="{B64C95D4-4454-AC5C-D3FA-CDAFF2CBB646}"/>
                </a:ext>
              </a:extLst>
            </p:cNvPr>
            <p:cNvSpPr/>
            <p:nvPr/>
          </p:nvSpPr>
          <p:spPr>
            <a:xfrm>
              <a:off x="4105275" y="2339340"/>
              <a:ext cx="1419225" cy="1504950"/>
            </a:xfrm>
            <a:custGeom>
              <a:avLst/>
              <a:gdLst>
                <a:gd name="connsiteX0" fmla="*/ 1094423 w 1419225"/>
                <a:gd name="connsiteY0" fmla="*/ 188595 h 1504950"/>
                <a:gd name="connsiteX1" fmla="*/ 1121093 w 1419225"/>
                <a:gd name="connsiteY1" fmla="*/ 192405 h 1504950"/>
                <a:gd name="connsiteX2" fmla="*/ 1123950 w 1419225"/>
                <a:gd name="connsiteY2" fmla="*/ 194310 h 1504950"/>
                <a:gd name="connsiteX3" fmla="*/ 1128713 w 1419225"/>
                <a:gd name="connsiteY3" fmla="*/ 197167 h 1504950"/>
                <a:gd name="connsiteX4" fmla="*/ 1129665 w 1419225"/>
                <a:gd name="connsiteY4" fmla="*/ 200025 h 1504950"/>
                <a:gd name="connsiteX5" fmla="*/ 1130618 w 1419225"/>
                <a:gd name="connsiteY5" fmla="*/ 202882 h 1504950"/>
                <a:gd name="connsiteX6" fmla="*/ 1129665 w 1419225"/>
                <a:gd name="connsiteY6" fmla="*/ 208597 h 1504950"/>
                <a:gd name="connsiteX7" fmla="*/ 1127760 w 1419225"/>
                <a:gd name="connsiteY7" fmla="*/ 216217 h 1504950"/>
                <a:gd name="connsiteX8" fmla="*/ 1122045 w 1419225"/>
                <a:gd name="connsiteY8" fmla="*/ 226695 h 1504950"/>
                <a:gd name="connsiteX9" fmla="*/ 1121093 w 1419225"/>
                <a:gd name="connsiteY9" fmla="*/ 229552 h 1504950"/>
                <a:gd name="connsiteX10" fmla="*/ 1120140 w 1419225"/>
                <a:gd name="connsiteY10" fmla="*/ 236220 h 1504950"/>
                <a:gd name="connsiteX11" fmla="*/ 1120140 w 1419225"/>
                <a:gd name="connsiteY11" fmla="*/ 242888 h 1504950"/>
                <a:gd name="connsiteX12" fmla="*/ 1121093 w 1419225"/>
                <a:gd name="connsiteY12" fmla="*/ 251460 h 1504950"/>
                <a:gd name="connsiteX13" fmla="*/ 1122045 w 1419225"/>
                <a:gd name="connsiteY13" fmla="*/ 255270 h 1504950"/>
                <a:gd name="connsiteX14" fmla="*/ 1123950 w 1419225"/>
                <a:gd name="connsiteY14" fmla="*/ 260032 h 1504950"/>
                <a:gd name="connsiteX15" fmla="*/ 1127760 w 1419225"/>
                <a:gd name="connsiteY15" fmla="*/ 265747 h 1504950"/>
                <a:gd name="connsiteX16" fmla="*/ 1131570 w 1419225"/>
                <a:gd name="connsiteY16" fmla="*/ 269557 h 1504950"/>
                <a:gd name="connsiteX17" fmla="*/ 1134428 w 1419225"/>
                <a:gd name="connsiteY17" fmla="*/ 271463 h 1504950"/>
                <a:gd name="connsiteX18" fmla="*/ 1155382 w 1419225"/>
                <a:gd name="connsiteY18" fmla="*/ 281940 h 1504950"/>
                <a:gd name="connsiteX19" fmla="*/ 1157288 w 1419225"/>
                <a:gd name="connsiteY19" fmla="*/ 284797 h 1504950"/>
                <a:gd name="connsiteX20" fmla="*/ 1158240 w 1419225"/>
                <a:gd name="connsiteY20" fmla="*/ 288607 h 1504950"/>
                <a:gd name="connsiteX21" fmla="*/ 1158240 w 1419225"/>
                <a:gd name="connsiteY21" fmla="*/ 294322 h 1504950"/>
                <a:gd name="connsiteX22" fmla="*/ 1157288 w 1419225"/>
                <a:gd name="connsiteY22" fmla="*/ 303847 h 1504950"/>
                <a:gd name="connsiteX23" fmla="*/ 1155382 w 1419225"/>
                <a:gd name="connsiteY23" fmla="*/ 307657 h 1504950"/>
                <a:gd name="connsiteX24" fmla="*/ 1151573 w 1419225"/>
                <a:gd name="connsiteY24" fmla="*/ 310515 h 1504950"/>
                <a:gd name="connsiteX25" fmla="*/ 1147763 w 1419225"/>
                <a:gd name="connsiteY25" fmla="*/ 312420 h 1504950"/>
                <a:gd name="connsiteX26" fmla="*/ 1144905 w 1419225"/>
                <a:gd name="connsiteY26" fmla="*/ 315277 h 1504950"/>
                <a:gd name="connsiteX27" fmla="*/ 1143953 w 1419225"/>
                <a:gd name="connsiteY27" fmla="*/ 318135 h 1504950"/>
                <a:gd name="connsiteX28" fmla="*/ 1143953 w 1419225"/>
                <a:gd name="connsiteY28" fmla="*/ 320992 h 1504950"/>
                <a:gd name="connsiteX29" fmla="*/ 1145857 w 1419225"/>
                <a:gd name="connsiteY29" fmla="*/ 325755 h 1504950"/>
                <a:gd name="connsiteX30" fmla="*/ 1157288 w 1419225"/>
                <a:gd name="connsiteY30" fmla="*/ 350520 h 1504950"/>
                <a:gd name="connsiteX31" fmla="*/ 1159193 w 1419225"/>
                <a:gd name="connsiteY31" fmla="*/ 357188 h 1504950"/>
                <a:gd name="connsiteX32" fmla="*/ 1159193 w 1419225"/>
                <a:gd name="connsiteY32" fmla="*/ 367665 h 1504950"/>
                <a:gd name="connsiteX33" fmla="*/ 1159193 w 1419225"/>
                <a:gd name="connsiteY33" fmla="*/ 374332 h 1504950"/>
                <a:gd name="connsiteX34" fmla="*/ 1156335 w 1419225"/>
                <a:gd name="connsiteY34" fmla="*/ 380047 h 1504950"/>
                <a:gd name="connsiteX35" fmla="*/ 1154430 w 1419225"/>
                <a:gd name="connsiteY35" fmla="*/ 381953 h 1504950"/>
                <a:gd name="connsiteX36" fmla="*/ 1128713 w 1419225"/>
                <a:gd name="connsiteY36" fmla="*/ 399097 h 1504950"/>
                <a:gd name="connsiteX37" fmla="*/ 1124903 w 1419225"/>
                <a:gd name="connsiteY37" fmla="*/ 402907 h 1504950"/>
                <a:gd name="connsiteX38" fmla="*/ 1122998 w 1419225"/>
                <a:gd name="connsiteY38" fmla="*/ 406717 h 1504950"/>
                <a:gd name="connsiteX39" fmla="*/ 1122045 w 1419225"/>
                <a:gd name="connsiteY39" fmla="*/ 412432 h 1504950"/>
                <a:gd name="connsiteX40" fmla="*/ 1122998 w 1419225"/>
                <a:gd name="connsiteY40" fmla="*/ 420053 h 1504950"/>
                <a:gd name="connsiteX41" fmla="*/ 1130618 w 1419225"/>
                <a:gd name="connsiteY41" fmla="*/ 435292 h 1504950"/>
                <a:gd name="connsiteX42" fmla="*/ 1132523 w 1419225"/>
                <a:gd name="connsiteY42" fmla="*/ 441007 h 1504950"/>
                <a:gd name="connsiteX43" fmla="*/ 1134428 w 1419225"/>
                <a:gd name="connsiteY43" fmla="*/ 445770 h 1504950"/>
                <a:gd name="connsiteX44" fmla="*/ 1134428 w 1419225"/>
                <a:gd name="connsiteY44" fmla="*/ 452438 h 1504950"/>
                <a:gd name="connsiteX45" fmla="*/ 1136332 w 1419225"/>
                <a:gd name="connsiteY45" fmla="*/ 455295 h 1504950"/>
                <a:gd name="connsiteX46" fmla="*/ 1139190 w 1419225"/>
                <a:gd name="connsiteY46" fmla="*/ 459105 h 1504950"/>
                <a:gd name="connsiteX47" fmla="*/ 1146810 w 1419225"/>
                <a:gd name="connsiteY47" fmla="*/ 462915 h 1504950"/>
                <a:gd name="connsiteX48" fmla="*/ 1152525 w 1419225"/>
                <a:gd name="connsiteY48" fmla="*/ 464820 h 1504950"/>
                <a:gd name="connsiteX49" fmla="*/ 1167765 w 1419225"/>
                <a:gd name="connsiteY49" fmla="*/ 466725 h 1504950"/>
                <a:gd name="connsiteX50" fmla="*/ 1169670 w 1419225"/>
                <a:gd name="connsiteY50" fmla="*/ 467678 h 1504950"/>
                <a:gd name="connsiteX51" fmla="*/ 1171575 w 1419225"/>
                <a:gd name="connsiteY51" fmla="*/ 470535 h 1504950"/>
                <a:gd name="connsiteX52" fmla="*/ 1174432 w 1419225"/>
                <a:gd name="connsiteY52" fmla="*/ 473392 h 1504950"/>
                <a:gd name="connsiteX53" fmla="*/ 1181100 w 1419225"/>
                <a:gd name="connsiteY53" fmla="*/ 489585 h 1504950"/>
                <a:gd name="connsiteX54" fmla="*/ 1190625 w 1419225"/>
                <a:gd name="connsiteY54" fmla="*/ 503872 h 1504950"/>
                <a:gd name="connsiteX55" fmla="*/ 1194435 w 1419225"/>
                <a:gd name="connsiteY55" fmla="*/ 511492 h 1504950"/>
                <a:gd name="connsiteX56" fmla="*/ 1195388 w 1419225"/>
                <a:gd name="connsiteY56" fmla="*/ 515303 h 1504950"/>
                <a:gd name="connsiteX57" fmla="*/ 1197293 w 1419225"/>
                <a:gd name="connsiteY57" fmla="*/ 517207 h 1504950"/>
                <a:gd name="connsiteX58" fmla="*/ 1201103 w 1419225"/>
                <a:gd name="connsiteY58" fmla="*/ 519113 h 1504950"/>
                <a:gd name="connsiteX59" fmla="*/ 1207770 w 1419225"/>
                <a:gd name="connsiteY59" fmla="*/ 519113 h 1504950"/>
                <a:gd name="connsiteX60" fmla="*/ 1216343 w 1419225"/>
                <a:gd name="connsiteY60" fmla="*/ 518160 h 1504950"/>
                <a:gd name="connsiteX61" fmla="*/ 1222057 w 1419225"/>
                <a:gd name="connsiteY61" fmla="*/ 521017 h 1504950"/>
                <a:gd name="connsiteX62" fmla="*/ 1226820 w 1419225"/>
                <a:gd name="connsiteY62" fmla="*/ 532447 h 1504950"/>
                <a:gd name="connsiteX63" fmla="*/ 1214438 w 1419225"/>
                <a:gd name="connsiteY63" fmla="*/ 545782 h 1504950"/>
                <a:gd name="connsiteX64" fmla="*/ 1214438 w 1419225"/>
                <a:gd name="connsiteY64" fmla="*/ 552450 h 1504950"/>
                <a:gd name="connsiteX65" fmla="*/ 1217295 w 1419225"/>
                <a:gd name="connsiteY65" fmla="*/ 553403 h 1504950"/>
                <a:gd name="connsiteX66" fmla="*/ 1224915 w 1419225"/>
                <a:gd name="connsiteY66" fmla="*/ 558165 h 1504950"/>
                <a:gd name="connsiteX67" fmla="*/ 1227773 w 1419225"/>
                <a:gd name="connsiteY67" fmla="*/ 560070 h 1504950"/>
                <a:gd name="connsiteX68" fmla="*/ 1230630 w 1419225"/>
                <a:gd name="connsiteY68" fmla="*/ 562928 h 1504950"/>
                <a:gd name="connsiteX69" fmla="*/ 1233488 w 1419225"/>
                <a:gd name="connsiteY69" fmla="*/ 567690 h 1504950"/>
                <a:gd name="connsiteX70" fmla="*/ 1234440 w 1419225"/>
                <a:gd name="connsiteY70" fmla="*/ 571500 h 1504950"/>
                <a:gd name="connsiteX71" fmla="*/ 1234440 w 1419225"/>
                <a:gd name="connsiteY71" fmla="*/ 575310 h 1504950"/>
                <a:gd name="connsiteX72" fmla="*/ 1230630 w 1419225"/>
                <a:gd name="connsiteY72" fmla="*/ 581025 h 1504950"/>
                <a:gd name="connsiteX73" fmla="*/ 1228725 w 1419225"/>
                <a:gd name="connsiteY73" fmla="*/ 584835 h 1504950"/>
                <a:gd name="connsiteX74" fmla="*/ 1228725 w 1419225"/>
                <a:gd name="connsiteY74" fmla="*/ 588645 h 1504950"/>
                <a:gd name="connsiteX75" fmla="*/ 1229678 w 1419225"/>
                <a:gd name="connsiteY75" fmla="*/ 592455 h 1504950"/>
                <a:gd name="connsiteX76" fmla="*/ 1230630 w 1419225"/>
                <a:gd name="connsiteY76" fmla="*/ 597217 h 1504950"/>
                <a:gd name="connsiteX77" fmla="*/ 1232535 w 1419225"/>
                <a:gd name="connsiteY77" fmla="*/ 605790 h 1504950"/>
                <a:gd name="connsiteX78" fmla="*/ 1231582 w 1419225"/>
                <a:gd name="connsiteY78" fmla="*/ 609600 h 1504950"/>
                <a:gd name="connsiteX79" fmla="*/ 1230630 w 1419225"/>
                <a:gd name="connsiteY79" fmla="*/ 611505 h 1504950"/>
                <a:gd name="connsiteX80" fmla="*/ 1220153 w 1419225"/>
                <a:gd name="connsiteY80" fmla="*/ 617220 h 1504950"/>
                <a:gd name="connsiteX81" fmla="*/ 1218248 w 1419225"/>
                <a:gd name="connsiteY81" fmla="*/ 619125 h 1504950"/>
                <a:gd name="connsiteX82" fmla="*/ 1214438 w 1419225"/>
                <a:gd name="connsiteY82" fmla="*/ 622935 h 1504950"/>
                <a:gd name="connsiteX83" fmla="*/ 1214438 w 1419225"/>
                <a:gd name="connsiteY83" fmla="*/ 626745 h 1504950"/>
                <a:gd name="connsiteX84" fmla="*/ 1215390 w 1419225"/>
                <a:gd name="connsiteY84" fmla="*/ 640080 h 1504950"/>
                <a:gd name="connsiteX85" fmla="*/ 1214438 w 1419225"/>
                <a:gd name="connsiteY85" fmla="*/ 643890 h 1504950"/>
                <a:gd name="connsiteX86" fmla="*/ 1212532 w 1419225"/>
                <a:gd name="connsiteY86" fmla="*/ 646747 h 1504950"/>
                <a:gd name="connsiteX87" fmla="*/ 1203007 w 1419225"/>
                <a:gd name="connsiteY87" fmla="*/ 650557 h 1504950"/>
                <a:gd name="connsiteX88" fmla="*/ 1184910 w 1419225"/>
                <a:gd name="connsiteY88" fmla="*/ 661988 h 1504950"/>
                <a:gd name="connsiteX89" fmla="*/ 1180148 w 1419225"/>
                <a:gd name="connsiteY89" fmla="*/ 664845 h 1504950"/>
                <a:gd name="connsiteX90" fmla="*/ 1174432 w 1419225"/>
                <a:gd name="connsiteY90" fmla="*/ 674370 h 1504950"/>
                <a:gd name="connsiteX91" fmla="*/ 1172528 w 1419225"/>
                <a:gd name="connsiteY91" fmla="*/ 679132 h 1504950"/>
                <a:gd name="connsiteX92" fmla="*/ 1171575 w 1419225"/>
                <a:gd name="connsiteY92" fmla="*/ 683895 h 1504950"/>
                <a:gd name="connsiteX93" fmla="*/ 1171575 w 1419225"/>
                <a:gd name="connsiteY93" fmla="*/ 689610 h 1504950"/>
                <a:gd name="connsiteX94" fmla="*/ 1173480 w 1419225"/>
                <a:gd name="connsiteY94" fmla="*/ 696278 h 1504950"/>
                <a:gd name="connsiteX95" fmla="*/ 1177290 w 1419225"/>
                <a:gd name="connsiteY95" fmla="*/ 701040 h 1504950"/>
                <a:gd name="connsiteX96" fmla="*/ 1182053 w 1419225"/>
                <a:gd name="connsiteY96" fmla="*/ 703897 h 1504950"/>
                <a:gd name="connsiteX97" fmla="*/ 1184910 w 1419225"/>
                <a:gd name="connsiteY97" fmla="*/ 704850 h 1504950"/>
                <a:gd name="connsiteX98" fmla="*/ 1201103 w 1419225"/>
                <a:gd name="connsiteY98" fmla="*/ 704850 h 1504950"/>
                <a:gd name="connsiteX99" fmla="*/ 1206818 w 1419225"/>
                <a:gd name="connsiteY99" fmla="*/ 706755 h 1504950"/>
                <a:gd name="connsiteX100" fmla="*/ 1210628 w 1419225"/>
                <a:gd name="connsiteY100" fmla="*/ 710565 h 1504950"/>
                <a:gd name="connsiteX101" fmla="*/ 1213485 w 1419225"/>
                <a:gd name="connsiteY101" fmla="*/ 716280 h 1504950"/>
                <a:gd name="connsiteX102" fmla="*/ 1214438 w 1419225"/>
                <a:gd name="connsiteY102" fmla="*/ 724853 h 1504950"/>
                <a:gd name="connsiteX103" fmla="*/ 1213485 w 1419225"/>
                <a:gd name="connsiteY103" fmla="*/ 728663 h 1504950"/>
                <a:gd name="connsiteX104" fmla="*/ 1211580 w 1419225"/>
                <a:gd name="connsiteY104" fmla="*/ 730567 h 1504950"/>
                <a:gd name="connsiteX105" fmla="*/ 1208723 w 1419225"/>
                <a:gd name="connsiteY105" fmla="*/ 730567 h 1504950"/>
                <a:gd name="connsiteX106" fmla="*/ 1205865 w 1419225"/>
                <a:gd name="connsiteY106" fmla="*/ 732472 h 1504950"/>
                <a:gd name="connsiteX107" fmla="*/ 1203007 w 1419225"/>
                <a:gd name="connsiteY107" fmla="*/ 735330 h 1504950"/>
                <a:gd name="connsiteX108" fmla="*/ 1199198 w 1419225"/>
                <a:gd name="connsiteY108" fmla="*/ 746760 h 1504950"/>
                <a:gd name="connsiteX109" fmla="*/ 1197293 w 1419225"/>
                <a:gd name="connsiteY109" fmla="*/ 750570 h 1504950"/>
                <a:gd name="connsiteX110" fmla="*/ 1194435 w 1419225"/>
                <a:gd name="connsiteY110" fmla="*/ 755332 h 1504950"/>
                <a:gd name="connsiteX111" fmla="*/ 1194435 w 1419225"/>
                <a:gd name="connsiteY111" fmla="*/ 758190 h 1504950"/>
                <a:gd name="connsiteX112" fmla="*/ 1195388 w 1419225"/>
                <a:gd name="connsiteY112" fmla="*/ 760095 h 1504950"/>
                <a:gd name="connsiteX113" fmla="*/ 1205865 w 1419225"/>
                <a:gd name="connsiteY113" fmla="*/ 765810 h 1504950"/>
                <a:gd name="connsiteX114" fmla="*/ 1213485 w 1419225"/>
                <a:gd name="connsiteY114" fmla="*/ 772478 h 1504950"/>
                <a:gd name="connsiteX115" fmla="*/ 1215390 w 1419225"/>
                <a:gd name="connsiteY115" fmla="*/ 773430 h 1504950"/>
                <a:gd name="connsiteX116" fmla="*/ 1223963 w 1419225"/>
                <a:gd name="connsiteY116" fmla="*/ 773430 h 1504950"/>
                <a:gd name="connsiteX117" fmla="*/ 1226820 w 1419225"/>
                <a:gd name="connsiteY117" fmla="*/ 774382 h 1504950"/>
                <a:gd name="connsiteX118" fmla="*/ 1231582 w 1419225"/>
                <a:gd name="connsiteY118" fmla="*/ 777240 h 1504950"/>
                <a:gd name="connsiteX119" fmla="*/ 1235393 w 1419225"/>
                <a:gd name="connsiteY119" fmla="*/ 781050 h 1504950"/>
                <a:gd name="connsiteX120" fmla="*/ 1238250 w 1419225"/>
                <a:gd name="connsiteY120" fmla="*/ 787717 h 1504950"/>
                <a:gd name="connsiteX121" fmla="*/ 1240155 w 1419225"/>
                <a:gd name="connsiteY121" fmla="*/ 794385 h 1504950"/>
                <a:gd name="connsiteX122" fmla="*/ 1240155 w 1419225"/>
                <a:gd name="connsiteY122" fmla="*/ 798195 h 1504950"/>
                <a:gd name="connsiteX123" fmla="*/ 1238250 w 1419225"/>
                <a:gd name="connsiteY123" fmla="*/ 801053 h 1504950"/>
                <a:gd name="connsiteX124" fmla="*/ 1232535 w 1419225"/>
                <a:gd name="connsiteY124" fmla="*/ 805815 h 1504950"/>
                <a:gd name="connsiteX125" fmla="*/ 1230630 w 1419225"/>
                <a:gd name="connsiteY125" fmla="*/ 807720 h 1504950"/>
                <a:gd name="connsiteX126" fmla="*/ 1228725 w 1419225"/>
                <a:gd name="connsiteY126" fmla="*/ 811530 h 1504950"/>
                <a:gd name="connsiteX127" fmla="*/ 1228725 w 1419225"/>
                <a:gd name="connsiteY127" fmla="*/ 815340 h 1504950"/>
                <a:gd name="connsiteX128" fmla="*/ 1229678 w 1419225"/>
                <a:gd name="connsiteY128" fmla="*/ 822007 h 1504950"/>
                <a:gd name="connsiteX129" fmla="*/ 1232535 w 1419225"/>
                <a:gd name="connsiteY129" fmla="*/ 828675 h 1504950"/>
                <a:gd name="connsiteX130" fmla="*/ 1236345 w 1419225"/>
                <a:gd name="connsiteY130" fmla="*/ 832485 h 1504950"/>
                <a:gd name="connsiteX131" fmla="*/ 1249680 w 1419225"/>
                <a:gd name="connsiteY131" fmla="*/ 835342 h 1504950"/>
                <a:gd name="connsiteX132" fmla="*/ 1251585 w 1419225"/>
                <a:gd name="connsiteY132" fmla="*/ 837247 h 1504950"/>
                <a:gd name="connsiteX133" fmla="*/ 1254443 w 1419225"/>
                <a:gd name="connsiteY133" fmla="*/ 843915 h 1504950"/>
                <a:gd name="connsiteX134" fmla="*/ 1263968 w 1419225"/>
                <a:gd name="connsiteY134" fmla="*/ 893445 h 1504950"/>
                <a:gd name="connsiteX135" fmla="*/ 1265873 w 1419225"/>
                <a:gd name="connsiteY135" fmla="*/ 900113 h 1504950"/>
                <a:gd name="connsiteX136" fmla="*/ 1268730 w 1419225"/>
                <a:gd name="connsiteY136" fmla="*/ 901065 h 1504950"/>
                <a:gd name="connsiteX137" fmla="*/ 1287780 w 1419225"/>
                <a:gd name="connsiteY137" fmla="*/ 903922 h 1504950"/>
                <a:gd name="connsiteX138" fmla="*/ 1302068 w 1419225"/>
                <a:gd name="connsiteY138" fmla="*/ 902970 h 1504950"/>
                <a:gd name="connsiteX139" fmla="*/ 1304925 w 1419225"/>
                <a:gd name="connsiteY139" fmla="*/ 903922 h 1504950"/>
                <a:gd name="connsiteX140" fmla="*/ 1308735 w 1419225"/>
                <a:gd name="connsiteY140" fmla="*/ 905828 h 1504950"/>
                <a:gd name="connsiteX141" fmla="*/ 1313498 w 1419225"/>
                <a:gd name="connsiteY141" fmla="*/ 912495 h 1504950"/>
                <a:gd name="connsiteX142" fmla="*/ 1316355 w 1419225"/>
                <a:gd name="connsiteY142" fmla="*/ 915353 h 1504950"/>
                <a:gd name="connsiteX143" fmla="*/ 1320165 w 1419225"/>
                <a:gd name="connsiteY143" fmla="*/ 918210 h 1504950"/>
                <a:gd name="connsiteX144" fmla="*/ 1323023 w 1419225"/>
                <a:gd name="connsiteY144" fmla="*/ 919163 h 1504950"/>
                <a:gd name="connsiteX145" fmla="*/ 1324928 w 1419225"/>
                <a:gd name="connsiteY145" fmla="*/ 921067 h 1504950"/>
                <a:gd name="connsiteX146" fmla="*/ 1327785 w 1419225"/>
                <a:gd name="connsiteY146" fmla="*/ 923925 h 1504950"/>
                <a:gd name="connsiteX147" fmla="*/ 1326832 w 1419225"/>
                <a:gd name="connsiteY147" fmla="*/ 926782 h 1504950"/>
                <a:gd name="connsiteX148" fmla="*/ 1325880 w 1419225"/>
                <a:gd name="connsiteY148" fmla="*/ 928688 h 1504950"/>
                <a:gd name="connsiteX149" fmla="*/ 1323975 w 1419225"/>
                <a:gd name="connsiteY149" fmla="*/ 930592 h 1504950"/>
                <a:gd name="connsiteX150" fmla="*/ 1315403 w 1419225"/>
                <a:gd name="connsiteY150" fmla="*/ 935355 h 1504950"/>
                <a:gd name="connsiteX151" fmla="*/ 1312545 w 1419225"/>
                <a:gd name="connsiteY151" fmla="*/ 938213 h 1504950"/>
                <a:gd name="connsiteX152" fmla="*/ 1311593 w 1419225"/>
                <a:gd name="connsiteY152" fmla="*/ 942022 h 1504950"/>
                <a:gd name="connsiteX153" fmla="*/ 1310640 w 1419225"/>
                <a:gd name="connsiteY153" fmla="*/ 949642 h 1504950"/>
                <a:gd name="connsiteX154" fmla="*/ 1310640 w 1419225"/>
                <a:gd name="connsiteY154" fmla="*/ 953453 h 1504950"/>
                <a:gd name="connsiteX155" fmla="*/ 1311593 w 1419225"/>
                <a:gd name="connsiteY155" fmla="*/ 957263 h 1504950"/>
                <a:gd name="connsiteX156" fmla="*/ 1315403 w 1419225"/>
                <a:gd name="connsiteY156" fmla="*/ 961072 h 1504950"/>
                <a:gd name="connsiteX157" fmla="*/ 1319213 w 1419225"/>
                <a:gd name="connsiteY157" fmla="*/ 964882 h 1504950"/>
                <a:gd name="connsiteX158" fmla="*/ 1336357 w 1419225"/>
                <a:gd name="connsiteY158" fmla="*/ 977265 h 1504950"/>
                <a:gd name="connsiteX159" fmla="*/ 1359218 w 1419225"/>
                <a:gd name="connsiteY159" fmla="*/ 986790 h 1504950"/>
                <a:gd name="connsiteX160" fmla="*/ 1363028 w 1419225"/>
                <a:gd name="connsiteY160" fmla="*/ 988695 h 1504950"/>
                <a:gd name="connsiteX161" fmla="*/ 1363980 w 1419225"/>
                <a:gd name="connsiteY161" fmla="*/ 991553 h 1504950"/>
                <a:gd name="connsiteX162" fmla="*/ 1364932 w 1419225"/>
                <a:gd name="connsiteY162" fmla="*/ 994410 h 1504950"/>
                <a:gd name="connsiteX163" fmla="*/ 1364932 w 1419225"/>
                <a:gd name="connsiteY163" fmla="*/ 1017270 h 1504950"/>
                <a:gd name="connsiteX164" fmla="*/ 1365885 w 1419225"/>
                <a:gd name="connsiteY164" fmla="*/ 1023938 h 1504950"/>
                <a:gd name="connsiteX165" fmla="*/ 1366838 w 1419225"/>
                <a:gd name="connsiteY165" fmla="*/ 1027747 h 1504950"/>
                <a:gd name="connsiteX166" fmla="*/ 1371600 w 1419225"/>
                <a:gd name="connsiteY166" fmla="*/ 1037272 h 1504950"/>
                <a:gd name="connsiteX167" fmla="*/ 1377315 w 1419225"/>
                <a:gd name="connsiteY167" fmla="*/ 1045845 h 1504950"/>
                <a:gd name="connsiteX168" fmla="*/ 1386840 w 1419225"/>
                <a:gd name="connsiteY168" fmla="*/ 1058228 h 1504950"/>
                <a:gd name="connsiteX169" fmla="*/ 1394460 w 1419225"/>
                <a:gd name="connsiteY169" fmla="*/ 1074420 h 1504950"/>
                <a:gd name="connsiteX170" fmla="*/ 1397318 w 1419225"/>
                <a:gd name="connsiteY170" fmla="*/ 1084898 h 1504950"/>
                <a:gd name="connsiteX171" fmla="*/ 1397318 w 1419225"/>
                <a:gd name="connsiteY171" fmla="*/ 1088707 h 1504950"/>
                <a:gd name="connsiteX172" fmla="*/ 1397318 w 1419225"/>
                <a:gd name="connsiteY172" fmla="*/ 1095375 h 1504950"/>
                <a:gd name="connsiteX173" fmla="*/ 1395413 w 1419225"/>
                <a:gd name="connsiteY173" fmla="*/ 1099185 h 1504950"/>
                <a:gd name="connsiteX174" fmla="*/ 1392555 w 1419225"/>
                <a:gd name="connsiteY174" fmla="*/ 1102995 h 1504950"/>
                <a:gd name="connsiteX175" fmla="*/ 1389698 w 1419225"/>
                <a:gd name="connsiteY175" fmla="*/ 1106805 h 1504950"/>
                <a:gd name="connsiteX176" fmla="*/ 1387793 w 1419225"/>
                <a:gd name="connsiteY176" fmla="*/ 1107757 h 1504950"/>
                <a:gd name="connsiteX177" fmla="*/ 1383982 w 1419225"/>
                <a:gd name="connsiteY177" fmla="*/ 1107757 h 1504950"/>
                <a:gd name="connsiteX178" fmla="*/ 1383030 w 1419225"/>
                <a:gd name="connsiteY178" fmla="*/ 1110615 h 1504950"/>
                <a:gd name="connsiteX179" fmla="*/ 1382078 w 1419225"/>
                <a:gd name="connsiteY179" fmla="*/ 1115378 h 1504950"/>
                <a:gd name="connsiteX180" fmla="*/ 1380173 w 1419225"/>
                <a:gd name="connsiteY180" fmla="*/ 1119188 h 1504950"/>
                <a:gd name="connsiteX181" fmla="*/ 1377315 w 1419225"/>
                <a:gd name="connsiteY181" fmla="*/ 1123950 h 1504950"/>
                <a:gd name="connsiteX182" fmla="*/ 1375410 w 1419225"/>
                <a:gd name="connsiteY182" fmla="*/ 1125855 h 1504950"/>
                <a:gd name="connsiteX183" fmla="*/ 1365885 w 1419225"/>
                <a:gd name="connsiteY183" fmla="*/ 1134428 h 1504950"/>
                <a:gd name="connsiteX184" fmla="*/ 1364932 w 1419225"/>
                <a:gd name="connsiteY184" fmla="*/ 1136332 h 1504950"/>
                <a:gd name="connsiteX185" fmla="*/ 1363980 w 1419225"/>
                <a:gd name="connsiteY185" fmla="*/ 1139190 h 1504950"/>
                <a:gd name="connsiteX186" fmla="*/ 1363028 w 1419225"/>
                <a:gd name="connsiteY186" fmla="*/ 1144905 h 1504950"/>
                <a:gd name="connsiteX187" fmla="*/ 1363980 w 1419225"/>
                <a:gd name="connsiteY187" fmla="*/ 1147763 h 1504950"/>
                <a:gd name="connsiteX188" fmla="*/ 1365885 w 1419225"/>
                <a:gd name="connsiteY188" fmla="*/ 1149667 h 1504950"/>
                <a:gd name="connsiteX189" fmla="*/ 1367790 w 1419225"/>
                <a:gd name="connsiteY189" fmla="*/ 1149667 h 1504950"/>
                <a:gd name="connsiteX190" fmla="*/ 1372553 w 1419225"/>
                <a:gd name="connsiteY190" fmla="*/ 1148715 h 1504950"/>
                <a:gd name="connsiteX191" fmla="*/ 1397318 w 1419225"/>
                <a:gd name="connsiteY191" fmla="*/ 1138238 h 1504950"/>
                <a:gd name="connsiteX192" fmla="*/ 1403032 w 1419225"/>
                <a:gd name="connsiteY192" fmla="*/ 1136332 h 1504950"/>
                <a:gd name="connsiteX193" fmla="*/ 1408748 w 1419225"/>
                <a:gd name="connsiteY193" fmla="*/ 1136332 h 1504950"/>
                <a:gd name="connsiteX194" fmla="*/ 1413510 w 1419225"/>
                <a:gd name="connsiteY194" fmla="*/ 1138238 h 1504950"/>
                <a:gd name="connsiteX195" fmla="*/ 1418273 w 1419225"/>
                <a:gd name="connsiteY195" fmla="*/ 1143000 h 1504950"/>
                <a:gd name="connsiteX196" fmla="*/ 1426845 w 1419225"/>
                <a:gd name="connsiteY196" fmla="*/ 1150620 h 1504950"/>
                <a:gd name="connsiteX197" fmla="*/ 1413510 w 1419225"/>
                <a:gd name="connsiteY197" fmla="*/ 1168717 h 1504950"/>
                <a:gd name="connsiteX198" fmla="*/ 1406843 w 1419225"/>
                <a:gd name="connsiteY198" fmla="*/ 1172528 h 1504950"/>
                <a:gd name="connsiteX199" fmla="*/ 1388745 w 1419225"/>
                <a:gd name="connsiteY199" fmla="*/ 1175385 h 1504950"/>
                <a:gd name="connsiteX200" fmla="*/ 1384935 w 1419225"/>
                <a:gd name="connsiteY200" fmla="*/ 1177290 h 1504950"/>
                <a:gd name="connsiteX201" fmla="*/ 1383030 w 1419225"/>
                <a:gd name="connsiteY201" fmla="*/ 1180148 h 1504950"/>
                <a:gd name="connsiteX202" fmla="*/ 1375410 w 1419225"/>
                <a:gd name="connsiteY202" fmla="*/ 1193482 h 1504950"/>
                <a:gd name="connsiteX203" fmla="*/ 1363980 w 1419225"/>
                <a:gd name="connsiteY203" fmla="*/ 1207770 h 1504950"/>
                <a:gd name="connsiteX204" fmla="*/ 1358265 w 1419225"/>
                <a:gd name="connsiteY204" fmla="*/ 1212532 h 1504950"/>
                <a:gd name="connsiteX205" fmla="*/ 1354455 w 1419225"/>
                <a:gd name="connsiteY205" fmla="*/ 1214438 h 1504950"/>
                <a:gd name="connsiteX206" fmla="*/ 1353503 w 1419225"/>
                <a:gd name="connsiteY206" fmla="*/ 1212532 h 1504950"/>
                <a:gd name="connsiteX207" fmla="*/ 1350645 w 1419225"/>
                <a:gd name="connsiteY207" fmla="*/ 1207770 h 1504950"/>
                <a:gd name="connsiteX208" fmla="*/ 1347788 w 1419225"/>
                <a:gd name="connsiteY208" fmla="*/ 1194435 h 1504950"/>
                <a:gd name="connsiteX209" fmla="*/ 1346835 w 1419225"/>
                <a:gd name="connsiteY209" fmla="*/ 1191578 h 1504950"/>
                <a:gd name="connsiteX210" fmla="*/ 1343025 w 1419225"/>
                <a:gd name="connsiteY210" fmla="*/ 1184910 h 1504950"/>
                <a:gd name="connsiteX211" fmla="*/ 1342073 w 1419225"/>
                <a:gd name="connsiteY211" fmla="*/ 1182053 h 1504950"/>
                <a:gd name="connsiteX212" fmla="*/ 1343025 w 1419225"/>
                <a:gd name="connsiteY212" fmla="*/ 1175385 h 1504950"/>
                <a:gd name="connsiteX213" fmla="*/ 1342073 w 1419225"/>
                <a:gd name="connsiteY213" fmla="*/ 1172528 h 1504950"/>
                <a:gd name="connsiteX214" fmla="*/ 1340168 w 1419225"/>
                <a:gd name="connsiteY214" fmla="*/ 1169670 h 1504950"/>
                <a:gd name="connsiteX215" fmla="*/ 1332548 w 1419225"/>
                <a:gd name="connsiteY215" fmla="*/ 1167765 h 1504950"/>
                <a:gd name="connsiteX216" fmla="*/ 1327785 w 1419225"/>
                <a:gd name="connsiteY216" fmla="*/ 1167765 h 1504950"/>
                <a:gd name="connsiteX217" fmla="*/ 1324928 w 1419225"/>
                <a:gd name="connsiteY217" fmla="*/ 1168717 h 1504950"/>
                <a:gd name="connsiteX218" fmla="*/ 1315403 w 1419225"/>
                <a:gd name="connsiteY218" fmla="*/ 1177290 h 1504950"/>
                <a:gd name="connsiteX219" fmla="*/ 1311593 w 1419225"/>
                <a:gd name="connsiteY219" fmla="*/ 1181100 h 1504950"/>
                <a:gd name="connsiteX220" fmla="*/ 1305878 w 1419225"/>
                <a:gd name="connsiteY220" fmla="*/ 1190625 h 1504950"/>
                <a:gd name="connsiteX221" fmla="*/ 1303020 w 1419225"/>
                <a:gd name="connsiteY221" fmla="*/ 1195388 h 1504950"/>
                <a:gd name="connsiteX222" fmla="*/ 1291590 w 1419225"/>
                <a:gd name="connsiteY222" fmla="*/ 1209675 h 1504950"/>
                <a:gd name="connsiteX223" fmla="*/ 1274445 w 1419225"/>
                <a:gd name="connsiteY223" fmla="*/ 1225867 h 1504950"/>
                <a:gd name="connsiteX224" fmla="*/ 1269682 w 1419225"/>
                <a:gd name="connsiteY224" fmla="*/ 1232535 h 1504950"/>
                <a:gd name="connsiteX225" fmla="*/ 1268730 w 1419225"/>
                <a:gd name="connsiteY225" fmla="*/ 1236345 h 1504950"/>
                <a:gd name="connsiteX226" fmla="*/ 1269682 w 1419225"/>
                <a:gd name="connsiteY226" fmla="*/ 1243965 h 1504950"/>
                <a:gd name="connsiteX227" fmla="*/ 1268730 w 1419225"/>
                <a:gd name="connsiteY227" fmla="*/ 1250632 h 1504950"/>
                <a:gd name="connsiteX228" fmla="*/ 1268730 w 1419225"/>
                <a:gd name="connsiteY228" fmla="*/ 1257300 h 1504950"/>
                <a:gd name="connsiteX229" fmla="*/ 1267778 w 1419225"/>
                <a:gd name="connsiteY229" fmla="*/ 1261110 h 1504950"/>
                <a:gd name="connsiteX230" fmla="*/ 1263968 w 1419225"/>
                <a:gd name="connsiteY230" fmla="*/ 1272540 h 1504950"/>
                <a:gd name="connsiteX231" fmla="*/ 1260157 w 1419225"/>
                <a:gd name="connsiteY231" fmla="*/ 1278255 h 1504950"/>
                <a:gd name="connsiteX232" fmla="*/ 1250632 w 1419225"/>
                <a:gd name="connsiteY232" fmla="*/ 1292542 h 1504950"/>
                <a:gd name="connsiteX233" fmla="*/ 1247775 w 1419225"/>
                <a:gd name="connsiteY233" fmla="*/ 1298257 h 1504950"/>
                <a:gd name="connsiteX234" fmla="*/ 1248728 w 1419225"/>
                <a:gd name="connsiteY234" fmla="*/ 1300163 h 1504950"/>
                <a:gd name="connsiteX235" fmla="*/ 1249680 w 1419225"/>
                <a:gd name="connsiteY235" fmla="*/ 1302067 h 1504950"/>
                <a:gd name="connsiteX236" fmla="*/ 1254443 w 1419225"/>
                <a:gd name="connsiteY236" fmla="*/ 1304925 h 1504950"/>
                <a:gd name="connsiteX237" fmla="*/ 1267778 w 1419225"/>
                <a:gd name="connsiteY237" fmla="*/ 1308735 h 1504950"/>
                <a:gd name="connsiteX238" fmla="*/ 1272540 w 1419225"/>
                <a:gd name="connsiteY238" fmla="*/ 1310640 h 1504950"/>
                <a:gd name="connsiteX239" fmla="*/ 1273493 w 1419225"/>
                <a:gd name="connsiteY239" fmla="*/ 1313498 h 1504950"/>
                <a:gd name="connsiteX240" fmla="*/ 1271588 w 1419225"/>
                <a:gd name="connsiteY240" fmla="*/ 1321117 h 1504950"/>
                <a:gd name="connsiteX241" fmla="*/ 1274445 w 1419225"/>
                <a:gd name="connsiteY241" fmla="*/ 1327785 h 1504950"/>
                <a:gd name="connsiteX242" fmla="*/ 1273493 w 1419225"/>
                <a:gd name="connsiteY242" fmla="*/ 1330642 h 1504950"/>
                <a:gd name="connsiteX243" fmla="*/ 1272540 w 1419225"/>
                <a:gd name="connsiteY243" fmla="*/ 1334453 h 1504950"/>
                <a:gd name="connsiteX244" fmla="*/ 1269682 w 1419225"/>
                <a:gd name="connsiteY244" fmla="*/ 1338263 h 1504950"/>
                <a:gd name="connsiteX245" fmla="*/ 1266825 w 1419225"/>
                <a:gd name="connsiteY245" fmla="*/ 1344930 h 1504950"/>
                <a:gd name="connsiteX246" fmla="*/ 1267778 w 1419225"/>
                <a:gd name="connsiteY246" fmla="*/ 1350645 h 1504950"/>
                <a:gd name="connsiteX247" fmla="*/ 1237298 w 1419225"/>
                <a:gd name="connsiteY247" fmla="*/ 1367790 h 1504950"/>
                <a:gd name="connsiteX248" fmla="*/ 1232535 w 1419225"/>
                <a:gd name="connsiteY248" fmla="*/ 1368742 h 1504950"/>
                <a:gd name="connsiteX249" fmla="*/ 1227773 w 1419225"/>
                <a:gd name="connsiteY249" fmla="*/ 1369695 h 1504950"/>
                <a:gd name="connsiteX250" fmla="*/ 1223963 w 1419225"/>
                <a:gd name="connsiteY250" fmla="*/ 1368742 h 1504950"/>
                <a:gd name="connsiteX251" fmla="*/ 1219200 w 1419225"/>
                <a:gd name="connsiteY251" fmla="*/ 1367790 h 1504950"/>
                <a:gd name="connsiteX252" fmla="*/ 1212532 w 1419225"/>
                <a:gd name="connsiteY252" fmla="*/ 1371600 h 1504950"/>
                <a:gd name="connsiteX253" fmla="*/ 1210628 w 1419225"/>
                <a:gd name="connsiteY253" fmla="*/ 1374457 h 1504950"/>
                <a:gd name="connsiteX254" fmla="*/ 1209675 w 1419225"/>
                <a:gd name="connsiteY254" fmla="*/ 1378267 h 1504950"/>
                <a:gd name="connsiteX255" fmla="*/ 1210628 w 1419225"/>
                <a:gd name="connsiteY255" fmla="*/ 1380173 h 1504950"/>
                <a:gd name="connsiteX256" fmla="*/ 1213485 w 1419225"/>
                <a:gd name="connsiteY256" fmla="*/ 1384935 h 1504950"/>
                <a:gd name="connsiteX257" fmla="*/ 1223963 w 1419225"/>
                <a:gd name="connsiteY257" fmla="*/ 1399223 h 1504950"/>
                <a:gd name="connsiteX258" fmla="*/ 1226820 w 1419225"/>
                <a:gd name="connsiteY258" fmla="*/ 1403985 h 1504950"/>
                <a:gd name="connsiteX259" fmla="*/ 1226820 w 1419225"/>
                <a:gd name="connsiteY259" fmla="*/ 1407795 h 1504950"/>
                <a:gd name="connsiteX260" fmla="*/ 1225868 w 1419225"/>
                <a:gd name="connsiteY260" fmla="*/ 1412557 h 1504950"/>
                <a:gd name="connsiteX261" fmla="*/ 1217295 w 1419225"/>
                <a:gd name="connsiteY261" fmla="*/ 1438275 h 1504950"/>
                <a:gd name="connsiteX262" fmla="*/ 1215390 w 1419225"/>
                <a:gd name="connsiteY262" fmla="*/ 1440180 h 1504950"/>
                <a:gd name="connsiteX263" fmla="*/ 1212532 w 1419225"/>
                <a:gd name="connsiteY263" fmla="*/ 1440180 h 1504950"/>
                <a:gd name="connsiteX264" fmla="*/ 1207770 w 1419225"/>
                <a:gd name="connsiteY264" fmla="*/ 1438275 h 1504950"/>
                <a:gd name="connsiteX265" fmla="*/ 1204913 w 1419225"/>
                <a:gd name="connsiteY265" fmla="*/ 1437323 h 1504950"/>
                <a:gd name="connsiteX266" fmla="*/ 1202055 w 1419225"/>
                <a:gd name="connsiteY266" fmla="*/ 1438275 h 1504950"/>
                <a:gd name="connsiteX267" fmla="*/ 1197293 w 1419225"/>
                <a:gd name="connsiteY267" fmla="*/ 1440180 h 1504950"/>
                <a:gd name="connsiteX268" fmla="*/ 1167765 w 1419225"/>
                <a:gd name="connsiteY268" fmla="*/ 1443038 h 1504950"/>
                <a:gd name="connsiteX269" fmla="*/ 1127760 w 1419225"/>
                <a:gd name="connsiteY269" fmla="*/ 1440180 h 1504950"/>
                <a:gd name="connsiteX270" fmla="*/ 1121093 w 1419225"/>
                <a:gd name="connsiteY270" fmla="*/ 1438275 h 1504950"/>
                <a:gd name="connsiteX271" fmla="*/ 1101090 w 1419225"/>
                <a:gd name="connsiteY271" fmla="*/ 1425892 h 1504950"/>
                <a:gd name="connsiteX272" fmla="*/ 1096328 w 1419225"/>
                <a:gd name="connsiteY272" fmla="*/ 1422082 h 1504950"/>
                <a:gd name="connsiteX273" fmla="*/ 1087755 w 1419225"/>
                <a:gd name="connsiteY273" fmla="*/ 1422082 h 1504950"/>
                <a:gd name="connsiteX274" fmla="*/ 1037272 w 1419225"/>
                <a:gd name="connsiteY274" fmla="*/ 1443038 h 1504950"/>
                <a:gd name="connsiteX275" fmla="*/ 988695 w 1419225"/>
                <a:gd name="connsiteY275" fmla="*/ 1444942 h 1504950"/>
                <a:gd name="connsiteX276" fmla="*/ 985838 w 1419225"/>
                <a:gd name="connsiteY276" fmla="*/ 1443990 h 1504950"/>
                <a:gd name="connsiteX277" fmla="*/ 976313 w 1419225"/>
                <a:gd name="connsiteY277" fmla="*/ 1439228 h 1504950"/>
                <a:gd name="connsiteX278" fmla="*/ 948690 w 1419225"/>
                <a:gd name="connsiteY278" fmla="*/ 1427798 h 1504950"/>
                <a:gd name="connsiteX279" fmla="*/ 943928 w 1419225"/>
                <a:gd name="connsiteY279" fmla="*/ 1424940 h 1504950"/>
                <a:gd name="connsiteX280" fmla="*/ 939165 w 1419225"/>
                <a:gd name="connsiteY280" fmla="*/ 1419225 h 1504950"/>
                <a:gd name="connsiteX281" fmla="*/ 937260 w 1419225"/>
                <a:gd name="connsiteY281" fmla="*/ 1417320 h 1504950"/>
                <a:gd name="connsiteX282" fmla="*/ 930593 w 1419225"/>
                <a:gd name="connsiteY282" fmla="*/ 1412557 h 1504950"/>
                <a:gd name="connsiteX283" fmla="*/ 921068 w 1419225"/>
                <a:gd name="connsiteY283" fmla="*/ 1403985 h 1504950"/>
                <a:gd name="connsiteX284" fmla="*/ 916305 w 1419225"/>
                <a:gd name="connsiteY284" fmla="*/ 1400175 h 1504950"/>
                <a:gd name="connsiteX285" fmla="*/ 913447 w 1419225"/>
                <a:gd name="connsiteY285" fmla="*/ 1398270 h 1504950"/>
                <a:gd name="connsiteX286" fmla="*/ 907732 w 1419225"/>
                <a:gd name="connsiteY286" fmla="*/ 1396365 h 1504950"/>
                <a:gd name="connsiteX287" fmla="*/ 904875 w 1419225"/>
                <a:gd name="connsiteY287" fmla="*/ 1396365 h 1504950"/>
                <a:gd name="connsiteX288" fmla="*/ 900113 w 1419225"/>
                <a:gd name="connsiteY288" fmla="*/ 1397317 h 1504950"/>
                <a:gd name="connsiteX289" fmla="*/ 884872 w 1419225"/>
                <a:gd name="connsiteY289" fmla="*/ 1403985 h 1504950"/>
                <a:gd name="connsiteX290" fmla="*/ 882968 w 1419225"/>
                <a:gd name="connsiteY290" fmla="*/ 1404938 h 1504950"/>
                <a:gd name="connsiteX291" fmla="*/ 881063 w 1419225"/>
                <a:gd name="connsiteY291" fmla="*/ 1407795 h 1504950"/>
                <a:gd name="connsiteX292" fmla="*/ 881063 w 1419225"/>
                <a:gd name="connsiteY292" fmla="*/ 1410653 h 1504950"/>
                <a:gd name="connsiteX293" fmla="*/ 881063 w 1419225"/>
                <a:gd name="connsiteY293" fmla="*/ 1415415 h 1504950"/>
                <a:gd name="connsiteX294" fmla="*/ 884872 w 1419225"/>
                <a:gd name="connsiteY294" fmla="*/ 1435417 h 1504950"/>
                <a:gd name="connsiteX295" fmla="*/ 885825 w 1419225"/>
                <a:gd name="connsiteY295" fmla="*/ 1441132 h 1504950"/>
                <a:gd name="connsiteX296" fmla="*/ 884872 w 1419225"/>
                <a:gd name="connsiteY296" fmla="*/ 1443990 h 1504950"/>
                <a:gd name="connsiteX297" fmla="*/ 882968 w 1419225"/>
                <a:gd name="connsiteY297" fmla="*/ 1445895 h 1504950"/>
                <a:gd name="connsiteX298" fmla="*/ 877253 w 1419225"/>
                <a:gd name="connsiteY298" fmla="*/ 1450657 h 1504950"/>
                <a:gd name="connsiteX299" fmla="*/ 868680 w 1419225"/>
                <a:gd name="connsiteY299" fmla="*/ 1455420 h 1504950"/>
                <a:gd name="connsiteX300" fmla="*/ 863918 w 1419225"/>
                <a:gd name="connsiteY300" fmla="*/ 1459230 h 1504950"/>
                <a:gd name="connsiteX301" fmla="*/ 857250 w 1419225"/>
                <a:gd name="connsiteY301" fmla="*/ 1466850 h 1504950"/>
                <a:gd name="connsiteX302" fmla="*/ 851535 w 1419225"/>
                <a:gd name="connsiteY302" fmla="*/ 1475423 h 1504950"/>
                <a:gd name="connsiteX303" fmla="*/ 840105 w 1419225"/>
                <a:gd name="connsiteY303" fmla="*/ 1483042 h 1504950"/>
                <a:gd name="connsiteX304" fmla="*/ 795338 w 1419225"/>
                <a:gd name="connsiteY304" fmla="*/ 1503045 h 1504950"/>
                <a:gd name="connsiteX305" fmla="*/ 785813 w 1419225"/>
                <a:gd name="connsiteY305" fmla="*/ 1510665 h 1504950"/>
                <a:gd name="connsiteX306" fmla="*/ 782955 w 1419225"/>
                <a:gd name="connsiteY306" fmla="*/ 1504950 h 1504950"/>
                <a:gd name="connsiteX307" fmla="*/ 774382 w 1419225"/>
                <a:gd name="connsiteY307" fmla="*/ 1497330 h 1504950"/>
                <a:gd name="connsiteX308" fmla="*/ 770572 w 1419225"/>
                <a:gd name="connsiteY308" fmla="*/ 1491615 h 1504950"/>
                <a:gd name="connsiteX309" fmla="*/ 769620 w 1419225"/>
                <a:gd name="connsiteY309" fmla="*/ 1486853 h 1504950"/>
                <a:gd name="connsiteX310" fmla="*/ 767715 w 1419225"/>
                <a:gd name="connsiteY310" fmla="*/ 1466850 h 1504950"/>
                <a:gd name="connsiteX311" fmla="*/ 759143 w 1419225"/>
                <a:gd name="connsiteY311" fmla="*/ 1445895 h 1504950"/>
                <a:gd name="connsiteX312" fmla="*/ 758190 w 1419225"/>
                <a:gd name="connsiteY312" fmla="*/ 1440180 h 1504950"/>
                <a:gd name="connsiteX313" fmla="*/ 758190 w 1419225"/>
                <a:gd name="connsiteY313" fmla="*/ 1435417 h 1504950"/>
                <a:gd name="connsiteX314" fmla="*/ 756285 w 1419225"/>
                <a:gd name="connsiteY314" fmla="*/ 1429703 h 1504950"/>
                <a:gd name="connsiteX315" fmla="*/ 753428 w 1419225"/>
                <a:gd name="connsiteY315" fmla="*/ 1423035 h 1504950"/>
                <a:gd name="connsiteX316" fmla="*/ 738188 w 1419225"/>
                <a:gd name="connsiteY316" fmla="*/ 1413510 h 1504950"/>
                <a:gd name="connsiteX317" fmla="*/ 719138 w 1419225"/>
                <a:gd name="connsiteY317" fmla="*/ 1409700 h 1504950"/>
                <a:gd name="connsiteX318" fmla="*/ 682943 w 1419225"/>
                <a:gd name="connsiteY318" fmla="*/ 1409700 h 1504950"/>
                <a:gd name="connsiteX319" fmla="*/ 634365 w 1419225"/>
                <a:gd name="connsiteY319" fmla="*/ 1388745 h 1504950"/>
                <a:gd name="connsiteX320" fmla="*/ 617220 w 1419225"/>
                <a:gd name="connsiteY320" fmla="*/ 1388745 h 1504950"/>
                <a:gd name="connsiteX321" fmla="*/ 605790 w 1419225"/>
                <a:gd name="connsiteY321" fmla="*/ 1393507 h 1504950"/>
                <a:gd name="connsiteX322" fmla="*/ 596265 w 1419225"/>
                <a:gd name="connsiteY322" fmla="*/ 1422082 h 1504950"/>
                <a:gd name="connsiteX323" fmla="*/ 592455 w 1419225"/>
                <a:gd name="connsiteY323" fmla="*/ 1439228 h 1504950"/>
                <a:gd name="connsiteX324" fmla="*/ 592455 w 1419225"/>
                <a:gd name="connsiteY324" fmla="*/ 1452563 h 1504950"/>
                <a:gd name="connsiteX325" fmla="*/ 589597 w 1419225"/>
                <a:gd name="connsiteY325" fmla="*/ 1460182 h 1504950"/>
                <a:gd name="connsiteX326" fmla="*/ 584835 w 1419225"/>
                <a:gd name="connsiteY326" fmla="*/ 1460182 h 1504950"/>
                <a:gd name="connsiteX327" fmla="*/ 574357 w 1419225"/>
                <a:gd name="connsiteY327" fmla="*/ 1452563 h 1504950"/>
                <a:gd name="connsiteX328" fmla="*/ 567690 w 1419225"/>
                <a:gd name="connsiteY328" fmla="*/ 1445895 h 1504950"/>
                <a:gd name="connsiteX329" fmla="*/ 552450 w 1419225"/>
                <a:gd name="connsiteY329" fmla="*/ 1415415 h 1504950"/>
                <a:gd name="connsiteX330" fmla="*/ 561022 w 1419225"/>
                <a:gd name="connsiteY330" fmla="*/ 1404938 h 1504950"/>
                <a:gd name="connsiteX331" fmla="*/ 561975 w 1419225"/>
                <a:gd name="connsiteY331" fmla="*/ 1393507 h 1504950"/>
                <a:gd name="connsiteX332" fmla="*/ 557213 w 1419225"/>
                <a:gd name="connsiteY332" fmla="*/ 1382078 h 1504950"/>
                <a:gd name="connsiteX333" fmla="*/ 548640 w 1419225"/>
                <a:gd name="connsiteY333" fmla="*/ 1376363 h 1504950"/>
                <a:gd name="connsiteX334" fmla="*/ 536257 w 1419225"/>
                <a:gd name="connsiteY334" fmla="*/ 1378267 h 1504950"/>
                <a:gd name="connsiteX335" fmla="*/ 529590 w 1419225"/>
                <a:gd name="connsiteY335" fmla="*/ 1387792 h 1504950"/>
                <a:gd name="connsiteX336" fmla="*/ 523875 w 1419225"/>
                <a:gd name="connsiteY336" fmla="*/ 1400175 h 1504950"/>
                <a:gd name="connsiteX337" fmla="*/ 516255 w 1419225"/>
                <a:gd name="connsiteY337" fmla="*/ 1408748 h 1504950"/>
                <a:gd name="connsiteX338" fmla="*/ 504825 w 1419225"/>
                <a:gd name="connsiteY338" fmla="*/ 1411605 h 1504950"/>
                <a:gd name="connsiteX339" fmla="*/ 499110 w 1419225"/>
                <a:gd name="connsiteY339" fmla="*/ 1404938 h 1504950"/>
                <a:gd name="connsiteX340" fmla="*/ 498157 w 1419225"/>
                <a:gd name="connsiteY340" fmla="*/ 1393507 h 1504950"/>
                <a:gd name="connsiteX341" fmla="*/ 501968 w 1419225"/>
                <a:gd name="connsiteY341" fmla="*/ 1383030 h 1504950"/>
                <a:gd name="connsiteX342" fmla="*/ 509588 w 1419225"/>
                <a:gd name="connsiteY342" fmla="*/ 1372553 h 1504950"/>
                <a:gd name="connsiteX343" fmla="*/ 517207 w 1419225"/>
                <a:gd name="connsiteY343" fmla="*/ 1367790 h 1504950"/>
                <a:gd name="connsiteX344" fmla="*/ 522922 w 1419225"/>
                <a:gd name="connsiteY344" fmla="*/ 1360170 h 1504950"/>
                <a:gd name="connsiteX345" fmla="*/ 526732 w 1419225"/>
                <a:gd name="connsiteY345" fmla="*/ 1343978 h 1504950"/>
                <a:gd name="connsiteX346" fmla="*/ 525780 w 1419225"/>
                <a:gd name="connsiteY346" fmla="*/ 1329690 h 1504950"/>
                <a:gd name="connsiteX347" fmla="*/ 520065 w 1419225"/>
                <a:gd name="connsiteY347" fmla="*/ 1323023 h 1504950"/>
                <a:gd name="connsiteX348" fmla="*/ 511493 w 1419225"/>
                <a:gd name="connsiteY348" fmla="*/ 1322070 h 1504950"/>
                <a:gd name="connsiteX349" fmla="*/ 486728 w 1419225"/>
                <a:gd name="connsiteY349" fmla="*/ 1324928 h 1504950"/>
                <a:gd name="connsiteX350" fmla="*/ 478155 w 1419225"/>
                <a:gd name="connsiteY350" fmla="*/ 1330642 h 1504950"/>
                <a:gd name="connsiteX351" fmla="*/ 469582 w 1419225"/>
                <a:gd name="connsiteY351" fmla="*/ 1337310 h 1504950"/>
                <a:gd name="connsiteX352" fmla="*/ 458153 w 1419225"/>
                <a:gd name="connsiteY352" fmla="*/ 1343978 h 1504950"/>
                <a:gd name="connsiteX353" fmla="*/ 445770 w 1419225"/>
                <a:gd name="connsiteY353" fmla="*/ 1346835 h 1504950"/>
                <a:gd name="connsiteX354" fmla="*/ 437197 w 1419225"/>
                <a:gd name="connsiteY354" fmla="*/ 1343978 h 1504950"/>
                <a:gd name="connsiteX355" fmla="*/ 431482 w 1419225"/>
                <a:gd name="connsiteY355" fmla="*/ 1335405 h 1504950"/>
                <a:gd name="connsiteX356" fmla="*/ 429578 w 1419225"/>
                <a:gd name="connsiteY356" fmla="*/ 1320165 h 1504950"/>
                <a:gd name="connsiteX357" fmla="*/ 425768 w 1419225"/>
                <a:gd name="connsiteY357" fmla="*/ 1306830 h 1504950"/>
                <a:gd name="connsiteX358" fmla="*/ 417195 w 1419225"/>
                <a:gd name="connsiteY358" fmla="*/ 1307782 h 1504950"/>
                <a:gd name="connsiteX359" fmla="*/ 401003 w 1419225"/>
                <a:gd name="connsiteY359" fmla="*/ 1322070 h 1504950"/>
                <a:gd name="connsiteX360" fmla="*/ 392430 w 1419225"/>
                <a:gd name="connsiteY360" fmla="*/ 1323975 h 1504950"/>
                <a:gd name="connsiteX361" fmla="*/ 381000 w 1419225"/>
                <a:gd name="connsiteY361" fmla="*/ 1323975 h 1504950"/>
                <a:gd name="connsiteX362" fmla="*/ 373380 w 1419225"/>
                <a:gd name="connsiteY362" fmla="*/ 1318260 h 1504950"/>
                <a:gd name="connsiteX363" fmla="*/ 383857 w 1419225"/>
                <a:gd name="connsiteY363" fmla="*/ 1286828 h 1504950"/>
                <a:gd name="connsiteX364" fmla="*/ 381000 w 1419225"/>
                <a:gd name="connsiteY364" fmla="*/ 1272540 h 1504950"/>
                <a:gd name="connsiteX365" fmla="*/ 371475 w 1419225"/>
                <a:gd name="connsiteY365" fmla="*/ 1262063 h 1504950"/>
                <a:gd name="connsiteX366" fmla="*/ 360997 w 1419225"/>
                <a:gd name="connsiteY366" fmla="*/ 1257300 h 1504950"/>
                <a:gd name="connsiteX367" fmla="*/ 314325 w 1419225"/>
                <a:gd name="connsiteY367" fmla="*/ 1251585 h 1504950"/>
                <a:gd name="connsiteX368" fmla="*/ 292418 w 1419225"/>
                <a:gd name="connsiteY368" fmla="*/ 1243013 h 1504950"/>
                <a:gd name="connsiteX369" fmla="*/ 280988 w 1419225"/>
                <a:gd name="connsiteY369" fmla="*/ 1224915 h 1504950"/>
                <a:gd name="connsiteX370" fmla="*/ 277178 w 1419225"/>
                <a:gd name="connsiteY370" fmla="*/ 1221105 h 1504950"/>
                <a:gd name="connsiteX371" fmla="*/ 260032 w 1419225"/>
                <a:gd name="connsiteY371" fmla="*/ 1195388 h 1504950"/>
                <a:gd name="connsiteX372" fmla="*/ 252413 w 1419225"/>
                <a:gd name="connsiteY372" fmla="*/ 1186815 h 1504950"/>
                <a:gd name="connsiteX373" fmla="*/ 218122 w 1419225"/>
                <a:gd name="connsiteY373" fmla="*/ 1162050 h 1504950"/>
                <a:gd name="connsiteX374" fmla="*/ 200978 w 1419225"/>
                <a:gd name="connsiteY374" fmla="*/ 1153478 h 1504950"/>
                <a:gd name="connsiteX375" fmla="*/ 135255 w 1419225"/>
                <a:gd name="connsiteY375" fmla="*/ 1154430 h 1504950"/>
                <a:gd name="connsiteX376" fmla="*/ 124778 w 1419225"/>
                <a:gd name="connsiteY376" fmla="*/ 1148715 h 1504950"/>
                <a:gd name="connsiteX377" fmla="*/ 122872 w 1419225"/>
                <a:gd name="connsiteY377" fmla="*/ 1127760 h 1504950"/>
                <a:gd name="connsiteX378" fmla="*/ 111443 w 1419225"/>
                <a:gd name="connsiteY378" fmla="*/ 1126807 h 1504950"/>
                <a:gd name="connsiteX379" fmla="*/ 98107 w 1419225"/>
                <a:gd name="connsiteY379" fmla="*/ 1135380 h 1504950"/>
                <a:gd name="connsiteX380" fmla="*/ 91440 w 1419225"/>
                <a:gd name="connsiteY380" fmla="*/ 1137285 h 1504950"/>
                <a:gd name="connsiteX381" fmla="*/ 70485 w 1419225"/>
                <a:gd name="connsiteY381" fmla="*/ 1137285 h 1504950"/>
                <a:gd name="connsiteX382" fmla="*/ 64770 w 1419225"/>
                <a:gd name="connsiteY382" fmla="*/ 1129665 h 1504950"/>
                <a:gd name="connsiteX383" fmla="*/ 53340 w 1419225"/>
                <a:gd name="connsiteY383" fmla="*/ 1077278 h 1504950"/>
                <a:gd name="connsiteX384" fmla="*/ 45720 w 1419225"/>
                <a:gd name="connsiteY384" fmla="*/ 1053465 h 1504950"/>
                <a:gd name="connsiteX385" fmla="*/ 35243 w 1419225"/>
                <a:gd name="connsiteY385" fmla="*/ 1033463 h 1504950"/>
                <a:gd name="connsiteX386" fmla="*/ 20003 w 1419225"/>
                <a:gd name="connsiteY386" fmla="*/ 1019175 h 1504950"/>
                <a:gd name="connsiteX387" fmla="*/ 0 w 1419225"/>
                <a:gd name="connsiteY387" fmla="*/ 1011555 h 1504950"/>
                <a:gd name="connsiteX388" fmla="*/ 11430 w 1419225"/>
                <a:gd name="connsiteY388" fmla="*/ 968692 h 1504950"/>
                <a:gd name="connsiteX389" fmla="*/ 15240 w 1419225"/>
                <a:gd name="connsiteY389" fmla="*/ 948690 h 1504950"/>
                <a:gd name="connsiteX390" fmla="*/ 16193 w 1419225"/>
                <a:gd name="connsiteY390" fmla="*/ 930592 h 1504950"/>
                <a:gd name="connsiteX391" fmla="*/ 16193 w 1419225"/>
                <a:gd name="connsiteY391" fmla="*/ 926782 h 1504950"/>
                <a:gd name="connsiteX392" fmla="*/ 14288 w 1419225"/>
                <a:gd name="connsiteY392" fmla="*/ 922972 h 1504950"/>
                <a:gd name="connsiteX393" fmla="*/ 13335 w 1419225"/>
                <a:gd name="connsiteY393" fmla="*/ 914400 h 1504950"/>
                <a:gd name="connsiteX394" fmla="*/ 13335 w 1419225"/>
                <a:gd name="connsiteY394" fmla="*/ 906780 h 1504950"/>
                <a:gd name="connsiteX395" fmla="*/ 14288 w 1419225"/>
                <a:gd name="connsiteY395" fmla="*/ 903922 h 1504950"/>
                <a:gd name="connsiteX396" fmla="*/ 17145 w 1419225"/>
                <a:gd name="connsiteY396" fmla="*/ 902970 h 1504950"/>
                <a:gd name="connsiteX397" fmla="*/ 22860 w 1419225"/>
                <a:gd name="connsiteY397" fmla="*/ 902970 h 1504950"/>
                <a:gd name="connsiteX398" fmla="*/ 25718 w 1419225"/>
                <a:gd name="connsiteY398" fmla="*/ 902970 h 1504950"/>
                <a:gd name="connsiteX399" fmla="*/ 28575 w 1419225"/>
                <a:gd name="connsiteY399" fmla="*/ 900113 h 1504950"/>
                <a:gd name="connsiteX400" fmla="*/ 28575 w 1419225"/>
                <a:gd name="connsiteY400" fmla="*/ 897255 h 1504950"/>
                <a:gd name="connsiteX401" fmla="*/ 28575 w 1419225"/>
                <a:gd name="connsiteY401" fmla="*/ 894397 h 1504950"/>
                <a:gd name="connsiteX402" fmla="*/ 25718 w 1419225"/>
                <a:gd name="connsiteY402" fmla="*/ 889635 h 1504950"/>
                <a:gd name="connsiteX403" fmla="*/ 22860 w 1419225"/>
                <a:gd name="connsiteY403" fmla="*/ 884872 h 1504950"/>
                <a:gd name="connsiteX404" fmla="*/ 19050 w 1419225"/>
                <a:gd name="connsiteY404" fmla="*/ 874395 h 1504950"/>
                <a:gd name="connsiteX405" fmla="*/ 17145 w 1419225"/>
                <a:gd name="connsiteY405" fmla="*/ 863917 h 1504950"/>
                <a:gd name="connsiteX406" fmla="*/ 15240 w 1419225"/>
                <a:gd name="connsiteY406" fmla="*/ 820103 h 1504950"/>
                <a:gd name="connsiteX407" fmla="*/ 14288 w 1419225"/>
                <a:gd name="connsiteY407" fmla="*/ 814388 h 1504950"/>
                <a:gd name="connsiteX408" fmla="*/ 12382 w 1419225"/>
                <a:gd name="connsiteY408" fmla="*/ 802957 h 1504950"/>
                <a:gd name="connsiteX409" fmla="*/ 8572 w 1419225"/>
                <a:gd name="connsiteY409" fmla="*/ 789622 h 1504950"/>
                <a:gd name="connsiteX410" fmla="*/ 2857 w 1419225"/>
                <a:gd name="connsiteY410" fmla="*/ 780097 h 1504950"/>
                <a:gd name="connsiteX411" fmla="*/ 953 w 1419225"/>
                <a:gd name="connsiteY411" fmla="*/ 771525 h 1504950"/>
                <a:gd name="connsiteX412" fmla="*/ 0 w 1419225"/>
                <a:gd name="connsiteY412" fmla="*/ 767715 h 1504950"/>
                <a:gd name="connsiteX413" fmla="*/ 953 w 1419225"/>
                <a:gd name="connsiteY413" fmla="*/ 763905 h 1504950"/>
                <a:gd name="connsiteX414" fmla="*/ 2857 w 1419225"/>
                <a:gd name="connsiteY414" fmla="*/ 762000 h 1504950"/>
                <a:gd name="connsiteX415" fmla="*/ 7620 w 1419225"/>
                <a:gd name="connsiteY415" fmla="*/ 759142 h 1504950"/>
                <a:gd name="connsiteX416" fmla="*/ 10478 w 1419225"/>
                <a:gd name="connsiteY416" fmla="*/ 757238 h 1504950"/>
                <a:gd name="connsiteX417" fmla="*/ 13335 w 1419225"/>
                <a:gd name="connsiteY417" fmla="*/ 753428 h 1504950"/>
                <a:gd name="connsiteX418" fmla="*/ 14288 w 1419225"/>
                <a:gd name="connsiteY418" fmla="*/ 749617 h 1504950"/>
                <a:gd name="connsiteX419" fmla="*/ 14288 w 1419225"/>
                <a:gd name="connsiteY419" fmla="*/ 746760 h 1504950"/>
                <a:gd name="connsiteX420" fmla="*/ 13335 w 1419225"/>
                <a:gd name="connsiteY420" fmla="*/ 744855 h 1504950"/>
                <a:gd name="connsiteX421" fmla="*/ 8572 w 1419225"/>
                <a:gd name="connsiteY421" fmla="*/ 737235 h 1504950"/>
                <a:gd name="connsiteX422" fmla="*/ 6668 w 1419225"/>
                <a:gd name="connsiteY422" fmla="*/ 733425 h 1504950"/>
                <a:gd name="connsiteX423" fmla="*/ 4763 w 1419225"/>
                <a:gd name="connsiteY423" fmla="*/ 725805 h 1504950"/>
                <a:gd name="connsiteX424" fmla="*/ 4763 w 1419225"/>
                <a:gd name="connsiteY424" fmla="*/ 721995 h 1504950"/>
                <a:gd name="connsiteX425" fmla="*/ 5715 w 1419225"/>
                <a:gd name="connsiteY425" fmla="*/ 718185 h 1504950"/>
                <a:gd name="connsiteX426" fmla="*/ 8572 w 1419225"/>
                <a:gd name="connsiteY426" fmla="*/ 715328 h 1504950"/>
                <a:gd name="connsiteX427" fmla="*/ 11430 w 1419225"/>
                <a:gd name="connsiteY427" fmla="*/ 704850 h 1504950"/>
                <a:gd name="connsiteX428" fmla="*/ 12382 w 1419225"/>
                <a:gd name="connsiteY428" fmla="*/ 701040 h 1504950"/>
                <a:gd name="connsiteX429" fmla="*/ 14288 w 1419225"/>
                <a:gd name="connsiteY429" fmla="*/ 698182 h 1504950"/>
                <a:gd name="connsiteX430" fmla="*/ 18097 w 1419225"/>
                <a:gd name="connsiteY430" fmla="*/ 696278 h 1504950"/>
                <a:gd name="connsiteX431" fmla="*/ 23813 w 1419225"/>
                <a:gd name="connsiteY431" fmla="*/ 690563 h 1504950"/>
                <a:gd name="connsiteX432" fmla="*/ 27622 w 1419225"/>
                <a:gd name="connsiteY432" fmla="*/ 687705 h 1504950"/>
                <a:gd name="connsiteX433" fmla="*/ 31432 w 1419225"/>
                <a:gd name="connsiteY433" fmla="*/ 683895 h 1504950"/>
                <a:gd name="connsiteX434" fmla="*/ 34290 w 1419225"/>
                <a:gd name="connsiteY434" fmla="*/ 677228 h 1504950"/>
                <a:gd name="connsiteX435" fmla="*/ 36195 w 1419225"/>
                <a:gd name="connsiteY435" fmla="*/ 668655 h 1504950"/>
                <a:gd name="connsiteX436" fmla="*/ 39053 w 1419225"/>
                <a:gd name="connsiteY436" fmla="*/ 663892 h 1504950"/>
                <a:gd name="connsiteX437" fmla="*/ 40957 w 1419225"/>
                <a:gd name="connsiteY437" fmla="*/ 661988 h 1504950"/>
                <a:gd name="connsiteX438" fmla="*/ 49530 w 1419225"/>
                <a:gd name="connsiteY438" fmla="*/ 658178 h 1504950"/>
                <a:gd name="connsiteX439" fmla="*/ 52388 w 1419225"/>
                <a:gd name="connsiteY439" fmla="*/ 654367 h 1504950"/>
                <a:gd name="connsiteX440" fmla="*/ 53340 w 1419225"/>
                <a:gd name="connsiteY440" fmla="*/ 650557 h 1504950"/>
                <a:gd name="connsiteX441" fmla="*/ 53340 w 1419225"/>
                <a:gd name="connsiteY441" fmla="*/ 643890 h 1504950"/>
                <a:gd name="connsiteX442" fmla="*/ 54293 w 1419225"/>
                <a:gd name="connsiteY442" fmla="*/ 641032 h 1504950"/>
                <a:gd name="connsiteX443" fmla="*/ 56197 w 1419225"/>
                <a:gd name="connsiteY443" fmla="*/ 636270 h 1504950"/>
                <a:gd name="connsiteX444" fmla="*/ 58103 w 1419225"/>
                <a:gd name="connsiteY444" fmla="*/ 630555 h 1504950"/>
                <a:gd name="connsiteX445" fmla="*/ 61913 w 1419225"/>
                <a:gd name="connsiteY445" fmla="*/ 620078 h 1504950"/>
                <a:gd name="connsiteX446" fmla="*/ 65722 w 1419225"/>
                <a:gd name="connsiteY446" fmla="*/ 616267 h 1504950"/>
                <a:gd name="connsiteX447" fmla="*/ 68580 w 1419225"/>
                <a:gd name="connsiteY447" fmla="*/ 613410 h 1504950"/>
                <a:gd name="connsiteX448" fmla="*/ 80963 w 1419225"/>
                <a:gd name="connsiteY448" fmla="*/ 613410 h 1504950"/>
                <a:gd name="connsiteX449" fmla="*/ 103822 w 1419225"/>
                <a:gd name="connsiteY449" fmla="*/ 617220 h 1504950"/>
                <a:gd name="connsiteX450" fmla="*/ 106680 w 1419225"/>
                <a:gd name="connsiteY450" fmla="*/ 616267 h 1504950"/>
                <a:gd name="connsiteX451" fmla="*/ 110490 w 1419225"/>
                <a:gd name="connsiteY451" fmla="*/ 613410 h 1504950"/>
                <a:gd name="connsiteX452" fmla="*/ 121920 w 1419225"/>
                <a:gd name="connsiteY452" fmla="*/ 592455 h 1504950"/>
                <a:gd name="connsiteX453" fmla="*/ 125730 w 1419225"/>
                <a:gd name="connsiteY453" fmla="*/ 588645 h 1504950"/>
                <a:gd name="connsiteX454" fmla="*/ 128588 w 1419225"/>
                <a:gd name="connsiteY454" fmla="*/ 586740 h 1504950"/>
                <a:gd name="connsiteX455" fmla="*/ 141922 w 1419225"/>
                <a:gd name="connsiteY455" fmla="*/ 589597 h 1504950"/>
                <a:gd name="connsiteX456" fmla="*/ 149543 w 1419225"/>
                <a:gd name="connsiteY456" fmla="*/ 593407 h 1504950"/>
                <a:gd name="connsiteX457" fmla="*/ 158115 w 1419225"/>
                <a:gd name="connsiteY457" fmla="*/ 599122 h 1504950"/>
                <a:gd name="connsiteX458" fmla="*/ 163830 w 1419225"/>
                <a:gd name="connsiteY458" fmla="*/ 602932 h 1504950"/>
                <a:gd name="connsiteX459" fmla="*/ 166688 w 1419225"/>
                <a:gd name="connsiteY459" fmla="*/ 603885 h 1504950"/>
                <a:gd name="connsiteX460" fmla="*/ 176213 w 1419225"/>
                <a:gd name="connsiteY460" fmla="*/ 604838 h 1504950"/>
                <a:gd name="connsiteX461" fmla="*/ 181928 w 1419225"/>
                <a:gd name="connsiteY461" fmla="*/ 607695 h 1504950"/>
                <a:gd name="connsiteX462" fmla="*/ 192405 w 1419225"/>
                <a:gd name="connsiteY462" fmla="*/ 615315 h 1504950"/>
                <a:gd name="connsiteX463" fmla="*/ 197168 w 1419225"/>
                <a:gd name="connsiteY463" fmla="*/ 618172 h 1504950"/>
                <a:gd name="connsiteX464" fmla="*/ 202882 w 1419225"/>
                <a:gd name="connsiteY464" fmla="*/ 621030 h 1504950"/>
                <a:gd name="connsiteX465" fmla="*/ 208597 w 1419225"/>
                <a:gd name="connsiteY465" fmla="*/ 621982 h 1504950"/>
                <a:gd name="connsiteX466" fmla="*/ 214313 w 1419225"/>
                <a:gd name="connsiteY466" fmla="*/ 621030 h 1504950"/>
                <a:gd name="connsiteX467" fmla="*/ 217170 w 1419225"/>
                <a:gd name="connsiteY467" fmla="*/ 618172 h 1504950"/>
                <a:gd name="connsiteX468" fmla="*/ 227647 w 1419225"/>
                <a:gd name="connsiteY468" fmla="*/ 604838 h 1504950"/>
                <a:gd name="connsiteX469" fmla="*/ 231457 w 1419225"/>
                <a:gd name="connsiteY469" fmla="*/ 601028 h 1504950"/>
                <a:gd name="connsiteX470" fmla="*/ 243840 w 1419225"/>
                <a:gd name="connsiteY470" fmla="*/ 595313 h 1504950"/>
                <a:gd name="connsiteX471" fmla="*/ 260985 w 1419225"/>
                <a:gd name="connsiteY471" fmla="*/ 594360 h 1504950"/>
                <a:gd name="connsiteX472" fmla="*/ 264795 w 1419225"/>
                <a:gd name="connsiteY472" fmla="*/ 593407 h 1504950"/>
                <a:gd name="connsiteX473" fmla="*/ 270510 w 1419225"/>
                <a:gd name="connsiteY473" fmla="*/ 590550 h 1504950"/>
                <a:gd name="connsiteX474" fmla="*/ 272415 w 1419225"/>
                <a:gd name="connsiteY474" fmla="*/ 587692 h 1504950"/>
                <a:gd name="connsiteX475" fmla="*/ 273368 w 1419225"/>
                <a:gd name="connsiteY475" fmla="*/ 583882 h 1504950"/>
                <a:gd name="connsiteX476" fmla="*/ 272415 w 1419225"/>
                <a:gd name="connsiteY476" fmla="*/ 581978 h 1504950"/>
                <a:gd name="connsiteX477" fmla="*/ 270510 w 1419225"/>
                <a:gd name="connsiteY477" fmla="*/ 576263 h 1504950"/>
                <a:gd name="connsiteX478" fmla="*/ 269557 w 1419225"/>
                <a:gd name="connsiteY478" fmla="*/ 570547 h 1504950"/>
                <a:gd name="connsiteX479" fmla="*/ 268605 w 1419225"/>
                <a:gd name="connsiteY479" fmla="*/ 564832 h 1504950"/>
                <a:gd name="connsiteX480" fmla="*/ 268605 w 1419225"/>
                <a:gd name="connsiteY480" fmla="*/ 558165 h 1504950"/>
                <a:gd name="connsiteX481" fmla="*/ 268605 w 1419225"/>
                <a:gd name="connsiteY481" fmla="*/ 551497 h 1504950"/>
                <a:gd name="connsiteX482" fmla="*/ 267653 w 1419225"/>
                <a:gd name="connsiteY482" fmla="*/ 545782 h 1504950"/>
                <a:gd name="connsiteX483" fmla="*/ 264795 w 1419225"/>
                <a:gd name="connsiteY483" fmla="*/ 541020 h 1504950"/>
                <a:gd name="connsiteX484" fmla="*/ 259080 w 1419225"/>
                <a:gd name="connsiteY484" fmla="*/ 532447 h 1504950"/>
                <a:gd name="connsiteX485" fmla="*/ 256222 w 1419225"/>
                <a:gd name="connsiteY485" fmla="*/ 527685 h 1504950"/>
                <a:gd name="connsiteX486" fmla="*/ 255270 w 1419225"/>
                <a:gd name="connsiteY486" fmla="*/ 520065 h 1504950"/>
                <a:gd name="connsiteX487" fmla="*/ 256222 w 1419225"/>
                <a:gd name="connsiteY487" fmla="*/ 514350 h 1504950"/>
                <a:gd name="connsiteX488" fmla="*/ 258128 w 1419225"/>
                <a:gd name="connsiteY488" fmla="*/ 509588 h 1504950"/>
                <a:gd name="connsiteX489" fmla="*/ 260985 w 1419225"/>
                <a:gd name="connsiteY489" fmla="*/ 504825 h 1504950"/>
                <a:gd name="connsiteX490" fmla="*/ 264795 w 1419225"/>
                <a:gd name="connsiteY490" fmla="*/ 499110 h 1504950"/>
                <a:gd name="connsiteX491" fmla="*/ 266700 w 1419225"/>
                <a:gd name="connsiteY491" fmla="*/ 495300 h 1504950"/>
                <a:gd name="connsiteX492" fmla="*/ 266700 w 1419225"/>
                <a:gd name="connsiteY492" fmla="*/ 491490 h 1504950"/>
                <a:gd name="connsiteX493" fmla="*/ 263843 w 1419225"/>
                <a:gd name="connsiteY493" fmla="*/ 484822 h 1504950"/>
                <a:gd name="connsiteX494" fmla="*/ 257175 w 1419225"/>
                <a:gd name="connsiteY494" fmla="*/ 476250 h 1504950"/>
                <a:gd name="connsiteX495" fmla="*/ 255270 w 1419225"/>
                <a:gd name="connsiteY495" fmla="*/ 474345 h 1504950"/>
                <a:gd name="connsiteX496" fmla="*/ 253365 w 1419225"/>
                <a:gd name="connsiteY496" fmla="*/ 469582 h 1504950"/>
                <a:gd name="connsiteX497" fmla="*/ 253365 w 1419225"/>
                <a:gd name="connsiteY497" fmla="*/ 461963 h 1504950"/>
                <a:gd name="connsiteX498" fmla="*/ 254318 w 1419225"/>
                <a:gd name="connsiteY498" fmla="*/ 454342 h 1504950"/>
                <a:gd name="connsiteX499" fmla="*/ 254318 w 1419225"/>
                <a:gd name="connsiteY499" fmla="*/ 450532 h 1504950"/>
                <a:gd name="connsiteX500" fmla="*/ 253365 w 1419225"/>
                <a:gd name="connsiteY500" fmla="*/ 448628 h 1504950"/>
                <a:gd name="connsiteX501" fmla="*/ 251460 w 1419225"/>
                <a:gd name="connsiteY501" fmla="*/ 446722 h 1504950"/>
                <a:gd name="connsiteX502" fmla="*/ 249555 w 1419225"/>
                <a:gd name="connsiteY502" fmla="*/ 444817 h 1504950"/>
                <a:gd name="connsiteX503" fmla="*/ 240982 w 1419225"/>
                <a:gd name="connsiteY503" fmla="*/ 442913 h 1504950"/>
                <a:gd name="connsiteX504" fmla="*/ 236220 w 1419225"/>
                <a:gd name="connsiteY504" fmla="*/ 440055 h 1504950"/>
                <a:gd name="connsiteX505" fmla="*/ 234315 w 1419225"/>
                <a:gd name="connsiteY505" fmla="*/ 434340 h 1504950"/>
                <a:gd name="connsiteX506" fmla="*/ 233363 w 1419225"/>
                <a:gd name="connsiteY506" fmla="*/ 425767 h 1504950"/>
                <a:gd name="connsiteX507" fmla="*/ 232410 w 1419225"/>
                <a:gd name="connsiteY507" fmla="*/ 422910 h 1504950"/>
                <a:gd name="connsiteX508" fmla="*/ 230505 w 1419225"/>
                <a:gd name="connsiteY508" fmla="*/ 417195 h 1504950"/>
                <a:gd name="connsiteX509" fmla="*/ 228600 w 1419225"/>
                <a:gd name="connsiteY509" fmla="*/ 414338 h 1504950"/>
                <a:gd name="connsiteX510" fmla="*/ 227647 w 1419225"/>
                <a:gd name="connsiteY510" fmla="*/ 409575 h 1504950"/>
                <a:gd name="connsiteX511" fmla="*/ 228600 w 1419225"/>
                <a:gd name="connsiteY511" fmla="*/ 405765 h 1504950"/>
                <a:gd name="connsiteX512" fmla="*/ 230505 w 1419225"/>
                <a:gd name="connsiteY512" fmla="*/ 402907 h 1504950"/>
                <a:gd name="connsiteX513" fmla="*/ 246697 w 1419225"/>
                <a:gd name="connsiteY513" fmla="*/ 397192 h 1504950"/>
                <a:gd name="connsiteX514" fmla="*/ 249555 w 1419225"/>
                <a:gd name="connsiteY514" fmla="*/ 395288 h 1504950"/>
                <a:gd name="connsiteX515" fmla="*/ 250507 w 1419225"/>
                <a:gd name="connsiteY515" fmla="*/ 392430 h 1504950"/>
                <a:gd name="connsiteX516" fmla="*/ 250507 w 1419225"/>
                <a:gd name="connsiteY516" fmla="*/ 389572 h 1504950"/>
                <a:gd name="connsiteX517" fmla="*/ 246697 w 1419225"/>
                <a:gd name="connsiteY517" fmla="*/ 379095 h 1504950"/>
                <a:gd name="connsiteX518" fmla="*/ 244793 w 1419225"/>
                <a:gd name="connsiteY518" fmla="*/ 374332 h 1504950"/>
                <a:gd name="connsiteX519" fmla="*/ 241935 w 1419225"/>
                <a:gd name="connsiteY519" fmla="*/ 369570 h 1504950"/>
                <a:gd name="connsiteX520" fmla="*/ 240030 w 1419225"/>
                <a:gd name="connsiteY520" fmla="*/ 367665 h 1504950"/>
                <a:gd name="connsiteX521" fmla="*/ 207645 w 1419225"/>
                <a:gd name="connsiteY521" fmla="*/ 367665 h 1504950"/>
                <a:gd name="connsiteX522" fmla="*/ 200978 w 1419225"/>
                <a:gd name="connsiteY522" fmla="*/ 366713 h 1504950"/>
                <a:gd name="connsiteX523" fmla="*/ 198120 w 1419225"/>
                <a:gd name="connsiteY523" fmla="*/ 364807 h 1504950"/>
                <a:gd name="connsiteX524" fmla="*/ 196215 w 1419225"/>
                <a:gd name="connsiteY524" fmla="*/ 362903 h 1504950"/>
                <a:gd name="connsiteX525" fmla="*/ 194310 w 1419225"/>
                <a:gd name="connsiteY525" fmla="*/ 360045 h 1504950"/>
                <a:gd name="connsiteX526" fmla="*/ 193357 w 1419225"/>
                <a:gd name="connsiteY526" fmla="*/ 354330 h 1504950"/>
                <a:gd name="connsiteX527" fmla="*/ 194310 w 1419225"/>
                <a:gd name="connsiteY527" fmla="*/ 350520 h 1504950"/>
                <a:gd name="connsiteX528" fmla="*/ 195263 w 1419225"/>
                <a:gd name="connsiteY528" fmla="*/ 347663 h 1504950"/>
                <a:gd name="connsiteX529" fmla="*/ 197168 w 1419225"/>
                <a:gd name="connsiteY529" fmla="*/ 345757 h 1504950"/>
                <a:gd name="connsiteX530" fmla="*/ 203835 w 1419225"/>
                <a:gd name="connsiteY530" fmla="*/ 340995 h 1504950"/>
                <a:gd name="connsiteX531" fmla="*/ 206693 w 1419225"/>
                <a:gd name="connsiteY531" fmla="*/ 338138 h 1504950"/>
                <a:gd name="connsiteX532" fmla="*/ 206693 w 1419225"/>
                <a:gd name="connsiteY532" fmla="*/ 336232 h 1504950"/>
                <a:gd name="connsiteX533" fmla="*/ 205740 w 1419225"/>
                <a:gd name="connsiteY533" fmla="*/ 333375 h 1504950"/>
                <a:gd name="connsiteX534" fmla="*/ 203835 w 1419225"/>
                <a:gd name="connsiteY534" fmla="*/ 331470 h 1504950"/>
                <a:gd name="connsiteX535" fmla="*/ 188595 w 1419225"/>
                <a:gd name="connsiteY535" fmla="*/ 320040 h 1504950"/>
                <a:gd name="connsiteX536" fmla="*/ 187643 w 1419225"/>
                <a:gd name="connsiteY536" fmla="*/ 316230 h 1504950"/>
                <a:gd name="connsiteX537" fmla="*/ 186690 w 1419225"/>
                <a:gd name="connsiteY537" fmla="*/ 311467 h 1504950"/>
                <a:gd name="connsiteX538" fmla="*/ 186690 w 1419225"/>
                <a:gd name="connsiteY538" fmla="*/ 299085 h 1504950"/>
                <a:gd name="connsiteX539" fmla="*/ 188595 w 1419225"/>
                <a:gd name="connsiteY539" fmla="*/ 293370 h 1504950"/>
                <a:gd name="connsiteX540" fmla="*/ 190500 w 1419225"/>
                <a:gd name="connsiteY540" fmla="*/ 289560 h 1504950"/>
                <a:gd name="connsiteX541" fmla="*/ 192405 w 1419225"/>
                <a:gd name="connsiteY541" fmla="*/ 288607 h 1504950"/>
                <a:gd name="connsiteX542" fmla="*/ 198120 w 1419225"/>
                <a:gd name="connsiteY542" fmla="*/ 287655 h 1504950"/>
                <a:gd name="connsiteX543" fmla="*/ 200978 w 1419225"/>
                <a:gd name="connsiteY543" fmla="*/ 288607 h 1504950"/>
                <a:gd name="connsiteX544" fmla="*/ 205740 w 1419225"/>
                <a:gd name="connsiteY544" fmla="*/ 291465 h 1504950"/>
                <a:gd name="connsiteX545" fmla="*/ 209550 w 1419225"/>
                <a:gd name="connsiteY545" fmla="*/ 291465 h 1504950"/>
                <a:gd name="connsiteX546" fmla="*/ 213360 w 1419225"/>
                <a:gd name="connsiteY546" fmla="*/ 288607 h 1504950"/>
                <a:gd name="connsiteX547" fmla="*/ 218122 w 1419225"/>
                <a:gd name="connsiteY547" fmla="*/ 281940 h 1504950"/>
                <a:gd name="connsiteX548" fmla="*/ 219075 w 1419225"/>
                <a:gd name="connsiteY548" fmla="*/ 277177 h 1504950"/>
                <a:gd name="connsiteX549" fmla="*/ 219075 w 1419225"/>
                <a:gd name="connsiteY549" fmla="*/ 273367 h 1504950"/>
                <a:gd name="connsiteX550" fmla="*/ 217170 w 1419225"/>
                <a:gd name="connsiteY550" fmla="*/ 271463 h 1504950"/>
                <a:gd name="connsiteX551" fmla="*/ 211455 w 1419225"/>
                <a:gd name="connsiteY551" fmla="*/ 265747 h 1504950"/>
                <a:gd name="connsiteX552" fmla="*/ 209550 w 1419225"/>
                <a:gd name="connsiteY552" fmla="*/ 262890 h 1504950"/>
                <a:gd name="connsiteX553" fmla="*/ 208597 w 1419225"/>
                <a:gd name="connsiteY553" fmla="*/ 260032 h 1504950"/>
                <a:gd name="connsiteX554" fmla="*/ 208597 w 1419225"/>
                <a:gd name="connsiteY554" fmla="*/ 257175 h 1504950"/>
                <a:gd name="connsiteX555" fmla="*/ 210503 w 1419225"/>
                <a:gd name="connsiteY555" fmla="*/ 254317 h 1504950"/>
                <a:gd name="connsiteX556" fmla="*/ 215265 w 1419225"/>
                <a:gd name="connsiteY556" fmla="*/ 247650 h 1504950"/>
                <a:gd name="connsiteX557" fmla="*/ 231457 w 1419225"/>
                <a:gd name="connsiteY557" fmla="*/ 215265 h 1504950"/>
                <a:gd name="connsiteX558" fmla="*/ 233363 w 1419225"/>
                <a:gd name="connsiteY558" fmla="*/ 209550 h 1504950"/>
                <a:gd name="connsiteX559" fmla="*/ 234315 w 1419225"/>
                <a:gd name="connsiteY559" fmla="*/ 204788 h 1504950"/>
                <a:gd name="connsiteX560" fmla="*/ 234315 w 1419225"/>
                <a:gd name="connsiteY560" fmla="*/ 201930 h 1504950"/>
                <a:gd name="connsiteX561" fmla="*/ 232410 w 1419225"/>
                <a:gd name="connsiteY561" fmla="*/ 196215 h 1504950"/>
                <a:gd name="connsiteX562" fmla="*/ 230505 w 1419225"/>
                <a:gd name="connsiteY562" fmla="*/ 191452 h 1504950"/>
                <a:gd name="connsiteX563" fmla="*/ 226695 w 1419225"/>
                <a:gd name="connsiteY563" fmla="*/ 187642 h 1504950"/>
                <a:gd name="connsiteX564" fmla="*/ 222885 w 1419225"/>
                <a:gd name="connsiteY564" fmla="*/ 183832 h 1504950"/>
                <a:gd name="connsiteX565" fmla="*/ 218122 w 1419225"/>
                <a:gd name="connsiteY565" fmla="*/ 180975 h 1504950"/>
                <a:gd name="connsiteX566" fmla="*/ 204788 w 1419225"/>
                <a:gd name="connsiteY566" fmla="*/ 174307 h 1504950"/>
                <a:gd name="connsiteX567" fmla="*/ 202882 w 1419225"/>
                <a:gd name="connsiteY567" fmla="*/ 172402 h 1504950"/>
                <a:gd name="connsiteX568" fmla="*/ 200978 w 1419225"/>
                <a:gd name="connsiteY568" fmla="*/ 169545 h 1504950"/>
                <a:gd name="connsiteX569" fmla="*/ 200025 w 1419225"/>
                <a:gd name="connsiteY569" fmla="*/ 165735 h 1504950"/>
                <a:gd name="connsiteX570" fmla="*/ 200025 w 1419225"/>
                <a:gd name="connsiteY570" fmla="*/ 161925 h 1504950"/>
                <a:gd name="connsiteX571" fmla="*/ 200978 w 1419225"/>
                <a:gd name="connsiteY571" fmla="*/ 159067 h 1504950"/>
                <a:gd name="connsiteX572" fmla="*/ 206693 w 1419225"/>
                <a:gd name="connsiteY572" fmla="*/ 148590 h 1504950"/>
                <a:gd name="connsiteX573" fmla="*/ 207645 w 1419225"/>
                <a:gd name="connsiteY573" fmla="*/ 145732 h 1504950"/>
                <a:gd name="connsiteX574" fmla="*/ 209550 w 1419225"/>
                <a:gd name="connsiteY574" fmla="*/ 144780 h 1504950"/>
                <a:gd name="connsiteX575" fmla="*/ 212407 w 1419225"/>
                <a:gd name="connsiteY575" fmla="*/ 144780 h 1504950"/>
                <a:gd name="connsiteX576" fmla="*/ 225743 w 1419225"/>
                <a:gd name="connsiteY576" fmla="*/ 147638 h 1504950"/>
                <a:gd name="connsiteX577" fmla="*/ 228600 w 1419225"/>
                <a:gd name="connsiteY577" fmla="*/ 147638 h 1504950"/>
                <a:gd name="connsiteX578" fmla="*/ 233363 w 1419225"/>
                <a:gd name="connsiteY578" fmla="*/ 144780 h 1504950"/>
                <a:gd name="connsiteX579" fmla="*/ 238125 w 1419225"/>
                <a:gd name="connsiteY579" fmla="*/ 140970 h 1504950"/>
                <a:gd name="connsiteX580" fmla="*/ 241935 w 1419225"/>
                <a:gd name="connsiteY580" fmla="*/ 136207 h 1504950"/>
                <a:gd name="connsiteX581" fmla="*/ 245745 w 1419225"/>
                <a:gd name="connsiteY581" fmla="*/ 130492 h 1504950"/>
                <a:gd name="connsiteX582" fmla="*/ 245745 w 1419225"/>
                <a:gd name="connsiteY582" fmla="*/ 127635 h 1504950"/>
                <a:gd name="connsiteX583" fmla="*/ 243840 w 1419225"/>
                <a:gd name="connsiteY583" fmla="*/ 124777 h 1504950"/>
                <a:gd name="connsiteX584" fmla="*/ 234315 w 1419225"/>
                <a:gd name="connsiteY584" fmla="*/ 118110 h 1504950"/>
                <a:gd name="connsiteX585" fmla="*/ 232410 w 1419225"/>
                <a:gd name="connsiteY585" fmla="*/ 116205 h 1504950"/>
                <a:gd name="connsiteX586" fmla="*/ 233363 w 1419225"/>
                <a:gd name="connsiteY586" fmla="*/ 115252 h 1504950"/>
                <a:gd name="connsiteX587" fmla="*/ 235268 w 1419225"/>
                <a:gd name="connsiteY587" fmla="*/ 114300 h 1504950"/>
                <a:gd name="connsiteX588" fmla="*/ 245745 w 1419225"/>
                <a:gd name="connsiteY588" fmla="*/ 113347 h 1504950"/>
                <a:gd name="connsiteX589" fmla="*/ 252413 w 1419225"/>
                <a:gd name="connsiteY589" fmla="*/ 111442 h 1504950"/>
                <a:gd name="connsiteX590" fmla="*/ 261938 w 1419225"/>
                <a:gd name="connsiteY590" fmla="*/ 99060 h 1504950"/>
                <a:gd name="connsiteX591" fmla="*/ 308610 w 1419225"/>
                <a:gd name="connsiteY591" fmla="*/ 93345 h 1504950"/>
                <a:gd name="connsiteX592" fmla="*/ 344805 w 1419225"/>
                <a:gd name="connsiteY592" fmla="*/ 99060 h 1504950"/>
                <a:gd name="connsiteX593" fmla="*/ 361950 w 1419225"/>
                <a:gd name="connsiteY593" fmla="*/ 97155 h 1504950"/>
                <a:gd name="connsiteX594" fmla="*/ 406718 w 1419225"/>
                <a:gd name="connsiteY594" fmla="*/ 84772 h 1504950"/>
                <a:gd name="connsiteX595" fmla="*/ 458153 w 1419225"/>
                <a:gd name="connsiteY595" fmla="*/ 82867 h 1504950"/>
                <a:gd name="connsiteX596" fmla="*/ 462915 w 1419225"/>
                <a:gd name="connsiteY596" fmla="*/ 80963 h 1504950"/>
                <a:gd name="connsiteX597" fmla="*/ 472440 w 1419225"/>
                <a:gd name="connsiteY597" fmla="*/ 76200 h 1504950"/>
                <a:gd name="connsiteX598" fmla="*/ 477203 w 1419225"/>
                <a:gd name="connsiteY598" fmla="*/ 76200 h 1504950"/>
                <a:gd name="connsiteX599" fmla="*/ 482918 w 1419225"/>
                <a:gd name="connsiteY599" fmla="*/ 77152 h 1504950"/>
                <a:gd name="connsiteX600" fmla="*/ 507682 w 1419225"/>
                <a:gd name="connsiteY600" fmla="*/ 89535 h 1504950"/>
                <a:gd name="connsiteX601" fmla="*/ 512445 w 1419225"/>
                <a:gd name="connsiteY601" fmla="*/ 89535 h 1504950"/>
                <a:gd name="connsiteX602" fmla="*/ 518160 w 1419225"/>
                <a:gd name="connsiteY602" fmla="*/ 89535 h 1504950"/>
                <a:gd name="connsiteX603" fmla="*/ 528638 w 1419225"/>
                <a:gd name="connsiteY603" fmla="*/ 88582 h 1504950"/>
                <a:gd name="connsiteX604" fmla="*/ 537210 w 1419225"/>
                <a:gd name="connsiteY604" fmla="*/ 85725 h 1504950"/>
                <a:gd name="connsiteX605" fmla="*/ 541972 w 1419225"/>
                <a:gd name="connsiteY605" fmla="*/ 80963 h 1504950"/>
                <a:gd name="connsiteX606" fmla="*/ 551497 w 1419225"/>
                <a:gd name="connsiteY606" fmla="*/ 62865 h 1504950"/>
                <a:gd name="connsiteX607" fmla="*/ 553403 w 1419225"/>
                <a:gd name="connsiteY607" fmla="*/ 60960 h 1504950"/>
                <a:gd name="connsiteX608" fmla="*/ 559118 w 1419225"/>
                <a:gd name="connsiteY608" fmla="*/ 60007 h 1504950"/>
                <a:gd name="connsiteX609" fmla="*/ 605790 w 1419225"/>
                <a:gd name="connsiteY609" fmla="*/ 60960 h 1504950"/>
                <a:gd name="connsiteX610" fmla="*/ 610553 w 1419225"/>
                <a:gd name="connsiteY610" fmla="*/ 61913 h 1504950"/>
                <a:gd name="connsiteX611" fmla="*/ 623888 w 1419225"/>
                <a:gd name="connsiteY611" fmla="*/ 69532 h 1504950"/>
                <a:gd name="connsiteX612" fmla="*/ 626745 w 1419225"/>
                <a:gd name="connsiteY612" fmla="*/ 72390 h 1504950"/>
                <a:gd name="connsiteX613" fmla="*/ 630555 w 1419225"/>
                <a:gd name="connsiteY613" fmla="*/ 76200 h 1504950"/>
                <a:gd name="connsiteX614" fmla="*/ 632460 w 1419225"/>
                <a:gd name="connsiteY614" fmla="*/ 77152 h 1504950"/>
                <a:gd name="connsiteX615" fmla="*/ 643890 w 1419225"/>
                <a:gd name="connsiteY615" fmla="*/ 75247 h 1504950"/>
                <a:gd name="connsiteX616" fmla="*/ 651510 w 1419225"/>
                <a:gd name="connsiteY616" fmla="*/ 72390 h 1504950"/>
                <a:gd name="connsiteX617" fmla="*/ 661035 w 1419225"/>
                <a:gd name="connsiteY617" fmla="*/ 66675 h 1504950"/>
                <a:gd name="connsiteX618" fmla="*/ 663893 w 1419225"/>
                <a:gd name="connsiteY618" fmla="*/ 65722 h 1504950"/>
                <a:gd name="connsiteX619" fmla="*/ 666750 w 1419225"/>
                <a:gd name="connsiteY619" fmla="*/ 65722 h 1504950"/>
                <a:gd name="connsiteX620" fmla="*/ 706755 w 1419225"/>
                <a:gd name="connsiteY620" fmla="*/ 72390 h 1504950"/>
                <a:gd name="connsiteX621" fmla="*/ 711518 w 1419225"/>
                <a:gd name="connsiteY621" fmla="*/ 71438 h 1504950"/>
                <a:gd name="connsiteX622" fmla="*/ 714375 w 1419225"/>
                <a:gd name="connsiteY622" fmla="*/ 69532 h 1504950"/>
                <a:gd name="connsiteX623" fmla="*/ 717232 w 1419225"/>
                <a:gd name="connsiteY623" fmla="*/ 64770 h 1504950"/>
                <a:gd name="connsiteX624" fmla="*/ 721043 w 1419225"/>
                <a:gd name="connsiteY624" fmla="*/ 53340 h 1504950"/>
                <a:gd name="connsiteX625" fmla="*/ 727710 w 1419225"/>
                <a:gd name="connsiteY625" fmla="*/ 40005 h 1504950"/>
                <a:gd name="connsiteX626" fmla="*/ 731520 w 1419225"/>
                <a:gd name="connsiteY626" fmla="*/ 36195 h 1504950"/>
                <a:gd name="connsiteX627" fmla="*/ 738188 w 1419225"/>
                <a:gd name="connsiteY627" fmla="*/ 31432 h 1504950"/>
                <a:gd name="connsiteX628" fmla="*/ 750570 w 1419225"/>
                <a:gd name="connsiteY628" fmla="*/ 26670 h 1504950"/>
                <a:gd name="connsiteX629" fmla="*/ 755332 w 1419225"/>
                <a:gd name="connsiteY629" fmla="*/ 23813 h 1504950"/>
                <a:gd name="connsiteX630" fmla="*/ 759143 w 1419225"/>
                <a:gd name="connsiteY630" fmla="*/ 20002 h 1504950"/>
                <a:gd name="connsiteX631" fmla="*/ 762000 w 1419225"/>
                <a:gd name="connsiteY631" fmla="*/ 15240 h 1504950"/>
                <a:gd name="connsiteX632" fmla="*/ 764857 w 1419225"/>
                <a:gd name="connsiteY632" fmla="*/ 9525 h 1504950"/>
                <a:gd name="connsiteX633" fmla="*/ 765810 w 1419225"/>
                <a:gd name="connsiteY633" fmla="*/ 2857 h 1504950"/>
                <a:gd name="connsiteX634" fmla="*/ 768668 w 1419225"/>
                <a:gd name="connsiteY634" fmla="*/ 952 h 1504950"/>
                <a:gd name="connsiteX635" fmla="*/ 772478 w 1419225"/>
                <a:gd name="connsiteY635" fmla="*/ 0 h 1504950"/>
                <a:gd name="connsiteX636" fmla="*/ 805815 w 1419225"/>
                <a:gd name="connsiteY636" fmla="*/ 4763 h 1504950"/>
                <a:gd name="connsiteX637" fmla="*/ 808672 w 1419225"/>
                <a:gd name="connsiteY637" fmla="*/ 5715 h 1504950"/>
                <a:gd name="connsiteX638" fmla="*/ 811530 w 1419225"/>
                <a:gd name="connsiteY638" fmla="*/ 7620 h 1504950"/>
                <a:gd name="connsiteX639" fmla="*/ 812482 w 1419225"/>
                <a:gd name="connsiteY639" fmla="*/ 10477 h 1504950"/>
                <a:gd name="connsiteX640" fmla="*/ 810578 w 1419225"/>
                <a:gd name="connsiteY640" fmla="*/ 16192 h 1504950"/>
                <a:gd name="connsiteX641" fmla="*/ 811530 w 1419225"/>
                <a:gd name="connsiteY641" fmla="*/ 20002 h 1504950"/>
                <a:gd name="connsiteX642" fmla="*/ 814388 w 1419225"/>
                <a:gd name="connsiteY642" fmla="*/ 24765 h 1504950"/>
                <a:gd name="connsiteX643" fmla="*/ 822960 w 1419225"/>
                <a:gd name="connsiteY643" fmla="*/ 33338 h 1504950"/>
                <a:gd name="connsiteX644" fmla="*/ 825818 w 1419225"/>
                <a:gd name="connsiteY644" fmla="*/ 38100 h 1504950"/>
                <a:gd name="connsiteX645" fmla="*/ 826770 w 1419225"/>
                <a:gd name="connsiteY645" fmla="*/ 40957 h 1504950"/>
                <a:gd name="connsiteX646" fmla="*/ 824865 w 1419225"/>
                <a:gd name="connsiteY646" fmla="*/ 48577 h 1504950"/>
                <a:gd name="connsiteX647" fmla="*/ 825818 w 1419225"/>
                <a:gd name="connsiteY647" fmla="*/ 51435 h 1504950"/>
                <a:gd name="connsiteX648" fmla="*/ 827722 w 1419225"/>
                <a:gd name="connsiteY648" fmla="*/ 60007 h 1504950"/>
                <a:gd name="connsiteX649" fmla="*/ 827722 w 1419225"/>
                <a:gd name="connsiteY649" fmla="*/ 62865 h 1504950"/>
                <a:gd name="connsiteX650" fmla="*/ 827722 w 1419225"/>
                <a:gd name="connsiteY650" fmla="*/ 69532 h 1504950"/>
                <a:gd name="connsiteX651" fmla="*/ 827722 w 1419225"/>
                <a:gd name="connsiteY651" fmla="*/ 72390 h 1504950"/>
                <a:gd name="connsiteX652" fmla="*/ 828675 w 1419225"/>
                <a:gd name="connsiteY652" fmla="*/ 76200 h 1504950"/>
                <a:gd name="connsiteX653" fmla="*/ 837247 w 1419225"/>
                <a:gd name="connsiteY653" fmla="*/ 95250 h 1504950"/>
                <a:gd name="connsiteX654" fmla="*/ 842010 w 1419225"/>
                <a:gd name="connsiteY654" fmla="*/ 101917 h 1504950"/>
                <a:gd name="connsiteX655" fmla="*/ 844868 w 1419225"/>
                <a:gd name="connsiteY655" fmla="*/ 105727 h 1504950"/>
                <a:gd name="connsiteX656" fmla="*/ 860107 w 1419225"/>
                <a:gd name="connsiteY656" fmla="*/ 117157 h 1504950"/>
                <a:gd name="connsiteX657" fmla="*/ 861060 w 1419225"/>
                <a:gd name="connsiteY657" fmla="*/ 120015 h 1504950"/>
                <a:gd name="connsiteX658" fmla="*/ 861060 w 1419225"/>
                <a:gd name="connsiteY658" fmla="*/ 122872 h 1504950"/>
                <a:gd name="connsiteX659" fmla="*/ 836295 w 1419225"/>
                <a:gd name="connsiteY659" fmla="*/ 155257 h 1504950"/>
                <a:gd name="connsiteX660" fmla="*/ 833438 w 1419225"/>
                <a:gd name="connsiteY660" fmla="*/ 160020 h 1504950"/>
                <a:gd name="connsiteX661" fmla="*/ 831532 w 1419225"/>
                <a:gd name="connsiteY661" fmla="*/ 165735 h 1504950"/>
                <a:gd name="connsiteX662" fmla="*/ 831532 w 1419225"/>
                <a:gd name="connsiteY662" fmla="*/ 169545 h 1504950"/>
                <a:gd name="connsiteX663" fmla="*/ 834390 w 1419225"/>
                <a:gd name="connsiteY663" fmla="*/ 171450 h 1504950"/>
                <a:gd name="connsiteX664" fmla="*/ 843915 w 1419225"/>
                <a:gd name="connsiteY664" fmla="*/ 179070 h 1504950"/>
                <a:gd name="connsiteX665" fmla="*/ 846772 w 1419225"/>
                <a:gd name="connsiteY665" fmla="*/ 182880 h 1504950"/>
                <a:gd name="connsiteX666" fmla="*/ 847725 w 1419225"/>
                <a:gd name="connsiteY666" fmla="*/ 186690 h 1504950"/>
                <a:gd name="connsiteX667" fmla="*/ 848678 w 1419225"/>
                <a:gd name="connsiteY667" fmla="*/ 192405 h 1504950"/>
                <a:gd name="connsiteX668" fmla="*/ 849630 w 1419225"/>
                <a:gd name="connsiteY668" fmla="*/ 195263 h 1504950"/>
                <a:gd name="connsiteX669" fmla="*/ 856297 w 1419225"/>
                <a:gd name="connsiteY669" fmla="*/ 205740 h 1504950"/>
                <a:gd name="connsiteX670" fmla="*/ 857250 w 1419225"/>
                <a:gd name="connsiteY670" fmla="*/ 208597 h 1504950"/>
                <a:gd name="connsiteX671" fmla="*/ 857250 w 1419225"/>
                <a:gd name="connsiteY671" fmla="*/ 210502 h 1504950"/>
                <a:gd name="connsiteX672" fmla="*/ 855345 w 1419225"/>
                <a:gd name="connsiteY672" fmla="*/ 216217 h 1504950"/>
                <a:gd name="connsiteX673" fmla="*/ 849630 w 1419225"/>
                <a:gd name="connsiteY673" fmla="*/ 221932 h 1504950"/>
                <a:gd name="connsiteX674" fmla="*/ 848678 w 1419225"/>
                <a:gd name="connsiteY674" fmla="*/ 223838 h 1504950"/>
                <a:gd name="connsiteX675" fmla="*/ 847725 w 1419225"/>
                <a:gd name="connsiteY675" fmla="*/ 226695 h 1504950"/>
                <a:gd name="connsiteX676" fmla="*/ 849630 w 1419225"/>
                <a:gd name="connsiteY676" fmla="*/ 231457 h 1504950"/>
                <a:gd name="connsiteX677" fmla="*/ 855345 w 1419225"/>
                <a:gd name="connsiteY677" fmla="*/ 235267 h 1504950"/>
                <a:gd name="connsiteX678" fmla="*/ 860107 w 1419225"/>
                <a:gd name="connsiteY678" fmla="*/ 237172 h 1504950"/>
                <a:gd name="connsiteX679" fmla="*/ 871538 w 1419225"/>
                <a:gd name="connsiteY679" fmla="*/ 240030 h 1504950"/>
                <a:gd name="connsiteX680" fmla="*/ 891540 w 1419225"/>
                <a:gd name="connsiteY680" fmla="*/ 238125 h 1504950"/>
                <a:gd name="connsiteX681" fmla="*/ 928688 w 1419225"/>
                <a:gd name="connsiteY681" fmla="*/ 244792 h 1504950"/>
                <a:gd name="connsiteX682" fmla="*/ 984885 w 1419225"/>
                <a:gd name="connsiteY682" fmla="*/ 240982 h 1504950"/>
                <a:gd name="connsiteX683" fmla="*/ 995363 w 1419225"/>
                <a:gd name="connsiteY683" fmla="*/ 241935 h 1504950"/>
                <a:gd name="connsiteX684" fmla="*/ 998220 w 1419225"/>
                <a:gd name="connsiteY684" fmla="*/ 241935 h 1504950"/>
                <a:gd name="connsiteX685" fmla="*/ 1001078 w 1419225"/>
                <a:gd name="connsiteY685" fmla="*/ 240982 h 1504950"/>
                <a:gd name="connsiteX686" fmla="*/ 1002030 w 1419225"/>
                <a:gd name="connsiteY686" fmla="*/ 237172 h 1504950"/>
                <a:gd name="connsiteX687" fmla="*/ 1002030 w 1419225"/>
                <a:gd name="connsiteY687" fmla="*/ 229552 h 1504950"/>
                <a:gd name="connsiteX688" fmla="*/ 1003935 w 1419225"/>
                <a:gd name="connsiteY688" fmla="*/ 222885 h 1504950"/>
                <a:gd name="connsiteX689" fmla="*/ 1007745 w 1419225"/>
                <a:gd name="connsiteY689" fmla="*/ 220027 h 1504950"/>
                <a:gd name="connsiteX690" fmla="*/ 1014413 w 1419225"/>
                <a:gd name="connsiteY690" fmla="*/ 218122 h 1504950"/>
                <a:gd name="connsiteX691" fmla="*/ 1036320 w 1419225"/>
                <a:gd name="connsiteY691" fmla="*/ 215265 h 1504950"/>
                <a:gd name="connsiteX692" fmla="*/ 1045845 w 1419225"/>
                <a:gd name="connsiteY692" fmla="*/ 216217 h 1504950"/>
                <a:gd name="connsiteX693" fmla="*/ 1050607 w 1419225"/>
                <a:gd name="connsiteY693" fmla="*/ 214313 h 1504950"/>
                <a:gd name="connsiteX694" fmla="*/ 1055370 w 1419225"/>
                <a:gd name="connsiteY694" fmla="*/ 211455 h 1504950"/>
                <a:gd name="connsiteX695" fmla="*/ 1072515 w 1419225"/>
                <a:gd name="connsiteY695" fmla="*/ 195263 h 1504950"/>
                <a:gd name="connsiteX696" fmla="*/ 1076325 w 1419225"/>
                <a:gd name="connsiteY696" fmla="*/ 190500 h 1504950"/>
                <a:gd name="connsiteX697" fmla="*/ 1082040 w 1419225"/>
                <a:gd name="connsiteY697" fmla="*/ 187642 h 1504950"/>
                <a:gd name="connsiteX698" fmla="*/ 1094423 w 1419225"/>
                <a:gd name="connsiteY698" fmla="*/ 188595 h 1504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</a:cxnLst>
              <a:rect l="l" t="t" r="r" b="b"/>
              <a:pathLst>
                <a:path w="1419225" h="1504950">
                  <a:moveTo>
                    <a:pt x="1094423" y="188595"/>
                  </a:moveTo>
                  <a:lnTo>
                    <a:pt x="1121093" y="192405"/>
                  </a:lnTo>
                  <a:lnTo>
                    <a:pt x="1123950" y="194310"/>
                  </a:lnTo>
                  <a:lnTo>
                    <a:pt x="1128713" y="197167"/>
                  </a:lnTo>
                  <a:lnTo>
                    <a:pt x="1129665" y="200025"/>
                  </a:lnTo>
                  <a:lnTo>
                    <a:pt x="1130618" y="202882"/>
                  </a:lnTo>
                  <a:lnTo>
                    <a:pt x="1129665" y="208597"/>
                  </a:lnTo>
                  <a:lnTo>
                    <a:pt x="1127760" y="216217"/>
                  </a:lnTo>
                  <a:lnTo>
                    <a:pt x="1122045" y="226695"/>
                  </a:lnTo>
                  <a:lnTo>
                    <a:pt x="1121093" y="229552"/>
                  </a:lnTo>
                  <a:lnTo>
                    <a:pt x="1120140" y="236220"/>
                  </a:lnTo>
                  <a:lnTo>
                    <a:pt x="1120140" y="242888"/>
                  </a:lnTo>
                  <a:lnTo>
                    <a:pt x="1121093" y="251460"/>
                  </a:lnTo>
                  <a:lnTo>
                    <a:pt x="1122045" y="255270"/>
                  </a:lnTo>
                  <a:lnTo>
                    <a:pt x="1123950" y="260032"/>
                  </a:lnTo>
                  <a:lnTo>
                    <a:pt x="1127760" y="265747"/>
                  </a:lnTo>
                  <a:lnTo>
                    <a:pt x="1131570" y="269557"/>
                  </a:lnTo>
                  <a:lnTo>
                    <a:pt x="1134428" y="271463"/>
                  </a:lnTo>
                  <a:lnTo>
                    <a:pt x="1155382" y="281940"/>
                  </a:lnTo>
                  <a:lnTo>
                    <a:pt x="1157288" y="284797"/>
                  </a:lnTo>
                  <a:lnTo>
                    <a:pt x="1158240" y="288607"/>
                  </a:lnTo>
                  <a:lnTo>
                    <a:pt x="1158240" y="294322"/>
                  </a:lnTo>
                  <a:lnTo>
                    <a:pt x="1157288" y="303847"/>
                  </a:lnTo>
                  <a:lnTo>
                    <a:pt x="1155382" y="307657"/>
                  </a:lnTo>
                  <a:lnTo>
                    <a:pt x="1151573" y="310515"/>
                  </a:lnTo>
                  <a:lnTo>
                    <a:pt x="1147763" y="312420"/>
                  </a:lnTo>
                  <a:lnTo>
                    <a:pt x="1144905" y="315277"/>
                  </a:lnTo>
                  <a:lnTo>
                    <a:pt x="1143953" y="318135"/>
                  </a:lnTo>
                  <a:lnTo>
                    <a:pt x="1143953" y="320992"/>
                  </a:lnTo>
                  <a:lnTo>
                    <a:pt x="1145857" y="325755"/>
                  </a:lnTo>
                  <a:lnTo>
                    <a:pt x="1157288" y="350520"/>
                  </a:lnTo>
                  <a:lnTo>
                    <a:pt x="1159193" y="357188"/>
                  </a:lnTo>
                  <a:lnTo>
                    <a:pt x="1159193" y="367665"/>
                  </a:lnTo>
                  <a:lnTo>
                    <a:pt x="1159193" y="374332"/>
                  </a:lnTo>
                  <a:lnTo>
                    <a:pt x="1156335" y="380047"/>
                  </a:lnTo>
                  <a:lnTo>
                    <a:pt x="1154430" y="381953"/>
                  </a:lnTo>
                  <a:lnTo>
                    <a:pt x="1128713" y="399097"/>
                  </a:lnTo>
                  <a:lnTo>
                    <a:pt x="1124903" y="402907"/>
                  </a:lnTo>
                  <a:lnTo>
                    <a:pt x="1122998" y="406717"/>
                  </a:lnTo>
                  <a:lnTo>
                    <a:pt x="1122045" y="412432"/>
                  </a:lnTo>
                  <a:lnTo>
                    <a:pt x="1122998" y="420053"/>
                  </a:lnTo>
                  <a:lnTo>
                    <a:pt x="1130618" y="435292"/>
                  </a:lnTo>
                  <a:lnTo>
                    <a:pt x="1132523" y="441007"/>
                  </a:lnTo>
                  <a:lnTo>
                    <a:pt x="1134428" y="445770"/>
                  </a:lnTo>
                  <a:lnTo>
                    <a:pt x="1134428" y="452438"/>
                  </a:lnTo>
                  <a:lnTo>
                    <a:pt x="1136332" y="455295"/>
                  </a:lnTo>
                  <a:lnTo>
                    <a:pt x="1139190" y="459105"/>
                  </a:lnTo>
                  <a:lnTo>
                    <a:pt x="1146810" y="462915"/>
                  </a:lnTo>
                  <a:lnTo>
                    <a:pt x="1152525" y="464820"/>
                  </a:lnTo>
                  <a:lnTo>
                    <a:pt x="1167765" y="466725"/>
                  </a:lnTo>
                  <a:lnTo>
                    <a:pt x="1169670" y="467678"/>
                  </a:lnTo>
                  <a:lnTo>
                    <a:pt x="1171575" y="470535"/>
                  </a:lnTo>
                  <a:lnTo>
                    <a:pt x="1174432" y="473392"/>
                  </a:lnTo>
                  <a:lnTo>
                    <a:pt x="1181100" y="489585"/>
                  </a:lnTo>
                  <a:lnTo>
                    <a:pt x="1190625" y="503872"/>
                  </a:lnTo>
                  <a:lnTo>
                    <a:pt x="1194435" y="511492"/>
                  </a:lnTo>
                  <a:lnTo>
                    <a:pt x="1195388" y="515303"/>
                  </a:lnTo>
                  <a:lnTo>
                    <a:pt x="1197293" y="517207"/>
                  </a:lnTo>
                  <a:lnTo>
                    <a:pt x="1201103" y="519113"/>
                  </a:lnTo>
                  <a:lnTo>
                    <a:pt x="1207770" y="519113"/>
                  </a:lnTo>
                  <a:lnTo>
                    <a:pt x="1216343" y="518160"/>
                  </a:lnTo>
                  <a:lnTo>
                    <a:pt x="1222057" y="521017"/>
                  </a:lnTo>
                  <a:lnTo>
                    <a:pt x="1226820" y="532447"/>
                  </a:lnTo>
                  <a:lnTo>
                    <a:pt x="1214438" y="545782"/>
                  </a:lnTo>
                  <a:lnTo>
                    <a:pt x="1214438" y="552450"/>
                  </a:lnTo>
                  <a:lnTo>
                    <a:pt x="1217295" y="553403"/>
                  </a:lnTo>
                  <a:lnTo>
                    <a:pt x="1224915" y="558165"/>
                  </a:lnTo>
                  <a:lnTo>
                    <a:pt x="1227773" y="560070"/>
                  </a:lnTo>
                  <a:lnTo>
                    <a:pt x="1230630" y="562928"/>
                  </a:lnTo>
                  <a:lnTo>
                    <a:pt x="1233488" y="567690"/>
                  </a:lnTo>
                  <a:lnTo>
                    <a:pt x="1234440" y="571500"/>
                  </a:lnTo>
                  <a:lnTo>
                    <a:pt x="1234440" y="575310"/>
                  </a:lnTo>
                  <a:lnTo>
                    <a:pt x="1230630" y="581025"/>
                  </a:lnTo>
                  <a:lnTo>
                    <a:pt x="1228725" y="584835"/>
                  </a:lnTo>
                  <a:lnTo>
                    <a:pt x="1228725" y="588645"/>
                  </a:lnTo>
                  <a:lnTo>
                    <a:pt x="1229678" y="592455"/>
                  </a:lnTo>
                  <a:lnTo>
                    <a:pt x="1230630" y="597217"/>
                  </a:lnTo>
                  <a:lnTo>
                    <a:pt x="1232535" y="605790"/>
                  </a:lnTo>
                  <a:lnTo>
                    <a:pt x="1231582" y="609600"/>
                  </a:lnTo>
                  <a:lnTo>
                    <a:pt x="1230630" y="611505"/>
                  </a:lnTo>
                  <a:lnTo>
                    <a:pt x="1220153" y="617220"/>
                  </a:lnTo>
                  <a:lnTo>
                    <a:pt x="1218248" y="619125"/>
                  </a:lnTo>
                  <a:lnTo>
                    <a:pt x="1214438" y="622935"/>
                  </a:lnTo>
                  <a:lnTo>
                    <a:pt x="1214438" y="626745"/>
                  </a:lnTo>
                  <a:lnTo>
                    <a:pt x="1215390" y="640080"/>
                  </a:lnTo>
                  <a:lnTo>
                    <a:pt x="1214438" y="643890"/>
                  </a:lnTo>
                  <a:lnTo>
                    <a:pt x="1212532" y="646747"/>
                  </a:lnTo>
                  <a:lnTo>
                    <a:pt x="1203007" y="650557"/>
                  </a:lnTo>
                  <a:lnTo>
                    <a:pt x="1184910" y="661988"/>
                  </a:lnTo>
                  <a:lnTo>
                    <a:pt x="1180148" y="664845"/>
                  </a:lnTo>
                  <a:lnTo>
                    <a:pt x="1174432" y="674370"/>
                  </a:lnTo>
                  <a:lnTo>
                    <a:pt x="1172528" y="679132"/>
                  </a:lnTo>
                  <a:lnTo>
                    <a:pt x="1171575" y="683895"/>
                  </a:lnTo>
                  <a:lnTo>
                    <a:pt x="1171575" y="689610"/>
                  </a:lnTo>
                  <a:lnTo>
                    <a:pt x="1173480" y="696278"/>
                  </a:lnTo>
                  <a:lnTo>
                    <a:pt x="1177290" y="701040"/>
                  </a:lnTo>
                  <a:lnTo>
                    <a:pt x="1182053" y="703897"/>
                  </a:lnTo>
                  <a:lnTo>
                    <a:pt x="1184910" y="704850"/>
                  </a:lnTo>
                  <a:lnTo>
                    <a:pt x="1201103" y="704850"/>
                  </a:lnTo>
                  <a:lnTo>
                    <a:pt x="1206818" y="706755"/>
                  </a:lnTo>
                  <a:lnTo>
                    <a:pt x="1210628" y="710565"/>
                  </a:lnTo>
                  <a:lnTo>
                    <a:pt x="1213485" y="716280"/>
                  </a:lnTo>
                  <a:lnTo>
                    <a:pt x="1214438" y="724853"/>
                  </a:lnTo>
                  <a:lnTo>
                    <a:pt x="1213485" y="728663"/>
                  </a:lnTo>
                  <a:lnTo>
                    <a:pt x="1211580" y="730567"/>
                  </a:lnTo>
                  <a:lnTo>
                    <a:pt x="1208723" y="730567"/>
                  </a:lnTo>
                  <a:lnTo>
                    <a:pt x="1205865" y="732472"/>
                  </a:lnTo>
                  <a:lnTo>
                    <a:pt x="1203007" y="735330"/>
                  </a:lnTo>
                  <a:lnTo>
                    <a:pt x="1199198" y="746760"/>
                  </a:lnTo>
                  <a:lnTo>
                    <a:pt x="1197293" y="750570"/>
                  </a:lnTo>
                  <a:lnTo>
                    <a:pt x="1194435" y="755332"/>
                  </a:lnTo>
                  <a:lnTo>
                    <a:pt x="1194435" y="758190"/>
                  </a:lnTo>
                  <a:lnTo>
                    <a:pt x="1195388" y="760095"/>
                  </a:lnTo>
                  <a:lnTo>
                    <a:pt x="1205865" y="765810"/>
                  </a:lnTo>
                  <a:lnTo>
                    <a:pt x="1213485" y="772478"/>
                  </a:lnTo>
                  <a:lnTo>
                    <a:pt x="1215390" y="773430"/>
                  </a:lnTo>
                  <a:lnTo>
                    <a:pt x="1223963" y="773430"/>
                  </a:lnTo>
                  <a:lnTo>
                    <a:pt x="1226820" y="774382"/>
                  </a:lnTo>
                  <a:lnTo>
                    <a:pt x="1231582" y="777240"/>
                  </a:lnTo>
                  <a:lnTo>
                    <a:pt x="1235393" y="781050"/>
                  </a:lnTo>
                  <a:lnTo>
                    <a:pt x="1238250" y="787717"/>
                  </a:lnTo>
                  <a:lnTo>
                    <a:pt x="1240155" y="794385"/>
                  </a:lnTo>
                  <a:lnTo>
                    <a:pt x="1240155" y="798195"/>
                  </a:lnTo>
                  <a:lnTo>
                    <a:pt x="1238250" y="801053"/>
                  </a:lnTo>
                  <a:lnTo>
                    <a:pt x="1232535" y="805815"/>
                  </a:lnTo>
                  <a:lnTo>
                    <a:pt x="1230630" y="807720"/>
                  </a:lnTo>
                  <a:lnTo>
                    <a:pt x="1228725" y="811530"/>
                  </a:lnTo>
                  <a:lnTo>
                    <a:pt x="1228725" y="815340"/>
                  </a:lnTo>
                  <a:lnTo>
                    <a:pt x="1229678" y="822007"/>
                  </a:lnTo>
                  <a:lnTo>
                    <a:pt x="1232535" y="828675"/>
                  </a:lnTo>
                  <a:lnTo>
                    <a:pt x="1236345" y="832485"/>
                  </a:lnTo>
                  <a:lnTo>
                    <a:pt x="1249680" y="835342"/>
                  </a:lnTo>
                  <a:lnTo>
                    <a:pt x="1251585" y="837247"/>
                  </a:lnTo>
                  <a:lnTo>
                    <a:pt x="1254443" y="843915"/>
                  </a:lnTo>
                  <a:lnTo>
                    <a:pt x="1263968" y="893445"/>
                  </a:lnTo>
                  <a:lnTo>
                    <a:pt x="1265873" y="900113"/>
                  </a:lnTo>
                  <a:lnTo>
                    <a:pt x="1268730" y="901065"/>
                  </a:lnTo>
                  <a:lnTo>
                    <a:pt x="1287780" y="903922"/>
                  </a:lnTo>
                  <a:lnTo>
                    <a:pt x="1302068" y="902970"/>
                  </a:lnTo>
                  <a:lnTo>
                    <a:pt x="1304925" y="903922"/>
                  </a:lnTo>
                  <a:lnTo>
                    <a:pt x="1308735" y="905828"/>
                  </a:lnTo>
                  <a:lnTo>
                    <a:pt x="1313498" y="912495"/>
                  </a:lnTo>
                  <a:lnTo>
                    <a:pt x="1316355" y="915353"/>
                  </a:lnTo>
                  <a:lnTo>
                    <a:pt x="1320165" y="918210"/>
                  </a:lnTo>
                  <a:lnTo>
                    <a:pt x="1323023" y="919163"/>
                  </a:lnTo>
                  <a:lnTo>
                    <a:pt x="1324928" y="921067"/>
                  </a:lnTo>
                  <a:lnTo>
                    <a:pt x="1327785" y="923925"/>
                  </a:lnTo>
                  <a:lnTo>
                    <a:pt x="1326832" y="926782"/>
                  </a:lnTo>
                  <a:lnTo>
                    <a:pt x="1325880" y="928688"/>
                  </a:lnTo>
                  <a:lnTo>
                    <a:pt x="1323975" y="930592"/>
                  </a:lnTo>
                  <a:lnTo>
                    <a:pt x="1315403" y="935355"/>
                  </a:lnTo>
                  <a:lnTo>
                    <a:pt x="1312545" y="938213"/>
                  </a:lnTo>
                  <a:lnTo>
                    <a:pt x="1311593" y="942022"/>
                  </a:lnTo>
                  <a:lnTo>
                    <a:pt x="1310640" y="949642"/>
                  </a:lnTo>
                  <a:lnTo>
                    <a:pt x="1310640" y="953453"/>
                  </a:lnTo>
                  <a:lnTo>
                    <a:pt x="1311593" y="957263"/>
                  </a:lnTo>
                  <a:lnTo>
                    <a:pt x="1315403" y="961072"/>
                  </a:lnTo>
                  <a:lnTo>
                    <a:pt x="1319213" y="964882"/>
                  </a:lnTo>
                  <a:lnTo>
                    <a:pt x="1336357" y="977265"/>
                  </a:lnTo>
                  <a:lnTo>
                    <a:pt x="1359218" y="986790"/>
                  </a:lnTo>
                  <a:lnTo>
                    <a:pt x="1363028" y="988695"/>
                  </a:lnTo>
                  <a:lnTo>
                    <a:pt x="1363980" y="991553"/>
                  </a:lnTo>
                  <a:lnTo>
                    <a:pt x="1364932" y="994410"/>
                  </a:lnTo>
                  <a:lnTo>
                    <a:pt x="1364932" y="1017270"/>
                  </a:lnTo>
                  <a:lnTo>
                    <a:pt x="1365885" y="1023938"/>
                  </a:lnTo>
                  <a:lnTo>
                    <a:pt x="1366838" y="1027747"/>
                  </a:lnTo>
                  <a:lnTo>
                    <a:pt x="1371600" y="1037272"/>
                  </a:lnTo>
                  <a:lnTo>
                    <a:pt x="1377315" y="1045845"/>
                  </a:lnTo>
                  <a:lnTo>
                    <a:pt x="1386840" y="1058228"/>
                  </a:lnTo>
                  <a:lnTo>
                    <a:pt x="1394460" y="1074420"/>
                  </a:lnTo>
                  <a:lnTo>
                    <a:pt x="1397318" y="1084898"/>
                  </a:lnTo>
                  <a:lnTo>
                    <a:pt x="1397318" y="1088707"/>
                  </a:lnTo>
                  <a:lnTo>
                    <a:pt x="1397318" y="1095375"/>
                  </a:lnTo>
                  <a:lnTo>
                    <a:pt x="1395413" y="1099185"/>
                  </a:lnTo>
                  <a:lnTo>
                    <a:pt x="1392555" y="1102995"/>
                  </a:lnTo>
                  <a:lnTo>
                    <a:pt x="1389698" y="1106805"/>
                  </a:lnTo>
                  <a:lnTo>
                    <a:pt x="1387793" y="1107757"/>
                  </a:lnTo>
                  <a:lnTo>
                    <a:pt x="1383982" y="1107757"/>
                  </a:lnTo>
                  <a:lnTo>
                    <a:pt x="1383030" y="1110615"/>
                  </a:lnTo>
                  <a:lnTo>
                    <a:pt x="1382078" y="1115378"/>
                  </a:lnTo>
                  <a:lnTo>
                    <a:pt x="1380173" y="1119188"/>
                  </a:lnTo>
                  <a:lnTo>
                    <a:pt x="1377315" y="1123950"/>
                  </a:lnTo>
                  <a:lnTo>
                    <a:pt x="1375410" y="1125855"/>
                  </a:lnTo>
                  <a:lnTo>
                    <a:pt x="1365885" y="1134428"/>
                  </a:lnTo>
                  <a:lnTo>
                    <a:pt x="1364932" y="1136332"/>
                  </a:lnTo>
                  <a:lnTo>
                    <a:pt x="1363980" y="1139190"/>
                  </a:lnTo>
                  <a:lnTo>
                    <a:pt x="1363028" y="1144905"/>
                  </a:lnTo>
                  <a:lnTo>
                    <a:pt x="1363980" y="1147763"/>
                  </a:lnTo>
                  <a:lnTo>
                    <a:pt x="1365885" y="1149667"/>
                  </a:lnTo>
                  <a:lnTo>
                    <a:pt x="1367790" y="1149667"/>
                  </a:lnTo>
                  <a:lnTo>
                    <a:pt x="1372553" y="1148715"/>
                  </a:lnTo>
                  <a:lnTo>
                    <a:pt x="1397318" y="1138238"/>
                  </a:lnTo>
                  <a:lnTo>
                    <a:pt x="1403032" y="1136332"/>
                  </a:lnTo>
                  <a:lnTo>
                    <a:pt x="1408748" y="1136332"/>
                  </a:lnTo>
                  <a:lnTo>
                    <a:pt x="1413510" y="1138238"/>
                  </a:lnTo>
                  <a:lnTo>
                    <a:pt x="1418273" y="1143000"/>
                  </a:lnTo>
                  <a:lnTo>
                    <a:pt x="1426845" y="1150620"/>
                  </a:lnTo>
                  <a:lnTo>
                    <a:pt x="1413510" y="1168717"/>
                  </a:lnTo>
                  <a:lnTo>
                    <a:pt x="1406843" y="1172528"/>
                  </a:lnTo>
                  <a:lnTo>
                    <a:pt x="1388745" y="1175385"/>
                  </a:lnTo>
                  <a:lnTo>
                    <a:pt x="1384935" y="1177290"/>
                  </a:lnTo>
                  <a:lnTo>
                    <a:pt x="1383030" y="1180148"/>
                  </a:lnTo>
                  <a:lnTo>
                    <a:pt x="1375410" y="1193482"/>
                  </a:lnTo>
                  <a:lnTo>
                    <a:pt x="1363980" y="1207770"/>
                  </a:lnTo>
                  <a:lnTo>
                    <a:pt x="1358265" y="1212532"/>
                  </a:lnTo>
                  <a:lnTo>
                    <a:pt x="1354455" y="1214438"/>
                  </a:lnTo>
                  <a:lnTo>
                    <a:pt x="1353503" y="1212532"/>
                  </a:lnTo>
                  <a:lnTo>
                    <a:pt x="1350645" y="1207770"/>
                  </a:lnTo>
                  <a:lnTo>
                    <a:pt x="1347788" y="1194435"/>
                  </a:lnTo>
                  <a:lnTo>
                    <a:pt x="1346835" y="1191578"/>
                  </a:lnTo>
                  <a:lnTo>
                    <a:pt x="1343025" y="1184910"/>
                  </a:lnTo>
                  <a:lnTo>
                    <a:pt x="1342073" y="1182053"/>
                  </a:lnTo>
                  <a:lnTo>
                    <a:pt x="1343025" y="1175385"/>
                  </a:lnTo>
                  <a:lnTo>
                    <a:pt x="1342073" y="1172528"/>
                  </a:lnTo>
                  <a:lnTo>
                    <a:pt x="1340168" y="1169670"/>
                  </a:lnTo>
                  <a:lnTo>
                    <a:pt x="1332548" y="1167765"/>
                  </a:lnTo>
                  <a:lnTo>
                    <a:pt x="1327785" y="1167765"/>
                  </a:lnTo>
                  <a:lnTo>
                    <a:pt x="1324928" y="1168717"/>
                  </a:lnTo>
                  <a:lnTo>
                    <a:pt x="1315403" y="1177290"/>
                  </a:lnTo>
                  <a:lnTo>
                    <a:pt x="1311593" y="1181100"/>
                  </a:lnTo>
                  <a:lnTo>
                    <a:pt x="1305878" y="1190625"/>
                  </a:lnTo>
                  <a:lnTo>
                    <a:pt x="1303020" y="1195388"/>
                  </a:lnTo>
                  <a:lnTo>
                    <a:pt x="1291590" y="1209675"/>
                  </a:lnTo>
                  <a:lnTo>
                    <a:pt x="1274445" y="1225867"/>
                  </a:lnTo>
                  <a:lnTo>
                    <a:pt x="1269682" y="1232535"/>
                  </a:lnTo>
                  <a:lnTo>
                    <a:pt x="1268730" y="1236345"/>
                  </a:lnTo>
                  <a:lnTo>
                    <a:pt x="1269682" y="1243965"/>
                  </a:lnTo>
                  <a:lnTo>
                    <a:pt x="1268730" y="1250632"/>
                  </a:lnTo>
                  <a:lnTo>
                    <a:pt x="1268730" y="1257300"/>
                  </a:lnTo>
                  <a:lnTo>
                    <a:pt x="1267778" y="1261110"/>
                  </a:lnTo>
                  <a:lnTo>
                    <a:pt x="1263968" y="1272540"/>
                  </a:lnTo>
                  <a:lnTo>
                    <a:pt x="1260157" y="1278255"/>
                  </a:lnTo>
                  <a:lnTo>
                    <a:pt x="1250632" y="1292542"/>
                  </a:lnTo>
                  <a:lnTo>
                    <a:pt x="1247775" y="1298257"/>
                  </a:lnTo>
                  <a:lnTo>
                    <a:pt x="1248728" y="1300163"/>
                  </a:lnTo>
                  <a:lnTo>
                    <a:pt x="1249680" y="1302067"/>
                  </a:lnTo>
                  <a:lnTo>
                    <a:pt x="1254443" y="1304925"/>
                  </a:lnTo>
                  <a:lnTo>
                    <a:pt x="1267778" y="1308735"/>
                  </a:lnTo>
                  <a:lnTo>
                    <a:pt x="1272540" y="1310640"/>
                  </a:lnTo>
                  <a:lnTo>
                    <a:pt x="1273493" y="1313498"/>
                  </a:lnTo>
                  <a:lnTo>
                    <a:pt x="1271588" y="1321117"/>
                  </a:lnTo>
                  <a:lnTo>
                    <a:pt x="1274445" y="1327785"/>
                  </a:lnTo>
                  <a:lnTo>
                    <a:pt x="1273493" y="1330642"/>
                  </a:lnTo>
                  <a:lnTo>
                    <a:pt x="1272540" y="1334453"/>
                  </a:lnTo>
                  <a:lnTo>
                    <a:pt x="1269682" y="1338263"/>
                  </a:lnTo>
                  <a:lnTo>
                    <a:pt x="1266825" y="1344930"/>
                  </a:lnTo>
                  <a:lnTo>
                    <a:pt x="1267778" y="1350645"/>
                  </a:lnTo>
                  <a:lnTo>
                    <a:pt x="1237298" y="1367790"/>
                  </a:lnTo>
                  <a:lnTo>
                    <a:pt x="1232535" y="1368742"/>
                  </a:lnTo>
                  <a:lnTo>
                    <a:pt x="1227773" y="1369695"/>
                  </a:lnTo>
                  <a:lnTo>
                    <a:pt x="1223963" y="1368742"/>
                  </a:lnTo>
                  <a:lnTo>
                    <a:pt x="1219200" y="1367790"/>
                  </a:lnTo>
                  <a:lnTo>
                    <a:pt x="1212532" y="1371600"/>
                  </a:lnTo>
                  <a:lnTo>
                    <a:pt x="1210628" y="1374457"/>
                  </a:lnTo>
                  <a:lnTo>
                    <a:pt x="1209675" y="1378267"/>
                  </a:lnTo>
                  <a:lnTo>
                    <a:pt x="1210628" y="1380173"/>
                  </a:lnTo>
                  <a:lnTo>
                    <a:pt x="1213485" y="1384935"/>
                  </a:lnTo>
                  <a:lnTo>
                    <a:pt x="1223963" y="1399223"/>
                  </a:lnTo>
                  <a:lnTo>
                    <a:pt x="1226820" y="1403985"/>
                  </a:lnTo>
                  <a:lnTo>
                    <a:pt x="1226820" y="1407795"/>
                  </a:lnTo>
                  <a:lnTo>
                    <a:pt x="1225868" y="1412557"/>
                  </a:lnTo>
                  <a:lnTo>
                    <a:pt x="1217295" y="1438275"/>
                  </a:lnTo>
                  <a:lnTo>
                    <a:pt x="1215390" y="1440180"/>
                  </a:lnTo>
                  <a:lnTo>
                    <a:pt x="1212532" y="1440180"/>
                  </a:lnTo>
                  <a:lnTo>
                    <a:pt x="1207770" y="1438275"/>
                  </a:lnTo>
                  <a:lnTo>
                    <a:pt x="1204913" y="1437323"/>
                  </a:lnTo>
                  <a:lnTo>
                    <a:pt x="1202055" y="1438275"/>
                  </a:lnTo>
                  <a:lnTo>
                    <a:pt x="1197293" y="1440180"/>
                  </a:lnTo>
                  <a:lnTo>
                    <a:pt x="1167765" y="1443038"/>
                  </a:lnTo>
                  <a:lnTo>
                    <a:pt x="1127760" y="1440180"/>
                  </a:lnTo>
                  <a:lnTo>
                    <a:pt x="1121093" y="1438275"/>
                  </a:lnTo>
                  <a:lnTo>
                    <a:pt x="1101090" y="1425892"/>
                  </a:lnTo>
                  <a:lnTo>
                    <a:pt x="1096328" y="1422082"/>
                  </a:lnTo>
                  <a:lnTo>
                    <a:pt x="1087755" y="1422082"/>
                  </a:lnTo>
                  <a:lnTo>
                    <a:pt x="1037272" y="1443038"/>
                  </a:lnTo>
                  <a:lnTo>
                    <a:pt x="988695" y="1444942"/>
                  </a:lnTo>
                  <a:lnTo>
                    <a:pt x="985838" y="1443990"/>
                  </a:lnTo>
                  <a:lnTo>
                    <a:pt x="976313" y="1439228"/>
                  </a:lnTo>
                  <a:lnTo>
                    <a:pt x="948690" y="1427798"/>
                  </a:lnTo>
                  <a:lnTo>
                    <a:pt x="943928" y="1424940"/>
                  </a:lnTo>
                  <a:lnTo>
                    <a:pt x="939165" y="1419225"/>
                  </a:lnTo>
                  <a:lnTo>
                    <a:pt x="937260" y="1417320"/>
                  </a:lnTo>
                  <a:lnTo>
                    <a:pt x="930593" y="1412557"/>
                  </a:lnTo>
                  <a:lnTo>
                    <a:pt x="921068" y="1403985"/>
                  </a:lnTo>
                  <a:lnTo>
                    <a:pt x="916305" y="1400175"/>
                  </a:lnTo>
                  <a:lnTo>
                    <a:pt x="913447" y="1398270"/>
                  </a:lnTo>
                  <a:lnTo>
                    <a:pt x="907732" y="1396365"/>
                  </a:lnTo>
                  <a:lnTo>
                    <a:pt x="904875" y="1396365"/>
                  </a:lnTo>
                  <a:lnTo>
                    <a:pt x="900113" y="1397317"/>
                  </a:lnTo>
                  <a:lnTo>
                    <a:pt x="884872" y="1403985"/>
                  </a:lnTo>
                  <a:lnTo>
                    <a:pt x="882968" y="1404938"/>
                  </a:lnTo>
                  <a:lnTo>
                    <a:pt x="881063" y="1407795"/>
                  </a:lnTo>
                  <a:lnTo>
                    <a:pt x="881063" y="1410653"/>
                  </a:lnTo>
                  <a:lnTo>
                    <a:pt x="881063" y="1415415"/>
                  </a:lnTo>
                  <a:lnTo>
                    <a:pt x="884872" y="1435417"/>
                  </a:lnTo>
                  <a:lnTo>
                    <a:pt x="885825" y="1441132"/>
                  </a:lnTo>
                  <a:lnTo>
                    <a:pt x="884872" y="1443990"/>
                  </a:lnTo>
                  <a:lnTo>
                    <a:pt x="882968" y="1445895"/>
                  </a:lnTo>
                  <a:lnTo>
                    <a:pt x="877253" y="1450657"/>
                  </a:lnTo>
                  <a:lnTo>
                    <a:pt x="868680" y="1455420"/>
                  </a:lnTo>
                  <a:lnTo>
                    <a:pt x="863918" y="1459230"/>
                  </a:lnTo>
                  <a:lnTo>
                    <a:pt x="857250" y="1466850"/>
                  </a:lnTo>
                  <a:lnTo>
                    <a:pt x="851535" y="1475423"/>
                  </a:lnTo>
                  <a:lnTo>
                    <a:pt x="840105" y="1483042"/>
                  </a:lnTo>
                  <a:lnTo>
                    <a:pt x="795338" y="1503045"/>
                  </a:lnTo>
                  <a:lnTo>
                    <a:pt x="785813" y="1510665"/>
                  </a:lnTo>
                  <a:lnTo>
                    <a:pt x="782955" y="1504950"/>
                  </a:lnTo>
                  <a:lnTo>
                    <a:pt x="774382" y="1497330"/>
                  </a:lnTo>
                  <a:lnTo>
                    <a:pt x="770572" y="1491615"/>
                  </a:lnTo>
                  <a:lnTo>
                    <a:pt x="769620" y="1486853"/>
                  </a:lnTo>
                  <a:lnTo>
                    <a:pt x="767715" y="1466850"/>
                  </a:lnTo>
                  <a:lnTo>
                    <a:pt x="759143" y="1445895"/>
                  </a:lnTo>
                  <a:lnTo>
                    <a:pt x="758190" y="1440180"/>
                  </a:lnTo>
                  <a:lnTo>
                    <a:pt x="758190" y="1435417"/>
                  </a:lnTo>
                  <a:lnTo>
                    <a:pt x="756285" y="1429703"/>
                  </a:lnTo>
                  <a:lnTo>
                    <a:pt x="753428" y="1423035"/>
                  </a:lnTo>
                  <a:lnTo>
                    <a:pt x="738188" y="1413510"/>
                  </a:lnTo>
                  <a:lnTo>
                    <a:pt x="719138" y="1409700"/>
                  </a:lnTo>
                  <a:lnTo>
                    <a:pt x="682943" y="1409700"/>
                  </a:lnTo>
                  <a:lnTo>
                    <a:pt x="634365" y="1388745"/>
                  </a:lnTo>
                  <a:lnTo>
                    <a:pt x="617220" y="1388745"/>
                  </a:lnTo>
                  <a:lnTo>
                    <a:pt x="605790" y="1393507"/>
                  </a:lnTo>
                  <a:lnTo>
                    <a:pt x="596265" y="1422082"/>
                  </a:lnTo>
                  <a:lnTo>
                    <a:pt x="592455" y="1439228"/>
                  </a:lnTo>
                  <a:lnTo>
                    <a:pt x="592455" y="1452563"/>
                  </a:lnTo>
                  <a:lnTo>
                    <a:pt x="589597" y="1460182"/>
                  </a:lnTo>
                  <a:lnTo>
                    <a:pt x="584835" y="1460182"/>
                  </a:lnTo>
                  <a:lnTo>
                    <a:pt x="574357" y="1452563"/>
                  </a:lnTo>
                  <a:lnTo>
                    <a:pt x="567690" y="1445895"/>
                  </a:lnTo>
                  <a:lnTo>
                    <a:pt x="552450" y="1415415"/>
                  </a:lnTo>
                  <a:lnTo>
                    <a:pt x="561022" y="1404938"/>
                  </a:lnTo>
                  <a:lnTo>
                    <a:pt x="561975" y="1393507"/>
                  </a:lnTo>
                  <a:lnTo>
                    <a:pt x="557213" y="1382078"/>
                  </a:lnTo>
                  <a:lnTo>
                    <a:pt x="548640" y="1376363"/>
                  </a:lnTo>
                  <a:lnTo>
                    <a:pt x="536257" y="1378267"/>
                  </a:lnTo>
                  <a:lnTo>
                    <a:pt x="529590" y="1387792"/>
                  </a:lnTo>
                  <a:lnTo>
                    <a:pt x="523875" y="1400175"/>
                  </a:lnTo>
                  <a:lnTo>
                    <a:pt x="516255" y="1408748"/>
                  </a:lnTo>
                  <a:lnTo>
                    <a:pt x="504825" y="1411605"/>
                  </a:lnTo>
                  <a:lnTo>
                    <a:pt x="499110" y="1404938"/>
                  </a:lnTo>
                  <a:lnTo>
                    <a:pt x="498157" y="1393507"/>
                  </a:lnTo>
                  <a:lnTo>
                    <a:pt x="501968" y="1383030"/>
                  </a:lnTo>
                  <a:lnTo>
                    <a:pt x="509588" y="1372553"/>
                  </a:lnTo>
                  <a:lnTo>
                    <a:pt x="517207" y="1367790"/>
                  </a:lnTo>
                  <a:lnTo>
                    <a:pt x="522922" y="1360170"/>
                  </a:lnTo>
                  <a:lnTo>
                    <a:pt x="526732" y="1343978"/>
                  </a:lnTo>
                  <a:lnTo>
                    <a:pt x="525780" y="1329690"/>
                  </a:lnTo>
                  <a:lnTo>
                    <a:pt x="520065" y="1323023"/>
                  </a:lnTo>
                  <a:lnTo>
                    <a:pt x="511493" y="1322070"/>
                  </a:lnTo>
                  <a:lnTo>
                    <a:pt x="486728" y="1324928"/>
                  </a:lnTo>
                  <a:lnTo>
                    <a:pt x="478155" y="1330642"/>
                  </a:lnTo>
                  <a:lnTo>
                    <a:pt x="469582" y="1337310"/>
                  </a:lnTo>
                  <a:lnTo>
                    <a:pt x="458153" y="1343978"/>
                  </a:lnTo>
                  <a:lnTo>
                    <a:pt x="445770" y="1346835"/>
                  </a:lnTo>
                  <a:lnTo>
                    <a:pt x="437197" y="1343978"/>
                  </a:lnTo>
                  <a:lnTo>
                    <a:pt x="431482" y="1335405"/>
                  </a:lnTo>
                  <a:lnTo>
                    <a:pt x="429578" y="1320165"/>
                  </a:lnTo>
                  <a:lnTo>
                    <a:pt x="425768" y="1306830"/>
                  </a:lnTo>
                  <a:lnTo>
                    <a:pt x="417195" y="1307782"/>
                  </a:lnTo>
                  <a:lnTo>
                    <a:pt x="401003" y="1322070"/>
                  </a:lnTo>
                  <a:lnTo>
                    <a:pt x="392430" y="1323975"/>
                  </a:lnTo>
                  <a:lnTo>
                    <a:pt x="381000" y="1323975"/>
                  </a:lnTo>
                  <a:lnTo>
                    <a:pt x="373380" y="1318260"/>
                  </a:lnTo>
                  <a:lnTo>
                    <a:pt x="383857" y="1286828"/>
                  </a:lnTo>
                  <a:lnTo>
                    <a:pt x="381000" y="1272540"/>
                  </a:lnTo>
                  <a:lnTo>
                    <a:pt x="371475" y="1262063"/>
                  </a:lnTo>
                  <a:lnTo>
                    <a:pt x="360997" y="1257300"/>
                  </a:lnTo>
                  <a:lnTo>
                    <a:pt x="314325" y="1251585"/>
                  </a:lnTo>
                  <a:lnTo>
                    <a:pt x="292418" y="1243013"/>
                  </a:lnTo>
                  <a:lnTo>
                    <a:pt x="280988" y="1224915"/>
                  </a:lnTo>
                  <a:lnTo>
                    <a:pt x="277178" y="1221105"/>
                  </a:lnTo>
                  <a:lnTo>
                    <a:pt x="260032" y="1195388"/>
                  </a:lnTo>
                  <a:lnTo>
                    <a:pt x="252413" y="1186815"/>
                  </a:lnTo>
                  <a:lnTo>
                    <a:pt x="218122" y="1162050"/>
                  </a:lnTo>
                  <a:lnTo>
                    <a:pt x="200978" y="1153478"/>
                  </a:lnTo>
                  <a:lnTo>
                    <a:pt x="135255" y="1154430"/>
                  </a:lnTo>
                  <a:lnTo>
                    <a:pt x="124778" y="1148715"/>
                  </a:lnTo>
                  <a:lnTo>
                    <a:pt x="122872" y="1127760"/>
                  </a:lnTo>
                  <a:lnTo>
                    <a:pt x="111443" y="1126807"/>
                  </a:lnTo>
                  <a:lnTo>
                    <a:pt x="98107" y="1135380"/>
                  </a:lnTo>
                  <a:lnTo>
                    <a:pt x="91440" y="1137285"/>
                  </a:lnTo>
                  <a:lnTo>
                    <a:pt x="70485" y="1137285"/>
                  </a:lnTo>
                  <a:lnTo>
                    <a:pt x="64770" y="1129665"/>
                  </a:lnTo>
                  <a:lnTo>
                    <a:pt x="53340" y="1077278"/>
                  </a:lnTo>
                  <a:lnTo>
                    <a:pt x="45720" y="1053465"/>
                  </a:lnTo>
                  <a:lnTo>
                    <a:pt x="35243" y="1033463"/>
                  </a:lnTo>
                  <a:lnTo>
                    <a:pt x="20003" y="1019175"/>
                  </a:lnTo>
                  <a:lnTo>
                    <a:pt x="0" y="1011555"/>
                  </a:lnTo>
                  <a:lnTo>
                    <a:pt x="11430" y="968692"/>
                  </a:lnTo>
                  <a:lnTo>
                    <a:pt x="15240" y="948690"/>
                  </a:lnTo>
                  <a:lnTo>
                    <a:pt x="16193" y="930592"/>
                  </a:lnTo>
                  <a:lnTo>
                    <a:pt x="16193" y="926782"/>
                  </a:lnTo>
                  <a:lnTo>
                    <a:pt x="14288" y="922972"/>
                  </a:lnTo>
                  <a:lnTo>
                    <a:pt x="13335" y="914400"/>
                  </a:lnTo>
                  <a:lnTo>
                    <a:pt x="13335" y="906780"/>
                  </a:lnTo>
                  <a:lnTo>
                    <a:pt x="14288" y="903922"/>
                  </a:lnTo>
                  <a:lnTo>
                    <a:pt x="17145" y="902970"/>
                  </a:lnTo>
                  <a:lnTo>
                    <a:pt x="22860" y="902970"/>
                  </a:lnTo>
                  <a:lnTo>
                    <a:pt x="25718" y="902970"/>
                  </a:lnTo>
                  <a:lnTo>
                    <a:pt x="28575" y="900113"/>
                  </a:lnTo>
                  <a:lnTo>
                    <a:pt x="28575" y="897255"/>
                  </a:lnTo>
                  <a:lnTo>
                    <a:pt x="28575" y="894397"/>
                  </a:lnTo>
                  <a:lnTo>
                    <a:pt x="25718" y="889635"/>
                  </a:lnTo>
                  <a:lnTo>
                    <a:pt x="22860" y="884872"/>
                  </a:lnTo>
                  <a:lnTo>
                    <a:pt x="19050" y="874395"/>
                  </a:lnTo>
                  <a:lnTo>
                    <a:pt x="17145" y="863917"/>
                  </a:lnTo>
                  <a:lnTo>
                    <a:pt x="15240" y="820103"/>
                  </a:lnTo>
                  <a:lnTo>
                    <a:pt x="14288" y="814388"/>
                  </a:lnTo>
                  <a:lnTo>
                    <a:pt x="12382" y="802957"/>
                  </a:lnTo>
                  <a:lnTo>
                    <a:pt x="8572" y="789622"/>
                  </a:lnTo>
                  <a:lnTo>
                    <a:pt x="2857" y="780097"/>
                  </a:lnTo>
                  <a:lnTo>
                    <a:pt x="953" y="771525"/>
                  </a:lnTo>
                  <a:lnTo>
                    <a:pt x="0" y="767715"/>
                  </a:lnTo>
                  <a:lnTo>
                    <a:pt x="953" y="763905"/>
                  </a:lnTo>
                  <a:lnTo>
                    <a:pt x="2857" y="762000"/>
                  </a:lnTo>
                  <a:lnTo>
                    <a:pt x="7620" y="759142"/>
                  </a:lnTo>
                  <a:lnTo>
                    <a:pt x="10478" y="757238"/>
                  </a:lnTo>
                  <a:lnTo>
                    <a:pt x="13335" y="753428"/>
                  </a:lnTo>
                  <a:lnTo>
                    <a:pt x="14288" y="749617"/>
                  </a:lnTo>
                  <a:lnTo>
                    <a:pt x="14288" y="746760"/>
                  </a:lnTo>
                  <a:lnTo>
                    <a:pt x="13335" y="744855"/>
                  </a:lnTo>
                  <a:lnTo>
                    <a:pt x="8572" y="737235"/>
                  </a:lnTo>
                  <a:lnTo>
                    <a:pt x="6668" y="733425"/>
                  </a:lnTo>
                  <a:lnTo>
                    <a:pt x="4763" y="725805"/>
                  </a:lnTo>
                  <a:lnTo>
                    <a:pt x="4763" y="721995"/>
                  </a:lnTo>
                  <a:lnTo>
                    <a:pt x="5715" y="718185"/>
                  </a:lnTo>
                  <a:lnTo>
                    <a:pt x="8572" y="715328"/>
                  </a:lnTo>
                  <a:lnTo>
                    <a:pt x="11430" y="704850"/>
                  </a:lnTo>
                  <a:lnTo>
                    <a:pt x="12382" y="701040"/>
                  </a:lnTo>
                  <a:lnTo>
                    <a:pt x="14288" y="698182"/>
                  </a:lnTo>
                  <a:lnTo>
                    <a:pt x="18097" y="696278"/>
                  </a:lnTo>
                  <a:lnTo>
                    <a:pt x="23813" y="690563"/>
                  </a:lnTo>
                  <a:lnTo>
                    <a:pt x="27622" y="687705"/>
                  </a:lnTo>
                  <a:lnTo>
                    <a:pt x="31432" y="683895"/>
                  </a:lnTo>
                  <a:lnTo>
                    <a:pt x="34290" y="677228"/>
                  </a:lnTo>
                  <a:lnTo>
                    <a:pt x="36195" y="668655"/>
                  </a:lnTo>
                  <a:lnTo>
                    <a:pt x="39053" y="663892"/>
                  </a:lnTo>
                  <a:lnTo>
                    <a:pt x="40957" y="661988"/>
                  </a:lnTo>
                  <a:lnTo>
                    <a:pt x="49530" y="658178"/>
                  </a:lnTo>
                  <a:lnTo>
                    <a:pt x="52388" y="654367"/>
                  </a:lnTo>
                  <a:lnTo>
                    <a:pt x="53340" y="650557"/>
                  </a:lnTo>
                  <a:lnTo>
                    <a:pt x="53340" y="643890"/>
                  </a:lnTo>
                  <a:lnTo>
                    <a:pt x="54293" y="641032"/>
                  </a:lnTo>
                  <a:lnTo>
                    <a:pt x="56197" y="636270"/>
                  </a:lnTo>
                  <a:lnTo>
                    <a:pt x="58103" y="630555"/>
                  </a:lnTo>
                  <a:lnTo>
                    <a:pt x="61913" y="620078"/>
                  </a:lnTo>
                  <a:lnTo>
                    <a:pt x="65722" y="616267"/>
                  </a:lnTo>
                  <a:lnTo>
                    <a:pt x="68580" y="613410"/>
                  </a:lnTo>
                  <a:lnTo>
                    <a:pt x="80963" y="613410"/>
                  </a:lnTo>
                  <a:lnTo>
                    <a:pt x="103822" y="617220"/>
                  </a:lnTo>
                  <a:lnTo>
                    <a:pt x="106680" y="616267"/>
                  </a:lnTo>
                  <a:lnTo>
                    <a:pt x="110490" y="613410"/>
                  </a:lnTo>
                  <a:lnTo>
                    <a:pt x="121920" y="592455"/>
                  </a:lnTo>
                  <a:lnTo>
                    <a:pt x="125730" y="588645"/>
                  </a:lnTo>
                  <a:lnTo>
                    <a:pt x="128588" y="586740"/>
                  </a:lnTo>
                  <a:lnTo>
                    <a:pt x="141922" y="589597"/>
                  </a:lnTo>
                  <a:lnTo>
                    <a:pt x="149543" y="593407"/>
                  </a:lnTo>
                  <a:lnTo>
                    <a:pt x="158115" y="599122"/>
                  </a:lnTo>
                  <a:lnTo>
                    <a:pt x="163830" y="602932"/>
                  </a:lnTo>
                  <a:lnTo>
                    <a:pt x="166688" y="603885"/>
                  </a:lnTo>
                  <a:lnTo>
                    <a:pt x="176213" y="604838"/>
                  </a:lnTo>
                  <a:lnTo>
                    <a:pt x="181928" y="607695"/>
                  </a:lnTo>
                  <a:lnTo>
                    <a:pt x="192405" y="615315"/>
                  </a:lnTo>
                  <a:lnTo>
                    <a:pt x="197168" y="618172"/>
                  </a:lnTo>
                  <a:lnTo>
                    <a:pt x="202882" y="621030"/>
                  </a:lnTo>
                  <a:lnTo>
                    <a:pt x="208597" y="621982"/>
                  </a:lnTo>
                  <a:lnTo>
                    <a:pt x="214313" y="621030"/>
                  </a:lnTo>
                  <a:lnTo>
                    <a:pt x="217170" y="618172"/>
                  </a:lnTo>
                  <a:lnTo>
                    <a:pt x="227647" y="604838"/>
                  </a:lnTo>
                  <a:lnTo>
                    <a:pt x="231457" y="601028"/>
                  </a:lnTo>
                  <a:lnTo>
                    <a:pt x="243840" y="595313"/>
                  </a:lnTo>
                  <a:lnTo>
                    <a:pt x="260985" y="594360"/>
                  </a:lnTo>
                  <a:lnTo>
                    <a:pt x="264795" y="593407"/>
                  </a:lnTo>
                  <a:lnTo>
                    <a:pt x="270510" y="590550"/>
                  </a:lnTo>
                  <a:lnTo>
                    <a:pt x="272415" y="587692"/>
                  </a:lnTo>
                  <a:lnTo>
                    <a:pt x="273368" y="583882"/>
                  </a:lnTo>
                  <a:lnTo>
                    <a:pt x="272415" y="581978"/>
                  </a:lnTo>
                  <a:lnTo>
                    <a:pt x="270510" y="576263"/>
                  </a:lnTo>
                  <a:lnTo>
                    <a:pt x="269557" y="570547"/>
                  </a:lnTo>
                  <a:lnTo>
                    <a:pt x="268605" y="564832"/>
                  </a:lnTo>
                  <a:lnTo>
                    <a:pt x="268605" y="558165"/>
                  </a:lnTo>
                  <a:lnTo>
                    <a:pt x="268605" y="551497"/>
                  </a:lnTo>
                  <a:lnTo>
                    <a:pt x="267653" y="545782"/>
                  </a:lnTo>
                  <a:lnTo>
                    <a:pt x="264795" y="541020"/>
                  </a:lnTo>
                  <a:lnTo>
                    <a:pt x="259080" y="532447"/>
                  </a:lnTo>
                  <a:lnTo>
                    <a:pt x="256222" y="527685"/>
                  </a:lnTo>
                  <a:lnTo>
                    <a:pt x="255270" y="520065"/>
                  </a:lnTo>
                  <a:lnTo>
                    <a:pt x="256222" y="514350"/>
                  </a:lnTo>
                  <a:lnTo>
                    <a:pt x="258128" y="509588"/>
                  </a:lnTo>
                  <a:lnTo>
                    <a:pt x="260985" y="504825"/>
                  </a:lnTo>
                  <a:lnTo>
                    <a:pt x="264795" y="499110"/>
                  </a:lnTo>
                  <a:lnTo>
                    <a:pt x="266700" y="495300"/>
                  </a:lnTo>
                  <a:lnTo>
                    <a:pt x="266700" y="491490"/>
                  </a:lnTo>
                  <a:lnTo>
                    <a:pt x="263843" y="484822"/>
                  </a:lnTo>
                  <a:lnTo>
                    <a:pt x="257175" y="476250"/>
                  </a:lnTo>
                  <a:lnTo>
                    <a:pt x="255270" y="474345"/>
                  </a:lnTo>
                  <a:lnTo>
                    <a:pt x="253365" y="469582"/>
                  </a:lnTo>
                  <a:lnTo>
                    <a:pt x="253365" y="461963"/>
                  </a:lnTo>
                  <a:lnTo>
                    <a:pt x="254318" y="454342"/>
                  </a:lnTo>
                  <a:lnTo>
                    <a:pt x="254318" y="450532"/>
                  </a:lnTo>
                  <a:lnTo>
                    <a:pt x="253365" y="448628"/>
                  </a:lnTo>
                  <a:lnTo>
                    <a:pt x="251460" y="446722"/>
                  </a:lnTo>
                  <a:lnTo>
                    <a:pt x="249555" y="444817"/>
                  </a:lnTo>
                  <a:lnTo>
                    <a:pt x="240982" y="442913"/>
                  </a:lnTo>
                  <a:lnTo>
                    <a:pt x="236220" y="440055"/>
                  </a:lnTo>
                  <a:lnTo>
                    <a:pt x="234315" y="434340"/>
                  </a:lnTo>
                  <a:lnTo>
                    <a:pt x="233363" y="425767"/>
                  </a:lnTo>
                  <a:lnTo>
                    <a:pt x="232410" y="422910"/>
                  </a:lnTo>
                  <a:lnTo>
                    <a:pt x="230505" y="417195"/>
                  </a:lnTo>
                  <a:lnTo>
                    <a:pt x="228600" y="414338"/>
                  </a:lnTo>
                  <a:lnTo>
                    <a:pt x="227647" y="409575"/>
                  </a:lnTo>
                  <a:lnTo>
                    <a:pt x="228600" y="405765"/>
                  </a:lnTo>
                  <a:lnTo>
                    <a:pt x="230505" y="402907"/>
                  </a:lnTo>
                  <a:lnTo>
                    <a:pt x="246697" y="397192"/>
                  </a:lnTo>
                  <a:lnTo>
                    <a:pt x="249555" y="395288"/>
                  </a:lnTo>
                  <a:lnTo>
                    <a:pt x="250507" y="392430"/>
                  </a:lnTo>
                  <a:lnTo>
                    <a:pt x="250507" y="389572"/>
                  </a:lnTo>
                  <a:lnTo>
                    <a:pt x="246697" y="379095"/>
                  </a:lnTo>
                  <a:lnTo>
                    <a:pt x="244793" y="374332"/>
                  </a:lnTo>
                  <a:lnTo>
                    <a:pt x="241935" y="369570"/>
                  </a:lnTo>
                  <a:lnTo>
                    <a:pt x="240030" y="367665"/>
                  </a:lnTo>
                  <a:lnTo>
                    <a:pt x="207645" y="367665"/>
                  </a:lnTo>
                  <a:lnTo>
                    <a:pt x="200978" y="366713"/>
                  </a:lnTo>
                  <a:lnTo>
                    <a:pt x="198120" y="364807"/>
                  </a:lnTo>
                  <a:lnTo>
                    <a:pt x="196215" y="362903"/>
                  </a:lnTo>
                  <a:lnTo>
                    <a:pt x="194310" y="360045"/>
                  </a:lnTo>
                  <a:lnTo>
                    <a:pt x="193357" y="354330"/>
                  </a:lnTo>
                  <a:lnTo>
                    <a:pt x="194310" y="350520"/>
                  </a:lnTo>
                  <a:lnTo>
                    <a:pt x="195263" y="347663"/>
                  </a:lnTo>
                  <a:lnTo>
                    <a:pt x="197168" y="345757"/>
                  </a:lnTo>
                  <a:lnTo>
                    <a:pt x="203835" y="340995"/>
                  </a:lnTo>
                  <a:lnTo>
                    <a:pt x="206693" y="338138"/>
                  </a:lnTo>
                  <a:lnTo>
                    <a:pt x="206693" y="336232"/>
                  </a:lnTo>
                  <a:lnTo>
                    <a:pt x="205740" y="333375"/>
                  </a:lnTo>
                  <a:lnTo>
                    <a:pt x="203835" y="331470"/>
                  </a:lnTo>
                  <a:lnTo>
                    <a:pt x="188595" y="320040"/>
                  </a:lnTo>
                  <a:lnTo>
                    <a:pt x="187643" y="316230"/>
                  </a:lnTo>
                  <a:lnTo>
                    <a:pt x="186690" y="311467"/>
                  </a:lnTo>
                  <a:lnTo>
                    <a:pt x="186690" y="299085"/>
                  </a:lnTo>
                  <a:lnTo>
                    <a:pt x="188595" y="293370"/>
                  </a:lnTo>
                  <a:lnTo>
                    <a:pt x="190500" y="289560"/>
                  </a:lnTo>
                  <a:lnTo>
                    <a:pt x="192405" y="288607"/>
                  </a:lnTo>
                  <a:lnTo>
                    <a:pt x="198120" y="287655"/>
                  </a:lnTo>
                  <a:lnTo>
                    <a:pt x="200978" y="288607"/>
                  </a:lnTo>
                  <a:lnTo>
                    <a:pt x="205740" y="291465"/>
                  </a:lnTo>
                  <a:lnTo>
                    <a:pt x="209550" y="291465"/>
                  </a:lnTo>
                  <a:lnTo>
                    <a:pt x="213360" y="288607"/>
                  </a:lnTo>
                  <a:lnTo>
                    <a:pt x="218122" y="281940"/>
                  </a:lnTo>
                  <a:lnTo>
                    <a:pt x="219075" y="277177"/>
                  </a:lnTo>
                  <a:lnTo>
                    <a:pt x="219075" y="273367"/>
                  </a:lnTo>
                  <a:lnTo>
                    <a:pt x="217170" y="271463"/>
                  </a:lnTo>
                  <a:lnTo>
                    <a:pt x="211455" y="265747"/>
                  </a:lnTo>
                  <a:lnTo>
                    <a:pt x="209550" y="262890"/>
                  </a:lnTo>
                  <a:lnTo>
                    <a:pt x="208597" y="260032"/>
                  </a:lnTo>
                  <a:lnTo>
                    <a:pt x="208597" y="257175"/>
                  </a:lnTo>
                  <a:lnTo>
                    <a:pt x="210503" y="254317"/>
                  </a:lnTo>
                  <a:lnTo>
                    <a:pt x="215265" y="247650"/>
                  </a:lnTo>
                  <a:lnTo>
                    <a:pt x="231457" y="215265"/>
                  </a:lnTo>
                  <a:lnTo>
                    <a:pt x="233363" y="209550"/>
                  </a:lnTo>
                  <a:lnTo>
                    <a:pt x="234315" y="204788"/>
                  </a:lnTo>
                  <a:lnTo>
                    <a:pt x="234315" y="201930"/>
                  </a:lnTo>
                  <a:lnTo>
                    <a:pt x="232410" y="196215"/>
                  </a:lnTo>
                  <a:lnTo>
                    <a:pt x="230505" y="191452"/>
                  </a:lnTo>
                  <a:lnTo>
                    <a:pt x="226695" y="187642"/>
                  </a:lnTo>
                  <a:lnTo>
                    <a:pt x="222885" y="183832"/>
                  </a:lnTo>
                  <a:lnTo>
                    <a:pt x="218122" y="180975"/>
                  </a:lnTo>
                  <a:lnTo>
                    <a:pt x="204788" y="174307"/>
                  </a:lnTo>
                  <a:lnTo>
                    <a:pt x="202882" y="172402"/>
                  </a:lnTo>
                  <a:lnTo>
                    <a:pt x="200978" y="169545"/>
                  </a:lnTo>
                  <a:lnTo>
                    <a:pt x="200025" y="165735"/>
                  </a:lnTo>
                  <a:lnTo>
                    <a:pt x="200025" y="161925"/>
                  </a:lnTo>
                  <a:lnTo>
                    <a:pt x="200978" y="159067"/>
                  </a:lnTo>
                  <a:lnTo>
                    <a:pt x="206693" y="148590"/>
                  </a:lnTo>
                  <a:lnTo>
                    <a:pt x="207645" y="145732"/>
                  </a:lnTo>
                  <a:lnTo>
                    <a:pt x="209550" y="144780"/>
                  </a:lnTo>
                  <a:lnTo>
                    <a:pt x="212407" y="144780"/>
                  </a:lnTo>
                  <a:lnTo>
                    <a:pt x="225743" y="147638"/>
                  </a:lnTo>
                  <a:lnTo>
                    <a:pt x="228600" y="147638"/>
                  </a:lnTo>
                  <a:lnTo>
                    <a:pt x="233363" y="144780"/>
                  </a:lnTo>
                  <a:lnTo>
                    <a:pt x="238125" y="140970"/>
                  </a:lnTo>
                  <a:lnTo>
                    <a:pt x="241935" y="136207"/>
                  </a:lnTo>
                  <a:lnTo>
                    <a:pt x="245745" y="130492"/>
                  </a:lnTo>
                  <a:lnTo>
                    <a:pt x="245745" y="127635"/>
                  </a:lnTo>
                  <a:lnTo>
                    <a:pt x="243840" y="124777"/>
                  </a:lnTo>
                  <a:lnTo>
                    <a:pt x="234315" y="118110"/>
                  </a:lnTo>
                  <a:lnTo>
                    <a:pt x="232410" y="116205"/>
                  </a:lnTo>
                  <a:lnTo>
                    <a:pt x="233363" y="115252"/>
                  </a:lnTo>
                  <a:lnTo>
                    <a:pt x="235268" y="114300"/>
                  </a:lnTo>
                  <a:lnTo>
                    <a:pt x="245745" y="113347"/>
                  </a:lnTo>
                  <a:lnTo>
                    <a:pt x="252413" y="111442"/>
                  </a:lnTo>
                  <a:lnTo>
                    <a:pt x="261938" y="99060"/>
                  </a:lnTo>
                  <a:lnTo>
                    <a:pt x="308610" y="93345"/>
                  </a:lnTo>
                  <a:lnTo>
                    <a:pt x="344805" y="99060"/>
                  </a:lnTo>
                  <a:lnTo>
                    <a:pt x="361950" y="97155"/>
                  </a:lnTo>
                  <a:lnTo>
                    <a:pt x="406718" y="84772"/>
                  </a:lnTo>
                  <a:lnTo>
                    <a:pt x="458153" y="82867"/>
                  </a:lnTo>
                  <a:lnTo>
                    <a:pt x="462915" y="80963"/>
                  </a:lnTo>
                  <a:lnTo>
                    <a:pt x="472440" y="76200"/>
                  </a:lnTo>
                  <a:lnTo>
                    <a:pt x="477203" y="76200"/>
                  </a:lnTo>
                  <a:lnTo>
                    <a:pt x="482918" y="77152"/>
                  </a:lnTo>
                  <a:lnTo>
                    <a:pt x="507682" y="89535"/>
                  </a:lnTo>
                  <a:lnTo>
                    <a:pt x="512445" y="89535"/>
                  </a:lnTo>
                  <a:lnTo>
                    <a:pt x="518160" y="89535"/>
                  </a:lnTo>
                  <a:lnTo>
                    <a:pt x="528638" y="88582"/>
                  </a:lnTo>
                  <a:lnTo>
                    <a:pt x="537210" y="85725"/>
                  </a:lnTo>
                  <a:lnTo>
                    <a:pt x="541972" y="80963"/>
                  </a:lnTo>
                  <a:lnTo>
                    <a:pt x="551497" y="62865"/>
                  </a:lnTo>
                  <a:lnTo>
                    <a:pt x="553403" y="60960"/>
                  </a:lnTo>
                  <a:lnTo>
                    <a:pt x="559118" y="60007"/>
                  </a:lnTo>
                  <a:lnTo>
                    <a:pt x="605790" y="60960"/>
                  </a:lnTo>
                  <a:lnTo>
                    <a:pt x="610553" y="61913"/>
                  </a:lnTo>
                  <a:lnTo>
                    <a:pt x="623888" y="69532"/>
                  </a:lnTo>
                  <a:lnTo>
                    <a:pt x="626745" y="72390"/>
                  </a:lnTo>
                  <a:lnTo>
                    <a:pt x="630555" y="76200"/>
                  </a:lnTo>
                  <a:lnTo>
                    <a:pt x="632460" y="77152"/>
                  </a:lnTo>
                  <a:lnTo>
                    <a:pt x="643890" y="75247"/>
                  </a:lnTo>
                  <a:lnTo>
                    <a:pt x="651510" y="72390"/>
                  </a:lnTo>
                  <a:lnTo>
                    <a:pt x="661035" y="66675"/>
                  </a:lnTo>
                  <a:lnTo>
                    <a:pt x="663893" y="65722"/>
                  </a:lnTo>
                  <a:lnTo>
                    <a:pt x="666750" y="65722"/>
                  </a:lnTo>
                  <a:lnTo>
                    <a:pt x="706755" y="72390"/>
                  </a:lnTo>
                  <a:lnTo>
                    <a:pt x="711518" y="71438"/>
                  </a:lnTo>
                  <a:lnTo>
                    <a:pt x="714375" y="69532"/>
                  </a:lnTo>
                  <a:lnTo>
                    <a:pt x="717232" y="64770"/>
                  </a:lnTo>
                  <a:lnTo>
                    <a:pt x="721043" y="53340"/>
                  </a:lnTo>
                  <a:lnTo>
                    <a:pt x="727710" y="40005"/>
                  </a:lnTo>
                  <a:lnTo>
                    <a:pt x="731520" y="36195"/>
                  </a:lnTo>
                  <a:lnTo>
                    <a:pt x="738188" y="31432"/>
                  </a:lnTo>
                  <a:lnTo>
                    <a:pt x="750570" y="26670"/>
                  </a:lnTo>
                  <a:lnTo>
                    <a:pt x="755332" y="23813"/>
                  </a:lnTo>
                  <a:lnTo>
                    <a:pt x="759143" y="20002"/>
                  </a:lnTo>
                  <a:lnTo>
                    <a:pt x="762000" y="15240"/>
                  </a:lnTo>
                  <a:lnTo>
                    <a:pt x="764857" y="9525"/>
                  </a:lnTo>
                  <a:lnTo>
                    <a:pt x="765810" y="2857"/>
                  </a:lnTo>
                  <a:lnTo>
                    <a:pt x="768668" y="952"/>
                  </a:lnTo>
                  <a:lnTo>
                    <a:pt x="772478" y="0"/>
                  </a:lnTo>
                  <a:lnTo>
                    <a:pt x="805815" y="4763"/>
                  </a:lnTo>
                  <a:lnTo>
                    <a:pt x="808672" y="5715"/>
                  </a:lnTo>
                  <a:lnTo>
                    <a:pt x="811530" y="7620"/>
                  </a:lnTo>
                  <a:lnTo>
                    <a:pt x="812482" y="10477"/>
                  </a:lnTo>
                  <a:lnTo>
                    <a:pt x="810578" y="16192"/>
                  </a:lnTo>
                  <a:lnTo>
                    <a:pt x="811530" y="20002"/>
                  </a:lnTo>
                  <a:lnTo>
                    <a:pt x="814388" y="24765"/>
                  </a:lnTo>
                  <a:lnTo>
                    <a:pt x="822960" y="33338"/>
                  </a:lnTo>
                  <a:lnTo>
                    <a:pt x="825818" y="38100"/>
                  </a:lnTo>
                  <a:lnTo>
                    <a:pt x="826770" y="40957"/>
                  </a:lnTo>
                  <a:lnTo>
                    <a:pt x="824865" y="48577"/>
                  </a:lnTo>
                  <a:lnTo>
                    <a:pt x="825818" y="51435"/>
                  </a:lnTo>
                  <a:lnTo>
                    <a:pt x="827722" y="60007"/>
                  </a:lnTo>
                  <a:lnTo>
                    <a:pt x="827722" y="62865"/>
                  </a:lnTo>
                  <a:lnTo>
                    <a:pt x="827722" y="69532"/>
                  </a:lnTo>
                  <a:lnTo>
                    <a:pt x="827722" y="72390"/>
                  </a:lnTo>
                  <a:lnTo>
                    <a:pt x="828675" y="76200"/>
                  </a:lnTo>
                  <a:lnTo>
                    <a:pt x="837247" y="95250"/>
                  </a:lnTo>
                  <a:lnTo>
                    <a:pt x="842010" y="101917"/>
                  </a:lnTo>
                  <a:lnTo>
                    <a:pt x="844868" y="105727"/>
                  </a:lnTo>
                  <a:lnTo>
                    <a:pt x="860107" y="117157"/>
                  </a:lnTo>
                  <a:lnTo>
                    <a:pt x="861060" y="120015"/>
                  </a:lnTo>
                  <a:lnTo>
                    <a:pt x="861060" y="122872"/>
                  </a:lnTo>
                  <a:lnTo>
                    <a:pt x="836295" y="155257"/>
                  </a:lnTo>
                  <a:lnTo>
                    <a:pt x="833438" y="160020"/>
                  </a:lnTo>
                  <a:lnTo>
                    <a:pt x="831532" y="165735"/>
                  </a:lnTo>
                  <a:lnTo>
                    <a:pt x="831532" y="169545"/>
                  </a:lnTo>
                  <a:lnTo>
                    <a:pt x="834390" y="171450"/>
                  </a:lnTo>
                  <a:lnTo>
                    <a:pt x="843915" y="179070"/>
                  </a:lnTo>
                  <a:lnTo>
                    <a:pt x="846772" y="182880"/>
                  </a:lnTo>
                  <a:lnTo>
                    <a:pt x="847725" y="186690"/>
                  </a:lnTo>
                  <a:lnTo>
                    <a:pt x="848678" y="192405"/>
                  </a:lnTo>
                  <a:lnTo>
                    <a:pt x="849630" y="195263"/>
                  </a:lnTo>
                  <a:lnTo>
                    <a:pt x="856297" y="205740"/>
                  </a:lnTo>
                  <a:lnTo>
                    <a:pt x="857250" y="208597"/>
                  </a:lnTo>
                  <a:lnTo>
                    <a:pt x="857250" y="210502"/>
                  </a:lnTo>
                  <a:lnTo>
                    <a:pt x="855345" y="216217"/>
                  </a:lnTo>
                  <a:lnTo>
                    <a:pt x="849630" y="221932"/>
                  </a:lnTo>
                  <a:lnTo>
                    <a:pt x="848678" y="223838"/>
                  </a:lnTo>
                  <a:lnTo>
                    <a:pt x="847725" y="226695"/>
                  </a:lnTo>
                  <a:lnTo>
                    <a:pt x="849630" y="231457"/>
                  </a:lnTo>
                  <a:lnTo>
                    <a:pt x="855345" y="235267"/>
                  </a:lnTo>
                  <a:lnTo>
                    <a:pt x="860107" y="237172"/>
                  </a:lnTo>
                  <a:lnTo>
                    <a:pt x="871538" y="240030"/>
                  </a:lnTo>
                  <a:lnTo>
                    <a:pt x="891540" y="238125"/>
                  </a:lnTo>
                  <a:lnTo>
                    <a:pt x="928688" y="244792"/>
                  </a:lnTo>
                  <a:lnTo>
                    <a:pt x="984885" y="240982"/>
                  </a:lnTo>
                  <a:lnTo>
                    <a:pt x="995363" y="241935"/>
                  </a:lnTo>
                  <a:lnTo>
                    <a:pt x="998220" y="241935"/>
                  </a:lnTo>
                  <a:lnTo>
                    <a:pt x="1001078" y="240982"/>
                  </a:lnTo>
                  <a:lnTo>
                    <a:pt x="1002030" y="237172"/>
                  </a:lnTo>
                  <a:lnTo>
                    <a:pt x="1002030" y="229552"/>
                  </a:lnTo>
                  <a:lnTo>
                    <a:pt x="1003935" y="222885"/>
                  </a:lnTo>
                  <a:lnTo>
                    <a:pt x="1007745" y="220027"/>
                  </a:lnTo>
                  <a:lnTo>
                    <a:pt x="1014413" y="218122"/>
                  </a:lnTo>
                  <a:lnTo>
                    <a:pt x="1036320" y="215265"/>
                  </a:lnTo>
                  <a:lnTo>
                    <a:pt x="1045845" y="216217"/>
                  </a:lnTo>
                  <a:lnTo>
                    <a:pt x="1050607" y="214313"/>
                  </a:lnTo>
                  <a:lnTo>
                    <a:pt x="1055370" y="211455"/>
                  </a:lnTo>
                  <a:lnTo>
                    <a:pt x="1072515" y="195263"/>
                  </a:lnTo>
                  <a:lnTo>
                    <a:pt x="1076325" y="190500"/>
                  </a:lnTo>
                  <a:lnTo>
                    <a:pt x="1082040" y="187642"/>
                  </a:lnTo>
                  <a:lnTo>
                    <a:pt x="1094423" y="18859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7" name="Полилиния: фигура 19">
              <a:extLst>
                <a:ext uri="{FF2B5EF4-FFF2-40B4-BE49-F238E27FC236}">
                  <a16:creationId xmlns:a16="http://schemas.microsoft.com/office/drawing/2014/main" id="{1E460A2D-3112-30FF-520E-3B03ED5B6189}"/>
                </a:ext>
              </a:extLst>
            </p:cNvPr>
            <p:cNvSpPr/>
            <p:nvPr/>
          </p:nvSpPr>
          <p:spPr>
            <a:xfrm>
              <a:off x="4010978" y="862013"/>
              <a:ext cx="1333500" cy="1714500"/>
            </a:xfrm>
            <a:custGeom>
              <a:avLst/>
              <a:gdLst>
                <a:gd name="connsiteX0" fmla="*/ 1139190 w 1333500"/>
                <a:gd name="connsiteY0" fmla="*/ 233363 h 1714500"/>
                <a:gd name="connsiteX1" fmla="*/ 1143000 w 1333500"/>
                <a:gd name="connsiteY1" fmla="*/ 240983 h 1714500"/>
                <a:gd name="connsiteX2" fmla="*/ 1145857 w 1333500"/>
                <a:gd name="connsiteY2" fmla="*/ 244792 h 1714500"/>
                <a:gd name="connsiteX3" fmla="*/ 1148715 w 1333500"/>
                <a:gd name="connsiteY3" fmla="*/ 245745 h 1714500"/>
                <a:gd name="connsiteX4" fmla="*/ 1150620 w 1333500"/>
                <a:gd name="connsiteY4" fmla="*/ 244792 h 1714500"/>
                <a:gd name="connsiteX5" fmla="*/ 1155382 w 1333500"/>
                <a:gd name="connsiteY5" fmla="*/ 241935 h 1714500"/>
                <a:gd name="connsiteX6" fmla="*/ 1157288 w 1333500"/>
                <a:gd name="connsiteY6" fmla="*/ 240983 h 1714500"/>
                <a:gd name="connsiteX7" fmla="*/ 1159192 w 1333500"/>
                <a:gd name="connsiteY7" fmla="*/ 243840 h 1714500"/>
                <a:gd name="connsiteX8" fmla="*/ 1159192 w 1333500"/>
                <a:gd name="connsiteY8" fmla="*/ 245745 h 1714500"/>
                <a:gd name="connsiteX9" fmla="*/ 1160145 w 1333500"/>
                <a:gd name="connsiteY9" fmla="*/ 252413 h 1714500"/>
                <a:gd name="connsiteX10" fmla="*/ 1158240 w 1333500"/>
                <a:gd name="connsiteY10" fmla="*/ 283845 h 1714500"/>
                <a:gd name="connsiteX11" fmla="*/ 1157288 w 1333500"/>
                <a:gd name="connsiteY11" fmla="*/ 293370 h 1714500"/>
                <a:gd name="connsiteX12" fmla="*/ 1156335 w 1333500"/>
                <a:gd name="connsiteY12" fmla="*/ 300038 h 1714500"/>
                <a:gd name="connsiteX13" fmla="*/ 1150620 w 1333500"/>
                <a:gd name="connsiteY13" fmla="*/ 311467 h 1714500"/>
                <a:gd name="connsiteX14" fmla="*/ 1143953 w 1333500"/>
                <a:gd name="connsiteY14" fmla="*/ 320040 h 1714500"/>
                <a:gd name="connsiteX15" fmla="*/ 1137285 w 1333500"/>
                <a:gd name="connsiteY15" fmla="*/ 326708 h 1714500"/>
                <a:gd name="connsiteX16" fmla="*/ 1121092 w 1333500"/>
                <a:gd name="connsiteY16" fmla="*/ 339090 h 1714500"/>
                <a:gd name="connsiteX17" fmla="*/ 1111567 w 1333500"/>
                <a:gd name="connsiteY17" fmla="*/ 344805 h 1714500"/>
                <a:gd name="connsiteX18" fmla="*/ 1105853 w 1333500"/>
                <a:gd name="connsiteY18" fmla="*/ 345758 h 1714500"/>
                <a:gd name="connsiteX19" fmla="*/ 1099185 w 1333500"/>
                <a:gd name="connsiteY19" fmla="*/ 346710 h 1714500"/>
                <a:gd name="connsiteX20" fmla="*/ 1096328 w 1333500"/>
                <a:gd name="connsiteY20" fmla="*/ 347663 h 1714500"/>
                <a:gd name="connsiteX21" fmla="*/ 1096328 w 1333500"/>
                <a:gd name="connsiteY21" fmla="*/ 351473 h 1714500"/>
                <a:gd name="connsiteX22" fmla="*/ 1105853 w 1333500"/>
                <a:gd name="connsiteY22" fmla="*/ 387667 h 1714500"/>
                <a:gd name="connsiteX23" fmla="*/ 1111567 w 1333500"/>
                <a:gd name="connsiteY23" fmla="*/ 431483 h 1714500"/>
                <a:gd name="connsiteX24" fmla="*/ 1114425 w 1333500"/>
                <a:gd name="connsiteY24" fmla="*/ 442913 h 1714500"/>
                <a:gd name="connsiteX25" fmla="*/ 1116330 w 1333500"/>
                <a:gd name="connsiteY25" fmla="*/ 448628 h 1714500"/>
                <a:gd name="connsiteX26" fmla="*/ 1118235 w 1333500"/>
                <a:gd name="connsiteY26" fmla="*/ 452438 h 1714500"/>
                <a:gd name="connsiteX27" fmla="*/ 1120140 w 1333500"/>
                <a:gd name="connsiteY27" fmla="*/ 451485 h 1714500"/>
                <a:gd name="connsiteX28" fmla="*/ 1121092 w 1333500"/>
                <a:gd name="connsiteY28" fmla="*/ 449580 h 1714500"/>
                <a:gd name="connsiteX29" fmla="*/ 1132523 w 1333500"/>
                <a:gd name="connsiteY29" fmla="*/ 431483 h 1714500"/>
                <a:gd name="connsiteX30" fmla="*/ 1133475 w 1333500"/>
                <a:gd name="connsiteY30" fmla="*/ 429578 h 1714500"/>
                <a:gd name="connsiteX31" fmla="*/ 1136332 w 1333500"/>
                <a:gd name="connsiteY31" fmla="*/ 429578 h 1714500"/>
                <a:gd name="connsiteX32" fmla="*/ 1139190 w 1333500"/>
                <a:gd name="connsiteY32" fmla="*/ 429578 h 1714500"/>
                <a:gd name="connsiteX33" fmla="*/ 1144905 w 1333500"/>
                <a:gd name="connsiteY33" fmla="*/ 431483 h 1714500"/>
                <a:gd name="connsiteX34" fmla="*/ 1154430 w 1333500"/>
                <a:gd name="connsiteY34" fmla="*/ 438150 h 1714500"/>
                <a:gd name="connsiteX35" fmla="*/ 1170623 w 1333500"/>
                <a:gd name="connsiteY35" fmla="*/ 453390 h 1714500"/>
                <a:gd name="connsiteX36" fmla="*/ 1173480 w 1333500"/>
                <a:gd name="connsiteY36" fmla="*/ 457200 h 1714500"/>
                <a:gd name="connsiteX37" fmla="*/ 1175385 w 1333500"/>
                <a:gd name="connsiteY37" fmla="*/ 460058 h 1714500"/>
                <a:gd name="connsiteX38" fmla="*/ 1177290 w 1333500"/>
                <a:gd name="connsiteY38" fmla="*/ 464820 h 1714500"/>
                <a:gd name="connsiteX39" fmla="*/ 1178242 w 1333500"/>
                <a:gd name="connsiteY39" fmla="*/ 470535 h 1714500"/>
                <a:gd name="connsiteX40" fmla="*/ 1179195 w 1333500"/>
                <a:gd name="connsiteY40" fmla="*/ 473392 h 1714500"/>
                <a:gd name="connsiteX41" fmla="*/ 1182053 w 1333500"/>
                <a:gd name="connsiteY41" fmla="*/ 475298 h 1714500"/>
                <a:gd name="connsiteX42" fmla="*/ 1183957 w 1333500"/>
                <a:gd name="connsiteY42" fmla="*/ 477203 h 1714500"/>
                <a:gd name="connsiteX43" fmla="*/ 1197292 w 1333500"/>
                <a:gd name="connsiteY43" fmla="*/ 481013 h 1714500"/>
                <a:gd name="connsiteX44" fmla="*/ 1202055 w 1333500"/>
                <a:gd name="connsiteY44" fmla="*/ 483870 h 1714500"/>
                <a:gd name="connsiteX45" fmla="*/ 1203960 w 1333500"/>
                <a:gd name="connsiteY45" fmla="*/ 485775 h 1714500"/>
                <a:gd name="connsiteX46" fmla="*/ 1207770 w 1333500"/>
                <a:gd name="connsiteY46" fmla="*/ 489585 h 1714500"/>
                <a:gd name="connsiteX47" fmla="*/ 1210628 w 1333500"/>
                <a:gd name="connsiteY47" fmla="*/ 495300 h 1714500"/>
                <a:gd name="connsiteX48" fmla="*/ 1211580 w 1333500"/>
                <a:gd name="connsiteY48" fmla="*/ 497205 h 1714500"/>
                <a:gd name="connsiteX49" fmla="*/ 1211580 w 1333500"/>
                <a:gd name="connsiteY49" fmla="*/ 501015 h 1714500"/>
                <a:gd name="connsiteX50" fmla="*/ 1211580 w 1333500"/>
                <a:gd name="connsiteY50" fmla="*/ 504825 h 1714500"/>
                <a:gd name="connsiteX51" fmla="*/ 1208723 w 1333500"/>
                <a:gd name="connsiteY51" fmla="*/ 510540 h 1714500"/>
                <a:gd name="connsiteX52" fmla="*/ 1202055 w 1333500"/>
                <a:gd name="connsiteY52" fmla="*/ 521017 h 1714500"/>
                <a:gd name="connsiteX53" fmla="*/ 1199198 w 1333500"/>
                <a:gd name="connsiteY53" fmla="*/ 526733 h 1714500"/>
                <a:gd name="connsiteX54" fmla="*/ 1198245 w 1333500"/>
                <a:gd name="connsiteY54" fmla="*/ 530543 h 1714500"/>
                <a:gd name="connsiteX55" fmla="*/ 1197292 w 1333500"/>
                <a:gd name="connsiteY55" fmla="*/ 540068 h 1714500"/>
                <a:gd name="connsiteX56" fmla="*/ 1197292 w 1333500"/>
                <a:gd name="connsiteY56" fmla="*/ 545783 h 1714500"/>
                <a:gd name="connsiteX57" fmla="*/ 1199198 w 1333500"/>
                <a:gd name="connsiteY57" fmla="*/ 564833 h 1714500"/>
                <a:gd name="connsiteX58" fmla="*/ 1199198 w 1333500"/>
                <a:gd name="connsiteY58" fmla="*/ 570548 h 1714500"/>
                <a:gd name="connsiteX59" fmla="*/ 1197292 w 1333500"/>
                <a:gd name="connsiteY59" fmla="*/ 576263 h 1714500"/>
                <a:gd name="connsiteX60" fmla="*/ 1194435 w 1333500"/>
                <a:gd name="connsiteY60" fmla="*/ 576263 h 1714500"/>
                <a:gd name="connsiteX61" fmla="*/ 1192530 w 1333500"/>
                <a:gd name="connsiteY61" fmla="*/ 575310 h 1714500"/>
                <a:gd name="connsiteX62" fmla="*/ 1185863 w 1333500"/>
                <a:gd name="connsiteY62" fmla="*/ 569595 h 1714500"/>
                <a:gd name="connsiteX63" fmla="*/ 1183005 w 1333500"/>
                <a:gd name="connsiteY63" fmla="*/ 568643 h 1714500"/>
                <a:gd name="connsiteX64" fmla="*/ 1180148 w 1333500"/>
                <a:gd name="connsiteY64" fmla="*/ 567690 h 1714500"/>
                <a:gd name="connsiteX65" fmla="*/ 1163003 w 1333500"/>
                <a:gd name="connsiteY65" fmla="*/ 567690 h 1714500"/>
                <a:gd name="connsiteX66" fmla="*/ 1161098 w 1333500"/>
                <a:gd name="connsiteY66" fmla="*/ 570548 h 1714500"/>
                <a:gd name="connsiteX67" fmla="*/ 1160145 w 1333500"/>
                <a:gd name="connsiteY67" fmla="*/ 575310 h 1714500"/>
                <a:gd name="connsiteX68" fmla="*/ 1163003 w 1333500"/>
                <a:gd name="connsiteY68" fmla="*/ 586740 h 1714500"/>
                <a:gd name="connsiteX69" fmla="*/ 1165860 w 1333500"/>
                <a:gd name="connsiteY69" fmla="*/ 591503 h 1714500"/>
                <a:gd name="connsiteX70" fmla="*/ 1168717 w 1333500"/>
                <a:gd name="connsiteY70" fmla="*/ 593408 h 1714500"/>
                <a:gd name="connsiteX71" fmla="*/ 1171575 w 1333500"/>
                <a:gd name="connsiteY71" fmla="*/ 593408 h 1714500"/>
                <a:gd name="connsiteX72" fmla="*/ 1174432 w 1333500"/>
                <a:gd name="connsiteY72" fmla="*/ 594360 h 1714500"/>
                <a:gd name="connsiteX73" fmla="*/ 1176338 w 1333500"/>
                <a:gd name="connsiteY73" fmla="*/ 596265 h 1714500"/>
                <a:gd name="connsiteX74" fmla="*/ 1205865 w 1333500"/>
                <a:gd name="connsiteY74" fmla="*/ 642938 h 1714500"/>
                <a:gd name="connsiteX75" fmla="*/ 1218248 w 1333500"/>
                <a:gd name="connsiteY75" fmla="*/ 657225 h 1714500"/>
                <a:gd name="connsiteX76" fmla="*/ 1219200 w 1333500"/>
                <a:gd name="connsiteY76" fmla="*/ 659130 h 1714500"/>
                <a:gd name="connsiteX77" fmla="*/ 1220153 w 1333500"/>
                <a:gd name="connsiteY77" fmla="*/ 662940 h 1714500"/>
                <a:gd name="connsiteX78" fmla="*/ 1221105 w 1333500"/>
                <a:gd name="connsiteY78" fmla="*/ 668655 h 1714500"/>
                <a:gd name="connsiteX79" fmla="*/ 1210628 w 1333500"/>
                <a:gd name="connsiteY79" fmla="*/ 727710 h 1714500"/>
                <a:gd name="connsiteX80" fmla="*/ 1210628 w 1333500"/>
                <a:gd name="connsiteY80" fmla="*/ 730568 h 1714500"/>
                <a:gd name="connsiteX81" fmla="*/ 1211580 w 1333500"/>
                <a:gd name="connsiteY81" fmla="*/ 734378 h 1714500"/>
                <a:gd name="connsiteX82" fmla="*/ 1214438 w 1333500"/>
                <a:gd name="connsiteY82" fmla="*/ 736283 h 1714500"/>
                <a:gd name="connsiteX83" fmla="*/ 1216342 w 1333500"/>
                <a:gd name="connsiteY83" fmla="*/ 736283 h 1714500"/>
                <a:gd name="connsiteX84" fmla="*/ 1236345 w 1333500"/>
                <a:gd name="connsiteY84" fmla="*/ 734378 h 1714500"/>
                <a:gd name="connsiteX85" fmla="*/ 1243013 w 1333500"/>
                <a:gd name="connsiteY85" fmla="*/ 735330 h 1714500"/>
                <a:gd name="connsiteX86" fmla="*/ 1248728 w 1333500"/>
                <a:gd name="connsiteY86" fmla="*/ 737235 h 1714500"/>
                <a:gd name="connsiteX87" fmla="*/ 1252538 w 1333500"/>
                <a:gd name="connsiteY87" fmla="*/ 741045 h 1714500"/>
                <a:gd name="connsiteX88" fmla="*/ 1254442 w 1333500"/>
                <a:gd name="connsiteY88" fmla="*/ 743903 h 1714500"/>
                <a:gd name="connsiteX89" fmla="*/ 1256348 w 1333500"/>
                <a:gd name="connsiteY89" fmla="*/ 751522 h 1714500"/>
                <a:gd name="connsiteX90" fmla="*/ 1258253 w 1333500"/>
                <a:gd name="connsiteY90" fmla="*/ 763905 h 1714500"/>
                <a:gd name="connsiteX91" fmla="*/ 1265873 w 1333500"/>
                <a:gd name="connsiteY91" fmla="*/ 792480 h 1714500"/>
                <a:gd name="connsiteX92" fmla="*/ 1265873 w 1333500"/>
                <a:gd name="connsiteY92" fmla="*/ 796290 h 1714500"/>
                <a:gd name="connsiteX93" fmla="*/ 1264920 w 1333500"/>
                <a:gd name="connsiteY93" fmla="*/ 801053 h 1714500"/>
                <a:gd name="connsiteX94" fmla="*/ 1262063 w 1333500"/>
                <a:gd name="connsiteY94" fmla="*/ 808672 h 1714500"/>
                <a:gd name="connsiteX95" fmla="*/ 1259205 w 1333500"/>
                <a:gd name="connsiteY95" fmla="*/ 812483 h 1714500"/>
                <a:gd name="connsiteX96" fmla="*/ 1256348 w 1333500"/>
                <a:gd name="connsiteY96" fmla="*/ 815340 h 1714500"/>
                <a:gd name="connsiteX97" fmla="*/ 1240155 w 1333500"/>
                <a:gd name="connsiteY97" fmla="*/ 823913 h 1714500"/>
                <a:gd name="connsiteX98" fmla="*/ 1236345 w 1333500"/>
                <a:gd name="connsiteY98" fmla="*/ 828675 h 1714500"/>
                <a:gd name="connsiteX99" fmla="*/ 1231582 w 1333500"/>
                <a:gd name="connsiteY99" fmla="*/ 840105 h 1714500"/>
                <a:gd name="connsiteX100" fmla="*/ 1217295 w 1333500"/>
                <a:gd name="connsiteY100" fmla="*/ 862965 h 1714500"/>
                <a:gd name="connsiteX101" fmla="*/ 1211580 w 1333500"/>
                <a:gd name="connsiteY101" fmla="*/ 871538 h 1714500"/>
                <a:gd name="connsiteX102" fmla="*/ 1206817 w 1333500"/>
                <a:gd name="connsiteY102" fmla="*/ 882968 h 1714500"/>
                <a:gd name="connsiteX103" fmla="*/ 1205865 w 1333500"/>
                <a:gd name="connsiteY103" fmla="*/ 886778 h 1714500"/>
                <a:gd name="connsiteX104" fmla="*/ 1205865 w 1333500"/>
                <a:gd name="connsiteY104" fmla="*/ 889635 h 1714500"/>
                <a:gd name="connsiteX105" fmla="*/ 1208723 w 1333500"/>
                <a:gd name="connsiteY105" fmla="*/ 894397 h 1714500"/>
                <a:gd name="connsiteX106" fmla="*/ 1212532 w 1333500"/>
                <a:gd name="connsiteY106" fmla="*/ 899160 h 1714500"/>
                <a:gd name="connsiteX107" fmla="*/ 1222057 w 1333500"/>
                <a:gd name="connsiteY107" fmla="*/ 905828 h 1714500"/>
                <a:gd name="connsiteX108" fmla="*/ 1223010 w 1333500"/>
                <a:gd name="connsiteY108" fmla="*/ 908685 h 1714500"/>
                <a:gd name="connsiteX109" fmla="*/ 1223963 w 1333500"/>
                <a:gd name="connsiteY109" fmla="*/ 911543 h 1714500"/>
                <a:gd name="connsiteX110" fmla="*/ 1221105 w 1333500"/>
                <a:gd name="connsiteY110" fmla="*/ 921068 h 1714500"/>
                <a:gd name="connsiteX111" fmla="*/ 1216342 w 1333500"/>
                <a:gd name="connsiteY111" fmla="*/ 936308 h 1714500"/>
                <a:gd name="connsiteX112" fmla="*/ 1213485 w 1333500"/>
                <a:gd name="connsiteY112" fmla="*/ 941070 h 1714500"/>
                <a:gd name="connsiteX113" fmla="*/ 1210628 w 1333500"/>
                <a:gd name="connsiteY113" fmla="*/ 942022 h 1714500"/>
                <a:gd name="connsiteX114" fmla="*/ 1204913 w 1333500"/>
                <a:gd name="connsiteY114" fmla="*/ 942975 h 1714500"/>
                <a:gd name="connsiteX115" fmla="*/ 1203007 w 1333500"/>
                <a:gd name="connsiteY115" fmla="*/ 944880 h 1714500"/>
                <a:gd name="connsiteX116" fmla="*/ 1203007 w 1333500"/>
                <a:gd name="connsiteY116" fmla="*/ 948690 h 1714500"/>
                <a:gd name="connsiteX117" fmla="*/ 1204913 w 1333500"/>
                <a:gd name="connsiteY117" fmla="*/ 955358 h 1714500"/>
                <a:gd name="connsiteX118" fmla="*/ 1207770 w 1333500"/>
                <a:gd name="connsiteY118" fmla="*/ 958215 h 1714500"/>
                <a:gd name="connsiteX119" fmla="*/ 1213485 w 1333500"/>
                <a:gd name="connsiteY119" fmla="*/ 961072 h 1714500"/>
                <a:gd name="connsiteX120" fmla="*/ 1216342 w 1333500"/>
                <a:gd name="connsiteY120" fmla="*/ 965835 h 1714500"/>
                <a:gd name="connsiteX121" fmla="*/ 1217295 w 1333500"/>
                <a:gd name="connsiteY121" fmla="*/ 967740 h 1714500"/>
                <a:gd name="connsiteX122" fmla="*/ 1216342 w 1333500"/>
                <a:gd name="connsiteY122" fmla="*/ 974408 h 1714500"/>
                <a:gd name="connsiteX123" fmla="*/ 1211580 w 1333500"/>
                <a:gd name="connsiteY123" fmla="*/ 990600 h 1714500"/>
                <a:gd name="connsiteX124" fmla="*/ 1208723 w 1333500"/>
                <a:gd name="connsiteY124" fmla="*/ 996315 h 1714500"/>
                <a:gd name="connsiteX125" fmla="*/ 1206817 w 1333500"/>
                <a:gd name="connsiteY125" fmla="*/ 998220 h 1714500"/>
                <a:gd name="connsiteX126" fmla="*/ 1204913 w 1333500"/>
                <a:gd name="connsiteY126" fmla="*/ 999172 h 1714500"/>
                <a:gd name="connsiteX127" fmla="*/ 1202055 w 1333500"/>
                <a:gd name="connsiteY127" fmla="*/ 999172 h 1714500"/>
                <a:gd name="connsiteX128" fmla="*/ 1192530 w 1333500"/>
                <a:gd name="connsiteY128" fmla="*/ 997268 h 1714500"/>
                <a:gd name="connsiteX129" fmla="*/ 1189673 w 1333500"/>
                <a:gd name="connsiteY129" fmla="*/ 997268 h 1714500"/>
                <a:gd name="connsiteX130" fmla="*/ 1187767 w 1333500"/>
                <a:gd name="connsiteY130" fmla="*/ 998220 h 1714500"/>
                <a:gd name="connsiteX131" fmla="*/ 1186815 w 1333500"/>
                <a:gd name="connsiteY131" fmla="*/ 1001078 h 1714500"/>
                <a:gd name="connsiteX132" fmla="*/ 1186815 w 1333500"/>
                <a:gd name="connsiteY132" fmla="*/ 1003935 h 1714500"/>
                <a:gd name="connsiteX133" fmla="*/ 1188720 w 1333500"/>
                <a:gd name="connsiteY133" fmla="*/ 1006793 h 1714500"/>
                <a:gd name="connsiteX134" fmla="*/ 1197292 w 1333500"/>
                <a:gd name="connsiteY134" fmla="*/ 1011555 h 1714500"/>
                <a:gd name="connsiteX135" fmla="*/ 1199198 w 1333500"/>
                <a:gd name="connsiteY135" fmla="*/ 1013460 h 1714500"/>
                <a:gd name="connsiteX136" fmla="*/ 1199198 w 1333500"/>
                <a:gd name="connsiteY136" fmla="*/ 1016318 h 1714500"/>
                <a:gd name="connsiteX137" fmla="*/ 1196340 w 1333500"/>
                <a:gd name="connsiteY137" fmla="*/ 1022033 h 1714500"/>
                <a:gd name="connsiteX138" fmla="*/ 1193482 w 1333500"/>
                <a:gd name="connsiteY138" fmla="*/ 1023938 h 1714500"/>
                <a:gd name="connsiteX139" fmla="*/ 1190625 w 1333500"/>
                <a:gd name="connsiteY139" fmla="*/ 1024890 h 1714500"/>
                <a:gd name="connsiteX140" fmla="*/ 1179195 w 1333500"/>
                <a:gd name="connsiteY140" fmla="*/ 1025843 h 1714500"/>
                <a:gd name="connsiteX141" fmla="*/ 1177290 w 1333500"/>
                <a:gd name="connsiteY141" fmla="*/ 1028700 h 1714500"/>
                <a:gd name="connsiteX142" fmla="*/ 1178242 w 1333500"/>
                <a:gd name="connsiteY142" fmla="*/ 1032510 h 1714500"/>
                <a:gd name="connsiteX143" fmla="*/ 1181100 w 1333500"/>
                <a:gd name="connsiteY143" fmla="*/ 1038225 h 1714500"/>
                <a:gd name="connsiteX144" fmla="*/ 1184910 w 1333500"/>
                <a:gd name="connsiteY144" fmla="*/ 1041083 h 1714500"/>
                <a:gd name="connsiteX145" fmla="*/ 1187767 w 1333500"/>
                <a:gd name="connsiteY145" fmla="*/ 1041083 h 1714500"/>
                <a:gd name="connsiteX146" fmla="*/ 1190625 w 1333500"/>
                <a:gd name="connsiteY146" fmla="*/ 1040130 h 1714500"/>
                <a:gd name="connsiteX147" fmla="*/ 1210628 w 1333500"/>
                <a:gd name="connsiteY147" fmla="*/ 1031558 h 1714500"/>
                <a:gd name="connsiteX148" fmla="*/ 1213485 w 1333500"/>
                <a:gd name="connsiteY148" fmla="*/ 1031558 h 1714500"/>
                <a:gd name="connsiteX149" fmla="*/ 1236345 w 1333500"/>
                <a:gd name="connsiteY149" fmla="*/ 1030605 h 1714500"/>
                <a:gd name="connsiteX150" fmla="*/ 1239203 w 1333500"/>
                <a:gd name="connsiteY150" fmla="*/ 1031558 h 1714500"/>
                <a:gd name="connsiteX151" fmla="*/ 1242060 w 1333500"/>
                <a:gd name="connsiteY151" fmla="*/ 1032510 h 1714500"/>
                <a:gd name="connsiteX152" fmla="*/ 1245870 w 1333500"/>
                <a:gd name="connsiteY152" fmla="*/ 1036320 h 1714500"/>
                <a:gd name="connsiteX153" fmla="*/ 1252538 w 1333500"/>
                <a:gd name="connsiteY153" fmla="*/ 1044893 h 1714500"/>
                <a:gd name="connsiteX154" fmla="*/ 1258253 w 1333500"/>
                <a:gd name="connsiteY154" fmla="*/ 1053465 h 1714500"/>
                <a:gd name="connsiteX155" fmla="*/ 1260157 w 1333500"/>
                <a:gd name="connsiteY155" fmla="*/ 1057275 h 1714500"/>
                <a:gd name="connsiteX156" fmla="*/ 1263015 w 1333500"/>
                <a:gd name="connsiteY156" fmla="*/ 1080135 h 1714500"/>
                <a:gd name="connsiteX157" fmla="*/ 1269682 w 1333500"/>
                <a:gd name="connsiteY157" fmla="*/ 1098233 h 1714500"/>
                <a:gd name="connsiteX158" fmla="*/ 1271588 w 1333500"/>
                <a:gd name="connsiteY158" fmla="*/ 1110615 h 1714500"/>
                <a:gd name="connsiteX159" fmla="*/ 1274445 w 1333500"/>
                <a:gd name="connsiteY159" fmla="*/ 1115378 h 1714500"/>
                <a:gd name="connsiteX160" fmla="*/ 1276350 w 1333500"/>
                <a:gd name="connsiteY160" fmla="*/ 1117283 h 1714500"/>
                <a:gd name="connsiteX161" fmla="*/ 1283017 w 1333500"/>
                <a:gd name="connsiteY161" fmla="*/ 1117283 h 1714500"/>
                <a:gd name="connsiteX162" fmla="*/ 1289685 w 1333500"/>
                <a:gd name="connsiteY162" fmla="*/ 1118235 h 1714500"/>
                <a:gd name="connsiteX163" fmla="*/ 1291590 w 1333500"/>
                <a:gd name="connsiteY163" fmla="*/ 1120140 h 1714500"/>
                <a:gd name="connsiteX164" fmla="*/ 1295400 w 1333500"/>
                <a:gd name="connsiteY164" fmla="*/ 1124903 h 1714500"/>
                <a:gd name="connsiteX165" fmla="*/ 1301115 w 1333500"/>
                <a:gd name="connsiteY165" fmla="*/ 1140143 h 1714500"/>
                <a:gd name="connsiteX166" fmla="*/ 1305878 w 1333500"/>
                <a:gd name="connsiteY166" fmla="*/ 1148715 h 1714500"/>
                <a:gd name="connsiteX167" fmla="*/ 1309688 w 1333500"/>
                <a:gd name="connsiteY167" fmla="*/ 1152525 h 1714500"/>
                <a:gd name="connsiteX168" fmla="*/ 1311592 w 1333500"/>
                <a:gd name="connsiteY168" fmla="*/ 1153478 h 1714500"/>
                <a:gd name="connsiteX169" fmla="*/ 1318260 w 1333500"/>
                <a:gd name="connsiteY169" fmla="*/ 1156335 h 1714500"/>
                <a:gd name="connsiteX170" fmla="*/ 1320165 w 1333500"/>
                <a:gd name="connsiteY170" fmla="*/ 1160145 h 1714500"/>
                <a:gd name="connsiteX171" fmla="*/ 1320165 w 1333500"/>
                <a:gd name="connsiteY171" fmla="*/ 1167765 h 1714500"/>
                <a:gd name="connsiteX172" fmla="*/ 1317307 w 1333500"/>
                <a:gd name="connsiteY172" fmla="*/ 1200150 h 1714500"/>
                <a:gd name="connsiteX173" fmla="*/ 1318260 w 1333500"/>
                <a:gd name="connsiteY173" fmla="*/ 1209675 h 1714500"/>
                <a:gd name="connsiteX174" fmla="*/ 1317307 w 1333500"/>
                <a:gd name="connsiteY174" fmla="*/ 1227773 h 1714500"/>
                <a:gd name="connsiteX175" fmla="*/ 1318260 w 1333500"/>
                <a:gd name="connsiteY175" fmla="*/ 1230630 h 1714500"/>
                <a:gd name="connsiteX176" fmla="*/ 1320165 w 1333500"/>
                <a:gd name="connsiteY176" fmla="*/ 1235393 h 1714500"/>
                <a:gd name="connsiteX177" fmla="*/ 1321117 w 1333500"/>
                <a:gd name="connsiteY177" fmla="*/ 1238250 h 1714500"/>
                <a:gd name="connsiteX178" fmla="*/ 1324928 w 1333500"/>
                <a:gd name="connsiteY178" fmla="*/ 1241108 h 1714500"/>
                <a:gd name="connsiteX179" fmla="*/ 1332548 w 1333500"/>
                <a:gd name="connsiteY179" fmla="*/ 1245870 h 1714500"/>
                <a:gd name="connsiteX180" fmla="*/ 1334453 w 1333500"/>
                <a:gd name="connsiteY180" fmla="*/ 1247775 h 1714500"/>
                <a:gd name="connsiteX181" fmla="*/ 1336357 w 1333500"/>
                <a:gd name="connsiteY181" fmla="*/ 1251585 h 1714500"/>
                <a:gd name="connsiteX182" fmla="*/ 1336357 w 1333500"/>
                <a:gd name="connsiteY182" fmla="*/ 1257300 h 1714500"/>
                <a:gd name="connsiteX183" fmla="*/ 1336357 w 1333500"/>
                <a:gd name="connsiteY183" fmla="*/ 1267778 h 1714500"/>
                <a:gd name="connsiteX184" fmla="*/ 1339215 w 1333500"/>
                <a:gd name="connsiteY184" fmla="*/ 1272540 h 1714500"/>
                <a:gd name="connsiteX185" fmla="*/ 1340167 w 1333500"/>
                <a:gd name="connsiteY185" fmla="*/ 1276350 h 1714500"/>
                <a:gd name="connsiteX186" fmla="*/ 1340167 w 1333500"/>
                <a:gd name="connsiteY186" fmla="*/ 1280160 h 1714500"/>
                <a:gd name="connsiteX187" fmla="*/ 1336357 w 1333500"/>
                <a:gd name="connsiteY187" fmla="*/ 1288733 h 1714500"/>
                <a:gd name="connsiteX188" fmla="*/ 1332548 w 1333500"/>
                <a:gd name="connsiteY188" fmla="*/ 1292543 h 1714500"/>
                <a:gd name="connsiteX189" fmla="*/ 1328738 w 1333500"/>
                <a:gd name="connsiteY189" fmla="*/ 1294448 h 1714500"/>
                <a:gd name="connsiteX190" fmla="*/ 1311592 w 1333500"/>
                <a:gd name="connsiteY190" fmla="*/ 1299210 h 1714500"/>
                <a:gd name="connsiteX191" fmla="*/ 1308735 w 1333500"/>
                <a:gd name="connsiteY191" fmla="*/ 1300163 h 1714500"/>
                <a:gd name="connsiteX192" fmla="*/ 1306830 w 1333500"/>
                <a:gd name="connsiteY192" fmla="*/ 1303020 h 1714500"/>
                <a:gd name="connsiteX193" fmla="*/ 1305878 w 1333500"/>
                <a:gd name="connsiteY193" fmla="*/ 1306830 h 1714500"/>
                <a:gd name="connsiteX194" fmla="*/ 1305878 w 1333500"/>
                <a:gd name="connsiteY194" fmla="*/ 1311593 h 1714500"/>
                <a:gd name="connsiteX195" fmla="*/ 1306830 w 1333500"/>
                <a:gd name="connsiteY195" fmla="*/ 1319213 h 1714500"/>
                <a:gd name="connsiteX196" fmla="*/ 1314450 w 1333500"/>
                <a:gd name="connsiteY196" fmla="*/ 1349693 h 1714500"/>
                <a:gd name="connsiteX197" fmla="*/ 1312545 w 1333500"/>
                <a:gd name="connsiteY197" fmla="*/ 1354455 h 1714500"/>
                <a:gd name="connsiteX198" fmla="*/ 1309688 w 1333500"/>
                <a:gd name="connsiteY198" fmla="*/ 1358265 h 1714500"/>
                <a:gd name="connsiteX199" fmla="*/ 1307782 w 1333500"/>
                <a:gd name="connsiteY199" fmla="*/ 1361123 h 1714500"/>
                <a:gd name="connsiteX200" fmla="*/ 1307782 w 1333500"/>
                <a:gd name="connsiteY200" fmla="*/ 1366838 h 1714500"/>
                <a:gd name="connsiteX201" fmla="*/ 1309688 w 1333500"/>
                <a:gd name="connsiteY201" fmla="*/ 1373505 h 1714500"/>
                <a:gd name="connsiteX202" fmla="*/ 1340167 w 1333500"/>
                <a:gd name="connsiteY202" fmla="*/ 1423035 h 1714500"/>
                <a:gd name="connsiteX203" fmla="*/ 1341120 w 1333500"/>
                <a:gd name="connsiteY203" fmla="*/ 1428750 h 1714500"/>
                <a:gd name="connsiteX204" fmla="*/ 1340167 w 1333500"/>
                <a:gd name="connsiteY204" fmla="*/ 1433513 h 1714500"/>
                <a:gd name="connsiteX205" fmla="*/ 1337310 w 1333500"/>
                <a:gd name="connsiteY205" fmla="*/ 1438275 h 1714500"/>
                <a:gd name="connsiteX206" fmla="*/ 1324928 w 1333500"/>
                <a:gd name="connsiteY206" fmla="*/ 1451610 h 1714500"/>
                <a:gd name="connsiteX207" fmla="*/ 1321117 w 1333500"/>
                <a:gd name="connsiteY207" fmla="*/ 1454468 h 1714500"/>
                <a:gd name="connsiteX208" fmla="*/ 1306830 w 1333500"/>
                <a:gd name="connsiteY208" fmla="*/ 1462088 h 1714500"/>
                <a:gd name="connsiteX209" fmla="*/ 1304925 w 1333500"/>
                <a:gd name="connsiteY209" fmla="*/ 1463993 h 1714500"/>
                <a:gd name="connsiteX210" fmla="*/ 1302067 w 1333500"/>
                <a:gd name="connsiteY210" fmla="*/ 1467803 h 1714500"/>
                <a:gd name="connsiteX211" fmla="*/ 1298257 w 1333500"/>
                <a:gd name="connsiteY211" fmla="*/ 1476375 h 1714500"/>
                <a:gd name="connsiteX212" fmla="*/ 1289685 w 1333500"/>
                <a:gd name="connsiteY212" fmla="*/ 1487805 h 1714500"/>
                <a:gd name="connsiteX213" fmla="*/ 1285875 w 1333500"/>
                <a:gd name="connsiteY213" fmla="*/ 1491615 h 1714500"/>
                <a:gd name="connsiteX214" fmla="*/ 1283017 w 1333500"/>
                <a:gd name="connsiteY214" fmla="*/ 1493520 h 1714500"/>
                <a:gd name="connsiteX215" fmla="*/ 1275398 w 1333500"/>
                <a:gd name="connsiteY215" fmla="*/ 1496378 h 1714500"/>
                <a:gd name="connsiteX216" fmla="*/ 1272540 w 1333500"/>
                <a:gd name="connsiteY216" fmla="*/ 1497330 h 1714500"/>
                <a:gd name="connsiteX217" fmla="*/ 1266825 w 1333500"/>
                <a:gd name="connsiteY217" fmla="*/ 1503998 h 1714500"/>
                <a:gd name="connsiteX218" fmla="*/ 1263015 w 1333500"/>
                <a:gd name="connsiteY218" fmla="*/ 1506855 h 1714500"/>
                <a:gd name="connsiteX219" fmla="*/ 1245870 w 1333500"/>
                <a:gd name="connsiteY219" fmla="*/ 1514475 h 1714500"/>
                <a:gd name="connsiteX220" fmla="*/ 1226820 w 1333500"/>
                <a:gd name="connsiteY220" fmla="*/ 1528763 h 1714500"/>
                <a:gd name="connsiteX221" fmla="*/ 1222057 w 1333500"/>
                <a:gd name="connsiteY221" fmla="*/ 1529715 h 1714500"/>
                <a:gd name="connsiteX222" fmla="*/ 1217295 w 1333500"/>
                <a:gd name="connsiteY222" fmla="*/ 1528763 h 1714500"/>
                <a:gd name="connsiteX223" fmla="*/ 1214438 w 1333500"/>
                <a:gd name="connsiteY223" fmla="*/ 1529715 h 1714500"/>
                <a:gd name="connsiteX224" fmla="*/ 1211580 w 1333500"/>
                <a:gd name="connsiteY224" fmla="*/ 1531620 h 1714500"/>
                <a:gd name="connsiteX225" fmla="*/ 1208723 w 1333500"/>
                <a:gd name="connsiteY225" fmla="*/ 1537335 h 1714500"/>
                <a:gd name="connsiteX226" fmla="*/ 1205865 w 1333500"/>
                <a:gd name="connsiteY226" fmla="*/ 1540193 h 1714500"/>
                <a:gd name="connsiteX227" fmla="*/ 1202055 w 1333500"/>
                <a:gd name="connsiteY227" fmla="*/ 1542098 h 1714500"/>
                <a:gd name="connsiteX228" fmla="*/ 1195388 w 1333500"/>
                <a:gd name="connsiteY228" fmla="*/ 1541145 h 1714500"/>
                <a:gd name="connsiteX229" fmla="*/ 1192530 w 1333500"/>
                <a:gd name="connsiteY229" fmla="*/ 1541145 h 1714500"/>
                <a:gd name="connsiteX230" fmla="*/ 1190625 w 1333500"/>
                <a:gd name="connsiteY230" fmla="*/ 1542098 h 1714500"/>
                <a:gd name="connsiteX231" fmla="*/ 1185863 w 1333500"/>
                <a:gd name="connsiteY231" fmla="*/ 1544955 h 1714500"/>
                <a:gd name="connsiteX232" fmla="*/ 1184910 w 1333500"/>
                <a:gd name="connsiteY232" fmla="*/ 1547813 h 1714500"/>
                <a:gd name="connsiteX233" fmla="*/ 1183957 w 1333500"/>
                <a:gd name="connsiteY233" fmla="*/ 1551623 h 1714500"/>
                <a:gd name="connsiteX234" fmla="*/ 1185863 w 1333500"/>
                <a:gd name="connsiteY234" fmla="*/ 1558290 h 1714500"/>
                <a:gd name="connsiteX235" fmla="*/ 1186815 w 1333500"/>
                <a:gd name="connsiteY235" fmla="*/ 1562100 h 1714500"/>
                <a:gd name="connsiteX236" fmla="*/ 1189673 w 1333500"/>
                <a:gd name="connsiteY236" fmla="*/ 1567815 h 1714500"/>
                <a:gd name="connsiteX237" fmla="*/ 1190625 w 1333500"/>
                <a:gd name="connsiteY237" fmla="*/ 1572578 h 1714500"/>
                <a:gd name="connsiteX238" fmla="*/ 1189673 w 1333500"/>
                <a:gd name="connsiteY238" fmla="*/ 1578293 h 1714500"/>
                <a:gd name="connsiteX239" fmla="*/ 1187767 w 1333500"/>
                <a:gd name="connsiteY239" fmla="*/ 1588770 h 1714500"/>
                <a:gd name="connsiteX240" fmla="*/ 1184910 w 1333500"/>
                <a:gd name="connsiteY240" fmla="*/ 1598295 h 1714500"/>
                <a:gd name="connsiteX241" fmla="*/ 1181100 w 1333500"/>
                <a:gd name="connsiteY241" fmla="*/ 1605915 h 1714500"/>
                <a:gd name="connsiteX242" fmla="*/ 1178242 w 1333500"/>
                <a:gd name="connsiteY242" fmla="*/ 1610678 h 1714500"/>
                <a:gd name="connsiteX243" fmla="*/ 1174432 w 1333500"/>
                <a:gd name="connsiteY243" fmla="*/ 1615440 h 1714500"/>
                <a:gd name="connsiteX244" fmla="*/ 1174432 w 1333500"/>
                <a:gd name="connsiteY244" fmla="*/ 1619250 h 1714500"/>
                <a:gd name="connsiteX245" fmla="*/ 1181100 w 1333500"/>
                <a:gd name="connsiteY245" fmla="*/ 1620203 h 1714500"/>
                <a:gd name="connsiteX246" fmla="*/ 1187767 w 1333500"/>
                <a:gd name="connsiteY246" fmla="*/ 1620203 h 1714500"/>
                <a:gd name="connsiteX247" fmla="*/ 1200150 w 1333500"/>
                <a:gd name="connsiteY247" fmla="*/ 1618298 h 1714500"/>
                <a:gd name="connsiteX248" fmla="*/ 1205865 w 1333500"/>
                <a:gd name="connsiteY248" fmla="*/ 1618298 h 1714500"/>
                <a:gd name="connsiteX249" fmla="*/ 1206817 w 1333500"/>
                <a:gd name="connsiteY249" fmla="*/ 1620203 h 1714500"/>
                <a:gd name="connsiteX250" fmla="*/ 1207770 w 1333500"/>
                <a:gd name="connsiteY250" fmla="*/ 1623060 h 1714500"/>
                <a:gd name="connsiteX251" fmla="*/ 1207770 w 1333500"/>
                <a:gd name="connsiteY251" fmla="*/ 1627823 h 1714500"/>
                <a:gd name="connsiteX252" fmla="*/ 1207770 w 1333500"/>
                <a:gd name="connsiteY252" fmla="*/ 1634490 h 1714500"/>
                <a:gd name="connsiteX253" fmla="*/ 1206817 w 1333500"/>
                <a:gd name="connsiteY253" fmla="*/ 1638300 h 1714500"/>
                <a:gd name="connsiteX254" fmla="*/ 1204913 w 1333500"/>
                <a:gd name="connsiteY254" fmla="*/ 1642110 h 1714500"/>
                <a:gd name="connsiteX255" fmla="*/ 1203007 w 1333500"/>
                <a:gd name="connsiteY255" fmla="*/ 1645920 h 1714500"/>
                <a:gd name="connsiteX256" fmla="*/ 1195388 w 1333500"/>
                <a:gd name="connsiteY256" fmla="*/ 1649730 h 1714500"/>
                <a:gd name="connsiteX257" fmla="*/ 1190625 w 1333500"/>
                <a:gd name="connsiteY257" fmla="*/ 1653540 h 1714500"/>
                <a:gd name="connsiteX258" fmla="*/ 1188720 w 1333500"/>
                <a:gd name="connsiteY258" fmla="*/ 1665923 h 1714500"/>
                <a:gd name="connsiteX259" fmla="*/ 1176338 w 1333500"/>
                <a:gd name="connsiteY259" fmla="*/ 1664970 h 1714500"/>
                <a:gd name="connsiteX260" fmla="*/ 1170623 w 1333500"/>
                <a:gd name="connsiteY260" fmla="*/ 1667828 h 1714500"/>
                <a:gd name="connsiteX261" fmla="*/ 1166813 w 1333500"/>
                <a:gd name="connsiteY261" fmla="*/ 1672590 h 1714500"/>
                <a:gd name="connsiteX262" fmla="*/ 1149667 w 1333500"/>
                <a:gd name="connsiteY262" fmla="*/ 1688783 h 1714500"/>
                <a:gd name="connsiteX263" fmla="*/ 1144905 w 1333500"/>
                <a:gd name="connsiteY263" fmla="*/ 1691640 h 1714500"/>
                <a:gd name="connsiteX264" fmla="*/ 1140142 w 1333500"/>
                <a:gd name="connsiteY264" fmla="*/ 1693545 h 1714500"/>
                <a:gd name="connsiteX265" fmla="*/ 1130617 w 1333500"/>
                <a:gd name="connsiteY265" fmla="*/ 1692593 h 1714500"/>
                <a:gd name="connsiteX266" fmla="*/ 1108710 w 1333500"/>
                <a:gd name="connsiteY266" fmla="*/ 1695450 h 1714500"/>
                <a:gd name="connsiteX267" fmla="*/ 1102042 w 1333500"/>
                <a:gd name="connsiteY267" fmla="*/ 1697355 h 1714500"/>
                <a:gd name="connsiteX268" fmla="*/ 1098232 w 1333500"/>
                <a:gd name="connsiteY268" fmla="*/ 1700213 h 1714500"/>
                <a:gd name="connsiteX269" fmla="*/ 1096328 w 1333500"/>
                <a:gd name="connsiteY269" fmla="*/ 1706880 h 1714500"/>
                <a:gd name="connsiteX270" fmla="*/ 1096328 w 1333500"/>
                <a:gd name="connsiteY270" fmla="*/ 1714500 h 1714500"/>
                <a:gd name="connsiteX271" fmla="*/ 1095375 w 1333500"/>
                <a:gd name="connsiteY271" fmla="*/ 1718310 h 1714500"/>
                <a:gd name="connsiteX272" fmla="*/ 1092517 w 1333500"/>
                <a:gd name="connsiteY272" fmla="*/ 1719263 h 1714500"/>
                <a:gd name="connsiteX273" fmla="*/ 1089660 w 1333500"/>
                <a:gd name="connsiteY273" fmla="*/ 1719263 h 1714500"/>
                <a:gd name="connsiteX274" fmla="*/ 1079182 w 1333500"/>
                <a:gd name="connsiteY274" fmla="*/ 1718310 h 1714500"/>
                <a:gd name="connsiteX275" fmla="*/ 1022985 w 1333500"/>
                <a:gd name="connsiteY275" fmla="*/ 1722120 h 1714500"/>
                <a:gd name="connsiteX276" fmla="*/ 985838 w 1333500"/>
                <a:gd name="connsiteY276" fmla="*/ 1715453 h 1714500"/>
                <a:gd name="connsiteX277" fmla="*/ 965835 w 1333500"/>
                <a:gd name="connsiteY277" fmla="*/ 1717358 h 1714500"/>
                <a:gd name="connsiteX278" fmla="*/ 954405 w 1333500"/>
                <a:gd name="connsiteY278" fmla="*/ 1714500 h 1714500"/>
                <a:gd name="connsiteX279" fmla="*/ 949642 w 1333500"/>
                <a:gd name="connsiteY279" fmla="*/ 1712595 h 1714500"/>
                <a:gd name="connsiteX280" fmla="*/ 943928 w 1333500"/>
                <a:gd name="connsiteY280" fmla="*/ 1708785 h 1714500"/>
                <a:gd name="connsiteX281" fmla="*/ 942022 w 1333500"/>
                <a:gd name="connsiteY281" fmla="*/ 1704023 h 1714500"/>
                <a:gd name="connsiteX282" fmla="*/ 942975 w 1333500"/>
                <a:gd name="connsiteY282" fmla="*/ 1701165 h 1714500"/>
                <a:gd name="connsiteX283" fmla="*/ 943928 w 1333500"/>
                <a:gd name="connsiteY283" fmla="*/ 1699260 h 1714500"/>
                <a:gd name="connsiteX284" fmla="*/ 949642 w 1333500"/>
                <a:gd name="connsiteY284" fmla="*/ 1693545 h 1714500"/>
                <a:gd name="connsiteX285" fmla="*/ 951547 w 1333500"/>
                <a:gd name="connsiteY285" fmla="*/ 1687830 h 1714500"/>
                <a:gd name="connsiteX286" fmla="*/ 951547 w 1333500"/>
                <a:gd name="connsiteY286" fmla="*/ 1685925 h 1714500"/>
                <a:gd name="connsiteX287" fmla="*/ 950595 w 1333500"/>
                <a:gd name="connsiteY287" fmla="*/ 1683068 h 1714500"/>
                <a:gd name="connsiteX288" fmla="*/ 943928 w 1333500"/>
                <a:gd name="connsiteY288" fmla="*/ 1672590 h 1714500"/>
                <a:gd name="connsiteX289" fmla="*/ 942975 w 1333500"/>
                <a:gd name="connsiteY289" fmla="*/ 1669733 h 1714500"/>
                <a:gd name="connsiteX290" fmla="*/ 942022 w 1333500"/>
                <a:gd name="connsiteY290" fmla="*/ 1664018 h 1714500"/>
                <a:gd name="connsiteX291" fmla="*/ 941070 w 1333500"/>
                <a:gd name="connsiteY291" fmla="*/ 1660208 h 1714500"/>
                <a:gd name="connsiteX292" fmla="*/ 938213 w 1333500"/>
                <a:gd name="connsiteY292" fmla="*/ 1656398 h 1714500"/>
                <a:gd name="connsiteX293" fmla="*/ 928688 w 1333500"/>
                <a:gd name="connsiteY293" fmla="*/ 1648778 h 1714500"/>
                <a:gd name="connsiteX294" fmla="*/ 925830 w 1333500"/>
                <a:gd name="connsiteY294" fmla="*/ 1646873 h 1714500"/>
                <a:gd name="connsiteX295" fmla="*/ 925830 w 1333500"/>
                <a:gd name="connsiteY295" fmla="*/ 1643063 h 1714500"/>
                <a:gd name="connsiteX296" fmla="*/ 927735 w 1333500"/>
                <a:gd name="connsiteY296" fmla="*/ 1637348 h 1714500"/>
                <a:gd name="connsiteX297" fmla="*/ 930592 w 1333500"/>
                <a:gd name="connsiteY297" fmla="*/ 1632585 h 1714500"/>
                <a:gd name="connsiteX298" fmla="*/ 955357 w 1333500"/>
                <a:gd name="connsiteY298" fmla="*/ 1600200 h 1714500"/>
                <a:gd name="connsiteX299" fmla="*/ 955357 w 1333500"/>
                <a:gd name="connsiteY299" fmla="*/ 1597343 h 1714500"/>
                <a:gd name="connsiteX300" fmla="*/ 954405 w 1333500"/>
                <a:gd name="connsiteY300" fmla="*/ 1594485 h 1714500"/>
                <a:gd name="connsiteX301" fmla="*/ 939165 w 1333500"/>
                <a:gd name="connsiteY301" fmla="*/ 1583055 h 1714500"/>
                <a:gd name="connsiteX302" fmla="*/ 936307 w 1333500"/>
                <a:gd name="connsiteY302" fmla="*/ 1579245 h 1714500"/>
                <a:gd name="connsiteX303" fmla="*/ 931545 w 1333500"/>
                <a:gd name="connsiteY303" fmla="*/ 1572578 h 1714500"/>
                <a:gd name="connsiteX304" fmla="*/ 922972 w 1333500"/>
                <a:gd name="connsiteY304" fmla="*/ 1553528 h 1714500"/>
                <a:gd name="connsiteX305" fmla="*/ 922020 w 1333500"/>
                <a:gd name="connsiteY305" fmla="*/ 1549718 h 1714500"/>
                <a:gd name="connsiteX306" fmla="*/ 922020 w 1333500"/>
                <a:gd name="connsiteY306" fmla="*/ 1546860 h 1714500"/>
                <a:gd name="connsiteX307" fmla="*/ 922020 w 1333500"/>
                <a:gd name="connsiteY307" fmla="*/ 1540193 h 1714500"/>
                <a:gd name="connsiteX308" fmla="*/ 922020 w 1333500"/>
                <a:gd name="connsiteY308" fmla="*/ 1537335 h 1714500"/>
                <a:gd name="connsiteX309" fmla="*/ 920115 w 1333500"/>
                <a:gd name="connsiteY309" fmla="*/ 1528763 h 1714500"/>
                <a:gd name="connsiteX310" fmla="*/ 919163 w 1333500"/>
                <a:gd name="connsiteY310" fmla="*/ 1525905 h 1714500"/>
                <a:gd name="connsiteX311" fmla="*/ 921067 w 1333500"/>
                <a:gd name="connsiteY311" fmla="*/ 1518285 h 1714500"/>
                <a:gd name="connsiteX312" fmla="*/ 920115 w 1333500"/>
                <a:gd name="connsiteY312" fmla="*/ 1515428 h 1714500"/>
                <a:gd name="connsiteX313" fmla="*/ 917257 w 1333500"/>
                <a:gd name="connsiteY313" fmla="*/ 1510665 h 1714500"/>
                <a:gd name="connsiteX314" fmla="*/ 908685 w 1333500"/>
                <a:gd name="connsiteY314" fmla="*/ 1502093 h 1714500"/>
                <a:gd name="connsiteX315" fmla="*/ 905828 w 1333500"/>
                <a:gd name="connsiteY315" fmla="*/ 1497330 h 1714500"/>
                <a:gd name="connsiteX316" fmla="*/ 904875 w 1333500"/>
                <a:gd name="connsiteY316" fmla="*/ 1493520 h 1714500"/>
                <a:gd name="connsiteX317" fmla="*/ 906780 w 1333500"/>
                <a:gd name="connsiteY317" fmla="*/ 1487805 h 1714500"/>
                <a:gd name="connsiteX318" fmla="*/ 905828 w 1333500"/>
                <a:gd name="connsiteY318" fmla="*/ 1484948 h 1714500"/>
                <a:gd name="connsiteX319" fmla="*/ 902970 w 1333500"/>
                <a:gd name="connsiteY319" fmla="*/ 1483043 h 1714500"/>
                <a:gd name="connsiteX320" fmla="*/ 900113 w 1333500"/>
                <a:gd name="connsiteY320" fmla="*/ 1482090 h 1714500"/>
                <a:gd name="connsiteX321" fmla="*/ 866775 w 1333500"/>
                <a:gd name="connsiteY321" fmla="*/ 1477328 h 1714500"/>
                <a:gd name="connsiteX322" fmla="*/ 862965 w 1333500"/>
                <a:gd name="connsiteY322" fmla="*/ 1478280 h 1714500"/>
                <a:gd name="connsiteX323" fmla="*/ 860107 w 1333500"/>
                <a:gd name="connsiteY323" fmla="*/ 1480185 h 1714500"/>
                <a:gd name="connsiteX324" fmla="*/ 859155 w 1333500"/>
                <a:gd name="connsiteY324" fmla="*/ 1486853 h 1714500"/>
                <a:gd name="connsiteX325" fmla="*/ 856297 w 1333500"/>
                <a:gd name="connsiteY325" fmla="*/ 1492568 h 1714500"/>
                <a:gd name="connsiteX326" fmla="*/ 853440 w 1333500"/>
                <a:gd name="connsiteY326" fmla="*/ 1497330 h 1714500"/>
                <a:gd name="connsiteX327" fmla="*/ 849630 w 1333500"/>
                <a:gd name="connsiteY327" fmla="*/ 1501140 h 1714500"/>
                <a:gd name="connsiteX328" fmla="*/ 844867 w 1333500"/>
                <a:gd name="connsiteY328" fmla="*/ 1503998 h 1714500"/>
                <a:gd name="connsiteX329" fmla="*/ 832485 w 1333500"/>
                <a:gd name="connsiteY329" fmla="*/ 1508760 h 1714500"/>
                <a:gd name="connsiteX330" fmla="*/ 825817 w 1333500"/>
                <a:gd name="connsiteY330" fmla="*/ 1513523 h 1714500"/>
                <a:gd name="connsiteX331" fmla="*/ 822007 w 1333500"/>
                <a:gd name="connsiteY331" fmla="*/ 1517333 h 1714500"/>
                <a:gd name="connsiteX332" fmla="*/ 815340 w 1333500"/>
                <a:gd name="connsiteY332" fmla="*/ 1530668 h 1714500"/>
                <a:gd name="connsiteX333" fmla="*/ 811530 w 1333500"/>
                <a:gd name="connsiteY333" fmla="*/ 1542098 h 1714500"/>
                <a:gd name="connsiteX334" fmla="*/ 808672 w 1333500"/>
                <a:gd name="connsiteY334" fmla="*/ 1546860 h 1714500"/>
                <a:gd name="connsiteX335" fmla="*/ 805815 w 1333500"/>
                <a:gd name="connsiteY335" fmla="*/ 1548765 h 1714500"/>
                <a:gd name="connsiteX336" fmla="*/ 801053 w 1333500"/>
                <a:gd name="connsiteY336" fmla="*/ 1549718 h 1714500"/>
                <a:gd name="connsiteX337" fmla="*/ 761047 w 1333500"/>
                <a:gd name="connsiteY337" fmla="*/ 1543050 h 1714500"/>
                <a:gd name="connsiteX338" fmla="*/ 758190 w 1333500"/>
                <a:gd name="connsiteY338" fmla="*/ 1543050 h 1714500"/>
                <a:gd name="connsiteX339" fmla="*/ 755332 w 1333500"/>
                <a:gd name="connsiteY339" fmla="*/ 1544003 h 1714500"/>
                <a:gd name="connsiteX340" fmla="*/ 745807 w 1333500"/>
                <a:gd name="connsiteY340" fmla="*/ 1549718 h 1714500"/>
                <a:gd name="connsiteX341" fmla="*/ 738188 w 1333500"/>
                <a:gd name="connsiteY341" fmla="*/ 1552575 h 1714500"/>
                <a:gd name="connsiteX342" fmla="*/ 726757 w 1333500"/>
                <a:gd name="connsiteY342" fmla="*/ 1554480 h 1714500"/>
                <a:gd name="connsiteX343" fmla="*/ 724853 w 1333500"/>
                <a:gd name="connsiteY343" fmla="*/ 1553528 h 1714500"/>
                <a:gd name="connsiteX344" fmla="*/ 721042 w 1333500"/>
                <a:gd name="connsiteY344" fmla="*/ 1549718 h 1714500"/>
                <a:gd name="connsiteX345" fmla="*/ 718185 w 1333500"/>
                <a:gd name="connsiteY345" fmla="*/ 1546860 h 1714500"/>
                <a:gd name="connsiteX346" fmla="*/ 704850 w 1333500"/>
                <a:gd name="connsiteY346" fmla="*/ 1539240 h 1714500"/>
                <a:gd name="connsiteX347" fmla="*/ 700088 w 1333500"/>
                <a:gd name="connsiteY347" fmla="*/ 1538288 h 1714500"/>
                <a:gd name="connsiteX348" fmla="*/ 653415 w 1333500"/>
                <a:gd name="connsiteY348" fmla="*/ 1537335 h 1714500"/>
                <a:gd name="connsiteX349" fmla="*/ 647700 w 1333500"/>
                <a:gd name="connsiteY349" fmla="*/ 1538288 h 1714500"/>
                <a:gd name="connsiteX350" fmla="*/ 645795 w 1333500"/>
                <a:gd name="connsiteY350" fmla="*/ 1540193 h 1714500"/>
                <a:gd name="connsiteX351" fmla="*/ 636270 w 1333500"/>
                <a:gd name="connsiteY351" fmla="*/ 1558290 h 1714500"/>
                <a:gd name="connsiteX352" fmla="*/ 631507 w 1333500"/>
                <a:gd name="connsiteY352" fmla="*/ 1563053 h 1714500"/>
                <a:gd name="connsiteX353" fmla="*/ 622935 w 1333500"/>
                <a:gd name="connsiteY353" fmla="*/ 1565910 h 1714500"/>
                <a:gd name="connsiteX354" fmla="*/ 612457 w 1333500"/>
                <a:gd name="connsiteY354" fmla="*/ 1566863 h 1714500"/>
                <a:gd name="connsiteX355" fmla="*/ 606742 w 1333500"/>
                <a:gd name="connsiteY355" fmla="*/ 1566863 h 1714500"/>
                <a:gd name="connsiteX356" fmla="*/ 601980 w 1333500"/>
                <a:gd name="connsiteY356" fmla="*/ 1566863 h 1714500"/>
                <a:gd name="connsiteX357" fmla="*/ 577215 w 1333500"/>
                <a:gd name="connsiteY357" fmla="*/ 1554480 h 1714500"/>
                <a:gd name="connsiteX358" fmla="*/ 571500 w 1333500"/>
                <a:gd name="connsiteY358" fmla="*/ 1553528 h 1714500"/>
                <a:gd name="connsiteX359" fmla="*/ 566738 w 1333500"/>
                <a:gd name="connsiteY359" fmla="*/ 1553528 h 1714500"/>
                <a:gd name="connsiteX360" fmla="*/ 557213 w 1333500"/>
                <a:gd name="connsiteY360" fmla="*/ 1558290 h 1714500"/>
                <a:gd name="connsiteX361" fmla="*/ 552450 w 1333500"/>
                <a:gd name="connsiteY361" fmla="*/ 1560195 h 1714500"/>
                <a:gd name="connsiteX362" fmla="*/ 501015 w 1333500"/>
                <a:gd name="connsiteY362" fmla="*/ 1562100 h 1714500"/>
                <a:gd name="connsiteX363" fmla="*/ 456247 w 1333500"/>
                <a:gd name="connsiteY363" fmla="*/ 1574483 h 1714500"/>
                <a:gd name="connsiteX364" fmla="*/ 439103 w 1333500"/>
                <a:gd name="connsiteY364" fmla="*/ 1576388 h 1714500"/>
                <a:gd name="connsiteX365" fmla="*/ 402907 w 1333500"/>
                <a:gd name="connsiteY365" fmla="*/ 1570673 h 1714500"/>
                <a:gd name="connsiteX366" fmla="*/ 356235 w 1333500"/>
                <a:gd name="connsiteY366" fmla="*/ 1576388 h 1714500"/>
                <a:gd name="connsiteX367" fmla="*/ 246697 w 1333500"/>
                <a:gd name="connsiteY367" fmla="*/ 1544955 h 1714500"/>
                <a:gd name="connsiteX368" fmla="*/ 243840 w 1333500"/>
                <a:gd name="connsiteY368" fmla="*/ 1541145 h 1714500"/>
                <a:gd name="connsiteX369" fmla="*/ 240982 w 1333500"/>
                <a:gd name="connsiteY369" fmla="*/ 1536383 h 1714500"/>
                <a:gd name="connsiteX370" fmla="*/ 240030 w 1333500"/>
                <a:gd name="connsiteY370" fmla="*/ 1533525 h 1714500"/>
                <a:gd name="connsiteX371" fmla="*/ 239078 w 1333500"/>
                <a:gd name="connsiteY371" fmla="*/ 1527810 h 1714500"/>
                <a:gd name="connsiteX372" fmla="*/ 237172 w 1333500"/>
                <a:gd name="connsiteY372" fmla="*/ 1522095 h 1714500"/>
                <a:gd name="connsiteX373" fmla="*/ 231457 w 1333500"/>
                <a:gd name="connsiteY373" fmla="*/ 1513523 h 1714500"/>
                <a:gd name="connsiteX374" fmla="*/ 217170 w 1333500"/>
                <a:gd name="connsiteY374" fmla="*/ 1494473 h 1714500"/>
                <a:gd name="connsiteX375" fmla="*/ 214313 w 1333500"/>
                <a:gd name="connsiteY375" fmla="*/ 1489710 h 1714500"/>
                <a:gd name="connsiteX376" fmla="*/ 213360 w 1333500"/>
                <a:gd name="connsiteY376" fmla="*/ 1483995 h 1714500"/>
                <a:gd name="connsiteX377" fmla="*/ 215265 w 1333500"/>
                <a:gd name="connsiteY377" fmla="*/ 1475423 h 1714500"/>
                <a:gd name="connsiteX378" fmla="*/ 215265 w 1333500"/>
                <a:gd name="connsiteY378" fmla="*/ 1472565 h 1714500"/>
                <a:gd name="connsiteX379" fmla="*/ 213360 w 1333500"/>
                <a:gd name="connsiteY379" fmla="*/ 1467803 h 1714500"/>
                <a:gd name="connsiteX380" fmla="*/ 211455 w 1333500"/>
                <a:gd name="connsiteY380" fmla="*/ 1465898 h 1714500"/>
                <a:gd name="connsiteX381" fmla="*/ 208597 w 1333500"/>
                <a:gd name="connsiteY381" fmla="*/ 1463993 h 1714500"/>
                <a:gd name="connsiteX382" fmla="*/ 189547 w 1333500"/>
                <a:gd name="connsiteY382" fmla="*/ 1456373 h 1714500"/>
                <a:gd name="connsiteX383" fmla="*/ 185738 w 1333500"/>
                <a:gd name="connsiteY383" fmla="*/ 1453515 h 1714500"/>
                <a:gd name="connsiteX384" fmla="*/ 183832 w 1333500"/>
                <a:gd name="connsiteY384" fmla="*/ 1449705 h 1714500"/>
                <a:gd name="connsiteX385" fmla="*/ 185738 w 1333500"/>
                <a:gd name="connsiteY385" fmla="*/ 1431608 h 1714500"/>
                <a:gd name="connsiteX386" fmla="*/ 186690 w 1333500"/>
                <a:gd name="connsiteY386" fmla="*/ 1428750 h 1714500"/>
                <a:gd name="connsiteX387" fmla="*/ 187642 w 1333500"/>
                <a:gd name="connsiteY387" fmla="*/ 1426845 h 1714500"/>
                <a:gd name="connsiteX388" fmla="*/ 190500 w 1333500"/>
                <a:gd name="connsiteY388" fmla="*/ 1425893 h 1714500"/>
                <a:gd name="connsiteX389" fmla="*/ 200025 w 1333500"/>
                <a:gd name="connsiteY389" fmla="*/ 1424940 h 1714500"/>
                <a:gd name="connsiteX390" fmla="*/ 202882 w 1333500"/>
                <a:gd name="connsiteY390" fmla="*/ 1423988 h 1714500"/>
                <a:gd name="connsiteX391" fmla="*/ 204788 w 1333500"/>
                <a:gd name="connsiteY391" fmla="*/ 1422083 h 1714500"/>
                <a:gd name="connsiteX392" fmla="*/ 204788 w 1333500"/>
                <a:gd name="connsiteY392" fmla="*/ 1420178 h 1714500"/>
                <a:gd name="connsiteX393" fmla="*/ 203835 w 1333500"/>
                <a:gd name="connsiteY393" fmla="*/ 1414463 h 1714500"/>
                <a:gd name="connsiteX394" fmla="*/ 201930 w 1333500"/>
                <a:gd name="connsiteY394" fmla="*/ 1408748 h 1714500"/>
                <a:gd name="connsiteX395" fmla="*/ 186690 w 1333500"/>
                <a:gd name="connsiteY395" fmla="*/ 1382078 h 1714500"/>
                <a:gd name="connsiteX396" fmla="*/ 185738 w 1333500"/>
                <a:gd name="connsiteY396" fmla="*/ 1377315 h 1714500"/>
                <a:gd name="connsiteX397" fmla="*/ 185738 w 1333500"/>
                <a:gd name="connsiteY397" fmla="*/ 1374458 h 1714500"/>
                <a:gd name="connsiteX398" fmla="*/ 187642 w 1333500"/>
                <a:gd name="connsiteY398" fmla="*/ 1373505 h 1714500"/>
                <a:gd name="connsiteX399" fmla="*/ 213360 w 1333500"/>
                <a:gd name="connsiteY399" fmla="*/ 1378268 h 1714500"/>
                <a:gd name="connsiteX400" fmla="*/ 217170 w 1333500"/>
                <a:gd name="connsiteY400" fmla="*/ 1377315 h 1714500"/>
                <a:gd name="connsiteX401" fmla="*/ 222885 w 1333500"/>
                <a:gd name="connsiteY401" fmla="*/ 1376363 h 1714500"/>
                <a:gd name="connsiteX402" fmla="*/ 226695 w 1333500"/>
                <a:gd name="connsiteY402" fmla="*/ 1372553 h 1714500"/>
                <a:gd name="connsiteX403" fmla="*/ 229553 w 1333500"/>
                <a:gd name="connsiteY403" fmla="*/ 1368743 h 1714500"/>
                <a:gd name="connsiteX404" fmla="*/ 233363 w 1333500"/>
                <a:gd name="connsiteY404" fmla="*/ 1364933 h 1714500"/>
                <a:gd name="connsiteX405" fmla="*/ 236220 w 1333500"/>
                <a:gd name="connsiteY405" fmla="*/ 1363028 h 1714500"/>
                <a:gd name="connsiteX406" fmla="*/ 244792 w 1333500"/>
                <a:gd name="connsiteY406" fmla="*/ 1362075 h 1714500"/>
                <a:gd name="connsiteX407" fmla="*/ 246697 w 1333500"/>
                <a:gd name="connsiteY407" fmla="*/ 1360170 h 1714500"/>
                <a:gd name="connsiteX408" fmla="*/ 248603 w 1333500"/>
                <a:gd name="connsiteY408" fmla="*/ 1353503 h 1714500"/>
                <a:gd name="connsiteX409" fmla="*/ 249555 w 1333500"/>
                <a:gd name="connsiteY409" fmla="*/ 1343978 h 1714500"/>
                <a:gd name="connsiteX410" fmla="*/ 248603 w 1333500"/>
                <a:gd name="connsiteY410" fmla="*/ 1336358 h 1714500"/>
                <a:gd name="connsiteX411" fmla="*/ 246697 w 1333500"/>
                <a:gd name="connsiteY411" fmla="*/ 1332548 h 1714500"/>
                <a:gd name="connsiteX412" fmla="*/ 244792 w 1333500"/>
                <a:gd name="connsiteY412" fmla="*/ 1329690 h 1714500"/>
                <a:gd name="connsiteX413" fmla="*/ 242888 w 1333500"/>
                <a:gd name="connsiteY413" fmla="*/ 1328738 h 1714500"/>
                <a:gd name="connsiteX414" fmla="*/ 232410 w 1333500"/>
                <a:gd name="connsiteY414" fmla="*/ 1323975 h 1714500"/>
                <a:gd name="connsiteX415" fmla="*/ 228600 w 1333500"/>
                <a:gd name="connsiteY415" fmla="*/ 1321118 h 1714500"/>
                <a:gd name="connsiteX416" fmla="*/ 226695 w 1333500"/>
                <a:gd name="connsiteY416" fmla="*/ 1318260 h 1714500"/>
                <a:gd name="connsiteX417" fmla="*/ 225742 w 1333500"/>
                <a:gd name="connsiteY417" fmla="*/ 1315403 h 1714500"/>
                <a:gd name="connsiteX418" fmla="*/ 226695 w 1333500"/>
                <a:gd name="connsiteY418" fmla="*/ 1310640 h 1714500"/>
                <a:gd name="connsiteX419" fmla="*/ 229553 w 1333500"/>
                <a:gd name="connsiteY419" fmla="*/ 1302068 h 1714500"/>
                <a:gd name="connsiteX420" fmla="*/ 232410 w 1333500"/>
                <a:gd name="connsiteY420" fmla="*/ 1296353 h 1714500"/>
                <a:gd name="connsiteX421" fmla="*/ 239078 w 1333500"/>
                <a:gd name="connsiteY421" fmla="*/ 1287780 h 1714500"/>
                <a:gd name="connsiteX422" fmla="*/ 240030 w 1333500"/>
                <a:gd name="connsiteY422" fmla="*/ 1283970 h 1714500"/>
                <a:gd name="connsiteX423" fmla="*/ 239078 w 1333500"/>
                <a:gd name="connsiteY423" fmla="*/ 1282065 h 1714500"/>
                <a:gd name="connsiteX424" fmla="*/ 237172 w 1333500"/>
                <a:gd name="connsiteY424" fmla="*/ 1279208 h 1714500"/>
                <a:gd name="connsiteX425" fmla="*/ 230505 w 1333500"/>
                <a:gd name="connsiteY425" fmla="*/ 1273493 h 1714500"/>
                <a:gd name="connsiteX426" fmla="*/ 229553 w 1333500"/>
                <a:gd name="connsiteY426" fmla="*/ 1269683 h 1714500"/>
                <a:gd name="connsiteX427" fmla="*/ 229553 w 1333500"/>
                <a:gd name="connsiteY427" fmla="*/ 1266825 h 1714500"/>
                <a:gd name="connsiteX428" fmla="*/ 230505 w 1333500"/>
                <a:gd name="connsiteY428" fmla="*/ 1263968 h 1714500"/>
                <a:gd name="connsiteX429" fmla="*/ 232410 w 1333500"/>
                <a:gd name="connsiteY429" fmla="*/ 1263015 h 1714500"/>
                <a:gd name="connsiteX430" fmla="*/ 237172 w 1333500"/>
                <a:gd name="connsiteY430" fmla="*/ 1260158 h 1714500"/>
                <a:gd name="connsiteX431" fmla="*/ 240030 w 1333500"/>
                <a:gd name="connsiteY431" fmla="*/ 1258253 h 1714500"/>
                <a:gd name="connsiteX432" fmla="*/ 240982 w 1333500"/>
                <a:gd name="connsiteY432" fmla="*/ 1254443 h 1714500"/>
                <a:gd name="connsiteX433" fmla="*/ 240982 w 1333500"/>
                <a:gd name="connsiteY433" fmla="*/ 1247775 h 1714500"/>
                <a:gd name="connsiteX434" fmla="*/ 239078 w 1333500"/>
                <a:gd name="connsiteY434" fmla="*/ 1241108 h 1714500"/>
                <a:gd name="connsiteX435" fmla="*/ 233363 w 1333500"/>
                <a:gd name="connsiteY435" fmla="*/ 1232535 h 1714500"/>
                <a:gd name="connsiteX436" fmla="*/ 224790 w 1333500"/>
                <a:gd name="connsiteY436" fmla="*/ 1223010 h 1714500"/>
                <a:gd name="connsiteX437" fmla="*/ 220980 w 1333500"/>
                <a:gd name="connsiteY437" fmla="*/ 1217295 h 1714500"/>
                <a:gd name="connsiteX438" fmla="*/ 219075 w 1333500"/>
                <a:gd name="connsiteY438" fmla="*/ 1213485 h 1714500"/>
                <a:gd name="connsiteX439" fmla="*/ 218122 w 1333500"/>
                <a:gd name="connsiteY439" fmla="*/ 1210628 h 1714500"/>
                <a:gd name="connsiteX440" fmla="*/ 218122 w 1333500"/>
                <a:gd name="connsiteY440" fmla="*/ 1206818 h 1714500"/>
                <a:gd name="connsiteX441" fmla="*/ 220028 w 1333500"/>
                <a:gd name="connsiteY441" fmla="*/ 1187768 h 1714500"/>
                <a:gd name="connsiteX442" fmla="*/ 220028 w 1333500"/>
                <a:gd name="connsiteY442" fmla="*/ 1182053 h 1714500"/>
                <a:gd name="connsiteX443" fmla="*/ 219075 w 1333500"/>
                <a:gd name="connsiteY443" fmla="*/ 1175385 h 1714500"/>
                <a:gd name="connsiteX444" fmla="*/ 217170 w 1333500"/>
                <a:gd name="connsiteY444" fmla="*/ 1171575 h 1714500"/>
                <a:gd name="connsiteX445" fmla="*/ 214313 w 1333500"/>
                <a:gd name="connsiteY445" fmla="*/ 1168718 h 1714500"/>
                <a:gd name="connsiteX446" fmla="*/ 211455 w 1333500"/>
                <a:gd name="connsiteY446" fmla="*/ 1168718 h 1714500"/>
                <a:gd name="connsiteX447" fmla="*/ 207645 w 1333500"/>
                <a:gd name="connsiteY447" fmla="*/ 1168718 h 1714500"/>
                <a:gd name="connsiteX448" fmla="*/ 205740 w 1333500"/>
                <a:gd name="connsiteY448" fmla="*/ 1170623 h 1714500"/>
                <a:gd name="connsiteX449" fmla="*/ 201930 w 1333500"/>
                <a:gd name="connsiteY449" fmla="*/ 1178243 h 1714500"/>
                <a:gd name="connsiteX450" fmla="*/ 197167 w 1333500"/>
                <a:gd name="connsiteY450" fmla="*/ 1184910 h 1714500"/>
                <a:gd name="connsiteX451" fmla="*/ 193357 w 1333500"/>
                <a:gd name="connsiteY451" fmla="*/ 1194435 h 1714500"/>
                <a:gd name="connsiteX452" fmla="*/ 190500 w 1333500"/>
                <a:gd name="connsiteY452" fmla="*/ 1199198 h 1714500"/>
                <a:gd name="connsiteX453" fmla="*/ 188595 w 1333500"/>
                <a:gd name="connsiteY453" fmla="*/ 1200150 h 1714500"/>
                <a:gd name="connsiteX454" fmla="*/ 185738 w 1333500"/>
                <a:gd name="connsiteY454" fmla="*/ 1201103 h 1714500"/>
                <a:gd name="connsiteX455" fmla="*/ 161925 w 1333500"/>
                <a:gd name="connsiteY455" fmla="*/ 1198245 h 1714500"/>
                <a:gd name="connsiteX456" fmla="*/ 160020 w 1333500"/>
                <a:gd name="connsiteY456" fmla="*/ 1198245 h 1714500"/>
                <a:gd name="connsiteX457" fmla="*/ 156210 w 1333500"/>
                <a:gd name="connsiteY457" fmla="*/ 1196340 h 1714500"/>
                <a:gd name="connsiteX458" fmla="*/ 155257 w 1333500"/>
                <a:gd name="connsiteY458" fmla="*/ 1192530 h 1714500"/>
                <a:gd name="connsiteX459" fmla="*/ 154305 w 1333500"/>
                <a:gd name="connsiteY459" fmla="*/ 1182053 h 1714500"/>
                <a:gd name="connsiteX460" fmla="*/ 153353 w 1333500"/>
                <a:gd name="connsiteY460" fmla="*/ 1179195 h 1714500"/>
                <a:gd name="connsiteX461" fmla="*/ 152400 w 1333500"/>
                <a:gd name="connsiteY461" fmla="*/ 1176338 h 1714500"/>
                <a:gd name="connsiteX462" fmla="*/ 147638 w 1333500"/>
                <a:gd name="connsiteY462" fmla="*/ 1172528 h 1714500"/>
                <a:gd name="connsiteX463" fmla="*/ 137160 w 1333500"/>
                <a:gd name="connsiteY463" fmla="*/ 1169670 h 1714500"/>
                <a:gd name="connsiteX464" fmla="*/ 132397 w 1333500"/>
                <a:gd name="connsiteY464" fmla="*/ 1166813 h 1714500"/>
                <a:gd name="connsiteX465" fmla="*/ 129540 w 1333500"/>
                <a:gd name="connsiteY465" fmla="*/ 1163003 h 1714500"/>
                <a:gd name="connsiteX466" fmla="*/ 126682 w 1333500"/>
                <a:gd name="connsiteY466" fmla="*/ 1156335 h 1714500"/>
                <a:gd name="connsiteX467" fmla="*/ 123825 w 1333500"/>
                <a:gd name="connsiteY467" fmla="*/ 1154430 h 1714500"/>
                <a:gd name="connsiteX468" fmla="*/ 120967 w 1333500"/>
                <a:gd name="connsiteY468" fmla="*/ 1153478 h 1714500"/>
                <a:gd name="connsiteX469" fmla="*/ 115253 w 1333500"/>
                <a:gd name="connsiteY469" fmla="*/ 1154430 h 1714500"/>
                <a:gd name="connsiteX470" fmla="*/ 111442 w 1333500"/>
                <a:gd name="connsiteY470" fmla="*/ 1154430 h 1714500"/>
                <a:gd name="connsiteX471" fmla="*/ 109538 w 1333500"/>
                <a:gd name="connsiteY471" fmla="*/ 1152525 h 1714500"/>
                <a:gd name="connsiteX472" fmla="*/ 108585 w 1333500"/>
                <a:gd name="connsiteY472" fmla="*/ 1149668 h 1714500"/>
                <a:gd name="connsiteX473" fmla="*/ 109538 w 1333500"/>
                <a:gd name="connsiteY473" fmla="*/ 1146810 h 1714500"/>
                <a:gd name="connsiteX474" fmla="*/ 112395 w 1333500"/>
                <a:gd name="connsiteY474" fmla="*/ 1142048 h 1714500"/>
                <a:gd name="connsiteX475" fmla="*/ 114300 w 1333500"/>
                <a:gd name="connsiteY475" fmla="*/ 1139190 h 1714500"/>
                <a:gd name="connsiteX476" fmla="*/ 113347 w 1333500"/>
                <a:gd name="connsiteY476" fmla="*/ 1136333 h 1714500"/>
                <a:gd name="connsiteX477" fmla="*/ 111442 w 1333500"/>
                <a:gd name="connsiteY477" fmla="*/ 1134428 h 1714500"/>
                <a:gd name="connsiteX478" fmla="*/ 106680 w 1333500"/>
                <a:gd name="connsiteY478" fmla="*/ 1131570 h 1714500"/>
                <a:gd name="connsiteX479" fmla="*/ 89535 w 1333500"/>
                <a:gd name="connsiteY479" fmla="*/ 1118235 h 1714500"/>
                <a:gd name="connsiteX480" fmla="*/ 66675 w 1333500"/>
                <a:gd name="connsiteY480" fmla="*/ 1104900 h 1714500"/>
                <a:gd name="connsiteX481" fmla="*/ 60960 w 1333500"/>
                <a:gd name="connsiteY481" fmla="*/ 1100138 h 1714500"/>
                <a:gd name="connsiteX482" fmla="*/ 58103 w 1333500"/>
                <a:gd name="connsiteY482" fmla="*/ 1096328 h 1714500"/>
                <a:gd name="connsiteX483" fmla="*/ 56197 w 1333500"/>
                <a:gd name="connsiteY483" fmla="*/ 1092518 h 1714500"/>
                <a:gd name="connsiteX484" fmla="*/ 54292 w 1333500"/>
                <a:gd name="connsiteY484" fmla="*/ 1082993 h 1714500"/>
                <a:gd name="connsiteX485" fmla="*/ 52388 w 1333500"/>
                <a:gd name="connsiteY485" fmla="*/ 1079183 h 1714500"/>
                <a:gd name="connsiteX486" fmla="*/ 50482 w 1333500"/>
                <a:gd name="connsiteY486" fmla="*/ 1077278 h 1714500"/>
                <a:gd name="connsiteX487" fmla="*/ 45720 w 1333500"/>
                <a:gd name="connsiteY487" fmla="*/ 1074420 h 1714500"/>
                <a:gd name="connsiteX488" fmla="*/ 31432 w 1333500"/>
                <a:gd name="connsiteY488" fmla="*/ 1071563 h 1714500"/>
                <a:gd name="connsiteX489" fmla="*/ 27622 w 1333500"/>
                <a:gd name="connsiteY489" fmla="*/ 1070610 h 1714500"/>
                <a:gd name="connsiteX490" fmla="*/ 22860 w 1333500"/>
                <a:gd name="connsiteY490" fmla="*/ 1066800 h 1714500"/>
                <a:gd name="connsiteX491" fmla="*/ 20003 w 1333500"/>
                <a:gd name="connsiteY491" fmla="*/ 1064895 h 1714500"/>
                <a:gd name="connsiteX492" fmla="*/ 19050 w 1333500"/>
                <a:gd name="connsiteY492" fmla="*/ 1061085 h 1714500"/>
                <a:gd name="connsiteX493" fmla="*/ 19050 w 1333500"/>
                <a:gd name="connsiteY493" fmla="*/ 1054418 h 1714500"/>
                <a:gd name="connsiteX494" fmla="*/ 29528 w 1333500"/>
                <a:gd name="connsiteY494" fmla="*/ 1016318 h 1714500"/>
                <a:gd name="connsiteX495" fmla="*/ 32385 w 1333500"/>
                <a:gd name="connsiteY495" fmla="*/ 1010603 h 1714500"/>
                <a:gd name="connsiteX496" fmla="*/ 35242 w 1333500"/>
                <a:gd name="connsiteY496" fmla="*/ 1005840 h 1714500"/>
                <a:gd name="connsiteX497" fmla="*/ 39053 w 1333500"/>
                <a:gd name="connsiteY497" fmla="*/ 1002030 h 1714500"/>
                <a:gd name="connsiteX498" fmla="*/ 43815 w 1333500"/>
                <a:gd name="connsiteY498" fmla="*/ 999172 h 1714500"/>
                <a:gd name="connsiteX499" fmla="*/ 55245 w 1333500"/>
                <a:gd name="connsiteY499" fmla="*/ 992505 h 1714500"/>
                <a:gd name="connsiteX500" fmla="*/ 59055 w 1333500"/>
                <a:gd name="connsiteY500" fmla="*/ 988695 h 1714500"/>
                <a:gd name="connsiteX501" fmla="*/ 59055 w 1333500"/>
                <a:gd name="connsiteY501" fmla="*/ 985838 h 1714500"/>
                <a:gd name="connsiteX502" fmla="*/ 54292 w 1333500"/>
                <a:gd name="connsiteY502" fmla="*/ 982980 h 1714500"/>
                <a:gd name="connsiteX503" fmla="*/ 43815 w 1333500"/>
                <a:gd name="connsiteY503" fmla="*/ 980122 h 1714500"/>
                <a:gd name="connsiteX504" fmla="*/ 40005 w 1333500"/>
                <a:gd name="connsiteY504" fmla="*/ 979170 h 1714500"/>
                <a:gd name="connsiteX505" fmla="*/ 36195 w 1333500"/>
                <a:gd name="connsiteY505" fmla="*/ 975360 h 1714500"/>
                <a:gd name="connsiteX506" fmla="*/ 33338 w 1333500"/>
                <a:gd name="connsiteY506" fmla="*/ 971550 h 1714500"/>
                <a:gd name="connsiteX507" fmla="*/ 31432 w 1333500"/>
                <a:gd name="connsiteY507" fmla="*/ 966788 h 1714500"/>
                <a:gd name="connsiteX508" fmla="*/ 28575 w 1333500"/>
                <a:gd name="connsiteY508" fmla="*/ 959168 h 1714500"/>
                <a:gd name="connsiteX509" fmla="*/ 24765 w 1333500"/>
                <a:gd name="connsiteY509" fmla="*/ 956310 h 1714500"/>
                <a:gd name="connsiteX510" fmla="*/ 17145 w 1333500"/>
                <a:gd name="connsiteY510" fmla="*/ 950595 h 1714500"/>
                <a:gd name="connsiteX511" fmla="*/ 10478 w 1333500"/>
                <a:gd name="connsiteY511" fmla="*/ 940118 h 1714500"/>
                <a:gd name="connsiteX512" fmla="*/ 7620 w 1333500"/>
                <a:gd name="connsiteY512" fmla="*/ 937260 h 1714500"/>
                <a:gd name="connsiteX513" fmla="*/ 0 w 1333500"/>
                <a:gd name="connsiteY513" fmla="*/ 933450 h 1714500"/>
                <a:gd name="connsiteX514" fmla="*/ 19050 w 1333500"/>
                <a:gd name="connsiteY514" fmla="*/ 911543 h 1714500"/>
                <a:gd name="connsiteX515" fmla="*/ 22860 w 1333500"/>
                <a:gd name="connsiteY515" fmla="*/ 899160 h 1714500"/>
                <a:gd name="connsiteX516" fmla="*/ 21907 w 1333500"/>
                <a:gd name="connsiteY516" fmla="*/ 895350 h 1714500"/>
                <a:gd name="connsiteX517" fmla="*/ 18097 w 1333500"/>
                <a:gd name="connsiteY517" fmla="*/ 891540 h 1714500"/>
                <a:gd name="connsiteX518" fmla="*/ 7620 w 1333500"/>
                <a:gd name="connsiteY518" fmla="*/ 885825 h 1714500"/>
                <a:gd name="connsiteX519" fmla="*/ 4763 w 1333500"/>
                <a:gd name="connsiteY519" fmla="*/ 883920 h 1714500"/>
                <a:gd name="connsiteX520" fmla="*/ 2857 w 1333500"/>
                <a:gd name="connsiteY520" fmla="*/ 880110 h 1714500"/>
                <a:gd name="connsiteX521" fmla="*/ 0 w 1333500"/>
                <a:gd name="connsiteY521" fmla="*/ 873443 h 1714500"/>
                <a:gd name="connsiteX522" fmla="*/ 0 w 1333500"/>
                <a:gd name="connsiteY522" fmla="*/ 869633 h 1714500"/>
                <a:gd name="connsiteX523" fmla="*/ 1905 w 1333500"/>
                <a:gd name="connsiteY523" fmla="*/ 864870 h 1714500"/>
                <a:gd name="connsiteX524" fmla="*/ 4763 w 1333500"/>
                <a:gd name="connsiteY524" fmla="*/ 856297 h 1714500"/>
                <a:gd name="connsiteX525" fmla="*/ 10478 w 1333500"/>
                <a:gd name="connsiteY525" fmla="*/ 841058 h 1714500"/>
                <a:gd name="connsiteX526" fmla="*/ 12382 w 1333500"/>
                <a:gd name="connsiteY526" fmla="*/ 837247 h 1714500"/>
                <a:gd name="connsiteX527" fmla="*/ 22860 w 1333500"/>
                <a:gd name="connsiteY527" fmla="*/ 823913 h 1714500"/>
                <a:gd name="connsiteX528" fmla="*/ 26670 w 1333500"/>
                <a:gd name="connsiteY528" fmla="*/ 816293 h 1714500"/>
                <a:gd name="connsiteX529" fmla="*/ 39053 w 1333500"/>
                <a:gd name="connsiteY529" fmla="*/ 784860 h 1714500"/>
                <a:gd name="connsiteX530" fmla="*/ 40957 w 1333500"/>
                <a:gd name="connsiteY530" fmla="*/ 776288 h 1714500"/>
                <a:gd name="connsiteX531" fmla="*/ 41910 w 1333500"/>
                <a:gd name="connsiteY531" fmla="*/ 770572 h 1714500"/>
                <a:gd name="connsiteX532" fmla="*/ 40005 w 1333500"/>
                <a:gd name="connsiteY532" fmla="*/ 762000 h 1714500"/>
                <a:gd name="connsiteX533" fmla="*/ 36195 w 1333500"/>
                <a:gd name="connsiteY533" fmla="*/ 754380 h 1714500"/>
                <a:gd name="connsiteX534" fmla="*/ 25717 w 1333500"/>
                <a:gd name="connsiteY534" fmla="*/ 738188 h 1714500"/>
                <a:gd name="connsiteX535" fmla="*/ 20955 w 1333500"/>
                <a:gd name="connsiteY535" fmla="*/ 728663 h 1714500"/>
                <a:gd name="connsiteX536" fmla="*/ 18097 w 1333500"/>
                <a:gd name="connsiteY536" fmla="*/ 721995 h 1714500"/>
                <a:gd name="connsiteX537" fmla="*/ 17145 w 1333500"/>
                <a:gd name="connsiteY537" fmla="*/ 717233 h 1714500"/>
                <a:gd name="connsiteX538" fmla="*/ 16192 w 1333500"/>
                <a:gd name="connsiteY538" fmla="*/ 707708 h 1714500"/>
                <a:gd name="connsiteX539" fmla="*/ 16192 w 1333500"/>
                <a:gd name="connsiteY539" fmla="*/ 701993 h 1714500"/>
                <a:gd name="connsiteX540" fmla="*/ 17145 w 1333500"/>
                <a:gd name="connsiteY540" fmla="*/ 697230 h 1714500"/>
                <a:gd name="connsiteX541" fmla="*/ 24765 w 1333500"/>
                <a:gd name="connsiteY541" fmla="*/ 657225 h 1714500"/>
                <a:gd name="connsiteX542" fmla="*/ 25717 w 1333500"/>
                <a:gd name="connsiteY542" fmla="*/ 648653 h 1714500"/>
                <a:gd name="connsiteX543" fmla="*/ 24765 w 1333500"/>
                <a:gd name="connsiteY543" fmla="*/ 642938 h 1714500"/>
                <a:gd name="connsiteX544" fmla="*/ 22860 w 1333500"/>
                <a:gd name="connsiteY544" fmla="*/ 637222 h 1714500"/>
                <a:gd name="connsiteX545" fmla="*/ 16192 w 1333500"/>
                <a:gd name="connsiteY545" fmla="*/ 628650 h 1714500"/>
                <a:gd name="connsiteX546" fmla="*/ 14288 w 1333500"/>
                <a:gd name="connsiteY546" fmla="*/ 625793 h 1714500"/>
                <a:gd name="connsiteX547" fmla="*/ 12382 w 1333500"/>
                <a:gd name="connsiteY547" fmla="*/ 621030 h 1714500"/>
                <a:gd name="connsiteX548" fmla="*/ 13335 w 1333500"/>
                <a:gd name="connsiteY548" fmla="*/ 618172 h 1714500"/>
                <a:gd name="connsiteX549" fmla="*/ 19050 w 1333500"/>
                <a:gd name="connsiteY549" fmla="*/ 616268 h 1714500"/>
                <a:gd name="connsiteX550" fmla="*/ 20955 w 1333500"/>
                <a:gd name="connsiteY550" fmla="*/ 613410 h 1714500"/>
                <a:gd name="connsiteX551" fmla="*/ 23813 w 1333500"/>
                <a:gd name="connsiteY551" fmla="*/ 608647 h 1714500"/>
                <a:gd name="connsiteX552" fmla="*/ 22860 w 1333500"/>
                <a:gd name="connsiteY552" fmla="*/ 605790 h 1714500"/>
                <a:gd name="connsiteX553" fmla="*/ 21907 w 1333500"/>
                <a:gd name="connsiteY553" fmla="*/ 602933 h 1714500"/>
                <a:gd name="connsiteX554" fmla="*/ 18097 w 1333500"/>
                <a:gd name="connsiteY554" fmla="*/ 599122 h 1714500"/>
                <a:gd name="connsiteX555" fmla="*/ 16192 w 1333500"/>
                <a:gd name="connsiteY555" fmla="*/ 596265 h 1714500"/>
                <a:gd name="connsiteX556" fmla="*/ 14288 w 1333500"/>
                <a:gd name="connsiteY556" fmla="*/ 592455 h 1714500"/>
                <a:gd name="connsiteX557" fmla="*/ 13335 w 1333500"/>
                <a:gd name="connsiteY557" fmla="*/ 584835 h 1714500"/>
                <a:gd name="connsiteX558" fmla="*/ 13335 w 1333500"/>
                <a:gd name="connsiteY558" fmla="*/ 580073 h 1714500"/>
                <a:gd name="connsiteX559" fmla="*/ 12382 w 1333500"/>
                <a:gd name="connsiteY559" fmla="*/ 576263 h 1714500"/>
                <a:gd name="connsiteX560" fmla="*/ 6667 w 1333500"/>
                <a:gd name="connsiteY560" fmla="*/ 565785 h 1714500"/>
                <a:gd name="connsiteX561" fmla="*/ 2857 w 1333500"/>
                <a:gd name="connsiteY561" fmla="*/ 558165 h 1714500"/>
                <a:gd name="connsiteX562" fmla="*/ 3810 w 1333500"/>
                <a:gd name="connsiteY562" fmla="*/ 554355 h 1714500"/>
                <a:gd name="connsiteX563" fmla="*/ 7620 w 1333500"/>
                <a:gd name="connsiteY563" fmla="*/ 550545 h 1714500"/>
                <a:gd name="connsiteX564" fmla="*/ 12382 w 1333500"/>
                <a:gd name="connsiteY564" fmla="*/ 533400 h 1714500"/>
                <a:gd name="connsiteX565" fmla="*/ 14288 w 1333500"/>
                <a:gd name="connsiteY565" fmla="*/ 529590 h 1714500"/>
                <a:gd name="connsiteX566" fmla="*/ 16192 w 1333500"/>
                <a:gd name="connsiteY566" fmla="*/ 527685 h 1714500"/>
                <a:gd name="connsiteX567" fmla="*/ 20955 w 1333500"/>
                <a:gd name="connsiteY567" fmla="*/ 524828 h 1714500"/>
                <a:gd name="connsiteX568" fmla="*/ 41910 w 1333500"/>
                <a:gd name="connsiteY568" fmla="*/ 520065 h 1714500"/>
                <a:gd name="connsiteX569" fmla="*/ 54292 w 1333500"/>
                <a:gd name="connsiteY569" fmla="*/ 514350 h 1714500"/>
                <a:gd name="connsiteX570" fmla="*/ 56197 w 1333500"/>
                <a:gd name="connsiteY570" fmla="*/ 511492 h 1714500"/>
                <a:gd name="connsiteX571" fmla="*/ 59055 w 1333500"/>
                <a:gd name="connsiteY571" fmla="*/ 506730 h 1714500"/>
                <a:gd name="connsiteX572" fmla="*/ 65722 w 1333500"/>
                <a:gd name="connsiteY572" fmla="*/ 491490 h 1714500"/>
                <a:gd name="connsiteX573" fmla="*/ 67628 w 1333500"/>
                <a:gd name="connsiteY573" fmla="*/ 487680 h 1714500"/>
                <a:gd name="connsiteX574" fmla="*/ 69532 w 1333500"/>
                <a:gd name="connsiteY574" fmla="*/ 485775 h 1714500"/>
                <a:gd name="connsiteX575" fmla="*/ 75247 w 1333500"/>
                <a:gd name="connsiteY575" fmla="*/ 480060 h 1714500"/>
                <a:gd name="connsiteX576" fmla="*/ 80010 w 1333500"/>
                <a:gd name="connsiteY576" fmla="*/ 473392 h 1714500"/>
                <a:gd name="connsiteX577" fmla="*/ 82867 w 1333500"/>
                <a:gd name="connsiteY577" fmla="*/ 466725 h 1714500"/>
                <a:gd name="connsiteX578" fmla="*/ 84772 w 1333500"/>
                <a:gd name="connsiteY578" fmla="*/ 461010 h 1714500"/>
                <a:gd name="connsiteX579" fmla="*/ 85725 w 1333500"/>
                <a:gd name="connsiteY579" fmla="*/ 441960 h 1714500"/>
                <a:gd name="connsiteX580" fmla="*/ 86678 w 1333500"/>
                <a:gd name="connsiteY580" fmla="*/ 436245 h 1714500"/>
                <a:gd name="connsiteX581" fmla="*/ 87630 w 1333500"/>
                <a:gd name="connsiteY581" fmla="*/ 431483 h 1714500"/>
                <a:gd name="connsiteX582" fmla="*/ 88582 w 1333500"/>
                <a:gd name="connsiteY582" fmla="*/ 428625 h 1714500"/>
                <a:gd name="connsiteX583" fmla="*/ 93345 w 1333500"/>
                <a:gd name="connsiteY583" fmla="*/ 422910 h 1714500"/>
                <a:gd name="connsiteX584" fmla="*/ 97155 w 1333500"/>
                <a:gd name="connsiteY584" fmla="*/ 419100 h 1714500"/>
                <a:gd name="connsiteX585" fmla="*/ 99060 w 1333500"/>
                <a:gd name="connsiteY585" fmla="*/ 415290 h 1714500"/>
                <a:gd name="connsiteX586" fmla="*/ 101917 w 1333500"/>
                <a:gd name="connsiteY586" fmla="*/ 410528 h 1714500"/>
                <a:gd name="connsiteX587" fmla="*/ 108585 w 1333500"/>
                <a:gd name="connsiteY587" fmla="*/ 389573 h 1714500"/>
                <a:gd name="connsiteX588" fmla="*/ 111442 w 1333500"/>
                <a:gd name="connsiteY588" fmla="*/ 384810 h 1714500"/>
                <a:gd name="connsiteX589" fmla="*/ 113347 w 1333500"/>
                <a:gd name="connsiteY589" fmla="*/ 382905 h 1714500"/>
                <a:gd name="connsiteX590" fmla="*/ 125730 w 1333500"/>
                <a:gd name="connsiteY590" fmla="*/ 375285 h 1714500"/>
                <a:gd name="connsiteX591" fmla="*/ 128588 w 1333500"/>
                <a:gd name="connsiteY591" fmla="*/ 372428 h 1714500"/>
                <a:gd name="connsiteX592" fmla="*/ 131445 w 1333500"/>
                <a:gd name="connsiteY592" fmla="*/ 368617 h 1714500"/>
                <a:gd name="connsiteX593" fmla="*/ 135255 w 1333500"/>
                <a:gd name="connsiteY593" fmla="*/ 359092 h 1714500"/>
                <a:gd name="connsiteX594" fmla="*/ 137160 w 1333500"/>
                <a:gd name="connsiteY594" fmla="*/ 353378 h 1714500"/>
                <a:gd name="connsiteX595" fmla="*/ 138113 w 1333500"/>
                <a:gd name="connsiteY595" fmla="*/ 348615 h 1714500"/>
                <a:gd name="connsiteX596" fmla="*/ 138113 w 1333500"/>
                <a:gd name="connsiteY596" fmla="*/ 344805 h 1714500"/>
                <a:gd name="connsiteX597" fmla="*/ 137160 w 1333500"/>
                <a:gd name="connsiteY597" fmla="*/ 340042 h 1714500"/>
                <a:gd name="connsiteX598" fmla="*/ 136207 w 1333500"/>
                <a:gd name="connsiteY598" fmla="*/ 336233 h 1714500"/>
                <a:gd name="connsiteX599" fmla="*/ 119063 w 1333500"/>
                <a:gd name="connsiteY599" fmla="*/ 300038 h 1714500"/>
                <a:gd name="connsiteX600" fmla="*/ 118110 w 1333500"/>
                <a:gd name="connsiteY600" fmla="*/ 296228 h 1714500"/>
                <a:gd name="connsiteX601" fmla="*/ 119063 w 1333500"/>
                <a:gd name="connsiteY601" fmla="*/ 294323 h 1714500"/>
                <a:gd name="connsiteX602" fmla="*/ 120967 w 1333500"/>
                <a:gd name="connsiteY602" fmla="*/ 292417 h 1714500"/>
                <a:gd name="connsiteX603" fmla="*/ 150495 w 1333500"/>
                <a:gd name="connsiteY603" fmla="*/ 285750 h 1714500"/>
                <a:gd name="connsiteX604" fmla="*/ 155257 w 1333500"/>
                <a:gd name="connsiteY604" fmla="*/ 282892 h 1714500"/>
                <a:gd name="connsiteX605" fmla="*/ 160972 w 1333500"/>
                <a:gd name="connsiteY605" fmla="*/ 277178 h 1714500"/>
                <a:gd name="connsiteX606" fmla="*/ 163830 w 1333500"/>
                <a:gd name="connsiteY606" fmla="*/ 270510 h 1714500"/>
                <a:gd name="connsiteX607" fmla="*/ 167640 w 1333500"/>
                <a:gd name="connsiteY607" fmla="*/ 262890 h 1714500"/>
                <a:gd name="connsiteX608" fmla="*/ 168592 w 1333500"/>
                <a:gd name="connsiteY608" fmla="*/ 258127 h 1714500"/>
                <a:gd name="connsiteX609" fmla="*/ 168592 w 1333500"/>
                <a:gd name="connsiteY609" fmla="*/ 254317 h 1714500"/>
                <a:gd name="connsiteX610" fmla="*/ 165735 w 1333500"/>
                <a:gd name="connsiteY610" fmla="*/ 249555 h 1714500"/>
                <a:gd name="connsiteX611" fmla="*/ 157163 w 1333500"/>
                <a:gd name="connsiteY611" fmla="*/ 241935 h 1714500"/>
                <a:gd name="connsiteX612" fmla="*/ 156210 w 1333500"/>
                <a:gd name="connsiteY612" fmla="*/ 234315 h 1714500"/>
                <a:gd name="connsiteX613" fmla="*/ 156210 w 1333500"/>
                <a:gd name="connsiteY613" fmla="*/ 223838 h 1714500"/>
                <a:gd name="connsiteX614" fmla="*/ 161925 w 1333500"/>
                <a:gd name="connsiteY614" fmla="*/ 186690 h 1714500"/>
                <a:gd name="connsiteX615" fmla="*/ 163830 w 1333500"/>
                <a:gd name="connsiteY615" fmla="*/ 180023 h 1714500"/>
                <a:gd name="connsiteX616" fmla="*/ 164782 w 1333500"/>
                <a:gd name="connsiteY616" fmla="*/ 178117 h 1714500"/>
                <a:gd name="connsiteX617" fmla="*/ 167640 w 1333500"/>
                <a:gd name="connsiteY617" fmla="*/ 177165 h 1714500"/>
                <a:gd name="connsiteX618" fmla="*/ 170497 w 1333500"/>
                <a:gd name="connsiteY618" fmla="*/ 178117 h 1714500"/>
                <a:gd name="connsiteX619" fmla="*/ 172403 w 1333500"/>
                <a:gd name="connsiteY619" fmla="*/ 179070 h 1714500"/>
                <a:gd name="connsiteX620" fmla="*/ 176213 w 1333500"/>
                <a:gd name="connsiteY620" fmla="*/ 182880 h 1714500"/>
                <a:gd name="connsiteX621" fmla="*/ 179070 w 1333500"/>
                <a:gd name="connsiteY621" fmla="*/ 187642 h 1714500"/>
                <a:gd name="connsiteX622" fmla="*/ 181928 w 1333500"/>
                <a:gd name="connsiteY622" fmla="*/ 196215 h 1714500"/>
                <a:gd name="connsiteX623" fmla="*/ 185738 w 1333500"/>
                <a:gd name="connsiteY623" fmla="*/ 200977 h 1714500"/>
                <a:gd name="connsiteX624" fmla="*/ 206692 w 1333500"/>
                <a:gd name="connsiteY624" fmla="*/ 219075 h 1714500"/>
                <a:gd name="connsiteX625" fmla="*/ 208597 w 1333500"/>
                <a:gd name="connsiteY625" fmla="*/ 220980 h 1714500"/>
                <a:gd name="connsiteX626" fmla="*/ 211455 w 1333500"/>
                <a:gd name="connsiteY626" fmla="*/ 220980 h 1714500"/>
                <a:gd name="connsiteX627" fmla="*/ 215265 w 1333500"/>
                <a:gd name="connsiteY627" fmla="*/ 220980 h 1714500"/>
                <a:gd name="connsiteX628" fmla="*/ 216217 w 1333500"/>
                <a:gd name="connsiteY628" fmla="*/ 218123 h 1714500"/>
                <a:gd name="connsiteX629" fmla="*/ 217170 w 1333500"/>
                <a:gd name="connsiteY629" fmla="*/ 215265 h 1714500"/>
                <a:gd name="connsiteX630" fmla="*/ 217170 w 1333500"/>
                <a:gd name="connsiteY630" fmla="*/ 211455 h 1714500"/>
                <a:gd name="connsiteX631" fmla="*/ 215265 w 1333500"/>
                <a:gd name="connsiteY631" fmla="*/ 206692 h 1714500"/>
                <a:gd name="connsiteX632" fmla="*/ 212407 w 1333500"/>
                <a:gd name="connsiteY632" fmla="*/ 201930 h 1714500"/>
                <a:gd name="connsiteX633" fmla="*/ 203835 w 1333500"/>
                <a:gd name="connsiteY633" fmla="*/ 193358 h 1714500"/>
                <a:gd name="connsiteX634" fmla="*/ 202882 w 1333500"/>
                <a:gd name="connsiteY634" fmla="*/ 188595 h 1714500"/>
                <a:gd name="connsiteX635" fmla="*/ 201930 w 1333500"/>
                <a:gd name="connsiteY635" fmla="*/ 181927 h 1714500"/>
                <a:gd name="connsiteX636" fmla="*/ 203835 w 1333500"/>
                <a:gd name="connsiteY636" fmla="*/ 165735 h 1714500"/>
                <a:gd name="connsiteX637" fmla="*/ 205740 w 1333500"/>
                <a:gd name="connsiteY637" fmla="*/ 158115 h 1714500"/>
                <a:gd name="connsiteX638" fmla="*/ 207645 w 1333500"/>
                <a:gd name="connsiteY638" fmla="*/ 152400 h 1714500"/>
                <a:gd name="connsiteX639" fmla="*/ 209550 w 1333500"/>
                <a:gd name="connsiteY639" fmla="*/ 151448 h 1714500"/>
                <a:gd name="connsiteX640" fmla="*/ 214313 w 1333500"/>
                <a:gd name="connsiteY640" fmla="*/ 148590 h 1714500"/>
                <a:gd name="connsiteX641" fmla="*/ 220028 w 1333500"/>
                <a:gd name="connsiteY641" fmla="*/ 146685 h 1714500"/>
                <a:gd name="connsiteX642" fmla="*/ 232410 w 1333500"/>
                <a:gd name="connsiteY642" fmla="*/ 140017 h 1714500"/>
                <a:gd name="connsiteX643" fmla="*/ 249555 w 1333500"/>
                <a:gd name="connsiteY643" fmla="*/ 137160 h 1714500"/>
                <a:gd name="connsiteX644" fmla="*/ 252413 w 1333500"/>
                <a:gd name="connsiteY644" fmla="*/ 141923 h 1714500"/>
                <a:gd name="connsiteX645" fmla="*/ 259080 w 1333500"/>
                <a:gd name="connsiteY645" fmla="*/ 149542 h 1714500"/>
                <a:gd name="connsiteX646" fmla="*/ 267653 w 1333500"/>
                <a:gd name="connsiteY646" fmla="*/ 157163 h 1714500"/>
                <a:gd name="connsiteX647" fmla="*/ 275272 w 1333500"/>
                <a:gd name="connsiteY647" fmla="*/ 160020 h 1714500"/>
                <a:gd name="connsiteX648" fmla="*/ 283845 w 1333500"/>
                <a:gd name="connsiteY648" fmla="*/ 159067 h 1714500"/>
                <a:gd name="connsiteX649" fmla="*/ 289560 w 1333500"/>
                <a:gd name="connsiteY649" fmla="*/ 153352 h 1714500"/>
                <a:gd name="connsiteX650" fmla="*/ 313372 w 1333500"/>
                <a:gd name="connsiteY650" fmla="*/ 120015 h 1714500"/>
                <a:gd name="connsiteX651" fmla="*/ 316230 w 1333500"/>
                <a:gd name="connsiteY651" fmla="*/ 114300 h 1714500"/>
                <a:gd name="connsiteX652" fmla="*/ 319088 w 1333500"/>
                <a:gd name="connsiteY652" fmla="*/ 102870 h 1714500"/>
                <a:gd name="connsiteX653" fmla="*/ 318135 w 1333500"/>
                <a:gd name="connsiteY653" fmla="*/ 94298 h 1714500"/>
                <a:gd name="connsiteX654" fmla="*/ 317182 w 1333500"/>
                <a:gd name="connsiteY654" fmla="*/ 84773 h 1714500"/>
                <a:gd name="connsiteX655" fmla="*/ 317182 w 1333500"/>
                <a:gd name="connsiteY655" fmla="*/ 74295 h 1714500"/>
                <a:gd name="connsiteX656" fmla="*/ 320040 w 1333500"/>
                <a:gd name="connsiteY656" fmla="*/ 57150 h 1714500"/>
                <a:gd name="connsiteX657" fmla="*/ 326707 w 1333500"/>
                <a:gd name="connsiteY657" fmla="*/ 42863 h 1714500"/>
                <a:gd name="connsiteX658" fmla="*/ 337185 w 1333500"/>
                <a:gd name="connsiteY658" fmla="*/ 33338 h 1714500"/>
                <a:gd name="connsiteX659" fmla="*/ 348615 w 1333500"/>
                <a:gd name="connsiteY659" fmla="*/ 31433 h 1714500"/>
                <a:gd name="connsiteX660" fmla="*/ 360045 w 1333500"/>
                <a:gd name="connsiteY660" fmla="*/ 37148 h 1714500"/>
                <a:gd name="connsiteX661" fmla="*/ 392430 w 1333500"/>
                <a:gd name="connsiteY661" fmla="*/ 72390 h 1714500"/>
                <a:gd name="connsiteX662" fmla="*/ 401955 w 1333500"/>
                <a:gd name="connsiteY662" fmla="*/ 78105 h 1714500"/>
                <a:gd name="connsiteX663" fmla="*/ 411480 w 1333500"/>
                <a:gd name="connsiteY663" fmla="*/ 80010 h 1714500"/>
                <a:gd name="connsiteX664" fmla="*/ 462915 w 1333500"/>
                <a:gd name="connsiteY664" fmla="*/ 80010 h 1714500"/>
                <a:gd name="connsiteX665" fmla="*/ 473392 w 1333500"/>
                <a:gd name="connsiteY665" fmla="*/ 76200 h 1714500"/>
                <a:gd name="connsiteX666" fmla="*/ 485775 w 1333500"/>
                <a:gd name="connsiteY666" fmla="*/ 64770 h 1714500"/>
                <a:gd name="connsiteX667" fmla="*/ 502920 w 1333500"/>
                <a:gd name="connsiteY667" fmla="*/ 32385 h 1714500"/>
                <a:gd name="connsiteX668" fmla="*/ 513397 w 1333500"/>
                <a:gd name="connsiteY668" fmla="*/ 16192 h 1714500"/>
                <a:gd name="connsiteX669" fmla="*/ 524828 w 1333500"/>
                <a:gd name="connsiteY669" fmla="*/ 5715 h 1714500"/>
                <a:gd name="connsiteX670" fmla="*/ 536257 w 1333500"/>
                <a:gd name="connsiteY670" fmla="*/ 0 h 1714500"/>
                <a:gd name="connsiteX671" fmla="*/ 547688 w 1333500"/>
                <a:gd name="connsiteY671" fmla="*/ 952 h 1714500"/>
                <a:gd name="connsiteX672" fmla="*/ 555307 w 1333500"/>
                <a:gd name="connsiteY672" fmla="*/ 9525 h 1714500"/>
                <a:gd name="connsiteX673" fmla="*/ 557213 w 1333500"/>
                <a:gd name="connsiteY673" fmla="*/ 18098 h 1714500"/>
                <a:gd name="connsiteX674" fmla="*/ 557213 w 1333500"/>
                <a:gd name="connsiteY674" fmla="*/ 25717 h 1714500"/>
                <a:gd name="connsiteX675" fmla="*/ 557213 w 1333500"/>
                <a:gd name="connsiteY675" fmla="*/ 33338 h 1714500"/>
                <a:gd name="connsiteX676" fmla="*/ 561975 w 1333500"/>
                <a:gd name="connsiteY676" fmla="*/ 42863 h 1714500"/>
                <a:gd name="connsiteX677" fmla="*/ 568642 w 1333500"/>
                <a:gd name="connsiteY677" fmla="*/ 49530 h 1714500"/>
                <a:gd name="connsiteX678" fmla="*/ 582930 w 1333500"/>
                <a:gd name="connsiteY678" fmla="*/ 59055 h 1714500"/>
                <a:gd name="connsiteX679" fmla="*/ 589597 w 1333500"/>
                <a:gd name="connsiteY679" fmla="*/ 65723 h 1714500"/>
                <a:gd name="connsiteX680" fmla="*/ 593407 w 1333500"/>
                <a:gd name="connsiteY680" fmla="*/ 75248 h 1714500"/>
                <a:gd name="connsiteX681" fmla="*/ 599122 w 1333500"/>
                <a:gd name="connsiteY681" fmla="*/ 98108 h 1714500"/>
                <a:gd name="connsiteX682" fmla="*/ 601980 w 1333500"/>
                <a:gd name="connsiteY682" fmla="*/ 104775 h 1714500"/>
                <a:gd name="connsiteX683" fmla="*/ 608647 w 1333500"/>
                <a:gd name="connsiteY683" fmla="*/ 107633 h 1714500"/>
                <a:gd name="connsiteX684" fmla="*/ 615315 w 1333500"/>
                <a:gd name="connsiteY684" fmla="*/ 104775 h 1714500"/>
                <a:gd name="connsiteX685" fmla="*/ 629603 w 1333500"/>
                <a:gd name="connsiteY685" fmla="*/ 91440 h 1714500"/>
                <a:gd name="connsiteX686" fmla="*/ 655320 w 1333500"/>
                <a:gd name="connsiteY686" fmla="*/ 73342 h 1714500"/>
                <a:gd name="connsiteX687" fmla="*/ 669607 w 1333500"/>
                <a:gd name="connsiteY687" fmla="*/ 68580 h 1714500"/>
                <a:gd name="connsiteX688" fmla="*/ 683895 w 1333500"/>
                <a:gd name="connsiteY688" fmla="*/ 68580 h 1714500"/>
                <a:gd name="connsiteX689" fmla="*/ 730567 w 1333500"/>
                <a:gd name="connsiteY689" fmla="*/ 78105 h 1714500"/>
                <a:gd name="connsiteX690" fmla="*/ 744855 w 1333500"/>
                <a:gd name="connsiteY690" fmla="*/ 83820 h 1714500"/>
                <a:gd name="connsiteX691" fmla="*/ 748665 w 1333500"/>
                <a:gd name="connsiteY691" fmla="*/ 95250 h 1714500"/>
                <a:gd name="connsiteX692" fmla="*/ 750570 w 1333500"/>
                <a:gd name="connsiteY692" fmla="*/ 112395 h 1714500"/>
                <a:gd name="connsiteX693" fmla="*/ 758190 w 1333500"/>
                <a:gd name="connsiteY693" fmla="*/ 160020 h 1714500"/>
                <a:gd name="connsiteX694" fmla="*/ 762000 w 1333500"/>
                <a:gd name="connsiteY694" fmla="*/ 171450 h 1714500"/>
                <a:gd name="connsiteX695" fmla="*/ 766763 w 1333500"/>
                <a:gd name="connsiteY695" fmla="*/ 180975 h 1714500"/>
                <a:gd name="connsiteX696" fmla="*/ 776288 w 1333500"/>
                <a:gd name="connsiteY696" fmla="*/ 184785 h 1714500"/>
                <a:gd name="connsiteX697" fmla="*/ 783907 w 1333500"/>
                <a:gd name="connsiteY697" fmla="*/ 181927 h 1714500"/>
                <a:gd name="connsiteX698" fmla="*/ 790575 w 1333500"/>
                <a:gd name="connsiteY698" fmla="*/ 177165 h 1714500"/>
                <a:gd name="connsiteX699" fmla="*/ 797242 w 1333500"/>
                <a:gd name="connsiteY699" fmla="*/ 178117 h 1714500"/>
                <a:gd name="connsiteX700" fmla="*/ 801053 w 1333500"/>
                <a:gd name="connsiteY700" fmla="*/ 188595 h 1714500"/>
                <a:gd name="connsiteX701" fmla="*/ 804863 w 1333500"/>
                <a:gd name="connsiteY701" fmla="*/ 203835 h 1714500"/>
                <a:gd name="connsiteX702" fmla="*/ 810578 w 1333500"/>
                <a:gd name="connsiteY702" fmla="*/ 212408 h 1714500"/>
                <a:gd name="connsiteX703" fmla="*/ 820103 w 1333500"/>
                <a:gd name="connsiteY703" fmla="*/ 201930 h 1714500"/>
                <a:gd name="connsiteX704" fmla="*/ 822007 w 1333500"/>
                <a:gd name="connsiteY704" fmla="*/ 189548 h 1714500"/>
                <a:gd name="connsiteX705" fmla="*/ 821055 w 1333500"/>
                <a:gd name="connsiteY705" fmla="*/ 157163 h 1714500"/>
                <a:gd name="connsiteX706" fmla="*/ 822960 w 1333500"/>
                <a:gd name="connsiteY706" fmla="*/ 142875 h 1714500"/>
                <a:gd name="connsiteX707" fmla="*/ 833438 w 1333500"/>
                <a:gd name="connsiteY707" fmla="*/ 120015 h 1714500"/>
                <a:gd name="connsiteX708" fmla="*/ 847725 w 1333500"/>
                <a:gd name="connsiteY708" fmla="*/ 101917 h 1714500"/>
                <a:gd name="connsiteX709" fmla="*/ 864870 w 1333500"/>
                <a:gd name="connsiteY709" fmla="*/ 88583 h 1714500"/>
                <a:gd name="connsiteX710" fmla="*/ 881063 w 1333500"/>
                <a:gd name="connsiteY710" fmla="*/ 79058 h 1714500"/>
                <a:gd name="connsiteX711" fmla="*/ 897255 w 1333500"/>
                <a:gd name="connsiteY711" fmla="*/ 76200 h 1714500"/>
                <a:gd name="connsiteX712" fmla="*/ 929640 w 1333500"/>
                <a:gd name="connsiteY712" fmla="*/ 75248 h 1714500"/>
                <a:gd name="connsiteX713" fmla="*/ 942975 w 1333500"/>
                <a:gd name="connsiteY713" fmla="*/ 70485 h 1714500"/>
                <a:gd name="connsiteX714" fmla="*/ 953453 w 1333500"/>
                <a:gd name="connsiteY714" fmla="*/ 59055 h 1714500"/>
                <a:gd name="connsiteX715" fmla="*/ 965835 w 1333500"/>
                <a:gd name="connsiteY715" fmla="*/ 32385 h 1714500"/>
                <a:gd name="connsiteX716" fmla="*/ 976313 w 1333500"/>
                <a:gd name="connsiteY716" fmla="*/ 21908 h 1714500"/>
                <a:gd name="connsiteX717" fmla="*/ 986790 w 1333500"/>
                <a:gd name="connsiteY717" fmla="*/ 18098 h 1714500"/>
                <a:gd name="connsiteX718" fmla="*/ 997267 w 1333500"/>
                <a:gd name="connsiteY718" fmla="*/ 18098 h 1714500"/>
                <a:gd name="connsiteX719" fmla="*/ 1018222 w 1333500"/>
                <a:gd name="connsiteY719" fmla="*/ 22860 h 1714500"/>
                <a:gd name="connsiteX720" fmla="*/ 1031557 w 1333500"/>
                <a:gd name="connsiteY720" fmla="*/ 31433 h 1714500"/>
                <a:gd name="connsiteX721" fmla="*/ 1038225 w 1333500"/>
                <a:gd name="connsiteY721" fmla="*/ 41910 h 1714500"/>
                <a:gd name="connsiteX722" fmla="*/ 1048703 w 1333500"/>
                <a:gd name="connsiteY722" fmla="*/ 72390 h 1714500"/>
                <a:gd name="connsiteX723" fmla="*/ 1066800 w 1333500"/>
                <a:gd name="connsiteY723" fmla="*/ 99060 h 1714500"/>
                <a:gd name="connsiteX724" fmla="*/ 1072515 w 1333500"/>
                <a:gd name="connsiteY724" fmla="*/ 113348 h 1714500"/>
                <a:gd name="connsiteX725" fmla="*/ 1074420 w 1333500"/>
                <a:gd name="connsiteY725" fmla="*/ 135255 h 1714500"/>
                <a:gd name="connsiteX726" fmla="*/ 1069657 w 1333500"/>
                <a:gd name="connsiteY726" fmla="*/ 157163 h 1714500"/>
                <a:gd name="connsiteX727" fmla="*/ 1073467 w 1333500"/>
                <a:gd name="connsiteY727" fmla="*/ 166688 h 1714500"/>
                <a:gd name="connsiteX728" fmla="*/ 1082040 w 1333500"/>
                <a:gd name="connsiteY728" fmla="*/ 173355 h 1714500"/>
                <a:gd name="connsiteX729" fmla="*/ 1092517 w 1333500"/>
                <a:gd name="connsiteY729" fmla="*/ 185738 h 1714500"/>
                <a:gd name="connsiteX730" fmla="*/ 1099185 w 1333500"/>
                <a:gd name="connsiteY730" fmla="*/ 201930 h 1714500"/>
                <a:gd name="connsiteX731" fmla="*/ 1102995 w 1333500"/>
                <a:gd name="connsiteY731" fmla="*/ 220980 h 1714500"/>
                <a:gd name="connsiteX732" fmla="*/ 1109663 w 1333500"/>
                <a:gd name="connsiteY732" fmla="*/ 236220 h 1714500"/>
                <a:gd name="connsiteX733" fmla="*/ 1122045 w 1333500"/>
                <a:gd name="connsiteY733" fmla="*/ 242888 h 1714500"/>
                <a:gd name="connsiteX734" fmla="*/ 1132523 w 1333500"/>
                <a:gd name="connsiteY734" fmla="*/ 239077 h 1714500"/>
                <a:gd name="connsiteX735" fmla="*/ 1139190 w 1333500"/>
                <a:gd name="connsiteY735" fmla="*/ 233363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</a:cxnLst>
              <a:rect l="l" t="t" r="r" b="b"/>
              <a:pathLst>
                <a:path w="1333500" h="1714500">
                  <a:moveTo>
                    <a:pt x="1139190" y="233363"/>
                  </a:moveTo>
                  <a:lnTo>
                    <a:pt x="1143000" y="240983"/>
                  </a:lnTo>
                  <a:lnTo>
                    <a:pt x="1145857" y="244792"/>
                  </a:lnTo>
                  <a:lnTo>
                    <a:pt x="1148715" y="245745"/>
                  </a:lnTo>
                  <a:lnTo>
                    <a:pt x="1150620" y="244792"/>
                  </a:lnTo>
                  <a:lnTo>
                    <a:pt x="1155382" y="241935"/>
                  </a:lnTo>
                  <a:lnTo>
                    <a:pt x="1157288" y="240983"/>
                  </a:lnTo>
                  <a:lnTo>
                    <a:pt x="1159192" y="243840"/>
                  </a:lnTo>
                  <a:lnTo>
                    <a:pt x="1159192" y="245745"/>
                  </a:lnTo>
                  <a:lnTo>
                    <a:pt x="1160145" y="252413"/>
                  </a:lnTo>
                  <a:lnTo>
                    <a:pt x="1158240" y="283845"/>
                  </a:lnTo>
                  <a:lnTo>
                    <a:pt x="1157288" y="293370"/>
                  </a:lnTo>
                  <a:lnTo>
                    <a:pt x="1156335" y="300038"/>
                  </a:lnTo>
                  <a:lnTo>
                    <a:pt x="1150620" y="311467"/>
                  </a:lnTo>
                  <a:lnTo>
                    <a:pt x="1143953" y="320040"/>
                  </a:lnTo>
                  <a:lnTo>
                    <a:pt x="1137285" y="326708"/>
                  </a:lnTo>
                  <a:lnTo>
                    <a:pt x="1121092" y="339090"/>
                  </a:lnTo>
                  <a:lnTo>
                    <a:pt x="1111567" y="344805"/>
                  </a:lnTo>
                  <a:lnTo>
                    <a:pt x="1105853" y="345758"/>
                  </a:lnTo>
                  <a:lnTo>
                    <a:pt x="1099185" y="346710"/>
                  </a:lnTo>
                  <a:lnTo>
                    <a:pt x="1096328" y="347663"/>
                  </a:lnTo>
                  <a:lnTo>
                    <a:pt x="1096328" y="351473"/>
                  </a:lnTo>
                  <a:lnTo>
                    <a:pt x="1105853" y="387667"/>
                  </a:lnTo>
                  <a:lnTo>
                    <a:pt x="1111567" y="431483"/>
                  </a:lnTo>
                  <a:lnTo>
                    <a:pt x="1114425" y="442913"/>
                  </a:lnTo>
                  <a:lnTo>
                    <a:pt x="1116330" y="448628"/>
                  </a:lnTo>
                  <a:lnTo>
                    <a:pt x="1118235" y="452438"/>
                  </a:lnTo>
                  <a:lnTo>
                    <a:pt x="1120140" y="451485"/>
                  </a:lnTo>
                  <a:lnTo>
                    <a:pt x="1121092" y="449580"/>
                  </a:lnTo>
                  <a:lnTo>
                    <a:pt x="1132523" y="431483"/>
                  </a:lnTo>
                  <a:lnTo>
                    <a:pt x="1133475" y="429578"/>
                  </a:lnTo>
                  <a:lnTo>
                    <a:pt x="1136332" y="429578"/>
                  </a:lnTo>
                  <a:lnTo>
                    <a:pt x="1139190" y="429578"/>
                  </a:lnTo>
                  <a:lnTo>
                    <a:pt x="1144905" y="431483"/>
                  </a:lnTo>
                  <a:lnTo>
                    <a:pt x="1154430" y="438150"/>
                  </a:lnTo>
                  <a:lnTo>
                    <a:pt x="1170623" y="453390"/>
                  </a:lnTo>
                  <a:lnTo>
                    <a:pt x="1173480" y="457200"/>
                  </a:lnTo>
                  <a:lnTo>
                    <a:pt x="1175385" y="460058"/>
                  </a:lnTo>
                  <a:lnTo>
                    <a:pt x="1177290" y="464820"/>
                  </a:lnTo>
                  <a:lnTo>
                    <a:pt x="1178242" y="470535"/>
                  </a:lnTo>
                  <a:lnTo>
                    <a:pt x="1179195" y="473392"/>
                  </a:lnTo>
                  <a:lnTo>
                    <a:pt x="1182053" y="475298"/>
                  </a:lnTo>
                  <a:lnTo>
                    <a:pt x="1183957" y="477203"/>
                  </a:lnTo>
                  <a:lnTo>
                    <a:pt x="1197292" y="481013"/>
                  </a:lnTo>
                  <a:lnTo>
                    <a:pt x="1202055" y="483870"/>
                  </a:lnTo>
                  <a:lnTo>
                    <a:pt x="1203960" y="485775"/>
                  </a:lnTo>
                  <a:lnTo>
                    <a:pt x="1207770" y="489585"/>
                  </a:lnTo>
                  <a:lnTo>
                    <a:pt x="1210628" y="495300"/>
                  </a:lnTo>
                  <a:lnTo>
                    <a:pt x="1211580" y="497205"/>
                  </a:lnTo>
                  <a:lnTo>
                    <a:pt x="1211580" y="501015"/>
                  </a:lnTo>
                  <a:lnTo>
                    <a:pt x="1211580" y="504825"/>
                  </a:lnTo>
                  <a:lnTo>
                    <a:pt x="1208723" y="510540"/>
                  </a:lnTo>
                  <a:lnTo>
                    <a:pt x="1202055" y="521017"/>
                  </a:lnTo>
                  <a:lnTo>
                    <a:pt x="1199198" y="526733"/>
                  </a:lnTo>
                  <a:lnTo>
                    <a:pt x="1198245" y="530543"/>
                  </a:lnTo>
                  <a:lnTo>
                    <a:pt x="1197292" y="540068"/>
                  </a:lnTo>
                  <a:lnTo>
                    <a:pt x="1197292" y="545783"/>
                  </a:lnTo>
                  <a:lnTo>
                    <a:pt x="1199198" y="564833"/>
                  </a:lnTo>
                  <a:lnTo>
                    <a:pt x="1199198" y="570548"/>
                  </a:lnTo>
                  <a:lnTo>
                    <a:pt x="1197292" y="576263"/>
                  </a:lnTo>
                  <a:lnTo>
                    <a:pt x="1194435" y="576263"/>
                  </a:lnTo>
                  <a:lnTo>
                    <a:pt x="1192530" y="575310"/>
                  </a:lnTo>
                  <a:lnTo>
                    <a:pt x="1185863" y="569595"/>
                  </a:lnTo>
                  <a:lnTo>
                    <a:pt x="1183005" y="568643"/>
                  </a:lnTo>
                  <a:lnTo>
                    <a:pt x="1180148" y="567690"/>
                  </a:lnTo>
                  <a:lnTo>
                    <a:pt x="1163003" y="567690"/>
                  </a:lnTo>
                  <a:lnTo>
                    <a:pt x="1161098" y="570548"/>
                  </a:lnTo>
                  <a:lnTo>
                    <a:pt x="1160145" y="575310"/>
                  </a:lnTo>
                  <a:lnTo>
                    <a:pt x="1163003" y="586740"/>
                  </a:lnTo>
                  <a:lnTo>
                    <a:pt x="1165860" y="591503"/>
                  </a:lnTo>
                  <a:lnTo>
                    <a:pt x="1168717" y="593408"/>
                  </a:lnTo>
                  <a:lnTo>
                    <a:pt x="1171575" y="593408"/>
                  </a:lnTo>
                  <a:lnTo>
                    <a:pt x="1174432" y="594360"/>
                  </a:lnTo>
                  <a:lnTo>
                    <a:pt x="1176338" y="596265"/>
                  </a:lnTo>
                  <a:lnTo>
                    <a:pt x="1205865" y="642938"/>
                  </a:lnTo>
                  <a:lnTo>
                    <a:pt x="1218248" y="657225"/>
                  </a:lnTo>
                  <a:lnTo>
                    <a:pt x="1219200" y="659130"/>
                  </a:lnTo>
                  <a:lnTo>
                    <a:pt x="1220153" y="662940"/>
                  </a:lnTo>
                  <a:lnTo>
                    <a:pt x="1221105" y="668655"/>
                  </a:lnTo>
                  <a:lnTo>
                    <a:pt x="1210628" y="727710"/>
                  </a:lnTo>
                  <a:lnTo>
                    <a:pt x="1210628" y="730568"/>
                  </a:lnTo>
                  <a:lnTo>
                    <a:pt x="1211580" y="734378"/>
                  </a:lnTo>
                  <a:lnTo>
                    <a:pt x="1214438" y="736283"/>
                  </a:lnTo>
                  <a:lnTo>
                    <a:pt x="1216342" y="736283"/>
                  </a:lnTo>
                  <a:lnTo>
                    <a:pt x="1236345" y="734378"/>
                  </a:lnTo>
                  <a:lnTo>
                    <a:pt x="1243013" y="735330"/>
                  </a:lnTo>
                  <a:lnTo>
                    <a:pt x="1248728" y="737235"/>
                  </a:lnTo>
                  <a:lnTo>
                    <a:pt x="1252538" y="741045"/>
                  </a:lnTo>
                  <a:lnTo>
                    <a:pt x="1254442" y="743903"/>
                  </a:lnTo>
                  <a:lnTo>
                    <a:pt x="1256348" y="751522"/>
                  </a:lnTo>
                  <a:lnTo>
                    <a:pt x="1258253" y="763905"/>
                  </a:lnTo>
                  <a:lnTo>
                    <a:pt x="1265873" y="792480"/>
                  </a:lnTo>
                  <a:lnTo>
                    <a:pt x="1265873" y="796290"/>
                  </a:lnTo>
                  <a:lnTo>
                    <a:pt x="1264920" y="801053"/>
                  </a:lnTo>
                  <a:lnTo>
                    <a:pt x="1262063" y="808672"/>
                  </a:lnTo>
                  <a:lnTo>
                    <a:pt x="1259205" y="812483"/>
                  </a:lnTo>
                  <a:lnTo>
                    <a:pt x="1256348" y="815340"/>
                  </a:lnTo>
                  <a:lnTo>
                    <a:pt x="1240155" y="823913"/>
                  </a:lnTo>
                  <a:lnTo>
                    <a:pt x="1236345" y="828675"/>
                  </a:lnTo>
                  <a:lnTo>
                    <a:pt x="1231582" y="840105"/>
                  </a:lnTo>
                  <a:lnTo>
                    <a:pt x="1217295" y="862965"/>
                  </a:lnTo>
                  <a:lnTo>
                    <a:pt x="1211580" y="871538"/>
                  </a:lnTo>
                  <a:lnTo>
                    <a:pt x="1206817" y="882968"/>
                  </a:lnTo>
                  <a:lnTo>
                    <a:pt x="1205865" y="886778"/>
                  </a:lnTo>
                  <a:lnTo>
                    <a:pt x="1205865" y="889635"/>
                  </a:lnTo>
                  <a:lnTo>
                    <a:pt x="1208723" y="894397"/>
                  </a:lnTo>
                  <a:lnTo>
                    <a:pt x="1212532" y="899160"/>
                  </a:lnTo>
                  <a:lnTo>
                    <a:pt x="1222057" y="905828"/>
                  </a:lnTo>
                  <a:lnTo>
                    <a:pt x="1223010" y="908685"/>
                  </a:lnTo>
                  <a:lnTo>
                    <a:pt x="1223963" y="911543"/>
                  </a:lnTo>
                  <a:lnTo>
                    <a:pt x="1221105" y="921068"/>
                  </a:lnTo>
                  <a:lnTo>
                    <a:pt x="1216342" y="936308"/>
                  </a:lnTo>
                  <a:lnTo>
                    <a:pt x="1213485" y="941070"/>
                  </a:lnTo>
                  <a:lnTo>
                    <a:pt x="1210628" y="942022"/>
                  </a:lnTo>
                  <a:lnTo>
                    <a:pt x="1204913" y="942975"/>
                  </a:lnTo>
                  <a:lnTo>
                    <a:pt x="1203007" y="944880"/>
                  </a:lnTo>
                  <a:lnTo>
                    <a:pt x="1203007" y="948690"/>
                  </a:lnTo>
                  <a:lnTo>
                    <a:pt x="1204913" y="955358"/>
                  </a:lnTo>
                  <a:lnTo>
                    <a:pt x="1207770" y="958215"/>
                  </a:lnTo>
                  <a:lnTo>
                    <a:pt x="1213485" y="961072"/>
                  </a:lnTo>
                  <a:lnTo>
                    <a:pt x="1216342" y="965835"/>
                  </a:lnTo>
                  <a:lnTo>
                    <a:pt x="1217295" y="967740"/>
                  </a:lnTo>
                  <a:lnTo>
                    <a:pt x="1216342" y="974408"/>
                  </a:lnTo>
                  <a:lnTo>
                    <a:pt x="1211580" y="990600"/>
                  </a:lnTo>
                  <a:lnTo>
                    <a:pt x="1208723" y="996315"/>
                  </a:lnTo>
                  <a:lnTo>
                    <a:pt x="1206817" y="998220"/>
                  </a:lnTo>
                  <a:lnTo>
                    <a:pt x="1204913" y="999172"/>
                  </a:lnTo>
                  <a:lnTo>
                    <a:pt x="1202055" y="999172"/>
                  </a:lnTo>
                  <a:lnTo>
                    <a:pt x="1192530" y="997268"/>
                  </a:lnTo>
                  <a:lnTo>
                    <a:pt x="1189673" y="997268"/>
                  </a:lnTo>
                  <a:lnTo>
                    <a:pt x="1187767" y="998220"/>
                  </a:lnTo>
                  <a:lnTo>
                    <a:pt x="1186815" y="1001078"/>
                  </a:lnTo>
                  <a:lnTo>
                    <a:pt x="1186815" y="1003935"/>
                  </a:lnTo>
                  <a:lnTo>
                    <a:pt x="1188720" y="1006793"/>
                  </a:lnTo>
                  <a:lnTo>
                    <a:pt x="1197292" y="1011555"/>
                  </a:lnTo>
                  <a:lnTo>
                    <a:pt x="1199198" y="1013460"/>
                  </a:lnTo>
                  <a:lnTo>
                    <a:pt x="1199198" y="1016318"/>
                  </a:lnTo>
                  <a:lnTo>
                    <a:pt x="1196340" y="1022033"/>
                  </a:lnTo>
                  <a:lnTo>
                    <a:pt x="1193482" y="1023938"/>
                  </a:lnTo>
                  <a:lnTo>
                    <a:pt x="1190625" y="1024890"/>
                  </a:lnTo>
                  <a:lnTo>
                    <a:pt x="1179195" y="1025843"/>
                  </a:lnTo>
                  <a:lnTo>
                    <a:pt x="1177290" y="1028700"/>
                  </a:lnTo>
                  <a:lnTo>
                    <a:pt x="1178242" y="1032510"/>
                  </a:lnTo>
                  <a:lnTo>
                    <a:pt x="1181100" y="1038225"/>
                  </a:lnTo>
                  <a:lnTo>
                    <a:pt x="1184910" y="1041083"/>
                  </a:lnTo>
                  <a:lnTo>
                    <a:pt x="1187767" y="1041083"/>
                  </a:lnTo>
                  <a:lnTo>
                    <a:pt x="1190625" y="1040130"/>
                  </a:lnTo>
                  <a:lnTo>
                    <a:pt x="1210628" y="1031558"/>
                  </a:lnTo>
                  <a:lnTo>
                    <a:pt x="1213485" y="1031558"/>
                  </a:lnTo>
                  <a:lnTo>
                    <a:pt x="1236345" y="1030605"/>
                  </a:lnTo>
                  <a:lnTo>
                    <a:pt x="1239203" y="1031558"/>
                  </a:lnTo>
                  <a:lnTo>
                    <a:pt x="1242060" y="1032510"/>
                  </a:lnTo>
                  <a:lnTo>
                    <a:pt x="1245870" y="1036320"/>
                  </a:lnTo>
                  <a:lnTo>
                    <a:pt x="1252538" y="1044893"/>
                  </a:lnTo>
                  <a:lnTo>
                    <a:pt x="1258253" y="1053465"/>
                  </a:lnTo>
                  <a:lnTo>
                    <a:pt x="1260157" y="1057275"/>
                  </a:lnTo>
                  <a:lnTo>
                    <a:pt x="1263015" y="1080135"/>
                  </a:lnTo>
                  <a:lnTo>
                    <a:pt x="1269682" y="1098233"/>
                  </a:lnTo>
                  <a:lnTo>
                    <a:pt x="1271588" y="1110615"/>
                  </a:lnTo>
                  <a:lnTo>
                    <a:pt x="1274445" y="1115378"/>
                  </a:lnTo>
                  <a:lnTo>
                    <a:pt x="1276350" y="1117283"/>
                  </a:lnTo>
                  <a:lnTo>
                    <a:pt x="1283017" y="1117283"/>
                  </a:lnTo>
                  <a:lnTo>
                    <a:pt x="1289685" y="1118235"/>
                  </a:lnTo>
                  <a:lnTo>
                    <a:pt x="1291590" y="1120140"/>
                  </a:lnTo>
                  <a:lnTo>
                    <a:pt x="1295400" y="1124903"/>
                  </a:lnTo>
                  <a:lnTo>
                    <a:pt x="1301115" y="1140143"/>
                  </a:lnTo>
                  <a:lnTo>
                    <a:pt x="1305878" y="1148715"/>
                  </a:lnTo>
                  <a:lnTo>
                    <a:pt x="1309688" y="1152525"/>
                  </a:lnTo>
                  <a:lnTo>
                    <a:pt x="1311592" y="1153478"/>
                  </a:lnTo>
                  <a:lnTo>
                    <a:pt x="1318260" y="1156335"/>
                  </a:lnTo>
                  <a:lnTo>
                    <a:pt x="1320165" y="1160145"/>
                  </a:lnTo>
                  <a:lnTo>
                    <a:pt x="1320165" y="1167765"/>
                  </a:lnTo>
                  <a:lnTo>
                    <a:pt x="1317307" y="1200150"/>
                  </a:lnTo>
                  <a:lnTo>
                    <a:pt x="1318260" y="1209675"/>
                  </a:lnTo>
                  <a:lnTo>
                    <a:pt x="1317307" y="1227773"/>
                  </a:lnTo>
                  <a:lnTo>
                    <a:pt x="1318260" y="1230630"/>
                  </a:lnTo>
                  <a:lnTo>
                    <a:pt x="1320165" y="1235393"/>
                  </a:lnTo>
                  <a:lnTo>
                    <a:pt x="1321117" y="1238250"/>
                  </a:lnTo>
                  <a:lnTo>
                    <a:pt x="1324928" y="1241108"/>
                  </a:lnTo>
                  <a:lnTo>
                    <a:pt x="1332548" y="1245870"/>
                  </a:lnTo>
                  <a:lnTo>
                    <a:pt x="1334453" y="1247775"/>
                  </a:lnTo>
                  <a:lnTo>
                    <a:pt x="1336357" y="1251585"/>
                  </a:lnTo>
                  <a:lnTo>
                    <a:pt x="1336357" y="1257300"/>
                  </a:lnTo>
                  <a:lnTo>
                    <a:pt x="1336357" y="1267778"/>
                  </a:lnTo>
                  <a:lnTo>
                    <a:pt x="1339215" y="1272540"/>
                  </a:lnTo>
                  <a:lnTo>
                    <a:pt x="1340167" y="1276350"/>
                  </a:lnTo>
                  <a:lnTo>
                    <a:pt x="1340167" y="1280160"/>
                  </a:lnTo>
                  <a:lnTo>
                    <a:pt x="1336357" y="1288733"/>
                  </a:lnTo>
                  <a:lnTo>
                    <a:pt x="1332548" y="1292543"/>
                  </a:lnTo>
                  <a:lnTo>
                    <a:pt x="1328738" y="1294448"/>
                  </a:lnTo>
                  <a:lnTo>
                    <a:pt x="1311592" y="1299210"/>
                  </a:lnTo>
                  <a:lnTo>
                    <a:pt x="1308735" y="1300163"/>
                  </a:lnTo>
                  <a:lnTo>
                    <a:pt x="1306830" y="1303020"/>
                  </a:lnTo>
                  <a:lnTo>
                    <a:pt x="1305878" y="1306830"/>
                  </a:lnTo>
                  <a:lnTo>
                    <a:pt x="1305878" y="1311593"/>
                  </a:lnTo>
                  <a:lnTo>
                    <a:pt x="1306830" y="1319213"/>
                  </a:lnTo>
                  <a:lnTo>
                    <a:pt x="1314450" y="1349693"/>
                  </a:lnTo>
                  <a:lnTo>
                    <a:pt x="1312545" y="1354455"/>
                  </a:lnTo>
                  <a:lnTo>
                    <a:pt x="1309688" y="1358265"/>
                  </a:lnTo>
                  <a:lnTo>
                    <a:pt x="1307782" y="1361123"/>
                  </a:lnTo>
                  <a:lnTo>
                    <a:pt x="1307782" y="1366838"/>
                  </a:lnTo>
                  <a:lnTo>
                    <a:pt x="1309688" y="1373505"/>
                  </a:lnTo>
                  <a:lnTo>
                    <a:pt x="1340167" y="1423035"/>
                  </a:lnTo>
                  <a:lnTo>
                    <a:pt x="1341120" y="1428750"/>
                  </a:lnTo>
                  <a:lnTo>
                    <a:pt x="1340167" y="1433513"/>
                  </a:lnTo>
                  <a:lnTo>
                    <a:pt x="1337310" y="1438275"/>
                  </a:lnTo>
                  <a:lnTo>
                    <a:pt x="1324928" y="1451610"/>
                  </a:lnTo>
                  <a:lnTo>
                    <a:pt x="1321117" y="1454468"/>
                  </a:lnTo>
                  <a:lnTo>
                    <a:pt x="1306830" y="1462088"/>
                  </a:lnTo>
                  <a:lnTo>
                    <a:pt x="1304925" y="1463993"/>
                  </a:lnTo>
                  <a:lnTo>
                    <a:pt x="1302067" y="1467803"/>
                  </a:lnTo>
                  <a:lnTo>
                    <a:pt x="1298257" y="1476375"/>
                  </a:lnTo>
                  <a:lnTo>
                    <a:pt x="1289685" y="1487805"/>
                  </a:lnTo>
                  <a:lnTo>
                    <a:pt x="1285875" y="1491615"/>
                  </a:lnTo>
                  <a:lnTo>
                    <a:pt x="1283017" y="1493520"/>
                  </a:lnTo>
                  <a:lnTo>
                    <a:pt x="1275398" y="1496378"/>
                  </a:lnTo>
                  <a:lnTo>
                    <a:pt x="1272540" y="1497330"/>
                  </a:lnTo>
                  <a:lnTo>
                    <a:pt x="1266825" y="1503998"/>
                  </a:lnTo>
                  <a:lnTo>
                    <a:pt x="1263015" y="1506855"/>
                  </a:lnTo>
                  <a:lnTo>
                    <a:pt x="1245870" y="1514475"/>
                  </a:lnTo>
                  <a:lnTo>
                    <a:pt x="1226820" y="1528763"/>
                  </a:lnTo>
                  <a:lnTo>
                    <a:pt x="1222057" y="1529715"/>
                  </a:lnTo>
                  <a:lnTo>
                    <a:pt x="1217295" y="1528763"/>
                  </a:lnTo>
                  <a:lnTo>
                    <a:pt x="1214438" y="1529715"/>
                  </a:lnTo>
                  <a:lnTo>
                    <a:pt x="1211580" y="1531620"/>
                  </a:lnTo>
                  <a:lnTo>
                    <a:pt x="1208723" y="1537335"/>
                  </a:lnTo>
                  <a:lnTo>
                    <a:pt x="1205865" y="1540193"/>
                  </a:lnTo>
                  <a:lnTo>
                    <a:pt x="1202055" y="1542098"/>
                  </a:lnTo>
                  <a:lnTo>
                    <a:pt x="1195388" y="1541145"/>
                  </a:lnTo>
                  <a:lnTo>
                    <a:pt x="1192530" y="1541145"/>
                  </a:lnTo>
                  <a:lnTo>
                    <a:pt x="1190625" y="1542098"/>
                  </a:lnTo>
                  <a:lnTo>
                    <a:pt x="1185863" y="1544955"/>
                  </a:lnTo>
                  <a:lnTo>
                    <a:pt x="1184910" y="1547813"/>
                  </a:lnTo>
                  <a:lnTo>
                    <a:pt x="1183957" y="1551623"/>
                  </a:lnTo>
                  <a:lnTo>
                    <a:pt x="1185863" y="1558290"/>
                  </a:lnTo>
                  <a:lnTo>
                    <a:pt x="1186815" y="1562100"/>
                  </a:lnTo>
                  <a:lnTo>
                    <a:pt x="1189673" y="1567815"/>
                  </a:lnTo>
                  <a:lnTo>
                    <a:pt x="1190625" y="1572578"/>
                  </a:lnTo>
                  <a:lnTo>
                    <a:pt x="1189673" y="1578293"/>
                  </a:lnTo>
                  <a:lnTo>
                    <a:pt x="1187767" y="1588770"/>
                  </a:lnTo>
                  <a:lnTo>
                    <a:pt x="1184910" y="1598295"/>
                  </a:lnTo>
                  <a:lnTo>
                    <a:pt x="1181100" y="1605915"/>
                  </a:lnTo>
                  <a:lnTo>
                    <a:pt x="1178242" y="1610678"/>
                  </a:lnTo>
                  <a:lnTo>
                    <a:pt x="1174432" y="1615440"/>
                  </a:lnTo>
                  <a:lnTo>
                    <a:pt x="1174432" y="1619250"/>
                  </a:lnTo>
                  <a:lnTo>
                    <a:pt x="1181100" y="1620203"/>
                  </a:lnTo>
                  <a:lnTo>
                    <a:pt x="1187767" y="1620203"/>
                  </a:lnTo>
                  <a:lnTo>
                    <a:pt x="1200150" y="1618298"/>
                  </a:lnTo>
                  <a:lnTo>
                    <a:pt x="1205865" y="1618298"/>
                  </a:lnTo>
                  <a:lnTo>
                    <a:pt x="1206817" y="1620203"/>
                  </a:lnTo>
                  <a:lnTo>
                    <a:pt x="1207770" y="1623060"/>
                  </a:lnTo>
                  <a:lnTo>
                    <a:pt x="1207770" y="1627823"/>
                  </a:lnTo>
                  <a:lnTo>
                    <a:pt x="1207770" y="1634490"/>
                  </a:lnTo>
                  <a:lnTo>
                    <a:pt x="1206817" y="1638300"/>
                  </a:lnTo>
                  <a:lnTo>
                    <a:pt x="1204913" y="1642110"/>
                  </a:lnTo>
                  <a:lnTo>
                    <a:pt x="1203007" y="1645920"/>
                  </a:lnTo>
                  <a:lnTo>
                    <a:pt x="1195388" y="1649730"/>
                  </a:lnTo>
                  <a:lnTo>
                    <a:pt x="1190625" y="1653540"/>
                  </a:lnTo>
                  <a:lnTo>
                    <a:pt x="1188720" y="1665923"/>
                  </a:lnTo>
                  <a:lnTo>
                    <a:pt x="1176338" y="1664970"/>
                  </a:lnTo>
                  <a:lnTo>
                    <a:pt x="1170623" y="1667828"/>
                  </a:lnTo>
                  <a:lnTo>
                    <a:pt x="1166813" y="1672590"/>
                  </a:lnTo>
                  <a:lnTo>
                    <a:pt x="1149667" y="1688783"/>
                  </a:lnTo>
                  <a:lnTo>
                    <a:pt x="1144905" y="1691640"/>
                  </a:lnTo>
                  <a:lnTo>
                    <a:pt x="1140142" y="1693545"/>
                  </a:lnTo>
                  <a:lnTo>
                    <a:pt x="1130617" y="1692593"/>
                  </a:lnTo>
                  <a:lnTo>
                    <a:pt x="1108710" y="1695450"/>
                  </a:lnTo>
                  <a:lnTo>
                    <a:pt x="1102042" y="1697355"/>
                  </a:lnTo>
                  <a:lnTo>
                    <a:pt x="1098232" y="1700213"/>
                  </a:lnTo>
                  <a:lnTo>
                    <a:pt x="1096328" y="1706880"/>
                  </a:lnTo>
                  <a:lnTo>
                    <a:pt x="1096328" y="1714500"/>
                  </a:lnTo>
                  <a:lnTo>
                    <a:pt x="1095375" y="1718310"/>
                  </a:lnTo>
                  <a:lnTo>
                    <a:pt x="1092517" y="1719263"/>
                  </a:lnTo>
                  <a:lnTo>
                    <a:pt x="1089660" y="1719263"/>
                  </a:lnTo>
                  <a:lnTo>
                    <a:pt x="1079182" y="1718310"/>
                  </a:lnTo>
                  <a:lnTo>
                    <a:pt x="1022985" y="1722120"/>
                  </a:lnTo>
                  <a:lnTo>
                    <a:pt x="985838" y="1715453"/>
                  </a:lnTo>
                  <a:lnTo>
                    <a:pt x="965835" y="1717358"/>
                  </a:lnTo>
                  <a:lnTo>
                    <a:pt x="954405" y="1714500"/>
                  </a:lnTo>
                  <a:lnTo>
                    <a:pt x="949642" y="1712595"/>
                  </a:lnTo>
                  <a:lnTo>
                    <a:pt x="943928" y="1708785"/>
                  </a:lnTo>
                  <a:lnTo>
                    <a:pt x="942022" y="1704023"/>
                  </a:lnTo>
                  <a:lnTo>
                    <a:pt x="942975" y="1701165"/>
                  </a:lnTo>
                  <a:lnTo>
                    <a:pt x="943928" y="1699260"/>
                  </a:lnTo>
                  <a:lnTo>
                    <a:pt x="949642" y="1693545"/>
                  </a:lnTo>
                  <a:lnTo>
                    <a:pt x="951547" y="1687830"/>
                  </a:lnTo>
                  <a:lnTo>
                    <a:pt x="951547" y="1685925"/>
                  </a:lnTo>
                  <a:lnTo>
                    <a:pt x="950595" y="1683068"/>
                  </a:lnTo>
                  <a:lnTo>
                    <a:pt x="943928" y="1672590"/>
                  </a:lnTo>
                  <a:lnTo>
                    <a:pt x="942975" y="1669733"/>
                  </a:lnTo>
                  <a:lnTo>
                    <a:pt x="942022" y="1664018"/>
                  </a:lnTo>
                  <a:lnTo>
                    <a:pt x="941070" y="1660208"/>
                  </a:lnTo>
                  <a:lnTo>
                    <a:pt x="938213" y="1656398"/>
                  </a:lnTo>
                  <a:lnTo>
                    <a:pt x="928688" y="1648778"/>
                  </a:lnTo>
                  <a:lnTo>
                    <a:pt x="925830" y="1646873"/>
                  </a:lnTo>
                  <a:lnTo>
                    <a:pt x="925830" y="1643063"/>
                  </a:lnTo>
                  <a:lnTo>
                    <a:pt x="927735" y="1637348"/>
                  </a:lnTo>
                  <a:lnTo>
                    <a:pt x="930592" y="1632585"/>
                  </a:lnTo>
                  <a:lnTo>
                    <a:pt x="955357" y="1600200"/>
                  </a:lnTo>
                  <a:lnTo>
                    <a:pt x="955357" y="1597343"/>
                  </a:lnTo>
                  <a:lnTo>
                    <a:pt x="954405" y="1594485"/>
                  </a:lnTo>
                  <a:lnTo>
                    <a:pt x="939165" y="1583055"/>
                  </a:lnTo>
                  <a:lnTo>
                    <a:pt x="936307" y="1579245"/>
                  </a:lnTo>
                  <a:lnTo>
                    <a:pt x="931545" y="1572578"/>
                  </a:lnTo>
                  <a:lnTo>
                    <a:pt x="922972" y="1553528"/>
                  </a:lnTo>
                  <a:lnTo>
                    <a:pt x="922020" y="1549718"/>
                  </a:lnTo>
                  <a:lnTo>
                    <a:pt x="922020" y="1546860"/>
                  </a:lnTo>
                  <a:lnTo>
                    <a:pt x="922020" y="1540193"/>
                  </a:lnTo>
                  <a:lnTo>
                    <a:pt x="922020" y="1537335"/>
                  </a:lnTo>
                  <a:lnTo>
                    <a:pt x="920115" y="1528763"/>
                  </a:lnTo>
                  <a:lnTo>
                    <a:pt x="919163" y="1525905"/>
                  </a:lnTo>
                  <a:lnTo>
                    <a:pt x="921067" y="1518285"/>
                  </a:lnTo>
                  <a:lnTo>
                    <a:pt x="920115" y="1515428"/>
                  </a:lnTo>
                  <a:lnTo>
                    <a:pt x="917257" y="1510665"/>
                  </a:lnTo>
                  <a:lnTo>
                    <a:pt x="908685" y="1502093"/>
                  </a:lnTo>
                  <a:lnTo>
                    <a:pt x="905828" y="1497330"/>
                  </a:lnTo>
                  <a:lnTo>
                    <a:pt x="904875" y="1493520"/>
                  </a:lnTo>
                  <a:lnTo>
                    <a:pt x="906780" y="1487805"/>
                  </a:lnTo>
                  <a:lnTo>
                    <a:pt x="905828" y="1484948"/>
                  </a:lnTo>
                  <a:lnTo>
                    <a:pt x="902970" y="1483043"/>
                  </a:lnTo>
                  <a:lnTo>
                    <a:pt x="900113" y="1482090"/>
                  </a:lnTo>
                  <a:lnTo>
                    <a:pt x="866775" y="1477328"/>
                  </a:lnTo>
                  <a:lnTo>
                    <a:pt x="862965" y="1478280"/>
                  </a:lnTo>
                  <a:lnTo>
                    <a:pt x="860107" y="1480185"/>
                  </a:lnTo>
                  <a:lnTo>
                    <a:pt x="859155" y="1486853"/>
                  </a:lnTo>
                  <a:lnTo>
                    <a:pt x="856297" y="1492568"/>
                  </a:lnTo>
                  <a:lnTo>
                    <a:pt x="853440" y="1497330"/>
                  </a:lnTo>
                  <a:lnTo>
                    <a:pt x="849630" y="1501140"/>
                  </a:lnTo>
                  <a:lnTo>
                    <a:pt x="844867" y="1503998"/>
                  </a:lnTo>
                  <a:lnTo>
                    <a:pt x="832485" y="1508760"/>
                  </a:lnTo>
                  <a:lnTo>
                    <a:pt x="825817" y="1513523"/>
                  </a:lnTo>
                  <a:lnTo>
                    <a:pt x="822007" y="1517333"/>
                  </a:lnTo>
                  <a:lnTo>
                    <a:pt x="815340" y="1530668"/>
                  </a:lnTo>
                  <a:lnTo>
                    <a:pt x="811530" y="1542098"/>
                  </a:lnTo>
                  <a:lnTo>
                    <a:pt x="808672" y="1546860"/>
                  </a:lnTo>
                  <a:lnTo>
                    <a:pt x="805815" y="1548765"/>
                  </a:lnTo>
                  <a:lnTo>
                    <a:pt x="801053" y="1549718"/>
                  </a:lnTo>
                  <a:lnTo>
                    <a:pt x="761047" y="1543050"/>
                  </a:lnTo>
                  <a:lnTo>
                    <a:pt x="758190" y="1543050"/>
                  </a:lnTo>
                  <a:lnTo>
                    <a:pt x="755332" y="1544003"/>
                  </a:lnTo>
                  <a:lnTo>
                    <a:pt x="745807" y="1549718"/>
                  </a:lnTo>
                  <a:lnTo>
                    <a:pt x="738188" y="1552575"/>
                  </a:lnTo>
                  <a:lnTo>
                    <a:pt x="726757" y="1554480"/>
                  </a:lnTo>
                  <a:lnTo>
                    <a:pt x="724853" y="1553528"/>
                  </a:lnTo>
                  <a:lnTo>
                    <a:pt x="721042" y="1549718"/>
                  </a:lnTo>
                  <a:lnTo>
                    <a:pt x="718185" y="1546860"/>
                  </a:lnTo>
                  <a:lnTo>
                    <a:pt x="704850" y="1539240"/>
                  </a:lnTo>
                  <a:lnTo>
                    <a:pt x="700088" y="1538288"/>
                  </a:lnTo>
                  <a:lnTo>
                    <a:pt x="653415" y="1537335"/>
                  </a:lnTo>
                  <a:lnTo>
                    <a:pt x="647700" y="1538288"/>
                  </a:lnTo>
                  <a:lnTo>
                    <a:pt x="645795" y="1540193"/>
                  </a:lnTo>
                  <a:lnTo>
                    <a:pt x="636270" y="1558290"/>
                  </a:lnTo>
                  <a:lnTo>
                    <a:pt x="631507" y="1563053"/>
                  </a:lnTo>
                  <a:lnTo>
                    <a:pt x="622935" y="1565910"/>
                  </a:lnTo>
                  <a:lnTo>
                    <a:pt x="612457" y="1566863"/>
                  </a:lnTo>
                  <a:lnTo>
                    <a:pt x="606742" y="1566863"/>
                  </a:lnTo>
                  <a:lnTo>
                    <a:pt x="601980" y="1566863"/>
                  </a:lnTo>
                  <a:lnTo>
                    <a:pt x="577215" y="1554480"/>
                  </a:lnTo>
                  <a:lnTo>
                    <a:pt x="571500" y="1553528"/>
                  </a:lnTo>
                  <a:lnTo>
                    <a:pt x="566738" y="1553528"/>
                  </a:lnTo>
                  <a:lnTo>
                    <a:pt x="557213" y="1558290"/>
                  </a:lnTo>
                  <a:lnTo>
                    <a:pt x="552450" y="1560195"/>
                  </a:lnTo>
                  <a:lnTo>
                    <a:pt x="501015" y="1562100"/>
                  </a:lnTo>
                  <a:lnTo>
                    <a:pt x="456247" y="1574483"/>
                  </a:lnTo>
                  <a:lnTo>
                    <a:pt x="439103" y="1576388"/>
                  </a:lnTo>
                  <a:lnTo>
                    <a:pt x="402907" y="1570673"/>
                  </a:lnTo>
                  <a:lnTo>
                    <a:pt x="356235" y="1576388"/>
                  </a:lnTo>
                  <a:lnTo>
                    <a:pt x="246697" y="1544955"/>
                  </a:lnTo>
                  <a:lnTo>
                    <a:pt x="243840" y="1541145"/>
                  </a:lnTo>
                  <a:lnTo>
                    <a:pt x="240982" y="1536383"/>
                  </a:lnTo>
                  <a:lnTo>
                    <a:pt x="240030" y="1533525"/>
                  </a:lnTo>
                  <a:lnTo>
                    <a:pt x="239078" y="1527810"/>
                  </a:lnTo>
                  <a:lnTo>
                    <a:pt x="237172" y="1522095"/>
                  </a:lnTo>
                  <a:lnTo>
                    <a:pt x="231457" y="1513523"/>
                  </a:lnTo>
                  <a:lnTo>
                    <a:pt x="217170" y="1494473"/>
                  </a:lnTo>
                  <a:lnTo>
                    <a:pt x="214313" y="1489710"/>
                  </a:lnTo>
                  <a:lnTo>
                    <a:pt x="213360" y="1483995"/>
                  </a:lnTo>
                  <a:lnTo>
                    <a:pt x="215265" y="1475423"/>
                  </a:lnTo>
                  <a:lnTo>
                    <a:pt x="215265" y="1472565"/>
                  </a:lnTo>
                  <a:lnTo>
                    <a:pt x="213360" y="1467803"/>
                  </a:lnTo>
                  <a:lnTo>
                    <a:pt x="211455" y="1465898"/>
                  </a:lnTo>
                  <a:lnTo>
                    <a:pt x="208597" y="1463993"/>
                  </a:lnTo>
                  <a:lnTo>
                    <a:pt x="189547" y="1456373"/>
                  </a:lnTo>
                  <a:lnTo>
                    <a:pt x="185738" y="1453515"/>
                  </a:lnTo>
                  <a:lnTo>
                    <a:pt x="183832" y="1449705"/>
                  </a:lnTo>
                  <a:lnTo>
                    <a:pt x="185738" y="1431608"/>
                  </a:lnTo>
                  <a:lnTo>
                    <a:pt x="186690" y="1428750"/>
                  </a:lnTo>
                  <a:lnTo>
                    <a:pt x="187642" y="1426845"/>
                  </a:lnTo>
                  <a:lnTo>
                    <a:pt x="190500" y="1425893"/>
                  </a:lnTo>
                  <a:lnTo>
                    <a:pt x="200025" y="1424940"/>
                  </a:lnTo>
                  <a:lnTo>
                    <a:pt x="202882" y="1423988"/>
                  </a:lnTo>
                  <a:lnTo>
                    <a:pt x="204788" y="1422083"/>
                  </a:lnTo>
                  <a:lnTo>
                    <a:pt x="204788" y="1420178"/>
                  </a:lnTo>
                  <a:lnTo>
                    <a:pt x="203835" y="1414463"/>
                  </a:lnTo>
                  <a:lnTo>
                    <a:pt x="201930" y="1408748"/>
                  </a:lnTo>
                  <a:lnTo>
                    <a:pt x="186690" y="1382078"/>
                  </a:lnTo>
                  <a:lnTo>
                    <a:pt x="185738" y="1377315"/>
                  </a:lnTo>
                  <a:lnTo>
                    <a:pt x="185738" y="1374458"/>
                  </a:lnTo>
                  <a:lnTo>
                    <a:pt x="187642" y="1373505"/>
                  </a:lnTo>
                  <a:lnTo>
                    <a:pt x="213360" y="1378268"/>
                  </a:lnTo>
                  <a:lnTo>
                    <a:pt x="217170" y="1377315"/>
                  </a:lnTo>
                  <a:lnTo>
                    <a:pt x="222885" y="1376363"/>
                  </a:lnTo>
                  <a:lnTo>
                    <a:pt x="226695" y="1372553"/>
                  </a:lnTo>
                  <a:lnTo>
                    <a:pt x="229553" y="1368743"/>
                  </a:lnTo>
                  <a:lnTo>
                    <a:pt x="233363" y="1364933"/>
                  </a:lnTo>
                  <a:lnTo>
                    <a:pt x="236220" y="1363028"/>
                  </a:lnTo>
                  <a:lnTo>
                    <a:pt x="244792" y="1362075"/>
                  </a:lnTo>
                  <a:lnTo>
                    <a:pt x="246697" y="1360170"/>
                  </a:lnTo>
                  <a:lnTo>
                    <a:pt x="248603" y="1353503"/>
                  </a:lnTo>
                  <a:lnTo>
                    <a:pt x="249555" y="1343978"/>
                  </a:lnTo>
                  <a:lnTo>
                    <a:pt x="248603" y="1336358"/>
                  </a:lnTo>
                  <a:lnTo>
                    <a:pt x="246697" y="1332548"/>
                  </a:lnTo>
                  <a:lnTo>
                    <a:pt x="244792" y="1329690"/>
                  </a:lnTo>
                  <a:lnTo>
                    <a:pt x="242888" y="1328738"/>
                  </a:lnTo>
                  <a:lnTo>
                    <a:pt x="232410" y="1323975"/>
                  </a:lnTo>
                  <a:lnTo>
                    <a:pt x="228600" y="1321118"/>
                  </a:lnTo>
                  <a:lnTo>
                    <a:pt x="226695" y="1318260"/>
                  </a:lnTo>
                  <a:lnTo>
                    <a:pt x="225742" y="1315403"/>
                  </a:lnTo>
                  <a:lnTo>
                    <a:pt x="226695" y="1310640"/>
                  </a:lnTo>
                  <a:lnTo>
                    <a:pt x="229553" y="1302068"/>
                  </a:lnTo>
                  <a:lnTo>
                    <a:pt x="232410" y="1296353"/>
                  </a:lnTo>
                  <a:lnTo>
                    <a:pt x="239078" y="1287780"/>
                  </a:lnTo>
                  <a:lnTo>
                    <a:pt x="240030" y="1283970"/>
                  </a:lnTo>
                  <a:lnTo>
                    <a:pt x="239078" y="1282065"/>
                  </a:lnTo>
                  <a:lnTo>
                    <a:pt x="237172" y="1279208"/>
                  </a:lnTo>
                  <a:lnTo>
                    <a:pt x="230505" y="1273493"/>
                  </a:lnTo>
                  <a:lnTo>
                    <a:pt x="229553" y="1269683"/>
                  </a:lnTo>
                  <a:lnTo>
                    <a:pt x="229553" y="1266825"/>
                  </a:lnTo>
                  <a:lnTo>
                    <a:pt x="230505" y="1263968"/>
                  </a:lnTo>
                  <a:lnTo>
                    <a:pt x="232410" y="1263015"/>
                  </a:lnTo>
                  <a:lnTo>
                    <a:pt x="237172" y="1260158"/>
                  </a:lnTo>
                  <a:lnTo>
                    <a:pt x="240030" y="1258253"/>
                  </a:lnTo>
                  <a:lnTo>
                    <a:pt x="240982" y="1254443"/>
                  </a:lnTo>
                  <a:lnTo>
                    <a:pt x="240982" y="1247775"/>
                  </a:lnTo>
                  <a:lnTo>
                    <a:pt x="239078" y="1241108"/>
                  </a:lnTo>
                  <a:lnTo>
                    <a:pt x="233363" y="1232535"/>
                  </a:lnTo>
                  <a:lnTo>
                    <a:pt x="224790" y="1223010"/>
                  </a:lnTo>
                  <a:lnTo>
                    <a:pt x="220980" y="1217295"/>
                  </a:lnTo>
                  <a:lnTo>
                    <a:pt x="219075" y="1213485"/>
                  </a:lnTo>
                  <a:lnTo>
                    <a:pt x="218122" y="1210628"/>
                  </a:lnTo>
                  <a:lnTo>
                    <a:pt x="218122" y="1206818"/>
                  </a:lnTo>
                  <a:lnTo>
                    <a:pt x="220028" y="1187768"/>
                  </a:lnTo>
                  <a:lnTo>
                    <a:pt x="220028" y="1182053"/>
                  </a:lnTo>
                  <a:lnTo>
                    <a:pt x="219075" y="1175385"/>
                  </a:lnTo>
                  <a:lnTo>
                    <a:pt x="217170" y="1171575"/>
                  </a:lnTo>
                  <a:lnTo>
                    <a:pt x="214313" y="1168718"/>
                  </a:lnTo>
                  <a:lnTo>
                    <a:pt x="211455" y="1168718"/>
                  </a:lnTo>
                  <a:lnTo>
                    <a:pt x="207645" y="1168718"/>
                  </a:lnTo>
                  <a:lnTo>
                    <a:pt x="205740" y="1170623"/>
                  </a:lnTo>
                  <a:lnTo>
                    <a:pt x="201930" y="1178243"/>
                  </a:lnTo>
                  <a:lnTo>
                    <a:pt x="197167" y="1184910"/>
                  </a:lnTo>
                  <a:lnTo>
                    <a:pt x="193357" y="1194435"/>
                  </a:lnTo>
                  <a:lnTo>
                    <a:pt x="190500" y="1199198"/>
                  </a:lnTo>
                  <a:lnTo>
                    <a:pt x="188595" y="1200150"/>
                  </a:lnTo>
                  <a:lnTo>
                    <a:pt x="185738" y="1201103"/>
                  </a:lnTo>
                  <a:lnTo>
                    <a:pt x="161925" y="1198245"/>
                  </a:lnTo>
                  <a:lnTo>
                    <a:pt x="160020" y="1198245"/>
                  </a:lnTo>
                  <a:lnTo>
                    <a:pt x="156210" y="1196340"/>
                  </a:lnTo>
                  <a:lnTo>
                    <a:pt x="155257" y="1192530"/>
                  </a:lnTo>
                  <a:lnTo>
                    <a:pt x="154305" y="1182053"/>
                  </a:lnTo>
                  <a:lnTo>
                    <a:pt x="153353" y="1179195"/>
                  </a:lnTo>
                  <a:lnTo>
                    <a:pt x="152400" y="1176338"/>
                  </a:lnTo>
                  <a:lnTo>
                    <a:pt x="147638" y="1172528"/>
                  </a:lnTo>
                  <a:lnTo>
                    <a:pt x="137160" y="1169670"/>
                  </a:lnTo>
                  <a:lnTo>
                    <a:pt x="132397" y="1166813"/>
                  </a:lnTo>
                  <a:lnTo>
                    <a:pt x="129540" y="1163003"/>
                  </a:lnTo>
                  <a:lnTo>
                    <a:pt x="126682" y="1156335"/>
                  </a:lnTo>
                  <a:lnTo>
                    <a:pt x="123825" y="1154430"/>
                  </a:lnTo>
                  <a:lnTo>
                    <a:pt x="120967" y="1153478"/>
                  </a:lnTo>
                  <a:lnTo>
                    <a:pt x="115253" y="1154430"/>
                  </a:lnTo>
                  <a:lnTo>
                    <a:pt x="111442" y="1154430"/>
                  </a:lnTo>
                  <a:lnTo>
                    <a:pt x="109538" y="1152525"/>
                  </a:lnTo>
                  <a:lnTo>
                    <a:pt x="108585" y="1149668"/>
                  </a:lnTo>
                  <a:lnTo>
                    <a:pt x="109538" y="1146810"/>
                  </a:lnTo>
                  <a:lnTo>
                    <a:pt x="112395" y="1142048"/>
                  </a:lnTo>
                  <a:lnTo>
                    <a:pt x="114300" y="1139190"/>
                  </a:lnTo>
                  <a:lnTo>
                    <a:pt x="113347" y="1136333"/>
                  </a:lnTo>
                  <a:lnTo>
                    <a:pt x="111442" y="1134428"/>
                  </a:lnTo>
                  <a:lnTo>
                    <a:pt x="106680" y="1131570"/>
                  </a:lnTo>
                  <a:lnTo>
                    <a:pt x="89535" y="1118235"/>
                  </a:lnTo>
                  <a:lnTo>
                    <a:pt x="66675" y="1104900"/>
                  </a:lnTo>
                  <a:lnTo>
                    <a:pt x="60960" y="1100138"/>
                  </a:lnTo>
                  <a:lnTo>
                    <a:pt x="58103" y="1096328"/>
                  </a:lnTo>
                  <a:lnTo>
                    <a:pt x="56197" y="1092518"/>
                  </a:lnTo>
                  <a:lnTo>
                    <a:pt x="54292" y="1082993"/>
                  </a:lnTo>
                  <a:lnTo>
                    <a:pt x="52388" y="1079183"/>
                  </a:lnTo>
                  <a:lnTo>
                    <a:pt x="50482" y="1077278"/>
                  </a:lnTo>
                  <a:lnTo>
                    <a:pt x="45720" y="1074420"/>
                  </a:lnTo>
                  <a:lnTo>
                    <a:pt x="31432" y="1071563"/>
                  </a:lnTo>
                  <a:lnTo>
                    <a:pt x="27622" y="1070610"/>
                  </a:lnTo>
                  <a:lnTo>
                    <a:pt x="22860" y="1066800"/>
                  </a:lnTo>
                  <a:lnTo>
                    <a:pt x="20003" y="1064895"/>
                  </a:lnTo>
                  <a:lnTo>
                    <a:pt x="19050" y="1061085"/>
                  </a:lnTo>
                  <a:lnTo>
                    <a:pt x="19050" y="1054418"/>
                  </a:lnTo>
                  <a:lnTo>
                    <a:pt x="29528" y="1016318"/>
                  </a:lnTo>
                  <a:lnTo>
                    <a:pt x="32385" y="1010603"/>
                  </a:lnTo>
                  <a:lnTo>
                    <a:pt x="35242" y="1005840"/>
                  </a:lnTo>
                  <a:lnTo>
                    <a:pt x="39053" y="1002030"/>
                  </a:lnTo>
                  <a:lnTo>
                    <a:pt x="43815" y="999172"/>
                  </a:lnTo>
                  <a:lnTo>
                    <a:pt x="55245" y="992505"/>
                  </a:lnTo>
                  <a:lnTo>
                    <a:pt x="59055" y="988695"/>
                  </a:lnTo>
                  <a:lnTo>
                    <a:pt x="59055" y="985838"/>
                  </a:lnTo>
                  <a:lnTo>
                    <a:pt x="54292" y="982980"/>
                  </a:lnTo>
                  <a:lnTo>
                    <a:pt x="43815" y="980122"/>
                  </a:lnTo>
                  <a:lnTo>
                    <a:pt x="40005" y="979170"/>
                  </a:lnTo>
                  <a:lnTo>
                    <a:pt x="36195" y="975360"/>
                  </a:lnTo>
                  <a:lnTo>
                    <a:pt x="33338" y="971550"/>
                  </a:lnTo>
                  <a:lnTo>
                    <a:pt x="31432" y="966788"/>
                  </a:lnTo>
                  <a:lnTo>
                    <a:pt x="28575" y="959168"/>
                  </a:lnTo>
                  <a:lnTo>
                    <a:pt x="24765" y="956310"/>
                  </a:lnTo>
                  <a:lnTo>
                    <a:pt x="17145" y="950595"/>
                  </a:lnTo>
                  <a:lnTo>
                    <a:pt x="10478" y="940118"/>
                  </a:lnTo>
                  <a:lnTo>
                    <a:pt x="7620" y="937260"/>
                  </a:lnTo>
                  <a:lnTo>
                    <a:pt x="0" y="933450"/>
                  </a:lnTo>
                  <a:lnTo>
                    <a:pt x="19050" y="911543"/>
                  </a:lnTo>
                  <a:lnTo>
                    <a:pt x="22860" y="899160"/>
                  </a:lnTo>
                  <a:lnTo>
                    <a:pt x="21907" y="895350"/>
                  </a:lnTo>
                  <a:lnTo>
                    <a:pt x="18097" y="891540"/>
                  </a:lnTo>
                  <a:lnTo>
                    <a:pt x="7620" y="885825"/>
                  </a:lnTo>
                  <a:lnTo>
                    <a:pt x="4763" y="883920"/>
                  </a:lnTo>
                  <a:lnTo>
                    <a:pt x="2857" y="880110"/>
                  </a:lnTo>
                  <a:lnTo>
                    <a:pt x="0" y="873443"/>
                  </a:lnTo>
                  <a:lnTo>
                    <a:pt x="0" y="869633"/>
                  </a:lnTo>
                  <a:lnTo>
                    <a:pt x="1905" y="864870"/>
                  </a:lnTo>
                  <a:lnTo>
                    <a:pt x="4763" y="856297"/>
                  </a:lnTo>
                  <a:lnTo>
                    <a:pt x="10478" y="841058"/>
                  </a:lnTo>
                  <a:lnTo>
                    <a:pt x="12382" y="837247"/>
                  </a:lnTo>
                  <a:lnTo>
                    <a:pt x="22860" y="823913"/>
                  </a:lnTo>
                  <a:lnTo>
                    <a:pt x="26670" y="816293"/>
                  </a:lnTo>
                  <a:lnTo>
                    <a:pt x="39053" y="784860"/>
                  </a:lnTo>
                  <a:lnTo>
                    <a:pt x="40957" y="776288"/>
                  </a:lnTo>
                  <a:lnTo>
                    <a:pt x="41910" y="770572"/>
                  </a:lnTo>
                  <a:lnTo>
                    <a:pt x="40005" y="762000"/>
                  </a:lnTo>
                  <a:lnTo>
                    <a:pt x="36195" y="754380"/>
                  </a:lnTo>
                  <a:lnTo>
                    <a:pt x="25717" y="738188"/>
                  </a:lnTo>
                  <a:lnTo>
                    <a:pt x="20955" y="728663"/>
                  </a:lnTo>
                  <a:lnTo>
                    <a:pt x="18097" y="721995"/>
                  </a:lnTo>
                  <a:lnTo>
                    <a:pt x="17145" y="717233"/>
                  </a:lnTo>
                  <a:lnTo>
                    <a:pt x="16192" y="707708"/>
                  </a:lnTo>
                  <a:lnTo>
                    <a:pt x="16192" y="701993"/>
                  </a:lnTo>
                  <a:lnTo>
                    <a:pt x="17145" y="697230"/>
                  </a:lnTo>
                  <a:lnTo>
                    <a:pt x="24765" y="657225"/>
                  </a:lnTo>
                  <a:lnTo>
                    <a:pt x="25717" y="648653"/>
                  </a:lnTo>
                  <a:lnTo>
                    <a:pt x="24765" y="642938"/>
                  </a:lnTo>
                  <a:lnTo>
                    <a:pt x="22860" y="637222"/>
                  </a:lnTo>
                  <a:lnTo>
                    <a:pt x="16192" y="628650"/>
                  </a:lnTo>
                  <a:lnTo>
                    <a:pt x="14288" y="625793"/>
                  </a:lnTo>
                  <a:lnTo>
                    <a:pt x="12382" y="621030"/>
                  </a:lnTo>
                  <a:lnTo>
                    <a:pt x="13335" y="618172"/>
                  </a:lnTo>
                  <a:lnTo>
                    <a:pt x="19050" y="616268"/>
                  </a:lnTo>
                  <a:lnTo>
                    <a:pt x="20955" y="613410"/>
                  </a:lnTo>
                  <a:lnTo>
                    <a:pt x="23813" y="608647"/>
                  </a:lnTo>
                  <a:lnTo>
                    <a:pt x="22860" y="605790"/>
                  </a:lnTo>
                  <a:lnTo>
                    <a:pt x="21907" y="602933"/>
                  </a:lnTo>
                  <a:lnTo>
                    <a:pt x="18097" y="599122"/>
                  </a:lnTo>
                  <a:lnTo>
                    <a:pt x="16192" y="596265"/>
                  </a:lnTo>
                  <a:lnTo>
                    <a:pt x="14288" y="592455"/>
                  </a:lnTo>
                  <a:lnTo>
                    <a:pt x="13335" y="584835"/>
                  </a:lnTo>
                  <a:lnTo>
                    <a:pt x="13335" y="580073"/>
                  </a:lnTo>
                  <a:lnTo>
                    <a:pt x="12382" y="576263"/>
                  </a:lnTo>
                  <a:lnTo>
                    <a:pt x="6667" y="565785"/>
                  </a:lnTo>
                  <a:lnTo>
                    <a:pt x="2857" y="558165"/>
                  </a:lnTo>
                  <a:lnTo>
                    <a:pt x="3810" y="554355"/>
                  </a:lnTo>
                  <a:lnTo>
                    <a:pt x="7620" y="550545"/>
                  </a:lnTo>
                  <a:lnTo>
                    <a:pt x="12382" y="533400"/>
                  </a:lnTo>
                  <a:lnTo>
                    <a:pt x="14288" y="529590"/>
                  </a:lnTo>
                  <a:lnTo>
                    <a:pt x="16192" y="527685"/>
                  </a:lnTo>
                  <a:lnTo>
                    <a:pt x="20955" y="524828"/>
                  </a:lnTo>
                  <a:lnTo>
                    <a:pt x="41910" y="520065"/>
                  </a:lnTo>
                  <a:lnTo>
                    <a:pt x="54292" y="514350"/>
                  </a:lnTo>
                  <a:lnTo>
                    <a:pt x="56197" y="511492"/>
                  </a:lnTo>
                  <a:lnTo>
                    <a:pt x="59055" y="506730"/>
                  </a:lnTo>
                  <a:lnTo>
                    <a:pt x="65722" y="491490"/>
                  </a:lnTo>
                  <a:lnTo>
                    <a:pt x="67628" y="487680"/>
                  </a:lnTo>
                  <a:lnTo>
                    <a:pt x="69532" y="485775"/>
                  </a:lnTo>
                  <a:lnTo>
                    <a:pt x="75247" y="480060"/>
                  </a:lnTo>
                  <a:lnTo>
                    <a:pt x="80010" y="473392"/>
                  </a:lnTo>
                  <a:lnTo>
                    <a:pt x="82867" y="466725"/>
                  </a:lnTo>
                  <a:lnTo>
                    <a:pt x="84772" y="461010"/>
                  </a:lnTo>
                  <a:lnTo>
                    <a:pt x="85725" y="441960"/>
                  </a:lnTo>
                  <a:lnTo>
                    <a:pt x="86678" y="436245"/>
                  </a:lnTo>
                  <a:lnTo>
                    <a:pt x="87630" y="431483"/>
                  </a:lnTo>
                  <a:lnTo>
                    <a:pt x="88582" y="428625"/>
                  </a:lnTo>
                  <a:lnTo>
                    <a:pt x="93345" y="422910"/>
                  </a:lnTo>
                  <a:lnTo>
                    <a:pt x="97155" y="419100"/>
                  </a:lnTo>
                  <a:lnTo>
                    <a:pt x="99060" y="415290"/>
                  </a:lnTo>
                  <a:lnTo>
                    <a:pt x="101917" y="410528"/>
                  </a:lnTo>
                  <a:lnTo>
                    <a:pt x="108585" y="389573"/>
                  </a:lnTo>
                  <a:lnTo>
                    <a:pt x="111442" y="384810"/>
                  </a:lnTo>
                  <a:lnTo>
                    <a:pt x="113347" y="382905"/>
                  </a:lnTo>
                  <a:lnTo>
                    <a:pt x="125730" y="375285"/>
                  </a:lnTo>
                  <a:lnTo>
                    <a:pt x="128588" y="372428"/>
                  </a:lnTo>
                  <a:lnTo>
                    <a:pt x="131445" y="368617"/>
                  </a:lnTo>
                  <a:lnTo>
                    <a:pt x="135255" y="359092"/>
                  </a:lnTo>
                  <a:lnTo>
                    <a:pt x="137160" y="353378"/>
                  </a:lnTo>
                  <a:lnTo>
                    <a:pt x="138113" y="348615"/>
                  </a:lnTo>
                  <a:lnTo>
                    <a:pt x="138113" y="344805"/>
                  </a:lnTo>
                  <a:lnTo>
                    <a:pt x="137160" y="340042"/>
                  </a:lnTo>
                  <a:lnTo>
                    <a:pt x="136207" y="336233"/>
                  </a:lnTo>
                  <a:lnTo>
                    <a:pt x="119063" y="300038"/>
                  </a:lnTo>
                  <a:lnTo>
                    <a:pt x="118110" y="296228"/>
                  </a:lnTo>
                  <a:lnTo>
                    <a:pt x="119063" y="294323"/>
                  </a:lnTo>
                  <a:lnTo>
                    <a:pt x="120967" y="292417"/>
                  </a:lnTo>
                  <a:lnTo>
                    <a:pt x="150495" y="285750"/>
                  </a:lnTo>
                  <a:lnTo>
                    <a:pt x="155257" y="282892"/>
                  </a:lnTo>
                  <a:lnTo>
                    <a:pt x="160972" y="277178"/>
                  </a:lnTo>
                  <a:lnTo>
                    <a:pt x="163830" y="270510"/>
                  </a:lnTo>
                  <a:lnTo>
                    <a:pt x="167640" y="262890"/>
                  </a:lnTo>
                  <a:lnTo>
                    <a:pt x="168592" y="258127"/>
                  </a:lnTo>
                  <a:lnTo>
                    <a:pt x="168592" y="254317"/>
                  </a:lnTo>
                  <a:lnTo>
                    <a:pt x="165735" y="249555"/>
                  </a:lnTo>
                  <a:lnTo>
                    <a:pt x="157163" y="241935"/>
                  </a:lnTo>
                  <a:lnTo>
                    <a:pt x="156210" y="234315"/>
                  </a:lnTo>
                  <a:lnTo>
                    <a:pt x="156210" y="223838"/>
                  </a:lnTo>
                  <a:lnTo>
                    <a:pt x="161925" y="186690"/>
                  </a:lnTo>
                  <a:lnTo>
                    <a:pt x="163830" y="180023"/>
                  </a:lnTo>
                  <a:lnTo>
                    <a:pt x="164782" y="178117"/>
                  </a:lnTo>
                  <a:lnTo>
                    <a:pt x="167640" y="177165"/>
                  </a:lnTo>
                  <a:lnTo>
                    <a:pt x="170497" y="178117"/>
                  </a:lnTo>
                  <a:lnTo>
                    <a:pt x="172403" y="179070"/>
                  </a:lnTo>
                  <a:lnTo>
                    <a:pt x="176213" y="182880"/>
                  </a:lnTo>
                  <a:lnTo>
                    <a:pt x="179070" y="187642"/>
                  </a:lnTo>
                  <a:lnTo>
                    <a:pt x="181928" y="196215"/>
                  </a:lnTo>
                  <a:lnTo>
                    <a:pt x="185738" y="200977"/>
                  </a:lnTo>
                  <a:lnTo>
                    <a:pt x="206692" y="219075"/>
                  </a:lnTo>
                  <a:lnTo>
                    <a:pt x="208597" y="220980"/>
                  </a:lnTo>
                  <a:lnTo>
                    <a:pt x="211455" y="220980"/>
                  </a:lnTo>
                  <a:lnTo>
                    <a:pt x="215265" y="220980"/>
                  </a:lnTo>
                  <a:lnTo>
                    <a:pt x="216217" y="218123"/>
                  </a:lnTo>
                  <a:lnTo>
                    <a:pt x="217170" y="215265"/>
                  </a:lnTo>
                  <a:lnTo>
                    <a:pt x="217170" y="211455"/>
                  </a:lnTo>
                  <a:lnTo>
                    <a:pt x="215265" y="206692"/>
                  </a:lnTo>
                  <a:lnTo>
                    <a:pt x="212407" y="201930"/>
                  </a:lnTo>
                  <a:lnTo>
                    <a:pt x="203835" y="193358"/>
                  </a:lnTo>
                  <a:lnTo>
                    <a:pt x="202882" y="188595"/>
                  </a:lnTo>
                  <a:lnTo>
                    <a:pt x="201930" y="181927"/>
                  </a:lnTo>
                  <a:lnTo>
                    <a:pt x="203835" y="165735"/>
                  </a:lnTo>
                  <a:lnTo>
                    <a:pt x="205740" y="158115"/>
                  </a:lnTo>
                  <a:lnTo>
                    <a:pt x="207645" y="152400"/>
                  </a:lnTo>
                  <a:lnTo>
                    <a:pt x="209550" y="151448"/>
                  </a:lnTo>
                  <a:lnTo>
                    <a:pt x="214313" y="148590"/>
                  </a:lnTo>
                  <a:lnTo>
                    <a:pt x="220028" y="146685"/>
                  </a:lnTo>
                  <a:lnTo>
                    <a:pt x="232410" y="140017"/>
                  </a:lnTo>
                  <a:lnTo>
                    <a:pt x="249555" y="137160"/>
                  </a:lnTo>
                  <a:lnTo>
                    <a:pt x="252413" y="141923"/>
                  </a:lnTo>
                  <a:lnTo>
                    <a:pt x="259080" y="149542"/>
                  </a:lnTo>
                  <a:lnTo>
                    <a:pt x="267653" y="157163"/>
                  </a:lnTo>
                  <a:lnTo>
                    <a:pt x="275272" y="160020"/>
                  </a:lnTo>
                  <a:lnTo>
                    <a:pt x="283845" y="159067"/>
                  </a:lnTo>
                  <a:lnTo>
                    <a:pt x="289560" y="153352"/>
                  </a:lnTo>
                  <a:lnTo>
                    <a:pt x="313372" y="120015"/>
                  </a:lnTo>
                  <a:lnTo>
                    <a:pt x="316230" y="114300"/>
                  </a:lnTo>
                  <a:lnTo>
                    <a:pt x="319088" y="102870"/>
                  </a:lnTo>
                  <a:lnTo>
                    <a:pt x="318135" y="94298"/>
                  </a:lnTo>
                  <a:lnTo>
                    <a:pt x="317182" y="84773"/>
                  </a:lnTo>
                  <a:lnTo>
                    <a:pt x="317182" y="74295"/>
                  </a:lnTo>
                  <a:lnTo>
                    <a:pt x="320040" y="57150"/>
                  </a:lnTo>
                  <a:lnTo>
                    <a:pt x="326707" y="42863"/>
                  </a:lnTo>
                  <a:lnTo>
                    <a:pt x="337185" y="33338"/>
                  </a:lnTo>
                  <a:lnTo>
                    <a:pt x="348615" y="31433"/>
                  </a:lnTo>
                  <a:lnTo>
                    <a:pt x="360045" y="37148"/>
                  </a:lnTo>
                  <a:lnTo>
                    <a:pt x="392430" y="72390"/>
                  </a:lnTo>
                  <a:lnTo>
                    <a:pt x="401955" y="78105"/>
                  </a:lnTo>
                  <a:lnTo>
                    <a:pt x="411480" y="80010"/>
                  </a:lnTo>
                  <a:lnTo>
                    <a:pt x="462915" y="80010"/>
                  </a:lnTo>
                  <a:lnTo>
                    <a:pt x="473392" y="76200"/>
                  </a:lnTo>
                  <a:lnTo>
                    <a:pt x="485775" y="64770"/>
                  </a:lnTo>
                  <a:lnTo>
                    <a:pt x="502920" y="32385"/>
                  </a:lnTo>
                  <a:lnTo>
                    <a:pt x="513397" y="16192"/>
                  </a:lnTo>
                  <a:lnTo>
                    <a:pt x="524828" y="5715"/>
                  </a:lnTo>
                  <a:lnTo>
                    <a:pt x="536257" y="0"/>
                  </a:lnTo>
                  <a:lnTo>
                    <a:pt x="547688" y="952"/>
                  </a:lnTo>
                  <a:lnTo>
                    <a:pt x="555307" y="9525"/>
                  </a:lnTo>
                  <a:lnTo>
                    <a:pt x="557213" y="18098"/>
                  </a:lnTo>
                  <a:lnTo>
                    <a:pt x="557213" y="25717"/>
                  </a:lnTo>
                  <a:lnTo>
                    <a:pt x="557213" y="33338"/>
                  </a:lnTo>
                  <a:lnTo>
                    <a:pt x="561975" y="42863"/>
                  </a:lnTo>
                  <a:lnTo>
                    <a:pt x="568642" y="49530"/>
                  </a:lnTo>
                  <a:lnTo>
                    <a:pt x="582930" y="59055"/>
                  </a:lnTo>
                  <a:lnTo>
                    <a:pt x="589597" y="65723"/>
                  </a:lnTo>
                  <a:lnTo>
                    <a:pt x="593407" y="75248"/>
                  </a:lnTo>
                  <a:lnTo>
                    <a:pt x="599122" y="98108"/>
                  </a:lnTo>
                  <a:lnTo>
                    <a:pt x="601980" y="104775"/>
                  </a:lnTo>
                  <a:lnTo>
                    <a:pt x="608647" y="107633"/>
                  </a:lnTo>
                  <a:lnTo>
                    <a:pt x="615315" y="104775"/>
                  </a:lnTo>
                  <a:lnTo>
                    <a:pt x="629603" y="91440"/>
                  </a:lnTo>
                  <a:lnTo>
                    <a:pt x="655320" y="73342"/>
                  </a:lnTo>
                  <a:lnTo>
                    <a:pt x="669607" y="68580"/>
                  </a:lnTo>
                  <a:lnTo>
                    <a:pt x="683895" y="68580"/>
                  </a:lnTo>
                  <a:lnTo>
                    <a:pt x="730567" y="78105"/>
                  </a:lnTo>
                  <a:lnTo>
                    <a:pt x="744855" y="83820"/>
                  </a:lnTo>
                  <a:lnTo>
                    <a:pt x="748665" y="95250"/>
                  </a:lnTo>
                  <a:lnTo>
                    <a:pt x="750570" y="112395"/>
                  </a:lnTo>
                  <a:lnTo>
                    <a:pt x="758190" y="160020"/>
                  </a:lnTo>
                  <a:lnTo>
                    <a:pt x="762000" y="171450"/>
                  </a:lnTo>
                  <a:lnTo>
                    <a:pt x="766763" y="180975"/>
                  </a:lnTo>
                  <a:lnTo>
                    <a:pt x="776288" y="184785"/>
                  </a:lnTo>
                  <a:lnTo>
                    <a:pt x="783907" y="181927"/>
                  </a:lnTo>
                  <a:lnTo>
                    <a:pt x="790575" y="177165"/>
                  </a:lnTo>
                  <a:lnTo>
                    <a:pt x="797242" y="178117"/>
                  </a:lnTo>
                  <a:lnTo>
                    <a:pt x="801053" y="188595"/>
                  </a:lnTo>
                  <a:lnTo>
                    <a:pt x="804863" y="203835"/>
                  </a:lnTo>
                  <a:lnTo>
                    <a:pt x="810578" y="212408"/>
                  </a:lnTo>
                  <a:lnTo>
                    <a:pt x="820103" y="201930"/>
                  </a:lnTo>
                  <a:lnTo>
                    <a:pt x="822007" y="189548"/>
                  </a:lnTo>
                  <a:lnTo>
                    <a:pt x="821055" y="157163"/>
                  </a:lnTo>
                  <a:lnTo>
                    <a:pt x="822960" y="142875"/>
                  </a:lnTo>
                  <a:lnTo>
                    <a:pt x="833438" y="120015"/>
                  </a:lnTo>
                  <a:lnTo>
                    <a:pt x="847725" y="101917"/>
                  </a:lnTo>
                  <a:lnTo>
                    <a:pt x="864870" y="88583"/>
                  </a:lnTo>
                  <a:lnTo>
                    <a:pt x="881063" y="79058"/>
                  </a:lnTo>
                  <a:lnTo>
                    <a:pt x="897255" y="76200"/>
                  </a:lnTo>
                  <a:lnTo>
                    <a:pt x="929640" y="75248"/>
                  </a:lnTo>
                  <a:lnTo>
                    <a:pt x="942975" y="70485"/>
                  </a:lnTo>
                  <a:lnTo>
                    <a:pt x="953453" y="59055"/>
                  </a:lnTo>
                  <a:lnTo>
                    <a:pt x="965835" y="32385"/>
                  </a:lnTo>
                  <a:lnTo>
                    <a:pt x="976313" y="21908"/>
                  </a:lnTo>
                  <a:lnTo>
                    <a:pt x="986790" y="18098"/>
                  </a:lnTo>
                  <a:lnTo>
                    <a:pt x="997267" y="18098"/>
                  </a:lnTo>
                  <a:lnTo>
                    <a:pt x="1018222" y="22860"/>
                  </a:lnTo>
                  <a:lnTo>
                    <a:pt x="1031557" y="31433"/>
                  </a:lnTo>
                  <a:lnTo>
                    <a:pt x="1038225" y="41910"/>
                  </a:lnTo>
                  <a:lnTo>
                    <a:pt x="1048703" y="72390"/>
                  </a:lnTo>
                  <a:lnTo>
                    <a:pt x="1066800" y="99060"/>
                  </a:lnTo>
                  <a:lnTo>
                    <a:pt x="1072515" y="113348"/>
                  </a:lnTo>
                  <a:lnTo>
                    <a:pt x="1074420" y="135255"/>
                  </a:lnTo>
                  <a:lnTo>
                    <a:pt x="1069657" y="157163"/>
                  </a:lnTo>
                  <a:lnTo>
                    <a:pt x="1073467" y="166688"/>
                  </a:lnTo>
                  <a:lnTo>
                    <a:pt x="1082040" y="173355"/>
                  </a:lnTo>
                  <a:lnTo>
                    <a:pt x="1092517" y="185738"/>
                  </a:lnTo>
                  <a:lnTo>
                    <a:pt x="1099185" y="201930"/>
                  </a:lnTo>
                  <a:lnTo>
                    <a:pt x="1102995" y="220980"/>
                  </a:lnTo>
                  <a:lnTo>
                    <a:pt x="1109663" y="236220"/>
                  </a:lnTo>
                  <a:lnTo>
                    <a:pt x="1122045" y="242888"/>
                  </a:lnTo>
                  <a:lnTo>
                    <a:pt x="1132523" y="239077"/>
                  </a:lnTo>
                  <a:lnTo>
                    <a:pt x="1139190" y="23336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8" name="Полилиния: фигура 20">
              <a:extLst>
                <a:ext uri="{FF2B5EF4-FFF2-40B4-BE49-F238E27FC236}">
                  <a16:creationId xmlns:a16="http://schemas.microsoft.com/office/drawing/2014/main" id="{5625EB48-4A11-ADD7-30D2-904F509CE7F6}"/>
                </a:ext>
              </a:extLst>
            </p:cNvPr>
            <p:cNvSpPr/>
            <p:nvPr/>
          </p:nvSpPr>
          <p:spPr>
            <a:xfrm>
              <a:off x="7041832" y="254318"/>
              <a:ext cx="1447800" cy="1895475"/>
            </a:xfrm>
            <a:custGeom>
              <a:avLst/>
              <a:gdLst>
                <a:gd name="connsiteX0" fmla="*/ 1451610 w 1447800"/>
                <a:gd name="connsiteY0" fmla="*/ 1704023 h 1895475"/>
                <a:gd name="connsiteX1" fmla="*/ 1450657 w 1447800"/>
                <a:gd name="connsiteY1" fmla="*/ 1708785 h 1895475"/>
                <a:gd name="connsiteX2" fmla="*/ 1448753 w 1447800"/>
                <a:gd name="connsiteY2" fmla="*/ 1715453 h 1895475"/>
                <a:gd name="connsiteX3" fmla="*/ 1445895 w 1447800"/>
                <a:gd name="connsiteY3" fmla="*/ 1721168 h 1895475"/>
                <a:gd name="connsiteX4" fmla="*/ 1443990 w 1447800"/>
                <a:gd name="connsiteY4" fmla="*/ 1723073 h 1895475"/>
                <a:gd name="connsiteX5" fmla="*/ 1440180 w 1447800"/>
                <a:gd name="connsiteY5" fmla="*/ 1724025 h 1895475"/>
                <a:gd name="connsiteX6" fmla="*/ 1435418 w 1447800"/>
                <a:gd name="connsiteY6" fmla="*/ 1724978 h 1895475"/>
                <a:gd name="connsiteX7" fmla="*/ 1426845 w 1447800"/>
                <a:gd name="connsiteY7" fmla="*/ 1725930 h 1895475"/>
                <a:gd name="connsiteX8" fmla="*/ 1417320 w 1447800"/>
                <a:gd name="connsiteY8" fmla="*/ 1724025 h 1895475"/>
                <a:gd name="connsiteX9" fmla="*/ 1400175 w 1447800"/>
                <a:gd name="connsiteY9" fmla="*/ 1719263 h 1895475"/>
                <a:gd name="connsiteX10" fmla="*/ 1396365 w 1447800"/>
                <a:gd name="connsiteY10" fmla="*/ 1720215 h 1895475"/>
                <a:gd name="connsiteX11" fmla="*/ 1390650 w 1447800"/>
                <a:gd name="connsiteY11" fmla="*/ 1721168 h 1895475"/>
                <a:gd name="connsiteX12" fmla="*/ 1383030 w 1447800"/>
                <a:gd name="connsiteY12" fmla="*/ 1724978 h 1895475"/>
                <a:gd name="connsiteX13" fmla="*/ 1366838 w 1447800"/>
                <a:gd name="connsiteY13" fmla="*/ 1726883 h 1895475"/>
                <a:gd name="connsiteX14" fmla="*/ 1350645 w 1447800"/>
                <a:gd name="connsiteY14" fmla="*/ 1723073 h 1895475"/>
                <a:gd name="connsiteX15" fmla="*/ 1347788 w 1447800"/>
                <a:gd name="connsiteY15" fmla="*/ 1724978 h 1895475"/>
                <a:gd name="connsiteX16" fmla="*/ 1347788 w 1447800"/>
                <a:gd name="connsiteY16" fmla="*/ 1728788 h 1895475"/>
                <a:gd name="connsiteX17" fmla="*/ 1348740 w 1447800"/>
                <a:gd name="connsiteY17" fmla="*/ 1730693 h 1895475"/>
                <a:gd name="connsiteX18" fmla="*/ 1352550 w 1447800"/>
                <a:gd name="connsiteY18" fmla="*/ 1735455 h 1895475"/>
                <a:gd name="connsiteX19" fmla="*/ 1354455 w 1447800"/>
                <a:gd name="connsiteY19" fmla="*/ 1737360 h 1895475"/>
                <a:gd name="connsiteX20" fmla="*/ 1353503 w 1447800"/>
                <a:gd name="connsiteY20" fmla="*/ 1739265 h 1895475"/>
                <a:gd name="connsiteX21" fmla="*/ 1351598 w 1447800"/>
                <a:gd name="connsiteY21" fmla="*/ 1740218 h 1895475"/>
                <a:gd name="connsiteX22" fmla="*/ 1346835 w 1447800"/>
                <a:gd name="connsiteY22" fmla="*/ 1739265 h 1895475"/>
                <a:gd name="connsiteX23" fmla="*/ 1310640 w 1447800"/>
                <a:gd name="connsiteY23" fmla="*/ 1716405 h 1895475"/>
                <a:gd name="connsiteX24" fmla="*/ 1304925 w 1447800"/>
                <a:gd name="connsiteY24" fmla="*/ 1713548 h 1895475"/>
                <a:gd name="connsiteX25" fmla="*/ 1302068 w 1447800"/>
                <a:gd name="connsiteY25" fmla="*/ 1712595 h 1895475"/>
                <a:gd name="connsiteX26" fmla="*/ 1299210 w 1447800"/>
                <a:gd name="connsiteY26" fmla="*/ 1712595 h 1895475"/>
                <a:gd name="connsiteX27" fmla="*/ 1296353 w 1447800"/>
                <a:gd name="connsiteY27" fmla="*/ 1714500 h 1895475"/>
                <a:gd name="connsiteX28" fmla="*/ 1293495 w 1447800"/>
                <a:gd name="connsiteY28" fmla="*/ 1716405 h 1895475"/>
                <a:gd name="connsiteX29" fmla="*/ 1292543 w 1447800"/>
                <a:gd name="connsiteY29" fmla="*/ 1721168 h 1895475"/>
                <a:gd name="connsiteX30" fmla="*/ 1292543 w 1447800"/>
                <a:gd name="connsiteY30" fmla="*/ 1724978 h 1895475"/>
                <a:gd name="connsiteX31" fmla="*/ 1292543 w 1447800"/>
                <a:gd name="connsiteY31" fmla="*/ 1737360 h 1895475"/>
                <a:gd name="connsiteX32" fmla="*/ 1292543 w 1447800"/>
                <a:gd name="connsiteY32" fmla="*/ 1741170 h 1895475"/>
                <a:gd name="connsiteX33" fmla="*/ 1291590 w 1447800"/>
                <a:gd name="connsiteY33" fmla="*/ 1744028 h 1895475"/>
                <a:gd name="connsiteX34" fmla="*/ 1289685 w 1447800"/>
                <a:gd name="connsiteY34" fmla="*/ 1745933 h 1895475"/>
                <a:gd name="connsiteX35" fmla="*/ 1286828 w 1447800"/>
                <a:gd name="connsiteY35" fmla="*/ 1746885 h 1895475"/>
                <a:gd name="connsiteX36" fmla="*/ 1283018 w 1447800"/>
                <a:gd name="connsiteY36" fmla="*/ 1746885 h 1895475"/>
                <a:gd name="connsiteX37" fmla="*/ 1279207 w 1447800"/>
                <a:gd name="connsiteY37" fmla="*/ 1744980 h 1895475"/>
                <a:gd name="connsiteX38" fmla="*/ 1266825 w 1447800"/>
                <a:gd name="connsiteY38" fmla="*/ 1737360 h 1895475"/>
                <a:gd name="connsiteX39" fmla="*/ 1263968 w 1447800"/>
                <a:gd name="connsiteY39" fmla="*/ 1736408 h 1895475"/>
                <a:gd name="connsiteX40" fmla="*/ 1260157 w 1447800"/>
                <a:gd name="connsiteY40" fmla="*/ 1737360 h 1895475"/>
                <a:gd name="connsiteX41" fmla="*/ 1255395 w 1447800"/>
                <a:gd name="connsiteY41" fmla="*/ 1739265 h 1895475"/>
                <a:gd name="connsiteX42" fmla="*/ 1248728 w 1447800"/>
                <a:gd name="connsiteY42" fmla="*/ 1745933 h 1895475"/>
                <a:gd name="connsiteX43" fmla="*/ 1247775 w 1447800"/>
                <a:gd name="connsiteY43" fmla="*/ 1749743 h 1895475"/>
                <a:gd name="connsiteX44" fmla="*/ 1247775 w 1447800"/>
                <a:gd name="connsiteY44" fmla="*/ 1752600 h 1895475"/>
                <a:gd name="connsiteX45" fmla="*/ 1250632 w 1447800"/>
                <a:gd name="connsiteY45" fmla="*/ 1756410 h 1895475"/>
                <a:gd name="connsiteX46" fmla="*/ 1250632 w 1447800"/>
                <a:gd name="connsiteY46" fmla="*/ 1758315 h 1895475"/>
                <a:gd name="connsiteX47" fmla="*/ 1249680 w 1447800"/>
                <a:gd name="connsiteY47" fmla="*/ 1760220 h 1895475"/>
                <a:gd name="connsiteX48" fmla="*/ 1246823 w 1447800"/>
                <a:gd name="connsiteY48" fmla="*/ 1762125 h 1895475"/>
                <a:gd name="connsiteX49" fmla="*/ 1243965 w 1447800"/>
                <a:gd name="connsiteY49" fmla="*/ 1762125 h 1895475"/>
                <a:gd name="connsiteX50" fmla="*/ 1227773 w 1447800"/>
                <a:gd name="connsiteY50" fmla="*/ 1758315 h 1895475"/>
                <a:gd name="connsiteX51" fmla="*/ 1225868 w 1447800"/>
                <a:gd name="connsiteY51" fmla="*/ 1759268 h 1895475"/>
                <a:gd name="connsiteX52" fmla="*/ 1223010 w 1447800"/>
                <a:gd name="connsiteY52" fmla="*/ 1761173 h 1895475"/>
                <a:gd name="connsiteX53" fmla="*/ 1219200 w 1447800"/>
                <a:gd name="connsiteY53" fmla="*/ 1766888 h 1895475"/>
                <a:gd name="connsiteX54" fmla="*/ 1218248 w 1447800"/>
                <a:gd name="connsiteY54" fmla="*/ 1769745 h 1895475"/>
                <a:gd name="connsiteX55" fmla="*/ 1217295 w 1447800"/>
                <a:gd name="connsiteY55" fmla="*/ 1773555 h 1895475"/>
                <a:gd name="connsiteX56" fmla="*/ 1220153 w 1447800"/>
                <a:gd name="connsiteY56" fmla="*/ 1781175 h 1895475"/>
                <a:gd name="connsiteX57" fmla="*/ 1221105 w 1447800"/>
                <a:gd name="connsiteY57" fmla="*/ 1786890 h 1895475"/>
                <a:gd name="connsiteX58" fmla="*/ 1220153 w 1447800"/>
                <a:gd name="connsiteY58" fmla="*/ 1789748 h 1895475"/>
                <a:gd name="connsiteX59" fmla="*/ 1218248 w 1447800"/>
                <a:gd name="connsiteY59" fmla="*/ 1791653 h 1895475"/>
                <a:gd name="connsiteX60" fmla="*/ 1213485 w 1447800"/>
                <a:gd name="connsiteY60" fmla="*/ 1793558 h 1895475"/>
                <a:gd name="connsiteX61" fmla="*/ 1195388 w 1447800"/>
                <a:gd name="connsiteY61" fmla="*/ 1797368 h 1895475"/>
                <a:gd name="connsiteX62" fmla="*/ 1188720 w 1447800"/>
                <a:gd name="connsiteY62" fmla="*/ 1796415 h 1895475"/>
                <a:gd name="connsiteX63" fmla="*/ 1184910 w 1447800"/>
                <a:gd name="connsiteY63" fmla="*/ 1795463 h 1895475"/>
                <a:gd name="connsiteX64" fmla="*/ 1182053 w 1447800"/>
                <a:gd name="connsiteY64" fmla="*/ 1793558 h 1895475"/>
                <a:gd name="connsiteX65" fmla="*/ 1171575 w 1447800"/>
                <a:gd name="connsiteY65" fmla="*/ 1787843 h 1895475"/>
                <a:gd name="connsiteX66" fmla="*/ 1164907 w 1447800"/>
                <a:gd name="connsiteY66" fmla="*/ 1786890 h 1895475"/>
                <a:gd name="connsiteX67" fmla="*/ 1158240 w 1447800"/>
                <a:gd name="connsiteY67" fmla="*/ 1785938 h 1895475"/>
                <a:gd name="connsiteX68" fmla="*/ 1153478 w 1447800"/>
                <a:gd name="connsiteY68" fmla="*/ 1787843 h 1895475"/>
                <a:gd name="connsiteX69" fmla="*/ 1149668 w 1447800"/>
                <a:gd name="connsiteY69" fmla="*/ 1790700 h 1895475"/>
                <a:gd name="connsiteX70" fmla="*/ 1143953 w 1447800"/>
                <a:gd name="connsiteY70" fmla="*/ 1798320 h 1895475"/>
                <a:gd name="connsiteX71" fmla="*/ 1141095 w 1447800"/>
                <a:gd name="connsiteY71" fmla="*/ 1803083 h 1895475"/>
                <a:gd name="connsiteX72" fmla="*/ 1139190 w 1447800"/>
                <a:gd name="connsiteY72" fmla="*/ 1806893 h 1895475"/>
                <a:gd name="connsiteX73" fmla="*/ 1137285 w 1447800"/>
                <a:gd name="connsiteY73" fmla="*/ 1814513 h 1895475"/>
                <a:gd name="connsiteX74" fmla="*/ 1135380 w 1447800"/>
                <a:gd name="connsiteY74" fmla="*/ 1816418 h 1895475"/>
                <a:gd name="connsiteX75" fmla="*/ 1133475 w 1447800"/>
                <a:gd name="connsiteY75" fmla="*/ 1817370 h 1895475"/>
                <a:gd name="connsiteX76" fmla="*/ 1129665 w 1447800"/>
                <a:gd name="connsiteY76" fmla="*/ 1816418 h 1895475"/>
                <a:gd name="connsiteX77" fmla="*/ 1122045 w 1447800"/>
                <a:gd name="connsiteY77" fmla="*/ 1810703 h 1895475"/>
                <a:gd name="connsiteX78" fmla="*/ 1118235 w 1447800"/>
                <a:gd name="connsiteY78" fmla="*/ 1811655 h 1895475"/>
                <a:gd name="connsiteX79" fmla="*/ 1113473 w 1447800"/>
                <a:gd name="connsiteY79" fmla="*/ 1815465 h 1895475"/>
                <a:gd name="connsiteX80" fmla="*/ 1105853 w 1447800"/>
                <a:gd name="connsiteY80" fmla="*/ 1824990 h 1895475"/>
                <a:gd name="connsiteX81" fmla="*/ 1104900 w 1447800"/>
                <a:gd name="connsiteY81" fmla="*/ 1829753 h 1895475"/>
                <a:gd name="connsiteX82" fmla="*/ 1104900 w 1447800"/>
                <a:gd name="connsiteY82" fmla="*/ 1833563 h 1895475"/>
                <a:gd name="connsiteX83" fmla="*/ 1105853 w 1447800"/>
                <a:gd name="connsiteY83" fmla="*/ 1838325 h 1895475"/>
                <a:gd name="connsiteX84" fmla="*/ 1103948 w 1447800"/>
                <a:gd name="connsiteY84" fmla="*/ 1844040 h 1895475"/>
                <a:gd name="connsiteX85" fmla="*/ 1102043 w 1447800"/>
                <a:gd name="connsiteY85" fmla="*/ 1846898 h 1895475"/>
                <a:gd name="connsiteX86" fmla="*/ 1099185 w 1447800"/>
                <a:gd name="connsiteY86" fmla="*/ 1847850 h 1895475"/>
                <a:gd name="connsiteX87" fmla="*/ 1094423 w 1447800"/>
                <a:gd name="connsiteY87" fmla="*/ 1845945 h 1895475"/>
                <a:gd name="connsiteX88" fmla="*/ 1088707 w 1447800"/>
                <a:gd name="connsiteY88" fmla="*/ 1843088 h 1895475"/>
                <a:gd name="connsiteX89" fmla="*/ 1082040 w 1447800"/>
                <a:gd name="connsiteY89" fmla="*/ 1837373 h 1895475"/>
                <a:gd name="connsiteX90" fmla="*/ 1078230 w 1447800"/>
                <a:gd name="connsiteY90" fmla="*/ 1833563 h 1895475"/>
                <a:gd name="connsiteX91" fmla="*/ 1075373 w 1447800"/>
                <a:gd name="connsiteY91" fmla="*/ 1829753 h 1895475"/>
                <a:gd name="connsiteX92" fmla="*/ 1073468 w 1447800"/>
                <a:gd name="connsiteY92" fmla="*/ 1829753 h 1895475"/>
                <a:gd name="connsiteX93" fmla="*/ 1070610 w 1447800"/>
                <a:gd name="connsiteY93" fmla="*/ 1831658 h 1895475"/>
                <a:gd name="connsiteX94" fmla="*/ 1065848 w 1447800"/>
                <a:gd name="connsiteY94" fmla="*/ 1843088 h 1895475"/>
                <a:gd name="connsiteX95" fmla="*/ 1063943 w 1447800"/>
                <a:gd name="connsiteY95" fmla="*/ 1850708 h 1895475"/>
                <a:gd name="connsiteX96" fmla="*/ 1057275 w 1447800"/>
                <a:gd name="connsiteY96" fmla="*/ 1857375 h 1895475"/>
                <a:gd name="connsiteX97" fmla="*/ 1038225 w 1447800"/>
                <a:gd name="connsiteY97" fmla="*/ 1867853 h 1895475"/>
                <a:gd name="connsiteX98" fmla="*/ 988695 w 1447800"/>
                <a:gd name="connsiteY98" fmla="*/ 1856423 h 1895475"/>
                <a:gd name="connsiteX99" fmla="*/ 974407 w 1447800"/>
                <a:gd name="connsiteY99" fmla="*/ 1858328 h 1895475"/>
                <a:gd name="connsiteX100" fmla="*/ 961073 w 1447800"/>
                <a:gd name="connsiteY100" fmla="*/ 1869758 h 1895475"/>
                <a:gd name="connsiteX101" fmla="*/ 951548 w 1447800"/>
                <a:gd name="connsiteY101" fmla="*/ 1874520 h 1895475"/>
                <a:gd name="connsiteX102" fmla="*/ 948690 w 1447800"/>
                <a:gd name="connsiteY102" fmla="*/ 1874520 h 1895475"/>
                <a:gd name="connsiteX103" fmla="*/ 944880 w 1447800"/>
                <a:gd name="connsiteY103" fmla="*/ 1872615 h 1895475"/>
                <a:gd name="connsiteX104" fmla="*/ 937260 w 1447800"/>
                <a:gd name="connsiteY104" fmla="*/ 1865948 h 1895475"/>
                <a:gd name="connsiteX105" fmla="*/ 933450 w 1447800"/>
                <a:gd name="connsiteY105" fmla="*/ 1864043 h 1895475"/>
                <a:gd name="connsiteX106" fmla="*/ 930593 w 1447800"/>
                <a:gd name="connsiteY106" fmla="*/ 1864043 h 1895475"/>
                <a:gd name="connsiteX107" fmla="*/ 926782 w 1447800"/>
                <a:gd name="connsiteY107" fmla="*/ 1865948 h 1895475"/>
                <a:gd name="connsiteX108" fmla="*/ 924878 w 1447800"/>
                <a:gd name="connsiteY108" fmla="*/ 1868805 h 1895475"/>
                <a:gd name="connsiteX109" fmla="*/ 922973 w 1447800"/>
                <a:gd name="connsiteY109" fmla="*/ 1871663 h 1895475"/>
                <a:gd name="connsiteX110" fmla="*/ 922020 w 1447800"/>
                <a:gd name="connsiteY110" fmla="*/ 1879283 h 1895475"/>
                <a:gd name="connsiteX111" fmla="*/ 920115 w 1447800"/>
                <a:gd name="connsiteY111" fmla="*/ 1884998 h 1895475"/>
                <a:gd name="connsiteX112" fmla="*/ 918210 w 1447800"/>
                <a:gd name="connsiteY112" fmla="*/ 1887855 h 1895475"/>
                <a:gd name="connsiteX113" fmla="*/ 914400 w 1447800"/>
                <a:gd name="connsiteY113" fmla="*/ 1891665 h 1895475"/>
                <a:gd name="connsiteX114" fmla="*/ 912495 w 1447800"/>
                <a:gd name="connsiteY114" fmla="*/ 1892618 h 1895475"/>
                <a:gd name="connsiteX115" fmla="*/ 893445 w 1447800"/>
                <a:gd name="connsiteY115" fmla="*/ 1893570 h 1895475"/>
                <a:gd name="connsiteX116" fmla="*/ 842010 w 1447800"/>
                <a:gd name="connsiteY116" fmla="*/ 1885950 h 1895475"/>
                <a:gd name="connsiteX117" fmla="*/ 833438 w 1447800"/>
                <a:gd name="connsiteY117" fmla="*/ 1886903 h 1895475"/>
                <a:gd name="connsiteX118" fmla="*/ 823913 w 1447800"/>
                <a:gd name="connsiteY118" fmla="*/ 1890713 h 1895475"/>
                <a:gd name="connsiteX119" fmla="*/ 821055 w 1447800"/>
                <a:gd name="connsiteY119" fmla="*/ 1892618 h 1895475"/>
                <a:gd name="connsiteX120" fmla="*/ 813435 w 1447800"/>
                <a:gd name="connsiteY120" fmla="*/ 1899285 h 1895475"/>
                <a:gd name="connsiteX121" fmla="*/ 811530 w 1447800"/>
                <a:gd name="connsiteY121" fmla="*/ 1899285 h 1895475"/>
                <a:gd name="connsiteX122" fmla="*/ 808673 w 1447800"/>
                <a:gd name="connsiteY122" fmla="*/ 1899285 h 1895475"/>
                <a:gd name="connsiteX123" fmla="*/ 807720 w 1447800"/>
                <a:gd name="connsiteY123" fmla="*/ 1894523 h 1895475"/>
                <a:gd name="connsiteX124" fmla="*/ 807720 w 1447800"/>
                <a:gd name="connsiteY124" fmla="*/ 1887855 h 1895475"/>
                <a:gd name="connsiteX125" fmla="*/ 807720 w 1447800"/>
                <a:gd name="connsiteY125" fmla="*/ 1884045 h 1895475"/>
                <a:gd name="connsiteX126" fmla="*/ 805815 w 1447800"/>
                <a:gd name="connsiteY126" fmla="*/ 1881188 h 1895475"/>
                <a:gd name="connsiteX127" fmla="*/ 801053 w 1447800"/>
                <a:gd name="connsiteY127" fmla="*/ 1875473 h 1895475"/>
                <a:gd name="connsiteX128" fmla="*/ 800100 w 1447800"/>
                <a:gd name="connsiteY128" fmla="*/ 1870710 h 1895475"/>
                <a:gd name="connsiteX129" fmla="*/ 800100 w 1447800"/>
                <a:gd name="connsiteY129" fmla="*/ 1866900 h 1895475"/>
                <a:gd name="connsiteX130" fmla="*/ 801053 w 1447800"/>
                <a:gd name="connsiteY130" fmla="*/ 1856423 h 1895475"/>
                <a:gd name="connsiteX131" fmla="*/ 802957 w 1447800"/>
                <a:gd name="connsiteY131" fmla="*/ 1853565 h 1895475"/>
                <a:gd name="connsiteX132" fmla="*/ 804863 w 1447800"/>
                <a:gd name="connsiteY132" fmla="*/ 1852613 h 1895475"/>
                <a:gd name="connsiteX133" fmla="*/ 816293 w 1447800"/>
                <a:gd name="connsiteY133" fmla="*/ 1850708 h 1895475"/>
                <a:gd name="connsiteX134" fmla="*/ 821055 w 1447800"/>
                <a:gd name="connsiteY134" fmla="*/ 1848803 h 1895475"/>
                <a:gd name="connsiteX135" fmla="*/ 824865 w 1447800"/>
                <a:gd name="connsiteY135" fmla="*/ 1844040 h 1895475"/>
                <a:gd name="connsiteX136" fmla="*/ 826770 w 1447800"/>
                <a:gd name="connsiteY136" fmla="*/ 1837373 h 1895475"/>
                <a:gd name="connsiteX137" fmla="*/ 826770 w 1447800"/>
                <a:gd name="connsiteY137" fmla="*/ 1830705 h 1895475"/>
                <a:gd name="connsiteX138" fmla="*/ 825818 w 1447800"/>
                <a:gd name="connsiteY138" fmla="*/ 1824990 h 1895475"/>
                <a:gd name="connsiteX139" fmla="*/ 823913 w 1447800"/>
                <a:gd name="connsiteY139" fmla="*/ 1820228 h 1895475"/>
                <a:gd name="connsiteX140" fmla="*/ 820103 w 1447800"/>
                <a:gd name="connsiteY140" fmla="*/ 1816418 h 1895475"/>
                <a:gd name="connsiteX141" fmla="*/ 801053 w 1447800"/>
                <a:gd name="connsiteY141" fmla="*/ 1802130 h 1895475"/>
                <a:gd name="connsiteX142" fmla="*/ 798195 w 1447800"/>
                <a:gd name="connsiteY142" fmla="*/ 1797368 h 1895475"/>
                <a:gd name="connsiteX143" fmla="*/ 796290 w 1447800"/>
                <a:gd name="connsiteY143" fmla="*/ 1793558 h 1895475"/>
                <a:gd name="connsiteX144" fmla="*/ 796290 w 1447800"/>
                <a:gd name="connsiteY144" fmla="*/ 1790700 h 1895475"/>
                <a:gd name="connsiteX145" fmla="*/ 794385 w 1447800"/>
                <a:gd name="connsiteY145" fmla="*/ 1787843 h 1895475"/>
                <a:gd name="connsiteX146" fmla="*/ 789623 w 1447800"/>
                <a:gd name="connsiteY146" fmla="*/ 1783080 h 1895475"/>
                <a:gd name="connsiteX147" fmla="*/ 787718 w 1447800"/>
                <a:gd name="connsiteY147" fmla="*/ 1780223 h 1895475"/>
                <a:gd name="connsiteX148" fmla="*/ 787718 w 1447800"/>
                <a:gd name="connsiteY148" fmla="*/ 1777365 h 1895475"/>
                <a:gd name="connsiteX149" fmla="*/ 786765 w 1447800"/>
                <a:gd name="connsiteY149" fmla="*/ 1771650 h 1895475"/>
                <a:gd name="connsiteX150" fmla="*/ 786765 w 1447800"/>
                <a:gd name="connsiteY150" fmla="*/ 1768793 h 1895475"/>
                <a:gd name="connsiteX151" fmla="*/ 783907 w 1447800"/>
                <a:gd name="connsiteY151" fmla="*/ 1764030 h 1895475"/>
                <a:gd name="connsiteX152" fmla="*/ 781050 w 1447800"/>
                <a:gd name="connsiteY152" fmla="*/ 1762125 h 1895475"/>
                <a:gd name="connsiteX153" fmla="*/ 777240 w 1447800"/>
                <a:gd name="connsiteY153" fmla="*/ 1761173 h 1895475"/>
                <a:gd name="connsiteX154" fmla="*/ 771525 w 1447800"/>
                <a:gd name="connsiteY154" fmla="*/ 1763078 h 1895475"/>
                <a:gd name="connsiteX155" fmla="*/ 768668 w 1447800"/>
                <a:gd name="connsiteY155" fmla="*/ 1764983 h 1895475"/>
                <a:gd name="connsiteX156" fmla="*/ 764857 w 1447800"/>
                <a:gd name="connsiteY156" fmla="*/ 1770698 h 1895475"/>
                <a:gd name="connsiteX157" fmla="*/ 762953 w 1447800"/>
                <a:gd name="connsiteY157" fmla="*/ 1771650 h 1895475"/>
                <a:gd name="connsiteX158" fmla="*/ 760095 w 1447800"/>
                <a:gd name="connsiteY158" fmla="*/ 1770698 h 1895475"/>
                <a:gd name="connsiteX159" fmla="*/ 756285 w 1447800"/>
                <a:gd name="connsiteY159" fmla="*/ 1766888 h 1895475"/>
                <a:gd name="connsiteX160" fmla="*/ 753428 w 1447800"/>
                <a:gd name="connsiteY160" fmla="*/ 1763078 h 1895475"/>
                <a:gd name="connsiteX161" fmla="*/ 752475 w 1447800"/>
                <a:gd name="connsiteY161" fmla="*/ 1760220 h 1895475"/>
                <a:gd name="connsiteX162" fmla="*/ 751523 w 1447800"/>
                <a:gd name="connsiteY162" fmla="*/ 1754505 h 1895475"/>
                <a:gd name="connsiteX163" fmla="*/ 749618 w 1447800"/>
                <a:gd name="connsiteY163" fmla="*/ 1732598 h 1895475"/>
                <a:gd name="connsiteX164" fmla="*/ 750570 w 1447800"/>
                <a:gd name="connsiteY164" fmla="*/ 1726883 h 1895475"/>
                <a:gd name="connsiteX165" fmla="*/ 752475 w 1447800"/>
                <a:gd name="connsiteY165" fmla="*/ 1720215 h 1895475"/>
                <a:gd name="connsiteX166" fmla="*/ 757238 w 1447800"/>
                <a:gd name="connsiteY166" fmla="*/ 1711643 h 1895475"/>
                <a:gd name="connsiteX167" fmla="*/ 758190 w 1447800"/>
                <a:gd name="connsiteY167" fmla="*/ 1705928 h 1895475"/>
                <a:gd name="connsiteX168" fmla="*/ 757238 w 1447800"/>
                <a:gd name="connsiteY168" fmla="*/ 1700213 h 1895475"/>
                <a:gd name="connsiteX169" fmla="*/ 755332 w 1447800"/>
                <a:gd name="connsiteY169" fmla="*/ 1695450 h 1895475"/>
                <a:gd name="connsiteX170" fmla="*/ 752475 w 1447800"/>
                <a:gd name="connsiteY170" fmla="*/ 1690688 h 1895475"/>
                <a:gd name="connsiteX171" fmla="*/ 748665 w 1447800"/>
                <a:gd name="connsiteY171" fmla="*/ 1686878 h 1895475"/>
                <a:gd name="connsiteX172" fmla="*/ 725805 w 1447800"/>
                <a:gd name="connsiteY172" fmla="*/ 1666875 h 1895475"/>
                <a:gd name="connsiteX173" fmla="*/ 707707 w 1447800"/>
                <a:gd name="connsiteY173" fmla="*/ 1645920 h 1895475"/>
                <a:gd name="connsiteX174" fmla="*/ 695325 w 1447800"/>
                <a:gd name="connsiteY174" fmla="*/ 1628775 h 1895475"/>
                <a:gd name="connsiteX175" fmla="*/ 693420 w 1447800"/>
                <a:gd name="connsiteY175" fmla="*/ 1623060 h 1895475"/>
                <a:gd name="connsiteX176" fmla="*/ 691515 w 1447800"/>
                <a:gd name="connsiteY176" fmla="*/ 1618298 h 1895475"/>
                <a:gd name="connsiteX177" fmla="*/ 691515 w 1447800"/>
                <a:gd name="connsiteY177" fmla="*/ 1612583 h 1895475"/>
                <a:gd name="connsiteX178" fmla="*/ 690563 w 1447800"/>
                <a:gd name="connsiteY178" fmla="*/ 1570673 h 1895475"/>
                <a:gd name="connsiteX179" fmla="*/ 692468 w 1447800"/>
                <a:gd name="connsiteY179" fmla="*/ 1553528 h 1895475"/>
                <a:gd name="connsiteX180" fmla="*/ 692468 w 1447800"/>
                <a:gd name="connsiteY180" fmla="*/ 1550670 h 1895475"/>
                <a:gd name="connsiteX181" fmla="*/ 690563 w 1447800"/>
                <a:gd name="connsiteY181" fmla="*/ 1548765 h 1895475"/>
                <a:gd name="connsiteX182" fmla="*/ 688657 w 1447800"/>
                <a:gd name="connsiteY182" fmla="*/ 1546860 h 1895475"/>
                <a:gd name="connsiteX183" fmla="*/ 671513 w 1447800"/>
                <a:gd name="connsiteY183" fmla="*/ 1540193 h 1895475"/>
                <a:gd name="connsiteX184" fmla="*/ 667703 w 1447800"/>
                <a:gd name="connsiteY184" fmla="*/ 1540193 h 1895475"/>
                <a:gd name="connsiteX185" fmla="*/ 665798 w 1447800"/>
                <a:gd name="connsiteY185" fmla="*/ 1543050 h 1895475"/>
                <a:gd name="connsiteX186" fmla="*/ 664845 w 1447800"/>
                <a:gd name="connsiteY186" fmla="*/ 1546860 h 1895475"/>
                <a:gd name="connsiteX187" fmla="*/ 661988 w 1447800"/>
                <a:gd name="connsiteY187" fmla="*/ 1549718 h 1895475"/>
                <a:gd name="connsiteX188" fmla="*/ 657225 w 1447800"/>
                <a:gd name="connsiteY188" fmla="*/ 1552575 h 1895475"/>
                <a:gd name="connsiteX189" fmla="*/ 645795 w 1447800"/>
                <a:gd name="connsiteY189" fmla="*/ 1554480 h 1895475"/>
                <a:gd name="connsiteX190" fmla="*/ 641032 w 1447800"/>
                <a:gd name="connsiteY190" fmla="*/ 1557338 h 1895475"/>
                <a:gd name="connsiteX191" fmla="*/ 638175 w 1447800"/>
                <a:gd name="connsiteY191" fmla="*/ 1560195 h 1895475"/>
                <a:gd name="connsiteX192" fmla="*/ 634365 w 1447800"/>
                <a:gd name="connsiteY192" fmla="*/ 1561148 h 1895475"/>
                <a:gd name="connsiteX193" fmla="*/ 622935 w 1447800"/>
                <a:gd name="connsiteY193" fmla="*/ 1564005 h 1895475"/>
                <a:gd name="connsiteX194" fmla="*/ 621030 w 1447800"/>
                <a:gd name="connsiteY194" fmla="*/ 1565910 h 1895475"/>
                <a:gd name="connsiteX195" fmla="*/ 620078 w 1447800"/>
                <a:gd name="connsiteY195" fmla="*/ 1568768 h 1895475"/>
                <a:gd name="connsiteX196" fmla="*/ 621030 w 1447800"/>
                <a:gd name="connsiteY196" fmla="*/ 1574483 h 1895475"/>
                <a:gd name="connsiteX197" fmla="*/ 621030 w 1447800"/>
                <a:gd name="connsiteY197" fmla="*/ 1578293 h 1895475"/>
                <a:gd name="connsiteX198" fmla="*/ 619125 w 1447800"/>
                <a:gd name="connsiteY198" fmla="*/ 1580198 h 1895475"/>
                <a:gd name="connsiteX199" fmla="*/ 616268 w 1447800"/>
                <a:gd name="connsiteY199" fmla="*/ 1581150 h 1895475"/>
                <a:gd name="connsiteX200" fmla="*/ 604838 w 1447800"/>
                <a:gd name="connsiteY200" fmla="*/ 1578293 h 1895475"/>
                <a:gd name="connsiteX201" fmla="*/ 601028 w 1447800"/>
                <a:gd name="connsiteY201" fmla="*/ 1577340 h 1895475"/>
                <a:gd name="connsiteX202" fmla="*/ 596265 w 1447800"/>
                <a:gd name="connsiteY202" fmla="*/ 1579245 h 1895475"/>
                <a:gd name="connsiteX203" fmla="*/ 593407 w 1447800"/>
                <a:gd name="connsiteY203" fmla="*/ 1582103 h 1895475"/>
                <a:gd name="connsiteX204" fmla="*/ 591503 w 1447800"/>
                <a:gd name="connsiteY204" fmla="*/ 1584008 h 1895475"/>
                <a:gd name="connsiteX205" fmla="*/ 590550 w 1447800"/>
                <a:gd name="connsiteY205" fmla="*/ 1586865 h 1895475"/>
                <a:gd name="connsiteX206" fmla="*/ 591503 w 1447800"/>
                <a:gd name="connsiteY206" fmla="*/ 1595438 h 1895475"/>
                <a:gd name="connsiteX207" fmla="*/ 590550 w 1447800"/>
                <a:gd name="connsiteY207" fmla="*/ 1598295 h 1895475"/>
                <a:gd name="connsiteX208" fmla="*/ 587693 w 1447800"/>
                <a:gd name="connsiteY208" fmla="*/ 1599248 h 1895475"/>
                <a:gd name="connsiteX209" fmla="*/ 583882 w 1447800"/>
                <a:gd name="connsiteY209" fmla="*/ 1599248 h 1895475"/>
                <a:gd name="connsiteX210" fmla="*/ 543878 w 1447800"/>
                <a:gd name="connsiteY210" fmla="*/ 1581150 h 1895475"/>
                <a:gd name="connsiteX211" fmla="*/ 526732 w 1447800"/>
                <a:gd name="connsiteY211" fmla="*/ 1566863 h 1895475"/>
                <a:gd name="connsiteX212" fmla="*/ 519113 w 1447800"/>
                <a:gd name="connsiteY212" fmla="*/ 1559243 h 1895475"/>
                <a:gd name="connsiteX213" fmla="*/ 513398 w 1447800"/>
                <a:gd name="connsiteY213" fmla="*/ 1549718 h 1895475"/>
                <a:gd name="connsiteX214" fmla="*/ 510540 w 1447800"/>
                <a:gd name="connsiteY214" fmla="*/ 1548765 h 1895475"/>
                <a:gd name="connsiteX215" fmla="*/ 505778 w 1447800"/>
                <a:gd name="connsiteY215" fmla="*/ 1547813 h 1895475"/>
                <a:gd name="connsiteX216" fmla="*/ 487680 w 1447800"/>
                <a:gd name="connsiteY216" fmla="*/ 1552575 h 1895475"/>
                <a:gd name="connsiteX217" fmla="*/ 460057 w 1447800"/>
                <a:gd name="connsiteY217" fmla="*/ 1564958 h 1895475"/>
                <a:gd name="connsiteX218" fmla="*/ 457200 w 1447800"/>
                <a:gd name="connsiteY218" fmla="*/ 1568768 h 1895475"/>
                <a:gd name="connsiteX219" fmla="*/ 456248 w 1447800"/>
                <a:gd name="connsiteY219" fmla="*/ 1571625 h 1895475"/>
                <a:gd name="connsiteX220" fmla="*/ 457200 w 1447800"/>
                <a:gd name="connsiteY220" fmla="*/ 1575435 h 1895475"/>
                <a:gd name="connsiteX221" fmla="*/ 473393 w 1447800"/>
                <a:gd name="connsiteY221" fmla="*/ 1584960 h 1895475"/>
                <a:gd name="connsiteX222" fmla="*/ 475298 w 1447800"/>
                <a:gd name="connsiteY222" fmla="*/ 1586865 h 1895475"/>
                <a:gd name="connsiteX223" fmla="*/ 475298 w 1447800"/>
                <a:gd name="connsiteY223" fmla="*/ 1589723 h 1895475"/>
                <a:gd name="connsiteX224" fmla="*/ 470535 w 1447800"/>
                <a:gd name="connsiteY224" fmla="*/ 1592580 h 1895475"/>
                <a:gd name="connsiteX225" fmla="*/ 462915 w 1447800"/>
                <a:gd name="connsiteY225" fmla="*/ 1595438 h 1895475"/>
                <a:gd name="connsiteX226" fmla="*/ 441007 w 1447800"/>
                <a:gd name="connsiteY226" fmla="*/ 1596390 h 1895475"/>
                <a:gd name="connsiteX227" fmla="*/ 425768 w 1447800"/>
                <a:gd name="connsiteY227" fmla="*/ 1600200 h 1895475"/>
                <a:gd name="connsiteX228" fmla="*/ 421005 w 1447800"/>
                <a:gd name="connsiteY228" fmla="*/ 1606868 h 1895475"/>
                <a:gd name="connsiteX229" fmla="*/ 417195 w 1447800"/>
                <a:gd name="connsiteY229" fmla="*/ 1606868 h 1895475"/>
                <a:gd name="connsiteX230" fmla="*/ 411480 w 1447800"/>
                <a:gd name="connsiteY230" fmla="*/ 1605915 h 1895475"/>
                <a:gd name="connsiteX231" fmla="*/ 371475 w 1447800"/>
                <a:gd name="connsiteY231" fmla="*/ 1587818 h 1895475"/>
                <a:gd name="connsiteX232" fmla="*/ 211455 w 1447800"/>
                <a:gd name="connsiteY232" fmla="*/ 1554480 h 1895475"/>
                <a:gd name="connsiteX233" fmla="*/ 207645 w 1447800"/>
                <a:gd name="connsiteY233" fmla="*/ 1552575 h 1895475"/>
                <a:gd name="connsiteX234" fmla="*/ 193357 w 1447800"/>
                <a:gd name="connsiteY234" fmla="*/ 1545908 h 1895475"/>
                <a:gd name="connsiteX235" fmla="*/ 188595 w 1447800"/>
                <a:gd name="connsiteY235" fmla="*/ 1543050 h 1895475"/>
                <a:gd name="connsiteX236" fmla="*/ 183832 w 1447800"/>
                <a:gd name="connsiteY236" fmla="*/ 1539240 h 1895475"/>
                <a:gd name="connsiteX237" fmla="*/ 181928 w 1447800"/>
                <a:gd name="connsiteY237" fmla="*/ 1537335 h 1895475"/>
                <a:gd name="connsiteX238" fmla="*/ 177165 w 1447800"/>
                <a:gd name="connsiteY238" fmla="*/ 1536383 h 1895475"/>
                <a:gd name="connsiteX239" fmla="*/ 169545 w 1447800"/>
                <a:gd name="connsiteY239" fmla="*/ 1537335 h 1895475"/>
                <a:gd name="connsiteX240" fmla="*/ 155257 w 1447800"/>
                <a:gd name="connsiteY240" fmla="*/ 1542098 h 1895475"/>
                <a:gd name="connsiteX241" fmla="*/ 149543 w 1447800"/>
                <a:gd name="connsiteY241" fmla="*/ 1545908 h 1895475"/>
                <a:gd name="connsiteX242" fmla="*/ 145732 w 1447800"/>
                <a:gd name="connsiteY242" fmla="*/ 1549718 h 1895475"/>
                <a:gd name="connsiteX243" fmla="*/ 144780 w 1447800"/>
                <a:gd name="connsiteY243" fmla="*/ 1552575 h 1895475"/>
                <a:gd name="connsiteX244" fmla="*/ 141923 w 1447800"/>
                <a:gd name="connsiteY244" fmla="*/ 1558290 h 1895475"/>
                <a:gd name="connsiteX245" fmla="*/ 140018 w 1447800"/>
                <a:gd name="connsiteY245" fmla="*/ 1560195 h 1895475"/>
                <a:gd name="connsiteX246" fmla="*/ 134303 w 1447800"/>
                <a:gd name="connsiteY246" fmla="*/ 1561148 h 1895475"/>
                <a:gd name="connsiteX247" fmla="*/ 83820 w 1447800"/>
                <a:gd name="connsiteY247" fmla="*/ 1554480 h 1895475"/>
                <a:gd name="connsiteX248" fmla="*/ 63818 w 1447800"/>
                <a:gd name="connsiteY248" fmla="*/ 1543050 h 1895475"/>
                <a:gd name="connsiteX249" fmla="*/ 81915 w 1447800"/>
                <a:gd name="connsiteY249" fmla="*/ 1490663 h 1895475"/>
                <a:gd name="connsiteX250" fmla="*/ 86678 w 1447800"/>
                <a:gd name="connsiteY250" fmla="*/ 1471613 h 1895475"/>
                <a:gd name="connsiteX251" fmla="*/ 87630 w 1447800"/>
                <a:gd name="connsiteY251" fmla="*/ 1461135 h 1895475"/>
                <a:gd name="connsiteX252" fmla="*/ 87630 w 1447800"/>
                <a:gd name="connsiteY252" fmla="*/ 1457325 h 1895475"/>
                <a:gd name="connsiteX253" fmla="*/ 85725 w 1447800"/>
                <a:gd name="connsiteY253" fmla="*/ 1447800 h 1895475"/>
                <a:gd name="connsiteX254" fmla="*/ 84773 w 1447800"/>
                <a:gd name="connsiteY254" fmla="*/ 1442085 h 1895475"/>
                <a:gd name="connsiteX255" fmla="*/ 85725 w 1447800"/>
                <a:gd name="connsiteY255" fmla="*/ 1439228 h 1895475"/>
                <a:gd name="connsiteX256" fmla="*/ 87630 w 1447800"/>
                <a:gd name="connsiteY256" fmla="*/ 1436370 h 1895475"/>
                <a:gd name="connsiteX257" fmla="*/ 93345 w 1447800"/>
                <a:gd name="connsiteY257" fmla="*/ 1433513 h 1895475"/>
                <a:gd name="connsiteX258" fmla="*/ 97155 w 1447800"/>
                <a:gd name="connsiteY258" fmla="*/ 1429703 h 1895475"/>
                <a:gd name="connsiteX259" fmla="*/ 98107 w 1447800"/>
                <a:gd name="connsiteY259" fmla="*/ 1425893 h 1895475"/>
                <a:gd name="connsiteX260" fmla="*/ 99060 w 1447800"/>
                <a:gd name="connsiteY260" fmla="*/ 1423035 h 1895475"/>
                <a:gd name="connsiteX261" fmla="*/ 99060 w 1447800"/>
                <a:gd name="connsiteY261" fmla="*/ 1409700 h 1895475"/>
                <a:gd name="connsiteX262" fmla="*/ 100965 w 1447800"/>
                <a:gd name="connsiteY262" fmla="*/ 1401128 h 1895475"/>
                <a:gd name="connsiteX263" fmla="*/ 102870 w 1447800"/>
                <a:gd name="connsiteY263" fmla="*/ 1395413 h 1895475"/>
                <a:gd name="connsiteX264" fmla="*/ 105728 w 1447800"/>
                <a:gd name="connsiteY264" fmla="*/ 1391603 h 1895475"/>
                <a:gd name="connsiteX265" fmla="*/ 109538 w 1447800"/>
                <a:gd name="connsiteY265" fmla="*/ 1388745 h 1895475"/>
                <a:gd name="connsiteX266" fmla="*/ 114300 w 1447800"/>
                <a:gd name="connsiteY266" fmla="*/ 1384935 h 1895475"/>
                <a:gd name="connsiteX267" fmla="*/ 118110 w 1447800"/>
                <a:gd name="connsiteY267" fmla="*/ 1379220 h 1895475"/>
                <a:gd name="connsiteX268" fmla="*/ 120015 w 1447800"/>
                <a:gd name="connsiteY268" fmla="*/ 1373505 h 1895475"/>
                <a:gd name="connsiteX269" fmla="*/ 120015 w 1447800"/>
                <a:gd name="connsiteY269" fmla="*/ 1367790 h 1895475"/>
                <a:gd name="connsiteX270" fmla="*/ 118110 w 1447800"/>
                <a:gd name="connsiteY270" fmla="*/ 1363980 h 1895475"/>
                <a:gd name="connsiteX271" fmla="*/ 115253 w 1447800"/>
                <a:gd name="connsiteY271" fmla="*/ 1362075 h 1895475"/>
                <a:gd name="connsiteX272" fmla="*/ 111443 w 1447800"/>
                <a:gd name="connsiteY272" fmla="*/ 1360170 h 1895475"/>
                <a:gd name="connsiteX273" fmla="*/ 104775 w 1447800"/>
                <a:gd name="connsiteY273" fmla="*/ 1354455 h 1895475"/>
                <a:gd name="connsiteX274" fmla="*/ 99060 w 1447800"/>
                <a:gd name="connsiteY274" fmla="*/ 1348740 h 1895475"/>
                <a:gd name="connsiteX275" fmla="*/ 98107 w 1447800"/>
                <a:gd name="connsiteY275" fmla="*/ 1344930 h 1895475"/>
                <a:gd name="connsiteX276" fmla="*/ 96203 w 1447800"/>
                <a:gd name="connsiteY276" fmla="*/ 1338263 h 1895475"/>
                <a:gd name="connsiteX277" fmla="*/ 96203 w 1447800"/>
                <a:gd name="connsiteY277" fmla="*/ 1329690 h 1895475"/>
                <a:gd name="connsiteX278" fmla="*/ 96203 w 1447800"/>
                <a:gd name="connsiteY278" fmla="*/ 1314450 h 1895475"/>
                <a:gd name="connsiteX279" fmla="*/ 97155 w 1447800"/>
                <a:gd name="connsiteY279" fmla="*/ 1305878 h 1895475"/>
                <a:gd name="connsiteX280" fmla="*/ 109538 w 1447800"/>
                <a:gd name="connsiteY280" fmla="*/ 1258253 h 1895475"/>
                <a:gd name="connsiteX281" fmla="*/ 111443 w 1447800"/>
                <a:gd name="connsiteY281" fmla="*/ 1253490 h 1895475"/>
                <a:gd name="connsiteX282" fmla="*/ 113348 w 1447800"/>
                <a:gd name="connsiteY282" fmla="*/ 1250633 h 1895475"/>
                <a:gd name="connsiteX283" fmla="*/ 115253 w 1447800"/>
                <a:gd name="connsiteY283" fmla="*/ 1249680 h 1895475"/>
                <a:gd name="connsiteX284" fmla="*/ 118110 w 1447800"/>
                <a:gd name="connsiteY284" fmla="*/ 1247775 h 1895475"/>
                <a:gd name="connsiteX285" fmla="*/ 121920 w 1447800"/>
                <a:gd name="connsiteY285" fmla="*/ 1245870 h 1895475"/>
                <a:gd name="connsiteX286" fmla="*/ 126682 w 1447800"/>
                <a:gd name="connsiteY286" fmla="*/ 1238250 h 1895475"/>
                <a:gd name="connsiteX287" fmla="*/ 127635 w 1447800"/>
                <a:gd name="connsiteY287" fmla="*/ 1232535 h 1895475"/>
                <a:gd name="connsiteX288" fmla="*/ 128588 w 1447800"/>
                <a:gd name="connsiteY288" fmla="*/ 1227773 h 1895475"/>
                <a:gd name="connsiteX289" fmla="*/ 128588 w 1447800"/>
                <a:gd name="connsiteY289" fmla="*/ 1218248 h 1895475"/>
                <a:gd name="connsiteX290" fmla="*/ 128588 w 1447800"/>
                <a:gd name="connsiteY290" fmla="*/ 1199198 h 1895475"/>
                <a:gd name="connsiteX291" fmla="*/ 130493 w 1447800"/>
                <a:gd name="connsiteY291" fmla="*/ 1190625 h 1895475"/>
                <a:gd name="connsiteX292" fmla="*/ 129540 w 1447800"/>
                <a:gd name="connsiteY292" fmla="*/ 1185863 h 1895475"/>
                <a:gd name="connsiteX293" fmla="*/ 127635 w 1447800"/>
                <a:gd name="connsiteY293" fmla="*/ 1183005 h 1895475"/>
                <a:gd name="connsiteX294" fmla="*/ 117157 w 1447800"/>
                <a:gd name="connsiteY294" fmla="*/ 1173480 h 1895475"/>
                <a:gd name="connsiteX295" fmla="*/ 115253 w 1447800"/>
                <a:gd name="connsiteY295" fmla="*/ 1170623 h 1895475"/>
                <a:gd name="connsiteX296" fmla="*/ 113348 w 1447800"/>
                <a:gd name="connsiteY296" fmla="*/ 1166813 h 1895475"/>
                <a:gd name="connsiteX297" fmla="*/ 113348 w 1447800"/>
                <a:gd name="connsiteY297" fmla="*/ 1160145 h 1895475"/>
                <a:gd name="connsiteX298" fmla="*/ 114300 w 1447800"/>
                <a:gd name="connsiteY298" fmla="*/ 1158240 h 1895475"/>
                <a:gd name="connsiteX299" fmla="*/ 122873 w 1447800"/>
                <a:gd name="connsiteY299" fmla="*/ 1148715 h 1895475"/>
                <a:gd name="connsiteX300" fmla="*/ 128588 w 1447800"/>
                <a:gd name="connsiteY300" fmla="*/ 1143000 h 1895475"/>
                <a:gd name="connsiteX301" fmla="*/ 136207 w 1447800"/>
                <a:gd name="connsiteY301" fmla="*/ 1127760 h 1895475"/>
                <a:gd name="connsiteX302" fmla="*/ 140970 w 1447800"/>
                <a:gd name="connsiteY302" fmla="*/ 1118235 h 1895475"/>
                <a:gd name="connsiteX303" fmla="*/ 140018 w 1447800"/>
                <a:gd name="connsiteY303" fmla="*/ 1114425 h 1895475"/>
                <a:gd name="connsiteX304" fmla="*/ 138113 w 1447800"/>
                <a:gd name="connsiteY304" fmla="*/ 1112520 h 1895475"/>
                <a:gd name="connsiteX305" fmla="*/ 132398 w 1447800"/>
                <a:gd name="connsiteY305" fmla="*/ 1109663 h 1895475"/>
                <a:gd name="connsiteX306" fmla="*/ 125730 w 1447800"/>
                <a:gd name="connsiteY306" fmla="*/ 1107758 h 1895475"/>
                <a:gd name="connsiteX307" fmla="*/ 122873 w 1447800"/>
                <a:gd name="connsiteY307" fmla="*/ 1107758 h 1895475"/>
                <a:gd name="connsiteX308" fmla="*/ 120968 w 1447800"/>
                <a:gd name="connsiteY308" fmla="*/ 1109663 h 1895475"/>
                <a:gd name="connsiteX309" fmla="*/ 110490 w 1447800"/>
                <a:gd name="connsiteY309" fmla="*/ 1133475 h 1895475"/>
                <a:gd name="connsiteX310" fmla="*/ 108585 w 1447800"/>
                <a:gd name="connsiteY310" fmla="*/ 1135380 h 1895475"/>
                <a:gd name="connsiteX311" fmla="*/ 106680 w 1447800"/>
                <a:gd name="connsiteY311" fmla="*/ 1137285 h 1895475"/>
                <a:gd name="connsiteX312" fmla="*/ 103823 w 1447800"/>
                <a:gd name="connsiteY312" fmla="*/ 1137285 h 1895475"/>
                <a:gd name="connsiteX313" fmla="*/ 76200 w 1447800"/>
                <a:gd name="connsiteY313" fmla="*/ 1131570 h 1895475"/>
                <a:gd name="connsiteX314" fmla="*/ 64770 w 1447800"/>
                <a:gd name="connsiteY314" fmla="*/ 1125855 h 1895475"/>
                <a:gd name="connsiteX315" fmla="*/ 60007 w 1447800"/>
                <a:gd name="connsiteY315" fmla="*/ 1122045 h 1895475"/>
                <a:gd name="connsiteX316" fmla="*/ 55245 w 1447800"/>
                <a:gd name="connsiteY316" fmla="*/ 1117283 h 1895475"/>
                <a:gd name="connsiteX317" fmla="*/ 54293 w 1447800"/>
                <a:gd name="connsiteY317" fmla="*/ 1114425 h 1895475"/>
                <a:gd name="connsiteX318" fmla="*/ 55245 w 1447800"/>
                <a:gd name="connsiteY318" fmla="*/ 1111568 h 1895475"/>
                <a:gd name="connsiteX319" fmla="*/ 62865 w 1447800"/>
                <a:gd name="connsiteY319" fmla="*/ 1106805 h 1895475"/>
                <a:gd name="connsiteX320" fmla="*/ 65723 w 1447800"/>
                <a:gd name="connsiteY320" fmla="*/ 1102995 h 1895475"/>
                <a:gd name="connsiteX321" fmla="*/ 66675 w 1447800"/>
                <a:gd name="connsiteY321" fmla="*/ 1099185 h 1895475"/>
                <a:gd name="connsiteX322" fmla="*/ 65723 w 1447800"/>
                <a:gd name="connsiteY322" fmla="*/ 1096328 h 1895475"/>
                <a:gd name="connsiteX323" fmla="*/ 64770 w 1447800"/>
                <a:gd name="connsiteY323" fmla="*/ 1094423 h 1895475"/>
                <a:gd name="connsiteX324" fmla="*/ 62865 w 1447800"/>
                <a:gd name="connsiteY324" fmla="*/ 1092518 h 1895475"/>
                <a:gd name="connsiteX325" fmla="*/ 60007 w 1447800"/>
                <a:gd name="connsiteY325" fmla="*/ 1092518 h 1895475"/>
                <a:gd name="connsiteX326" fmla="*/ 49530 w 1447800"/>
                <a:gd name="connsiteY326" fmla="*/ 1095375 h 1895475"/>
                <a:gd name="connsiteX327" fmla="*/ 42863 w 1447800"/>
                <a:gd name="connsiteY327" fmla="*/ 1094423 h 1895475"/>
                <a:gd name="connsiteX328" fmla="*/ 22860 w 1447800"/>
                <a:gd name="connsiteY328" fmla="*/ 1084898 h 1895475"/>
                <a:gd name="connsiteX329" fmla="*/ 2857 w 1447800"/>
                <a:gd name="connsiteY329" fmla="*/ 1079183 h 1895475"/>
                <a:gd name="connsiteX330" fmla="*/ 0 w 1447800"/>
                <a:gd name="connsiteY330" fmla="*/ 1076325 h 1895475"/>
                <a:gd name="connsiteX331" fmla="*/ 953 w 1447800"/>
                <a:gd name="connsiteY331" fmla="*/ 1071563 h 1895475"/>
                <a:gd name="connsiteX332" fmla="*/ 13335 w 1447800"/>
                <a:gd name="connsiteY332" fmla="*/ 1049655 h 1895475"/>
                <a:gd name="connsiteX333" fmla="*/ 14288 w 1447800"/>
                <a:gd name="connsiteY333" fmla="*/ 1046798 h 1895475"/>
                <a:gd name="connsiteX334" fmla="*/ 16193 w 1447800"/>
                <a:gd name="connsiteY334" fmla="*/ 1041083 h 1895475"/>
                <a:gd name="connsiteX335" fmla="*/ 15240 w 1447800"/>
                <a:gd name="connsiteY335" fmla="*/ 1037273 h 1895475"/>
                <a:gd name="connsiteX336" fmla="*/ 14288 w 1447800"/>
                <a:gd name="connsiteY336" fmla="*/ 1032510 h 1895475"/>
                <a:gd name="connsiteX337" fmla="*/ 11430 w 1447800"/>
                <a:gd name="connsiteY337" fmla="*/ 1024890 h 1895475"/>
                <a:gd name="connsiteX338" fmla="*/ 11430 w 1447800"/>
                <a:gd name="connsiteY338" fmla="*/ 1013460 h 1895475"/>
                <a:gd name="connsiteX339" fmla="*/ 12382 w 1447800"/>
                <a:gd name="connsiteY339" fmla="*/ 1008698 h 1895475"/>
                <a:gd name="connsiteX340" fmla="*/ 14288 w 1447800"/>
                <a:gd name="connsiteY340" fmla="*/ 1005840 h 1895475"/>
                <a:gd name="connsiteX341" fmla="*/ 41910 w 1447800"/>
                <a:gd name="connsiteY341" fmla="*/ 996315 h 1895475"/>
                <a:gd name="connsiteX342" fmla="*/ 46673 w 1447800"/>
                <a:gd name="connsiteY342" fmla="*/ 991553 h 1895475"/>
                <a:gd name="connsiteX343" fmla="*/ 47625 w 1447800"/>
                <a:gd name="connsiteY343" fmla="*/ 985838 h 1895475"/>
                <a:gd name="connsiteX344" fmla="*/ 48578 w 1447800"/>
                <a:gd name="connsiteY344" fmla="*/ 980123 h 1895475"/>
                <a:gd name="connsiteX345" fmla="*/ 47625 w 1447800"/>
                <a:gd name="connsiteY345" fmla="*/ 970598 h 1895475"/>
                <a:gd name="connsiteX346" fmla="*/ 47625 w 1447800"/>
                <a:gd name="connsiteY346" fmla="*/ 965835 h 1895475"/>
                <a:gd name="connsiteX347" fmla="*/ 49530 w 1447800"/>
                <a:gd name="connsiteY347" fmla="*/ 962025 h 1895475"/>
                <a:gd name="connsiteX348" fmla="*/ 63818 w 1447800"/>
                <a:gd name="connsiteY348" fmla="*/ 954405 h 1895475"/>
                <a:gd name="connsiteX349" fmla="*/ 66675 w 1447800"/>
                <a:gd name="connsiteY349" fmla="*/ 952500 h 1895475"/>
                <a:gd name="connsiteX350" fmla="*/ 68580 w 1447800"/>
                <a:gd name="connsiteY350" fmla="*/ 948690 h 1895475"/>
                <a:gd name="connsiteX351" fmla="*/ 69532 w 1447800"/>
                <a:gd name="connsiteY351" fmla="*/ 945833 h 1895475"/>
                <a:gd name="connsiteX352" fmla="*/ 68580 w 1447800"/>
                <a:gd name="connsiteY352" fmla="*/ 942975 h 1895475"/>
                <a:gd name="connsiteX353" fmla="*/ 65723 w 1447800"/>
                <a:gd name="connsiteY353" fmla="*/ 932498 h 1895475"/>
                <a:gd name="connsiteX354" fmla="*/ 65723 w 1447800"/>
                <a:gd name="connsiteY354" fmla="*/ 927735 h 1895475"/>
                <a:gd name="connsiteX355" fmla="*/ 67628 w 1447800"/>
                <a:gd name="connsiteY355" fmla="*/ 924878 h 1895475"/>
                <a:gd name="connsiteX356" fmla="*/ 70485 w 1447800"/>
                <a:gd name="connsiteY356" fmla="*/ 918210 h 1895475"/>
                <a:gd name="connsiteX357" fmla="*/ 70485 w 1447800"/>
                <a:gd name="connsiteY357" fmla="*/ 916305 h 1895475"/>
                <a:gd name="connsiteX358" fmla="*/ 68580 w 1447800"/>
                <a:gd name="connsiteY358" fmla="*/ 913448 h 1895475"/>
                <a:gd name="connsiteX359" fmla="*/ 61913 w 1447800"/>
                <a:gd name="connsiteY359" fmla="*/ 907733 h 1895475"/>
                <a:gd name="connsiteX360" fmla="*/ 60007 w 1447800"/>
                <a:gd name="connsiteY360" fmla="*/ 904875 h 1895475"/>
                <a:gd name="connsiteX361" fmla="*/ 58103 w 1447800"/>
                <a:gd name="connsiteY361" fmla="*/ 900113 h 1895475"/>
                <a:gd name="connsiteX362" fmla="*/ 58103 w 1447800"/>
                <a:gd name="connsiteY362" fmla="*/ 895350 h 1895475"/>
                <a:gd name="connsiteX363" fmla="*/ 59055 w 1447800"/>
                <a:gd name="connsiteY363" fmla="*/ 890588 h 1895475"/>
                <a:gd name="connsiteX364" fmla="*/ 60960 w 1447800"/>
                <a:gd name="connsiteY364" fmla="*/ 882968 h 1895475"/>
                <a:gd name="connsiteX365" fmla="*/ 60960 w 1447800"/>
                <a:gd name="connsiteY365" fmla="*/ 879158 h 1895475"/>
                <a:gd name="connsiteX366" fmla="*/ 60960 w 1447800"/>
                <a:gd name="connsiteY366" fmla="*/ 875348 h 1895475"/>
                <a:gd name="connsiteX367" fmla="*/ 59055 w 1447800"/>
                <a:gd name="connsiteY367" fmla="*/ 873443 h 1895475"/>
                <a:gd name="connsiteX368" fmla="*/ 57150 w 1447800"/>
                <a:gd name="connsiteY368" fmla="*/ 871538 h 1895475"/>
                <a:gd name="connsiteX369" fmla="*/ 55245 w 1447800"/>
                <a:gd name="connsiteY369" fmla="*/ 870585 h 1895475"/>
                <a:gd name="connsiteX370" fmla="*/ 48578 w 1447800"/>
                <a:gd name="connsiteY370" fmla="*/ 870585 h 1895475"/>
                <a:gd name="connsiteX371" fmla="*/ 45720 w 1447800"/>
                <a:gd name="connsiteY371" fmla="*/ 870585 h 1895475"/>
                <a:gd name="connsiteX372" fmla="*/ 43815 w 1447800"/>
                <a:gd name="connsiteY372" fmla="*/ 868680 h 1895475"/>
                <a:gd name="connsiteX373" fmla="*/ 41910 w 1447800"/>
                <a:gd name="connsiteY373" fmla="*/ 864870 h 1895475"/>
                <a:gd name="connsiteX374" fmla="*/ 40005 w 1447800"/>
                <a:gd name="connsiteY374" fmla="*/ 859155 h 1895475"/>
                <a:gd name="connsiteX375" fmla="*/ 35243 w 1447800"/>
                <a:gd name="connsiteY375" fmla="*/ 849630 h 1895475"/>
                <a:gd name="connsiteX376" fmla="*/ 32385 w 1447800"/>
                <a:gd name="connsiteY376" fmla="*/ 844868 h 1895475"/>
                <a:gd name="connsiteX377" fmla="*/ 32385 w 1447800"/>
                <a:gd name="connsiteY377" fmla="*/ 840105 h 1895475"/>
                <a:gd name="connsiteX378" fmla="*/ 32385 w 1447800"/>
                <a:gd name="connsiteY378" fmla="*/ 837248 h 1895475"/>
                <a:gd name="connsiteX379" fmla="*/ 36195 w 1447800"/>
                <a:gd name="connsiteY379" fmla="*/ 829628 h 1895475"/>
                <a:gd name="connsiteX380" fmla="*/ 40005 w 1447800"/>
                <a:gd name="connsiteY380" fmla="*/ 824865 h 1895475"/>
                <a:gd name="connsiteX381" fmla="*/ 42863 w 1447800"/>
                <a:gd name="connsiteY381" fmla="*/ 823913 h 1895475"/>
                <a:gd name="connsiteX382" fmla="*/ 48578 w 1447800"/>
                <a:gd name="connsiteY382" fmla="*/ 825818 h 1895475"/>
                <a:gd name="connsiteX383" fmla="*/ 50482 w 1447800"/>
                <a:gd name="connsiteY383" fmla="*/ 827723 h 1895475"/>
                <a:gd name="connsiteX384" fmla="*/ 52388 w 1447800"/>
                <a:gd name="connsiteY384" fmla="*/ 830580 h 1895475"/>
                <a:gd name="connsiteX385" fmla="*/ 56198 w 1447800"/>
                <a:gd name="connsiteY385" fmla="*/ 841058 h 1895475"/>
                <a:gd name="connsiteX386" fmla="*/ 59055 w 1447800"/>
                <a:gd name="connsiteY386" fmla="*/ 845820 h 1895475"/>
                <a:gd name="connsiteX387" fmla="*/ 60960 w 1447800"/>
                <a:gd name="connsiteY387" fmla="*/ 847725 h 1895475"/>
                <a:gd name="connsiteX388" fmla="*/ 67628 w 1447800"/>
                <a:gd name="connsiteY388" fmla="*/ 849630 h 1895475"/>
                <a:gd name="connsiteX389" fmla="*/ 74295 w 1447800"/>
                <a:gd name="connsiteY389" fmla="*/ 849630 h 1895475"/>
                <a:gd name="connsiteX390" fmla="*/ 84773 w 1447800"/>
                <a:gd name="connsiteY390" fmla="*/ 847725 h 1895475"/>
                <a:gd name="connsiteX391" fmla="*/ 90488 w 1447800"/>
                <a:gd name="connsiteY391" fmla="*/ 844868 h 1895475"/>
                <a:gd name="connsiteX392" fmla="*/ 92393 w 1447800"/>
                <a:gd name="connsiteY392" fmla="*/ 842963 h 1895475"/>
                <a:gd name="connsiteX393" fmla="*/ 94298 w 1447800"/>
                <a:gd name="connsiteY393" fmla="*/ 840105 h 1895475"/>
                <a:gd name="connsiteX394" fmla="*/ 96203 w 1447800"/>
                <a:gd name="connsiteY394" fmla="*/ 835343 h 1895475"/>
                <a:gd name="connsiteX395" fmla="*/ 96203 w 1447800"/>
                <a:gd name="connsiteY395" fmla="*/ 825818 h 1895475"/>
                <a:gd name="connsiteX396" fmla="*/ 95250 w 1447800"/>
                <a:gd name="connsiteY396" fmla="*/ 819150 h 1895475"/>
                <a:gd name="connsiteX397" fmla="*/ 95250 w 1447800"/>
                <a:gd name="connsiteY397" fmla="*/ 814388 h 1895475"/>
                <a:gd name="connsiteX398" fmla="*/ 96203 w 1447800"/>
                <a:gd name="connsiteY398" fmla="*/ 810578 h 1895475"/>
                <a:gd name="connsiteX399" fmla="*/ 100013 w 1447800"/>
                <a:gd name="connsiteY399" fmla="*/ 804863 h 1895475"/>
                <a:gd name="connsiteX400" fmla="*/ 100013 w 1447800"/>
                <a:gd name="connsiteY400" fmla="*/ 801053 h 1895475"/>
                <a:gd name="connsiteX401" fmla="*/ 96203 w 1447800"/>
                <a:gd name="connsiteY401" fmla="*/ 797243 h 1895475"/>
                <a:gd name="connsiteX402" fmla="*/ 93345 w 1447800"/>
                <a:gd name="connsiteY402" fmla="*/ 793433 h 1895475"/>
                <a:gd name="connsiteX403" fmla="*/ 91440 w 1447800"/>
                <a:gd name="connsiteY403" fmla="*/ 787718 h 1895475"/>
                <a:gd name="connsiteX404" fmla="*/ 88582 w 1447800"/>
                <a:gd name="connsiteY404" fmla="*/ 774383 h 1895475"/>
                <a:gd name="connsiteX405" fmla="*/ 89535 w 1447800"/>
                <a:gd name="connsiteY405" fmla="*/ 767715 h 1895475"/>
                <a:gd name="connsiteX406" fmla="*/ 90488 w 1447800"/>
                <a:gd name="connsiteY406" fmla="*/ 763905 h 1895475"/>
                <a:gd name="connsiteX407" fmla="*/ 95250 w 1447800"/>
                <a:gd name="connsiteY407" fmla="*/ 761048 h 1895475"/>
                <a:gd name="connsiteX408" fmla="*/ 98107 w 1447800"/>
                <a:gd name="connsiteY408" fmla="*/ 759143 h 1895475"/>
                <a:gd name="connsiteX409" fmla="*/ 100965 w 1447800"/>
                <a:gd name="connsiteY409" fmla="*/ 754380 h 1895475"/>
                <a:gd name="connsiteX410" fmla="*/ 100965 w 1447800"/>
                <a:gd name="connsiteY410" fmla="*/ 750570 h 1895475"/>
                <a:gd name="connsiteX411" fmla="*/ 100965 w 1447800"/>
                <a:gd name="connsiteY411" fmla="*/ 746760 h 1895475"/>
                <a:gd name="connsiteX412" fmla="*/ 96203 w 1447800"/>
                <a:gd name="connsiteY412" fmla="*/ 729615 h 1895475"/>
                <a:gd name="connsiteX413" fmla="*/ 96203 w 1447800"/>
                <a:gd name="connsiteY413" fmla="*/ 727710 h 1895475"/>
                <a:gd name="connsiteX414" fmla="*/ 98107 w 1447800"/>
                <a:gd name="connsiteY414" fmla="*/ 727710 h 1895475"/>
                <a:gd name="connsiteX415" fmla="*/ 114300 w 1447800"/>
                <a:gd name="connsiteY415" fmla="*/ 736283 h 1895475"/>
                <a:gd name="connsiteX416" fmla="*/ 119063 w 1447800"/>
                <a:gd name="connsiteY416" fmla="*/ 738188 h 1895475"/>
                <a:gd name="connsiteX417" fmla="*/ 120968 w 1447800"/>
                <a:gd name="connsiteY417" fmla="*/ 737235 h 1895475"/>
                <a:gd name="connsiteX418" fmla="*/ 128588 w 1447800"/>
                <a:gd name="connsiteY418" fmla="*/ 726758 h 1895475"/>
                <a:gd name="connsiteX419" fmla="*/ 130493 w 1447800"/>
                <a:gd name="connsiteY419" fmla="*/ 722948 h 1895475"/>
                <a:gd name="connsiteX420" fmla="*/ 128588 w 1447800"/>
                <a:gd name="connsiteY420" fmla="*/ 718185 h 1895475"/>
                <a:gd name="connsiteX421" fmla="*/ 126682 w 1447800"/>
                <a:gd name="connsiteY421" fmla="*/ 716280 h 1895475"/>
                <a:gd name="connsiteX422" fmla="*/ 116205 w 1447800"/>
                <a:gd name="connsiteY422" fmla="*/ 706755 h 1895475"/>
                <a:gd name="connsiteX423" fmla="*/ 113348 w 1447800"/>
                <a:gd name="connsiteY423" fmla="*/ 702945 h 1895475"/>
                <a:gd name="connsiteX424" fmla="*/ 112395 w 1447800"/>
                <a:gd name="connsiteY424" fmla="*/ 697230 h 1895475"/>
                <a:gd name="connsiteX425" fmla="*/ 111443 w 1447800"/>
                <a:gd name="connsiteY425" fmla="*/ 686753 h 1895475"/>
                <a:gd name="connsiteX426" fmla="*/ 112395 w 1447800"/>
                <a:gd name="connsiteY426" fmla="*/ 681990 h 1895475"/>
                <a:gd name="connsiteX427" fmla="*/ 115253 w 1447800"/>
                <a:gd name="connsiteY427" fmla="*/ 679133 h 1895475"/>
                <a:gd name="connsiteX428" fmla="*/ 123825 w 1447800"/>
                <a:gd name="connsiteY428" fmla="*/ 676275 h 1895475"/>
                <a:gd name="connsiteX429" fmla="*/ 126682 w 1447800"/>
                <a:gd name="connsiteY429" fmla="*/ 674370 h 1895475"/>
                <a:gd name="connsiteX430" fmla="*/ 127635 w 1447800"/>
                <a:gd name="connsiteY430" fmla="*/ 671513 h 1895475"/>
                <a:gd name="connsiteX431" fmla="*/ 127635 w 1447800"/>
                <a:gd name="connsiteY431" fmla="*/ 669608 h 1895475"/>
                <a:gd name="connsiteX432" fmla="*/ 125730 w 1447800"/>
                <a:gd name="connsiteY432" fmla="*/ 666750 h 1895475"/>
                <a:gd name="connsiteX433" fmla="*/ 121920 w 1447800"/>
                <a:gd name="connsiteY433" fmla="*/ 662940 h 1895475"/>
                <a:gd name="connsiteX434" fmla="*/ 119063 w 1447800"/>
                <a:gd name="connsiteY434" fmla="*/ 661035 h 1895475"/>
                <a:gd name="connsiteX435" fmla="*/ 117157 w 1447800"/>
                <a:gd name="connsiteY435" fmla="*/ 657225 h 1895475"/>
                <a:gd name="connsiteX436" fmla="*/ 115253 w 1447800"/>
                <a:gd name="connsiteY436" fmla="*/ 622935 h 1895475"/>
                <a:gd name="connsiteX437" fmla="*/ 114300 w 1447800"/>
                <a:gd name="connsiteY437" fmla="*/ 619125 h 1895475"/>
                <a:gd name="connsiteX438" fmla="*/ 112395 w 1447800"/>
                <a:gd name="connsiteY438" fmla="*/ 616268 h 1895475"/>
                <a:gd name="connsiteX439" fmla="*/ 109538 w 1447800"/>
                <a:gd name="connsiteY439" fmla="*/ 615315 h 1895475"/>
                <a:gd name="connsiteX440" fmla="*/ 106680 w 1447800"/>
                <a:gd name="connsiteY440" fmla="*/ 613410 h 1895475"/>
                <a:gd name="connsiteX441" fmla="*/ 104775 w 1447800"/>
                <a:gd name="connsiteY441" fmla="*/ 610553 h 1895475"/>
                <a:gd name="connsiteX442" fmla="*/ 102870 w 1447800"/>
                <a:gd name="connsiteY442" fmla="*/ 602933 h 1895475"/>
                <a:gd name="connsiteX443" fmla="*/ 103823 w 1447800"/>
                <a:gd name="connsiteY443" fmla="*/ 593408 h 1895475"/>
                <a:gd name="connsiteX444" fmla="*/ 112395 w 1447800"/>
                <a:gd name="connsiteY444" fmla="*/ 581978 h 1895475"/>
                <a:gd name="connsiteX445" fmla="*/ 112395 w 1447800"/>
                <a:gd name="connsiteY445" fmla="*/ 572453 h 1895475"/>
                <a:gd name="connsiteX446" fmla="*/ 83820 w 1447800"/>
                <a:gd name="connsiteY446" fmla="*/ 543878 h 1895475"/>
                <a:gd name="connsiteX447" fmla="*/ 80010 w 1447800"/>
                <a:gd name="connsiteY447" fmla="*/ 538163 h 1895475"/>
                <a:gd name="connsiteX448" fmla="*/ 76200 w 1447800"/>
                <a:gd name="connsiteY448" fmla="*/ 531495 h 1895475"/>
                <a:gd name="connsiteX449" fmla="*/ 70485 w 1447800"/>
                <a:gd name="connsiteY449" fmla="*/ 512445 h 1895475"/>
                <a:gd name="connsiteX450" fmla="*/ 67628 w 1447800"/>
                <a:gd name="connsiteY450" fmla="*/ 505778 h 1895475"/>
                <a:gd name="connsiteX451" fmla="*/ 64770 w 1447800"/>
                <a:gd name="connsiteY451" fmla="*/ 487680 h 1895475"/>
                <a:gd name="connsiteX452" fmla="*/ 69532 w 1447800"/>
                <a:gd name="connsiteY452" fmla="*/ 467678 h 1895475"/>
                <a:gd name="connsiteX453" fmla="*/ 79057 w 1447800"/>
                <a:gd name="connsiteY453" fmla="*/ 451485 h 1895475"/>
                <a:gd name="connsiteX454" fmla="*/ 85725 w 1447800"/>
                <a:gd name="connsiteY454" fmla="*/ 444818 h 1895475"/>
                <a:gd name="connsiteX455" fmla="*/ 96203 w 1447800"/>
                <a:gd name="connsiteY455" fmla="*/ 438150 h 1895475"/>
                <a:gd name="connsiteX456" fmla="*/ 100965 w 1447800"/>
                <a:gd name="connsiteY456" fmla="*/ 424815 h 1895475"/>
                <a:gd name="connsiteX457" fmla="*/ 106680 w 1447800"/>
                <a:gd name="connsiteY457" fmla="*/ 413385 h 1895475"/>
                <a:gd name="connsiteX458" fmla="*/ 120015 w 1447800"/>
                <a:gd name="connsiteY458" fmla="*/ 409575 h 1895475"/>
                <a:gd name="connsiteX459" fmla="*/ 120015 w 1447800"/>
                <a:gd name="connsiteY459" fmla="*/ 402908 h 1895475"/>
                <a:gd name="connsiteX460" fmla="*/ 116205 w 1447800"/>
                <a:gd name="connsiteY460" fmla="*/ 392430 h 1895475"/>
                <a:gd name="connsiteX461" fmla="*/ 126682 w 1447800"/>
                <a:gd name="connsiteY461" fmla="*/ 389573 h 1895475"/>
                <a:gd name="connsiteX462" fmla="*/ 150495 w 1447800"/>
                <a:gd name="connsiteY462" fmla="*/ 391478 h 1895475"/>
                <a:gd name="connsiteX463" fmla="*/ 156210 w 1447800"/>
                <a:gd name="connsiteY463" fmla="*/ 387668 h 1895475"/>
                <a:gd name="connsiteX464" fmla="*/ 175260 w 1447800"/>
                <a:gd name="connsiteY464" fmla="*/ 371475 h 1895475"/>
                <a:gd name="connsiteX465" fmla="*/ 182880 w 1447800"/>
                <a:gd name="connsiteY465" fmla="*/ 368618 h 1895475"/>
                <a:gd name="connsiteX466" fmla="*/ 195263 w 1447800"/>
                <a:gd name="connsiteY466" fmla="*/ 366713 h 1895475"/>
                <a:gd name="connsiteX467" fmla="*/ 224790 w 1447800"/>
                <a:gd name="connsiteY467" fmla="*/ 356235 h 1895475"/>
                <a:gd name="connsiteX468" fmla="*/ 230505 w 1447800"/>
                <a:gd name="connsiteY468" fmla="*/ 346710 h 1895475"/>
                <a:gd name="connsiteX469" fmla="*/ 229553 w 1447800"/>
                <a:gd name="connsiteY469" fmla="*/ 337185 h 1895475"/>
                <a:gd name="connsiteX470" fmla="*/ 220980 w 1447800"/>
                <a:gd name="connsiteY470" fmla="*/ 322898 h 1895475"/>
                <a:gd name="connsiteX471" fmla="*/ 218123 w 1447800"/>
                <a:gd name="connsiteY471" fmla="*/ 320993 h 1895475"/>
                <a:gd name="connsiteX472" fmla="*/ 218123 w 1447800"/>
                <a:gd name="connsiteY472" fmla="*/ 319088 h 1895475"/>
                <a:gd name="connsiteX473" fmla="*/ 224790 w 1447800"/>
                <a:gd name="connsiteY473" fmla="*/ 311468 h 1895475"/>
                <a:gd name="connsiteX474" fmla="*/ 227648 w 1447800"/>
                <a:gd name="connsiteY474" fmla="*/ 306705 h 1895475"/>
                <a:gd name="connsiteX475" fmla="*/ 228600 w 1447800"/>
                <a:gd name="connsiteY475" fmla="*/ 301943 h 1895475"/>
                <a:gd name="connsiteX476" fmla="*/ 228600 w 1447800"/>
                <a:gd name="connsiteY476" fmla="*/ 298133 h 1895475"/>
                <a:gd name="connsiteX477" fmla="*/ 228600 w 1447800"/>
                <a:gd name="connsiteY477" fmla="*/ 270510 h 1895475"/>
                <a:gd name="connsiteX478" fmla="*/ 229553 w 1447800"/>
                <a:gd name="connsiteY478" fmla="*/ 264795 h 1895475"/>
                <a:gd name="connsiteX479" fmla="*/ 231457 w 1447800"/>
                <a:gd name="connsiteY479" fmla="*/ 261938 h 1895475"/>
                <a:gd name="connsiteX480" fmla="*/ 234315 w 1447800"/>
                <a:gd name="connsiteY480" fmla="*/ 260985 h 1895475"/>
                <a:gd name="connsiteX481" fmla="*/ 236220 w 1447800"/>
                <a:gd name="connsiteY481" fmla="*/ 260985 h 1895475"/>
                <a:gd name="connsiteX482" fmla="*/ 239078 w 1447800"/>
                <a:gd name="connsiteY482" fmla="*/ 264795 h 1895475"/>
                <a:gd name="connsiteX483" fmla="*/ 241935 w 1447800"/>
                <a:gd name="connsiteY483" fmla="*/ 270510 h 1895475"/>
                <a:gd name="connsiteX484" fmla="*/ 243840 w 1447800"/>
                <a:gd name="connsiteY484" fmla="*/ 271463 h 1895475"/>
                <a:gd name="connsiteX485" fmla="*/ 246698 w 1447800"/>
                <a:gd name="connsiteY485" fmla="*/ 272415 h 1895475"/>
                <a:gd name="connsiteX486" fmla="*/ 253365 w 1447800"/>
                <a:gd name="connsiteY486" fmla="*/ 273368 h 1895475"/>
                <a:gd name="connsiteX487" fmla="*/ 265748 w 1447800"/>
                <a:gd name="connsiteY487" fmla="*/ 271463 h 1895475"/>
                <a:gd name="connsiteX488" fmla="*/ 277178 w 1447800"/>
                <a:gd name="connsiteY488" fmla="*/ 268605 h 1895475"/>
                <a:gd name="connsiteX489" fmla="*/ 280035 w 1447800"/>
                <a:gd name="connsiteY489" fmla="*/ 266700 h 1895475"/>
                <a:gd name="connsiteX490" fmla="*/ 282893 w 1447800"/>
                <a:gd name="connsiteY490" fmla="*/ 262890 h 1895475"/>
                <a:gd name="connsiteX491" fmla="*/ 286703 w 1447800"/>
                <a:gd name="connsiteY491" fmla="*/ 253365 h 1895475"/>
                <a:gd name="connsiteX492" fmla="*/ 287655 w 1447800"/>
                <a:gd name="connsiteY492" fmla="*/ 248603 h 1895475"/>
                <a:gd name="connsiteX493" fmla="*/ 288607 w 1447800"/>
                <a:gd name="connsiteY493" fmla="*/ 243840 h 1895475"/>
                <a:gd name="connsiteX494" fmla="*/ 288607 w 1447800"/>
                <a:gd name="connsiteY494" fmla="*/ 240030 h 1895475"/>
                <a:gd name="connsiteX495" fmla="*/ 287655 w 1447800"/>
                <a:gd name="connsiteY495" fmla="*/ 238125 h 1895475"/>
                <a:gd name="connsiteX496" fmla="*/ 284798 w 1447800"/>
                <a:gd name="connsiteY496" fmla="*/ 237173 h 1895475"/>
                <a:gd name="connsiteX497" fmla="*/ 268605 w 1447800"/>
                <a:gd name="connsiteY497" fmla="*/ 235268 h 1895475"/>
                <a:gd name="connsiteX498" fmla="*/ 265748 w 1447800"/>
                <a:gd name="connsiteY498" fmla="*/ 234315 h 1895475"/>
                <a:gd name="connsiteX499" fmla="*/ 263843 w 1447800"/>
                <a:gd name="connsiteY499" fmla="*/ 232410 h 1895475"/>
                <a:gd name="connsiteX500" fmla="*/ 260985 w 1447800"/>
                <a:gd name="connsiteY500" fmla="*/ 224790 h 1895475"/>
                <a:gd name="connsiteX501" fmla="*/ 259080 w 1447800"/>
                <a:gd name="connsiteY501" fmla="*/ 222885 h 1895475"/>
                <a:gd name="connsiteX502" fmla="*/ 253365 w 1447800"/>
                <a:gd name="connsiteY502" fmla="*/ 216218 h 1895475"/>
                <a:gd name="connsiteX503" fmla="*/ 243840 w 1447800"/>
                <a:gd name="connsiteY503" fmla="*/ 202883 h 1895475"/>
                <a:gd name="connsiteX504" fmla="*/ 231457 w 1447800"/>
                <a:gd name="connsiteY504" fmla="*/ 190500 h 1895475"/>
                <a:gd name="connsiteX505" fmla="*/ 228600 w 1447800"/>
                <a:gd name="connsiteY505" fmla="*/ 188595 h 1895475"/>
                <a:gd name="connsiteX506" fmla="*/ 205740 w 1447800"/>
                <a:gd name="connsiteY506" fmla="*/ 180975 h 1895475"/>
                <a:gd name="connsiteX507" fmla="*/ 203835 w 1447800"/>
                <a:gd name="connsiteY507" fmla="*/ 179070 h 1895475"/>
                <a:gd name="connsiteX508" fmla="*/ 201930 w 1447800"/>
                <a:gd name="connsiteY508" fmla="*/ 171450 h 1895475"/>
                <a:gd name="connsiteX509" fmla="*/ 199073 w 1447800"/>
                <a:gd name="connsiteY509" fmla="*/ 130492 h 1895475"/>
                <a:gd name="connsiteX510" fmla="*/ 201930 w 1447800"/>
                <a:gd name="connsiteY510" fmla="*/ 120015 h 1895475"/>
                <a:gd name="connsiteX511" fmla="*/ 216218 w 1447800"/>
                <a:gd name="connsiteY511" fmla="*/ 105728 h 1895475"/>
                <a:gd name="connsiteX512" fmla="*/ 220980 w 1447800"/>
                <a:gd name="connsiteY512" fmla="*/ 97155 h 1895475"/>
                <a:gd name="connsiteX513" fmla="*/ 222885 w 1447800"/>
                <a:gd name="connsiteY513" fmla="*/ 91440 h 1895475"/>
                <a:gd name="connsiteX514" fmla="*/ 223838 w 1447800"/>
                <a:gd name="connsiteY514" fmla="*/ 75248 h 1895475"/>
                <a:gd name="connsiteX515" fmla="*/ 224790 w 1447800"/>
                <a:gd name="connsiteY515" fmla="*/ 68580 h 1895475"/>
                <a:gd name="connsiteX516" fmla="*/ 227648 w 1447800"/>
                <a:gd name="connsiteY516" fmla="*/ 62865 h 1895475"/>
                <a:gd name="connsiteX517" fmla="*/ 234315 w 1447800"/>
                <a:gd name="connsiteY517" fmla="*/ 52387 h 1895475"/>
                <a:gd name="connsiteX518" fmla="*/ 235268 w 1447800"/>
                <a:gd name="connsiteY518" fmla="*/ 46673 h 1895475"/>
                <a:gd name="connsiteX519" fmla="*/ 237173 w 1447800"/>
                <a:gd name="connsiteY519" fmla="*/ 33337 h 1895475"/>
                <a:gd name="connsiteX520" fmla="*/ 240982 w 1447800"/>
                <a:gd name="connsiteY520" fmla="*/ 19050 h 1895475"/>
                <a:gd name="connsiteX521" fmla="*/ 242888 w 1447800"/>
                <a:gd name="connsiteY521" fmla="*/ 14288 h 1895475"/>
                <a:gd name="connsiteX522" fmla="*/ 244793 w 1447800"/>
                <a:gd name="connsiteY522" fmla="*/ 16193 h 1895475"/>
                <a:gd name="connsiteX523" fmla="*/ 252413 w 1447800"/>
                <a:gd name="connsiteY523" fmla="*/ 20003 h 1895475"/>
                <a:gd name="connsiteX524" fmla="*/ 261938 w 1447800"/>
                <a:gd name="connsiteY524" fmla="*/ 19050 h 1895475"/>
                <a:gd name="connsiteX525" fmla="*/ 269557 w 1447800"/>
                <a:gd name="connsiteY525" fmla="*/ 13335 h 1895475"/>
                <a:gd name="connsiteX526" fmla="*/ 277178 w 1447800"/>
                <a:gd name="connsiteY526" fmla="*/ 7620 h 1895475"/>
                <a:gd name="connsiteX527" fmla="*/ 284798 w 1447800"/>
                <a:gd name="connsiteY527" fmla="*/ 2857 h 1895475"/>
                <a:gd name="connsiteX528" fmla="*/ 295275 w 1447800"/>
                <a:gd name="connsiteY528" fmla="*/ 17145 h 1895475"/>
                <a:gd name="connsiteX529" fmla="*/ 291465 w 1447800"/>
                <a:gd name="connsiteY529" fmla="*/ 50483 h 1895475"/>
                <a:gd name="connsiteX530" fmla="*/ 300990 w 1447800"/>
                <a:gd name="connsiteY530" fmla="*/ 63817 h 1895475"/>
                <a:gd name="connsiteX531" fmla="*/ 312420 w 1447800"/>
                <a:gd name="connsiteY531" fmla="*/ 62865 h 1895475"/>
                <a:gd name="connsiteX532" fmla="*/ 348615 w 1447800"/>
                <a:gd name="connsiteY532" fmla="*/ 26670 h 1895475"/>
                <a:gd name="connsiteX533" fmla="*/ 394335 w 1447800"/>
                <a:gd name="connsiteY533" fmla="*/ 4763 h 1895475"/>
                <a:gd name="connsiteX534" fmla="*/ 418148 w 1447800"/>
                <a:gd name="connsiteY534" fmla="*/ 0 h 1895475"/>
                <a:gd name="connsiteX535" fmla="*/ 442913 w 1447800"/>
                <a:gd name="connsiteY535" fmla="*/ 952 h 1895475"/>
                <a:gd name="connsiteX536" fmla="*/ 455295 w 1447800"/>
                <a:gd name="connsiteY536" fmla="*/ 5715 h 1895475"/>
                <a:gd name="connsiteX537" fmla="*/ 461963 w 1447800"/>
                <a:gd name="connsiteY537" fmla="*/ 14288 h 1895475"/>
                <a:gd name="connsiteX538" fmla="*/ 465773 w 1447800"/>
                <a:gd name="connsiteY538" fmla="*/ 25718 h 1895475"/>
                <a:gd name="connsiteX539" fmla="*/ 474345 w 1447800"/>
                <a:gd name="connsiteY539" fmla="*/ 40958 h 1895475"/>
                <a:gd name="connsiteX540" fmla="*/ 484823 w 1447800"/>
                <a:gd name="connsiteY540" fmla="*/ 51435 h 1895475"/>
                <a:gd name="connsiteX541" fmla="*/ 506730 w 1447800"/>
                <a:gd name="connsiteY541" fmla="*/ 64770 h 1895475"/>
                <a:gd name="connsiteX542" fmla="*/ 516255 w 1447800"/>
                <a:gd name="connsiteY542" fmla="*/ 79058 h 1895475"/>
                <a:gd name="connsiteX543" fmla="*/ 529590 w 1447800"/>
                <a:gd name="connsiteY543" fmla="*/ 108585 h 1895475"/>
                <a:gd name="connsiteX544" fmla="*/ 537210 w 1447800"/>
                <a:gd name="connsiteY544" fmla="*/ 118110 h 1895475"/>
                <a:gd name="connsiteX545" fmla="*/ 570548 w 1447800"/>
                <a:gd name="connsiteY545" fmla="*/ 140970 h 1895475"/>
                <a:gd name="connsiteX546" fmla="*/ 579120 w 1447800"/>
                <a:gd name="connsiteY546" fmla="*/ 150495 h 1895475"/>
                <a:gd name="connsiteX547" fmla="*/ 588645 w 1447800"/>
                <a:gd name="connsiteY547" fmla="*/ 164783 h 1895475"/>
                <a:gd name="connsiteX548" fmla="*/ 593407 w 1447800"/>
                <a:gd name="connsiteY548" fmla="*/ 174308 h 1895475"/>
                <a:gd name="connsiteX549" fmla="*/ 596265 w 1447800"/>
                <a:gd name="connsiteY549" fmla="*/ 182880 h 1895475"/>
                <a:gd name="connsiteX550" fmla="*/ 598170 w 1447800"/>
                <a:gd name="connsiteY550" fmla="*/ 191453 h 1895475"/>
                <a:gd name="connsiteX551" fmla="*/ 598170 w 1447800"/>
                <a:gd name="connsiteY551" fmla="*/ 200978 h 1895475"/>
                <a:gd name="connsiteX552" fmla="*/ 588645 w 1447800"/>
                <a:gd name="connsiteY552" fmla="*/ 220028 h 1895475"/>
                <a:gd name="connsiteX553" fmla="*/ 588645 w 1447800"/>
                <a:gd name="connsiteY553" fmla="*/ 224790 h 1895475"/>
                <a:gd name="connsiteX554" fmla="*/ 590550 w 1447800"/>
                <a:gd name="connsiteY554" fmla="*/ 239078 h 1895475"/>
                <a:gd name="connsiteX555" fmla="*/ 592455 w 1447800"/>
                <a:gd name="connsiteY555" fmla="*/ 267653 h 1895475"/>
                <a:gd name="connsiteX556" fmla="*/ 595313 w 1447800"/>
                <a:gd name="connsiteY556" fmla="*/ 283845 h 1895475"/>
                <a:gd name="connsiteX557" fmla="*/ 601028 w 1447800"/>
                <a:gd name="connsiteY557" fmla="*/ 299085 h 1895475"/>
                <a:gd name="connsiteX558" fmla="*/ 612457 w 1447800"/>
                <a:gd name="connsiteY558" fmla="*/ 317183 h 1895475"/>
                <a:gd name="connsiteX559" fmla="*/ 614363 w 1447800"/>
                <a:gd name="connsiteY559" fmla="*/ 332423 h 1895475"/>
                <a:gd name="connsiteX560" fmla="*/ 609600 w 1447800"/>
                <a:gd name="connsiteY560" fmla="*/ 344805 h 1895475"/>
                <a:gd name="connsiteX561" fmla="*/ 609600 w 1447800"/>
                <a:gd name="connsiteY561" fmla="*/ 352425 h 1895475"/>
                <a:gd name="connsiteX562" fmla="*/ 636270 w 1447800"/>
                <a:gd name="connsiteY562" fmla="*/ 352425 h 1895475"/>
                <a:gd name="connsiteX563" fmla="*/ 646748 w 1447800"/>
                <a:gd name="connsiteY563" fmla="*/ 360045 h 1895475"/>
                <a:gd name="connsiteX564" fmla="*/ 666750 w 1447800"/>
                <a:gd name="connsiteY564" fmla="*/ 385763 h 1895475"/>
                <a:gd name="connsiteX565" fmla="*/ 669607 w 1447800"/>
                <a:gd name="connsiteY565" fmla="*/ 388620 h 1895475"/>
                <a:gd name="connsiteX566" fmla="*/ 676275 w 1447800"/>
                <a:gd name="connsiteY566" fmla="*/ 393383 h 1895475"/>
                <a:gd name="connsiteX567" fmla="*/ 679132 w 1447800"/>
                <a:gd name="connsiteY567" fmla="*/ 397193 h 1895475"/>
                <a:gd name="connsiteX568" fmla="*/ 681038 w 1447800"/>
                <a:gd name="connsiteY568" fmla="*/ 401003 h 1895475"/>
                <a:gd name="connsiteX569" fmla="*/ 682943 w 1447800"/>
                <a:gd name="connsiteY569" fmla="*/ 412433 h 1895475"/>
                <a:gd name="connsiteX570" fmla="*/ 682943 w 1447800"/>
                <a:gd name="connsiteY570" fmla="*/ 415290 h 1895475"/>
                <a:gd name="connsiteX571" fmla="*/ 688657 w 1447800"/>
                <a:gd name="connsiteY571" fmla="*/ 417195 h 1895475"/>
                <a:gd name="connsiteX572" fmla="*/ 699135 w 1447800"/>
                <a:gd name="connsiteY572" fmla="*/ 412433 h 1895475"/>
                <a:gd name="connsiteX573" fmla="*/ 704850 w 1447800"/>
                <a:gd name="connsiteY573" fmla="*/ 412433 h 1895475"/>
                <a:gd name="connsiteX574" fmla="*/ 714375 w 1447800"/>
                <a:gd name="connsiteY574" fmla="*/ 419100 h 1895475"/>
                <a:gd name="connsiteX575" fmla="*/ 731520 w 1447800"/>
                <a:gd name="connsiteY575" fmla="*/ 439103 h 1895475"/>
                <a:gd name="connsiteX576" fmla="*/ 741998 w 1447800"/>
                <a:gd name="connsiteY576" fmla="*/ 445770 h 1895475"/>
                <a:gd name="connsiteX577" fmla="*/ 762000 w 1447800"/>
                <a:gd name="connsiteY577" fmla="*/ 466725 h 1895475"/>
                <a:gd name="connsiteX578" fmla="*/ 776288 w 1447800"/>
                <a:gd name="connsiteY578" fmla="*/ 501015 h 1895475"/>
                <a:gd name="connsiteX579" fmla="*/ 777240 w 1447800"/>
                <a:gd name="connsiteY579" fmla="*/ 536258 h 1895475"/>
                <a:gd name="connsiteX580" fmla="*/ 757238 w 1447800"/>
                <a:gd name="connsiteY580" fmla="*/ 560070 h 1895475"/>
                <a:gd name="connsiteX581" fmla="*/ 747713 w 1447800"/>
                <a:gd name="connsiteY581" fmla="*/ 561975 h 1895475"/>
                <a:gd name="connsiteX582" fmla="*/ 716280 w 1447800"/>
                <a:gd name="connsiteY582" fmla="*/ 561975 h 1895475"/>
                <a:gd name="connsiteX583" fmla="*/ 626745 w 1447800"/>
                <a:gd name="connsiteY583" fmla="*/ 583883 h 1895475"/>
                <a:gd name="connsiteX584" fmla="*/ 605790 w 1447800"/>
                <a:gd name="connsiteY584" fmla="*/ 595313 h 1895475"/>
                <a:gd name="connsiteX585" fmla="*/ 601028 w 1447800"/>
                <a:gd name="connsiteY585" fmla="*/ 615315 h 1895475"/>
                <a:gd name="connsiteX586" fmla="*/ 606743 w 1447800"/>
                <a:gd name="connsiteY586" fmla="*/ 623888 h 1895475"/>
                <a:gd name="connsiteX587" fmla="*/ 625793 w 1447800"/>
                <a:gd name="connsiteY587" fmla="*/ 629603 h 1895475"/>
                <a:gd name="connsiteX588" fmla="*/ 632460 w 1447800"/>
                <a:gd name="connsiteY588" fmla="*/ 634365 h 1895475"/>
                <a:gd name="connsiteX589" fmla="*/ 635318 w 1447800"/>
                <a:gd name="connsiteY589" fmla="*/ 640080 h 1895475"/>
                <a:gd name="connsiteX590" fmla="*/ 637223 w 1447800"/>
                <a:gd name="connsiteY590" fmla="*/ 658178 h 1895475"/>
                <a:gd name="connsiteX591" fmla="*/ 640080 w 1447800"/>
                <a:gd name="connsiteY591" fmla="*/ 665798 h 1895475"/>
                <a:gd name="connsiteX592" fmla="*/ 643890 w 1447800"/>
                <a:gd name="connsiteY592" fmla="*/ 672465 h 1895475"/>
                <a:gd name="connsiteX593" fmla="*/ 665798 w 1447800"/>
                <a:gd name="connsiteY593" fmla="*/ 698183 h 1895475"/>
                <a:gd name="connsiteX594" fmla="*/ 672465 w 1447800"/>
                <a:gd name="connsiteY594" fmla="*/ 709613 h 1895475"/>
                <a:gd name="connsiteX595" fmla="*/ 677228 w 1447800"/>
                <a:gd name="connsiteY595" fmla="*/ 724853 h 1895475"/>
                <a:gd name="connsiteX596" fmla="*/ 678180 w 1447800"/>
                <a:gd name="connsiteY596" fmla="*/ 742950 h 1895475"/>
                <a:gd name="connsiteX597" fmla="*/ 677228 w 1447800"/>
                <a:gd name="connsiteY597" fmla="*/ 751523 h 1895475"/>
                <a:gd name="connsiteX598" fmla="*/ 672465 w 1447800"/>
                <a:gd name="connsiteY598" fmla="*/ 766763 h 1895475"/>
                <a:gd name="connsiteX599" fmla="*/ 670560 w 1447800"/>
                <a:gd name="connsiteY599" fmla="*/ 775335 h 1895475"/>
                <a:gd name="connsiteX600" fmla="*/ 671513 w 1447800"/>
                <a:gd name="connsiteY600" fmla="*/ 783908 h 1895475"/>
                <a:gd name="connsiteX601" fmla="*/ 673418 w 1447800"/>
                <a:gd name="connsiteY601" fmla="*/ 791528 h 1895475"/>
                <a:gd name="connsiteX602" fmla="*/ 675323 w 1447800"/>
                <a:gd name="connsiteY602" fmla="*/ 798195 h 1895475"/>
                <a:gd name="connsiteX603" fmla="*/ 673418 w 1447800"/>
                <a:gd name="connsiteY603" fmla="*/ 806768 h 1895475"/>
                <a:gd name="connsiteX604" fmla="*/ 669607 w 1447800"/>
                <a:gd name="connsiteY604" fmla="*/ 811530 h 1895475"/>
                <a:gd name="connsiteX605" fmla="*/ 657225 w 1447800"/>
                <a:gd name="connsiteY605" fmla="*/ 814388 h 1895475"/>
                <a:gd name="connsiteX606" fmla="*/ 655320 w 1447800"/>
                <a:gd name="connsiteY606" fmla="*/ 819150 h 1895475"/>
                <a:gd name="connsiteX607" fmla="*/ 657225 w 1447800"/>
                <a:gd name="connsiteY607" fmla="*/ 826770 h 1895475"/>
                <a:gd name="connsiteX608" fmla="*/ 661988 w 1447800"/>
                <a:gd name="connsiteY608" fmla="*/ 833438 h 1895475"/>
                <a:gd name="connsiteX609" fmla="*/ 672465 w 1447800"/>
                <a:gd name="connsiteY609" fmla="*/ 843915 h 1895475"/>
                <a:gd name="connsiteX610" fmla="*/ 681038 w 1447800"/>
                <a:gd name="connsiteY610" fmla="*/ 848678 h 1895475"/>
                <a:gd name="connsiteX611" fmla="*/ 689610 w 1447800"/>
                <a:gd name="connsiteY611" fmla="*/ 852488 h 1895475"/>
                <a:gd name="connsiteX612" fmla="*/ 698182 w 1447800"/>
                <a:gd name="connsiteY612" fmla="*/ 854393 h 1895475"/>
                <a:gd name="connsiteX613" fmla="*/ 706755 w 1447800"/>
                <a:gd name="connsiteY613" fmla="*/ 854393 h 1895475"/>
                <a:gd name="connsiteX614" fmla="*/ 717232 w 1447800"/>
                <a:gd name="connsiteY614" fmla="*/ 848678 h 1895475"/>
                <a:gd name="connsiteX615" fmla="*/ 721995 w 1447800"/>
                <a:gd name="connsiteY615" fmla="*/ 877253 h 1895475"/>
                <a:gd name="connsiteX616" fmla="*/ 708660 w 1447800"/>
                <a:gd name="connsiteY616" fmla="*/ 904875 h 1895475"/>
                <a:gd name="connsiteX617" fmla="*/ 687705 w 1447800"/>
                <a:gd name="connsiteY617" fmla="*/ 927735 h 1895475"/>
                <a:gd name="connsiteX618" fmla="*/ 657225 w 1447800"/>
                <a:gd name="connsiteY618" fmla="*/ 948690 h 1895475"/>
                <a:gd name="connsiteX619" fmla="*/ 695325 w 1447800"/>
                <a:gd name="connsiteY619" fmla="*/ 965835 h 1895475"/>
                <a:gd name="connsiteX620" fmla="*/ 707707 w 1447800"/>
                <a:gd name="connsiteY620" fmla="*/ 967740 h 1895475"/>
                <a:gd name="connsiteX621" fmla="*/ 717232 w 1447800"/>
                <a:gd name="connsiteY621" fmla="*/ 963930 h 1895475"/>
                <a:gd name="connsiteX622" fmla="*/ 736282 w 1447800"/>
                <a:gd name="connsiteY622" fmla="*/ 946785 h 1895475"/>
                <a:gd name="connsiteX623" fmla="*/ 755332 w 1447800"/>
                <a:gd name="connsiteY623" fmla="*/ 942023 h 1895475"/>
                <a:gd name="connsiteX624" fmla="*/ 774382 w 1447800"/>
                <a:gd name="connsiteY624" fmla="*/ 945833 h 1895475"/>
                <a:gd name="connsiteX625" fmla="*/ 812482 w 1447800"/>
                <a:gd name="connsiteY625" fmla="*/ 959168 h 1895475"/>
                <a:gd name="connsiteX626" fmla="*/ 829628 w 1447800"/>
                <a:gd name="connsiteY626" fmla="*/ 965835 h 1895475"/>
                <a:gd name="connsiteX627" fmla="*/ 863918 w 1447800"/>
                <a:gd name="connsiteY627" fmla="*/ 959168 h 1895475"/>
                <a:gd name="connsiteX628" fmla="*/ 880110 w 1447800"/>
                <a:gd name="connsiteY628" fmla="*/ 962025 h 1895475"/>
                <a:gd name="connsiteX629" fmla="*/ 887730 w 1447800"/>
                <a:gd name="connsiteY629" fmla="*/ 969645 h 1895475"/>
                <a:gd name="connsiteX630" fmla="*/ 890588 w 1447800"/>
                <a:gd name="connsiteY630" fmla="*/ 981075 h 1895475"/>
                <a:gd name="connsiteX631" fmla="*/ 892493 w 1447800"/>
                <a:gd name="connsiteY631" fmla="*/ 994410 h 1895475"/>
                <a:gd name="connsiteX632" fmla="*/ 898207 w 1447800"/>
                <a:gd name="connsiteY632" fmla="*/ 1006793 h 1895475"/>
                <a:gd name="connsiteX633" fmla="*/ 905828 w 1447800"/>
                <a:gd name="connsiteY633" fmla="*/ 1014413 h 1895475"/>
                <a:gd name="connsiteX634" fmla="*/ 915353 w 1447800"/>
                <a:gd name="connsiteY634" fmla="*/ 1017270 h 1895475"/>
                <a:gd name="connsiteX635" fmla="*/ 953453 w 1447800"/>
                <a:gd name="connsiteY635" fmla="*/ 1020128 h 1895475"/>
                <a:gd name="connsiteX636" fmla="*/ 990600 w 1447800"/>
                <a:gd name="connsiteY636" fmla="*/ 1011555 h 1895475"/>
                <a:gd name="connsiteX637" fmla="*/ 1033463 w 1447800"/>
                <a:gd name="connsiteY637" fmla="*/ 993458 h 1895475"/>
                <a:gd name="connsiteX638" fmla="*/ 1058228 w 1447800"/>
                <a:gd name="connsiteY638" fmla="*/ 978218 h 1895475"/>
                <a:gd name="connsiteX639" fmla="*/ 1065848 w 1447800"/>
                <a:gd name="connsiteY639" fmla="*/ 977265 h 1895475"/>
                <a:gd name="connsiteX640" fmla="*/ 1076325 w 1447800"/>
                <a:gd name="connsiteY640" fmla="*/ 982028 h 1895475"/>
                <a:gd name="connsiteX641" fmla="*/ 1085850 w 1447800"/>
                <a:gd name="connsiteY641" fmla="*/ 988695 h 1895475"/>
                <a:gd name="connsiteX642" fmla="*/ 1096328 w 1447800"/>
                <a:gd name="connsiteY642" fmla="*/ 986790 h 1895475"/>
                <a:gd name="connsiteX643" fmla="*/ 1106805 w 1447800"/>
                <a:gd name="connsiteY643" fmla="*/ 982028 h 1895475"/>
                <a:gd name="connsiteX644" fmla="*/ 1117282 w 1447800"/>
                <a:gd name="connsiteY644" fmla="*/ 980123 h 1895475"/>
                <a:gd name="connsiteX645" fmla="*/ 1127760 w 1447800"/>
                <a:gd name="connsiteY645" fmla="*/ 983933 h 1895475"/>
                <a:gd name="connsiteX646" fmla="*/ 1134428 w 1447800"/>
                <a:gd name="connsiteY646" fmla="*/ 992505 h 1895475"/>
                <a:gd name="connsiteX647" fmla="*/ 1138238 w 1447800"/>
                <a:gd name="connsiteY647" fmla="*/ 1004888 h 1895475"/>
                <a:gd name="connsiteX648" fmla="*/ 1151573 w 1447800"/>
                <a:gd name="connsiteY648" fmla="*/ 1082040 h 1895475"/>
                <a:gd name="connsiteX649" fmla="*/ 1162050 w 1447800"/>
                <a:gd name="connsiteY649" fmla="*/ 1109663 h 1895475"/>
                <a:gd name="connsiteX650" fmla="*/ 1177290 w 1447800"/>
                <a:gd name="connsiteY650" fmla="*/ 1123950 h 1895475"/>
                <a:gd name="connsiteX651" fmla="*/ 1195388 w 1447800"/>
                <a:gd name="connsiteY651" fmla="*/ 1125855 h 1895475"/>
                <a:gd name="connsiteX652" fmla="*/ 1230630 w 1447800"/>
                <a:gd name="connsiteY652" fmla="*/ 1117283 h 1895475"/>
                <a:gd name="connsiteX653" fmla="*/ 1248728 w 1447800"/>
                <a:gd name="connsiteY653" fmla="*/ 1118235 h 1895475"/>
                <a:gd name="connsiteX654" fmla="*/ 1259205 w 1447800"/>
                <a:gd name="connsiteY654" fmla="*/ 1122045 h 1895475"/>
                <a:gd name="connsiteX655" fmla="*/ 1268730 w 1447800"/>
                <a:gd name="connsiteY655" fmla="*/ 1127760 h 1895475"/>
                <a:gd name="connsiteX656" fmla="*/ 1273493 w 1447800"/>
                <a:gd name="connsiteY656" fmla="*/ 1137285 h 1895475"/>
                <a:gd name="connsiteX657" fmla="*/ 1269682 w 1447800"/>
                <a:gd name="connsiteY657" fmla="*/ 1151573 h 1895475"/>
                <a:gd name="connsiteX658" fmla="*/ 1262063 w 1447800"/>
                <a:gd name="connsiteY658" fmla="*/ 1158240 h 1895475"/>
                <a:gd name="connsiteX659" fmla="*/ 1233488 w 1447800"/>
                <a:gd name="connsiteY659" fmla="*/ 1164908 h 1895475"/>
                <a:gd name="connsiteX660" fmla="*/ 1235393 w 1447800"/>
                <a:gd name="connsiteY660" fmla="*/ 1173480 h 1895475"/>
                <a:gd name="connsiteX661" fmla="*/ 1235393 w 1447800"/>
                <a:gd name="connsiteY661" fmla="*/ 1196340 h 1895475"/>
                <a:gd name="connsiteX662" fmla="*/ 1236345 w 1447800"/>
                <a:gd name="connsiteY662" fmla="*/ 1204913 h 1895475"/>
                <a:gd name="connsiteX663" fmla="*/ 1241107 w 1447800"/>
                <a:gd name="connsiteY663" fmla="*/ 1210628 h 1895475"/>
                <a:gd name="connsiteX664" fmla="*/ 1253490 w 1447800"/>
                <a:gd name="connsiteY664" fmla="*/ 1213485 h 1895475"/>
                <a:gd name="connsiteX665" fmla="*/ 1260157 w 1447800"/>
                <a:gd name="connsiteY665" fmla="*/ 1218248 h 1895475"/>
                <a:gd name="connsiteX666" fmla="*/ 1266825 w 1447800"/>
                <a:gd name="connsiteY666" fmla="*/ 1228725 h 1895475"/>
                <a:gd name="connsiteX667" fmla="*/ 1266825 w 1447800"/>
                <a:gd name="connsiteY667" fmla="*/ 1238250 h 1895475"/>
                <a:gd name="connsiteX668" fmla="*/ 1265873 w 1447800"/>
                <a:gd name="connsiteY668" fmla="*/ 1248728 h 1895475"/>
                <a:gd name="connsiteX669" fmla="*/ 1266825 w 1447800"/>
                <a:gd name="connsiteY669" fmla="*/ 1262063 h 1895475"/>
                <a:gd name="connsiteX670" fmla="*/ 1270635 w 1447800"/>
                <a:gd name="connsiteY670" fmla="*/ 1272540 h 1895475"/>
                <a:gd name="connsiteX671" fmla="*/ 1281113 w 1447800"/>
                <a:gd name="connsiteY671" fmla="*/ 1286828 h 1895475"/>
                <a:gd name="connsiteX672" fmla="*/ 1285875 w 1447800"/>
                <a:gd name="connsiteY672" fmla="*/ 1297305 h 1895475"/>
                <a:gd name="connsiteX673" fmla="*/ 1286828 w 1447800"/>
                <a:gd name="connsiteY673" fmla="*/ 1309688 h 1895475"/>
                <a:gd name="connsiteX674" fmla="*/ 1284923 w 1447800"/>
                <a:gd name="connsiteY674" fmla="*/ 1319213 h 1895475"/>
                <a:gd name="connsiteX675" fmla="*/ 1285875 w 1447800"/>
                <a:gd name="connsiteY675" fmla="*/ 1327785 h 1895475"/>
                <a:gd name="connsiteX676" fmla="*/ 1293495 w 1447800"/>
                <a:gd name="connsiteY676" fmla="*/ 1335405 h 1895475"/>
                <a:gd name="connsiteX677" fmla="*/ 1306830 w 1447800"/>
                <a:gd name="connsiteY677" fmla="*/ 1343025 h 1895475"/>
                <a:gd name="connsiteX678" fmla="*/ 1312545 w 1447800"/>
                <a:gd name="connsiteY678" fmla="*/ 1348740 h 1895475"/>
                <a:gd name="connsiteX679" fmla="*/ 1317307 w 1447800"/>
                <a:gd name="connsiteY679" fmla="*/ 1357313 h 1895475"/>
                <a:gd name="connsiteX680" fmla="*/ 1322070 w 1447800"/>
                <a:gd name="connsiteY680" fmla="*/ 1380173 h 1895475"/>
                <a:gd name="connsiteX681" fmla="*/ 1320165 w 1447800"/>
                <a:gd name="connsiteY681" fmla="*/ 1401128 h 1895475"/>
                <a:gd name="connsiteX682" fmla="*/ 1321118 w 1447800"/>
                <a:gd name="connsiteY682" fmla="*/ 1419225 h 1895475"/>
                <a:gd name="connsiteX683" fmla="*/ 1333500 w 1447800"/>
                <a:gd name="connsiteY683" fmla="*/ 1435418 h 1895475"/>
                <a:gd name="connsiteX684" fmla="*/ 1292543 w 1447800"/>
                <a:gd name="connsiteY684" fmla="*/ 1453515 h 1895475"/>
                <a:gd name="connsiteX685" fmla="*/ 1284923 w 1447800"/>
                <a:gd name="connsiteY685" fmla="*/ 1463993 h 1895475"/>
                <a:gd name="connsiteX686" fmla="*/ 1285875 w 1447800"/>
                <a:gd name="connsiteY686" fmla="*/ 1474470 h 1895475"/>
                <a:gd name="connsiteX687" fmla="*/ 1310640 w 1447800"/>
                <a:gd name="connsiteY687" fmla="*/ 1574483 h 1895475"/>
                <a:gd name="connsiteX688" fmla="*/ 1322070 w 1447800"/>
                <a:gd name="connsiteY688" fmla="*/ 1595438 h 1895475"/>
                <a:gd name="connsiteX689" fmla="*/ 1339215 w 1447800"/>
                <a:gd name="connsiteY689" fmla="*/ 1603058 h 1895475"/>
                <a:gd name="connsiteX690" fmla="*/ 1350645 w 1447800"/>
                <a:gd name="connsiteY690" fmla="*/ 1604963 h 1895475"/>
                <a:gd name="connsiteX691" fmla="*/ 1362075 w 1447800"/>
                <a:gd name="connsiteY691" fmla="*/ 1608773 h 1895475"/>
                <a:gd name="connsiteX692" fmla="*/ 1371600 w 1447800"/>
                <a:gd name="connsiteY692" fmla="*/ 1616393 h 1895475"/>
                <a:gd name="connsiteX693" fmla="*/ 1379220 w 1447800"/>
                <a:gd name="connsiteY693" fmla="*/ 1630680 h 1895475"/>
                <a:gd name="connsiteX694" fmla="*/ 1383030 w 1447800"/>
                <a:gd name="connsiteY694" fmla="*/ 1649730 h 1895475"/>
                <a:gd name="connsiteX695" fmla="*/ 1383982 w 1447800"/>
                <a:gd name="connsiteY695" fmla="*/ 1664970 h 1895475"/>
                <a:gd name="connsiteX696" fmla="*/ 1386840 w 1447800"/>
                <a:gd name="connsiteY696" fmla="*/ 1677353 h 1895475"/>
                <a:gd name="connsiteX697" fmla="*/ 1398270 w 1447800"/>
                <a:gd name="connsiteY697" fmla="*/ 1690688 h 1895475"/>
                <a:gd name="connsiteX698" fmla="*/ 1408748 w 1447800"/>
                <a:gd name="connsiteY698" fmla="*/ 1698308 h 1895475"/>
                <a:gd name="connsiteX699" fmla="*/ 1419225 w 1447800"/>
                <a:gd name="connsiteY699" fmla="*/ 1704023 h 1895475"/>
                <a:gd name="connsiteX700" fmla="*/ 1430655 w 1447800"/>
                <a:gd name="connsiteY700" fmla="*/ 1706880 h 1895475"/>
                <a:gd name="connsiteX701" fmla="*/ 1441132 w 1447800"/>
                <a:gd name="connsiteY701" fmla="*/ 1707833 h 1895475"/>
                <a:gd name="connsiteX702" fmla="*/ 1451610 w 1447800"/>
                <a:gd name="connsiteY702" fmla="*/ 1704023 h 189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</a:cxnLst>
              <a:rect l="l" t="t" r="r" b="b"/>
              <a:pathLst>
                <a:path w="1447800" h="1895475">
                  <a:moveTo>
                    <a:pt x="1451610" y="1704023"/>
                  </a:moveTo>
                  <a:lnTo>
                    <a:pt x="1450657" y="1708785"/>
                  </a:lnTo>
                  <a:lnTo>
                    <a:pt x="1448753" y="1715453"/>
                  </a:lnTo>
                  <a:lnTo>
                    <a:pt x="1445895" y="1721168"/>
                  </a:lnTo>
                  <a:lnTo>
                    <a:pt x="1443990" y="1723073"/>
                  </a:lnTo>
                  <a:lnTo>
                    <a:pt x="1440180" y="1724025"/>
                  </a:lnTo>
                  <a:lnTo>
                    <a:pt x="1435418" y="1724978"/>
                  </a:lnTo>
                  <a:lnTo>
                    <a:pt x="1426845" y="1725930"/>
                  </a:lnTo>
                  <a:lnTo>
                    <a:pt x="1417320" y="1724025"/>
                  </a:lnTo>
                  <a:lnTo>
                    <a:pt x="1400175" y="1719263"/>
                  </a:lnTo>
                  <a:lnTo>
                    <a:pt x="1396365" y="1720215"/>
                  </a:lnTo>
                  <a:lnTo>
                    <a:pt x="1390650" y="1721168"/>
                  </a:lnTo>
                  <a:lnTo>
                    <a:pt x="1383030" y="1724978"/>
                  </a:lnTo>
                  <a:lnTo>
                    <a:pt x="1366838" y="1726883"/>
                  </a:lnTo>
                  <a:lnTo>
                    <a:pt x="1350645" y="1723073"/>
                  </a:lnTo>
                  <a:lnTo>
                    <a:pt x="1347788" y="1724978"/>
                  </a:lnTo>
                  <a:lnTo>
                    <a:pt x="1347788" y="1728788"/>
                  </a:lnTo>
                  <a:lnTo>
                    <a:pt x="1348740" y="1730693"/>
                  </a:lnTo>
                  <a:lnTo>
                    <a:pt x="1352550" y="1735455"/>
                  </a:lnTo>
                  <a:lnTo>
                    <a:pt x="1354455" y="1737360"/>
                  </a:lnTo>
                  <a:lnTo>
                    <a:pt x="1353503" y="1739265"/>
                  </a:lnTo>
                  <a:lnTo>
                    <a:pt x="1351598" y="1740218"/>
                  </a:lnTo>
                  <a:lnTo>
                    <a:pt x="1346835" y="1739265"/>
                  </a:lnTo>
                  <a:lnTo>
                    <a:pt x="1310640" y="1716405"/>
                  </a:lnTo>
                  <a:lnTo>
                    <a:pt x="1304925" y="1713548"/>
                  </a:lnTo>
                  <a:lnTo>
                    <a:pt x="1302068" y="1712595"/>
                  </a:lnTo>
                  <a:lnTo>
                    <a:pt x="1299210" y="1712595"/>
                  </a:lnTo>
                  <a:lnTo>
                    <a:pt x="1296353" y="1714500"/>
                  </a:lnTo>
                  <a:lnTo>
                    <a:pt x="1293495" y="1716405"/>
                  </a:lnTo>
                  <a:lnTo>
                    <a:pt x="1292543" y="1721168"/>
                  </a:lnTo>
                  <a:lnTo>
                    <a:pt x="1292543" y="1724978"/>
                  </a:lnTo>
                  <a:lnTo>
                    <a:pt x="1292543" y="1737360"/>
                  </a:lnTo>
                  <a:lnTo>
                    <a:pt x="1292543" y="1741170"/>
                  </a:lnTo>
                  <a:lnTo>
                    <a:pt x="1291590" y="1744028"/>
                  </a:lnTo>
                  <a:lnTo>
                    <a:pt x="1289685" y="1745933"/>
                  </a:lnTo>
                  <a:lnTo>
                    <a:pt x="1286828" y="1746885"/>
                  </a:lnTo>
                  <a:lnTo>
                    <a:pt x="1283018" y="1746885"/>
                  </a:lnTo>
                  <a:lnTo>
                    <a:pt x="1279207" y="1744980"/>
                  </a:lnTo>
                  <a:lnTo>
                    <a:pt x="1266825" y="1737360"/>
                  </a:lnTo>
                  <a:lnTo>
                    <a:pt x="1263968" y="1736408"/>
                  </a:lnTo>
                  <a:lnTo>
                    <a:pt x="1260157" y="1737360"/>
                  </a:lnTo>
                  <a:lnTo>
                    <a:pt x="1255395" y="1739265"/>
                  </a:lnTo>
                  <a:lnTo>
                    <a:pt x="1248728" y="1745933"/>
                  </a:lnTo>
                  <a:lnTo>
                    <a:pt x="1247775" y="1749743"/>
                  </a:lnTo>
                  <a:lnTo>
                    <a:pt x="1247775" y="1752600"/>
                  </a:lnTo>
                  <a:lnTo>
                    <a:pt x="1250632" y="1756410"/>
                  </a:lnTo>
                  <a:lnTo>
                    <a:pt x="1250632" y="1758315"/>
                  </a:lnTo>
                  <a:lnTo>
                    <a:pt x="1249680" y="1760220"/>
                  </a:lnTo>
                  <a:lnTo>
                    <a:pt x="1246823" y="1762125"/>
                  </a:lnTo>
                  <a:lnTo>
                    <a:pt x="1243965" y="1762125"/>
                  </a:lnTo>
                  <a:lnTo>
                    <a:pt x="1227773" y="1758315"/>
                  </a:lnTo>
                  <a:lnTo>
                    <a:pt x="1225868" y="1759268"/>
                  </a:lnTo>
                  <a:lnTo>
                    <a:pt x="1223010" y="1761173"/>
                  </a:lnTo>
                  <a:lnTo>
                    <a:pt x="1219200" y="1766888"/>
                  </a:lnTo>
                  <a:lnTo>
                    <a:pt x="1218248" y="1769745"/>
                  </a:lnTo>
                  <a:lnTo>
                    <a:pt x="1217295" y="1773555"/>
                  </a:lnTo>
                  <a:lnTo>
                    <a:pt x="1220153" y="1781175"/>
                  </a:lnTo>
                  <a:lnTo>
                    <a:pt x="1221105" y="1786890"/>
                  </a:lnTo>
                  <a:lnTo>
                    <a:pt x="1220153" y="1789748"/>
                  </a:lnTo>
                  <a:lnTo>
                    <a:pt x="1218248" y="1791653"/>
                  </a:lnTo>
                  <a:lnTo>
                    <a:pt x="1213485" y="1793558"/>
                  </a:lnTo>
                  <a:lnTo>
                    <a:pt x="1195388" y="1797368"/>
                  </a:lnTo>
                  <a:lnTo>
                    <a:pt x="1188720" y="1796415"/>
                  </a:lnTo>
                  <a:lnTo>
                    <a:pt x="1184910" y="1795463"/>
                  </a:lnTo>
                  <a:lnTo>
                    <a:pt x="1182053" y="1793558"/>
                  </a:lnTo>
                  <a:lnTo>
                    <a:pt x="1171575" y="1787843"/>
                  </a:lnTo>
                  <a:lnTo>
                    <a:pt x="1164907" y="1786890"/>
                  </a:lnTo>
                  <a:lnTo>
                    <a:pt x="1158240" y="1785938"/>
                  </a:lnTo>
                  <a:lnTo>
                    <a:pt x="1153478" y="1787843"/>
                  </a:lnTo>
                  <a:lnTo>
                    <a:pt x="1149668" y="1790700"/>
                  </a:lnTo>
                  <a:lnTo>
                    <a:pt x="1143953" y="1798320"/>
                  </a:lnTo>
                  <a:lnTo>
                    <a:pt x="1141095" y="1803083"/>
                  </a:lnTo>
                  <a:lnTo>
                    <a:pt x="1139190" y="1806893"/>
                  </a:lnTo>
                  <a:lnTo>
                    <a:pt x="1137285" y="1814513"/>
                  </a:lnTo>
                  <a:lnTo>
                    <a:pt x="1135380" y="1816418"/>
                  </a:lnTo>
                  <a:lnTo>
                    <a:pt x="1133475" y="1817370"/>
                  </a:lnTo>
                  <a:lnTo>
                    <a:pt x="1129665" y="1816418"/>
                  </a:lnTo>
                  <a:lnTo>
                    <a:pt x="1122045" y="1810703"/>
                  </a:lnTo>
                  <a:lnTo>
                    <a:pt x="1118235" y="1811655"/>
                  </a:lnTo>
                  <a:lnTo>
                    <a:pt x="1113473" y="1815465"/>
                  </a:lnTo>
                  <a:lnTo>
                    <a:pt x="1105853" y="1824990"/>
                  </a:lnTo>
                  <a:lnTo>
                    <a:pt x="1104900" y="1829753"/>
                  </a:lnTo>
                  <a:lnTo>
                    <a:pt x="1104900" y="1833563"/>
                  </a:lnTo>
                  <a:lnTo>
                    <a:pt x="1105853" y="1838325"/>
                  </a:lnTo>
                  <a:lnTo>
                    <a:pt x="1103948" y="1844040"/>
                  </a:lnTo>
                  <a:lnTo>
                    <a:pt x="1102043" y="1846898"/>
                  </a:lnTo>
                  <a:lnTo>
                    <a:pt x="1099185" y="1847850"/>
                  </a:lnTo>
                  <a:lnTo>
                    <a:pt x="1094423" y="1845945"/>
                  </a:lnTo>
                  <a:lnTo>
                    <a:pt x="1088707" y="1843088"/>
                  </a:lnTo>
                  <a:lnTo>
                    <a:pt x="1082040" y="1837373"/>
                  </a:lnTo>
                  <a:lnTo>
                    <a:pt x="1078230" y="1833563"/>
                  </a:lnTo>
                  <a:lnTo>
                    <a:pt x="1075373" y="1829753"/>
                  </a:lnTo>
                  <a:lnTo>
                    <a:pt x="1073468" y="1829753"/>
                  </a:lnTo>
                  <a:lnTo>
                    <a:pt x="1070610" y="1831658"/>
                  </a:lnTo>
                  <a:lnTo>
                    <a:pt x="1065848" y="1843088"/>
                  </a:lnTo>
                  <a:lnTo>
                    <a:pt x="1063943" y="1850708"/>
                  </a:lnTo>
                  <a:lnTo>
                    <a:pt x="1057275" y="1857375"/>
                  </a:lnTo>
                  <a:lnTo>
                    <a:pt x="1038225" y="1867853"/>
                  </a:lnTo>
                  <a:lnTo>
                    <a:pt x="988695" y="1856423"/>
                  </a:lnTo>
                  <a:lnTo>
                    <a:pt x="974407" y="1858328"/>
                  </a:lnTo>
                  <a:lnTo>
                    <a:pt x="961073" y="1869758"/>
                  </a:lnTo>
                  <a:lnTo>
                    <a:pt x="951548" y="1874520"/>
                  </a:lnTo>
                  <a:lnTo>
                    <a:pt x="948690" y="1874520"/>
                  </a:lnTo>
                  <a:lnTo>
                    <a:pt x="944880" y="1872615"/>
                  </a:lnTo>
                  <a:lnTo>
                    <a:pt x="937260" y="1865948"/>
                  </a:lnTo>
                  <a:lnTo>
                    <a:pt x="933450" y="1864043"/>
                  </a:lnTo>
                  <a:lnTo>
                    <a:pt x="930593" y="1864043"/>
                  </a:lnTo>
                  <a:lnTo>
                    <a:pt x="926782" y="1865948"/>
                  </a:lnTo>
                  <a:lnTo>
                    <a:pt x="924878" y="1868805"/>
                  </a:lnTo>
                  <a:lnTo>
                    <a:pt x="922973" y="1871663"/>
                  </a:lnTo>
                  <a:lnTo>
                    <a:pt x="922020" y="1879283"/>
                  </a:lnTo>
                  <a:lnTo>
                    <a:pt x="920115" y="1884998"/>
                  </a:lnTo>
                  <a:lnTo>
                    <a:pt x="918210" y="1887855"/>
                  </a:lnTo>
                  <a:lnTo>
                    <a:pt x="914400" y="1891665"/>
                  </a:lnTo>
                  <a:lnTo>
                    <a:pt x="912495" y="1892618"/>
                  </a:lnTo>
                  <a:lnTo>
                    <a:pt x="893445" y="1893570"/>
                  </a:lnTo>
                  <a:lnTo>
                    <a:pt x="842010" y="1885950"/>
                  </a:lnTo>
                  <a:lnTo>
                    <a:pt x="833438" y="1886903"/>
                  </a:lnTo>
                  <a:lnTo>
                    <a:pt x="823913" y="1890713"/>
                  </a:lnTo>
                  <a:lnTo>
                    <a:pt x="821055" y="1892618"/>
                  </a:lnTo>
                  <a:lnTo>
                    <a:pt x="813435" y="1899285"/>
                  </a:lnTo>
                  <a:lnTo>
                    <a:pt x="811530" y="1899285"/>
                  </a:lnTo>
                  <a:lnTo>
                    <a:pt x="808673" y="1899285"/>
                  </a:lnTo>
                  <a:lnTo>
                    <a:pt x="807720" y="1894523"/>
                  </a:lnTo>
                  <a:lnTo>
                    <a:pt x="807720" y="1887855"/>
                  </a:lnTo>
                  <a:lnTo>
                    <a:pt x="807720" y="1884045"/>
                  </a:lnTo>
                  <a:lnTo>
                    <a:pt x="805815" y="1881188"/>
                  </a:lnTo>
                  <a:lnTo>
                    <a:pt x="801053" y="1875473"/>
                  </a:lnTo>
                  <a:lnTo>
                    <a:pt x="800100" y="1870710"/>
                  </a:lnTo>
                  <a:lnTo>
                    <a:pt x="800100" y="1866900"/>
                  </a:lnTo>
                  <a:lnTo>
                    <a:pt x="801053" y="1856423"/>
                  </a:lnTo>
                  <a:lnTo>
                    <a:pt x="802957" y="1853565"/>
                  </a:lnTo>
                  <a:lnTo>
                    <a:pt x="804863" y="1852613"/>
                  </a:lnTo>
                  <a:lnTo>
                    <a:pt x="816293" y="1850708"/>
                  </a:lnTo>
                  <a:lnTo>
                    <a:pt x="821055" y="1848803"/>
                  </a:lnTo>
                  <a:lnTo>
                    <a:pt x="824865" y="1844040"/>
                  </a:lnTo>
                  <a:lnTo>
                    <a:pt x="826770" y="1837373"/>
                  </a:lnTo>
                  <a:lnTo>
                    <a:pt x="826770" y="1830705"/>
                  </a:lnTo>
                  <a:lnTo>
                    <a:pt x="825818" y="1824990"/>
                  </a:lnTo>
                  <a:lnTo>
                    <a:pt x="823913" y="1820228"/>
                  </a:lnTo>
                  <a:lnTo>
                    <a:pt x="820103" y="1816418"/>
                  </a:lnTo>
                  <a:lnTo>
                    <a:pt x="801053" y="1802130"/>
                  </a:lnTo>
                  <a:lnTo>
                    <a:pt x="798195" y="1797368"/>
                  </a:lnTo>
                  <a:lnTo>
                    <a:pt x="796290" y="1793558"/>
                  </a:lnTo>
                  <a:lnTo>
                    <a:pt x="796290" y="1790700"/>
                  </a:lnTo>
                  <a:lnTo>
                    <a:pt x="794385" y="1787843"/>
                  </a:lnTo>
                  <a:lnTo>
                    <a:pt x="789623" y="1783080"/>
                  </a:lnTo>
                  <a:lnTo>
                    <a:pt x="787718" y="1780223"/>
                  </a:lnTo>
                  <a:lnTo>
                    <a:pt x="787718" y="1777365"/>
                  </a:lnTo>
                  <a:lnTo>
                    <a:pt x="786765" y="1771650"/>
                  </a:lnTo>
                  <a:lnTo>
                    <a:pt x="786765" y="1768793"/>
                  </a:lnTo>
                  <a:lnTo>
                    <a:pt x="783907" y="1764030"/>
                  </a:lnTo>
                  <a:lnTo>
                    <a:pt x="781050" y="1762125"/>
                  </a:lnTo>
                  <a:lnTo>
                    <a:pt x="777240" y="1761173"/>
                  </a:lnTo>
                  <a:lnTo>
                    <a:pt x="771525" y="1763078"/>
                  </a:lnTo>
                  <a:lnTo>
                    <a:pt x="768668" y="1764983"/>
                  </a:lnTo>
                  <a:lnTo>
                    <a:pt x="764857" y="1770698"/>
                  </a:lnTo>
                  <a:lnTo>
                    <a:pt x="762953" y="1771650"/>
                  </a:lnTo>
                  <a:lnTo>
                    <a:pt x="760095" y="1770698"/>
                  </a:lnTo>
                  <a:lnTo>
                    <a:pt x="756285" y="1766888"/>
                  </a:lnTo>
                  <a:lnTo>
                    <a:pt x="753428" y="1763078"/>
                  </a:lnTo>
                  <a:lnTo>
                    <a:pt x="752475" y="1760220"/>
                  </a:lnTo>
                  <a:lnTo>
                    <a:pt x="751523" y="1754505"/>
                  </a:lnTo>
                  <a:lnTo>
                    <a:pt x="749618" y="1732598"/>
                  </a:lnTo>
                  <a:lnTo>
                    <a:pt x="750570" y="1726883"/>
                  </a:lnTo>
                  <a:lnTo>
                    <a:pt x="752475" y="1720215"/>
                  </a:lnTo>
                  <a:lnTo>
                    <a:pt x="757238" y="1711643"/>
                  </a:lnTo>
                  <a:lnTo>
                    <a:pt x="758190" y="1705928"/>
                  </a:lnTo>
                  <a:lnTo>
                    <a:pt x="757238" y="1700213"/>
                  </a:lnTo>
                  <a:lnTo>
                    <a:pt x="755332" y="1695450"/>
                  </a:lnTo>
                  <a:lnTo>
                    <a:pt x="752475" y="1690688"/>
                  </a:lnTo>
                  <a:lnTo>
                    <a:pt x="748665" y="1686878"/>
                  </a:lnTo>
                  <a:lnTo>
                    <a:pt x="725805" y="1666875"/>
                  </a:lnTo>
                  <a:lnTo>
                    <a:pt x="707707" y="1645920"/>
                  </a:lnTo>
                  <a:lnTo>
                    <a:pt x="695325" y="1628775"/>
                  </a:lnTo>
                  <a:lnTo>
                    <a:pt x="693420" y="1623060"/>
                  </a:lnTo>
                  <a:lnTo>
                    <a:pt x="691515" y="1618298"/>
                  </a:lnTo>
                  <a:lnTo>
                    <a:pt x="691515" y="1612583"/>
                  </a:lnTo>
                  <a:lnTo>
                    <a:pt x="690563" y="1570673"/>
                  </a:lnTo>
                  <a:lnTo>
                    <a:pt x="692468" y="1553528"/>
                  </a:lnTo>
                  <a:lnTo>
                    <a:pt x="692468" y="1550670"/>
                  </a:lnTo>
                  <a:lnTo>
                    <a:pt x="690563" y="1548765"/>
                  </a:lnTo>
                  <a:lnTo>
                    <a:pt x="688657" y="1546860"/>
                  </a:lnTo>
                  <a:lnTo>
                    <a:pt x="671513" y="1540193"/>
                  </a:lnTo>
                  <a:lnTo>
                    <a:pt x="667703" y="1540193"/>
                  </a:lnTo>
                  <a:lnTo>
                    <a:pt x="665798" y="1543050"/>
                  </a:lnTo>
                  <a:lnTo>
                    <a:pt x="664845" y="1546860"/>
                  </a:lnTo>
                  <a:lnTo>
                    <a:pt x="661988" y="1549718"/>
                  </a:lnTo>
                  <a:lnTo>
                    <a:pt x="657225" y="1552575"/>
                  </a:lnTo>
                  <a:lnTo>
                    <a:pt x="645795" y="1554480"/>
                  </a:lnTo>
                  <a:lnTo>
                    <a:pt x="641032" y="1557338"/>
                  </a:lnTo>
                  <a:lnTo>
                    <a:pt x="638175" y="1560195"/>
                  </a:lnTo>
                  <a:lnTo>
                    <a:pt x="634365" y="1561148"/>
                  </a:lnTo>
                  <a:lnTo>
                    <a:pt x="622935" y="1564005"/>
                  </a:lnTo>
                  <a:lnTo>
                    <a:pt x="621030" y="1565910"/>
                  </a:lnTo>
                  <a:lnTo>
                    <a:pt x="620078" y="1568768"/>
                  </a:lnTo>
                  <a:lnTo>
                    <a:pt x="621030" y="1574483"/>
                  </a:lnTo>
                  <a:lnTo>
                    <a:pt x="621030" y="1578293"/>
                  </a:lnTo>
                  <a:lnTo>
                    <a:pt x="619125" y="1580198"/>
                  </a:lnTo>
                  <a:lnTo>
                    <a:pt x="616268" y="1581150"/>
                  </a:lnTo>
                  <a:lnTo>
                    <a:pt x="604838" y="1578293"/>
                  </a:lnTo>
                  <a:lnTo>
                    <a:pt x="601028" y="1577340"/>
                  </a:lnTo>
                  <a:lnTo>
                    <a:pt x="596265" y="1579245"/>
                  </a:lnTo>
                  <a:lnTo>
                    <a:pt x="593407" y="1582103"/>
                  </a:lnTo>
                  <a:lnTo>
                    <a:pt x="591503" y="1584008"/>
                  </a:lnTo>
                  <a:lnTo>
                    <a:pt x="590550" y="1586865"/>
                  </a:lnTo>
                  <a:lnTo>
                    <a:pt x="591503" y="1595438"/>
                  </a:lnTo>
                  <a:lnTo>
                    <a:pt x="590550" y="1598295"/>
                  </a:lnTo>
                  <a:lnTo>
                    <a:pt x="587693" y="1599248"/>
                  </a:lnTo>
                  <a:lnTo>
                    <a:pt x="583882" y="1599248"/>
                  </a:lnTo>
                  <a:lnTo>
                    <a:pt x="543878" y="1581150"/>
                  </a:lnTo>
                  <a:lnTo>
                    <a:pt x="526732" y="1566863"/>
                  </a:lnTo>
                  <a:lnTo>
                    <a:pt x="519113" y="1559243"/>
                  </a:lnTo>
                  <a:lnTo>
                    <a:pt x="513398" y="1549718"/>
                  </a:lnTo>
                  <a:lnTo>
                    <a:pt x="510540" y="1548765"/>
                  </a:lnTo>
                  <a:lnTo>
                    <a:pt x="505778" y="1547813"/>
                  </a:lnTo>
                  <a:lnTo>
                    <a:pt x="487680" y="1552575"/>
                  </a:lnTo>
                  <a:lnTo>
                    <a:pt x="460057" y="1564958"/>
                  </a:lnTo>
                  <a:lnTo>
                    <a:pt x="457200" y="1568768"/>
                  </a:lnTo>
                  <a:lnTo>
                    <a:pt x="456248" y="1571625"/>
                  </a:lnTo>
                  <a:lnTo>
                    <a:pt x="457200" y="1575435"/>
                  </a:lnTo>
                  <a:lnTo>
                    <a:pt x="473393" y="1584960"/>
                  </a:lnTo>
                  <a:lnTo>
                    <a:pt x="475298" y="1586865"/>
                  </a:lnTo>
                  <a:lnTo>
                    <a:pt x="475298" y="1589723"/>
                  </a:lnTo>
                  <a:lnTo>
                    <a:pt x="470535" y="1592580"/>
                  </a:lnTo>
                  <a:lnTo>
                    <a:pt x="462915" y="1595438"/>
                  </a:lnTo>
                  <a:lnTo>
                    <a:pt x="441007" y="1596390"/>
                  </a:lnTo>
                  <a:lnTo>
                    <a:pt x="425768" y="1600200"/>
                  </a:lnTo>
                  <a:lnTo>
                    <a:pt x="421005" y="1606868"/>
                  </a:lnTo>
                  <a:lnTo>
                    <a:pt x="417195" y="1606868"/>
                  </a:lnTo>
                  <a:lnTo>
                    <a:pt x="411480" y="1605915"/>
                  </a:lnTo>
                  <a:lnTo>
                    <a:pt x="371475" y="1587818"/>
                  </a:lnTo>
                  <a:lnTo>
                    <a:pt x="211455" y="1554480"/>
                  </a:lnTo>
                  <a:lnTo>
                    <a:pt x="207645" y="1552575"/>
                  </a:lnTo>
                  <a:lnTo>
                    <a:pt x="193357" y="1545908"/>
                  </a:lnTo>
                  <a:lnTo>
                    <a:pt x="188595" y="1543050"/>
                  </a:lnTo>
                  <a:lnTo>
                    <a:pt x="183832" y="1539240"/>
                  </a:lnTo>
                  <a:lnTo>
                    <a:pt x="181928" y="1537335"/>
                  </a:lnTo>
                  <a:lnTo>
                    <a:pt x="177165" y="1536383"/>
                  </a:lnTo>
                  <a:lnTo>
                    <a:pt x="169545" y="1537335"/>
                  </a:lnTo>
                  <a:lnTo>
                    <a:pt x="155257" y="1542098"/>
                  </a:lnTo>
                  <a:lnTo>
                    <a:pt x="149543" y="1545908"/>
                  </a:lnTo>
                  <a:lnTo>
                    <a:pt x="145732" y="1549718"/>
                  </a:lnTo>
                  <a:lnTo>
                    <a:pt x="144780" y="1552575"/>
                  </a:lnTo>
                  <a:lnTo>
                    <a:pt x="141923" y="1558290"/>
                  </a:lnTo>
                  <a:lnTo>
                    <a:pt x="140018" y="1560195"/>
                  </a:lnTo>
                  <a:lnTo>
                    <a:pt x="134303" y="1561148"/>
                  </a:lnTo>
                  <a:lnTo>
                    <a:pt x="83820" y="1554480"/>
                  </a:lnTo>
                  <a:lnTo>
                    <a:pt x="63818" y="1543050"/>
                  </a:lnTo>
                  <a:lnTo>
                    <a:pt x="81915" y="1490663"/>
                  </a:lnTo>
                  <a:lnTo>
                    <a:pt x="86678" y="1471613"/>
                  </a:lnTo>
                  <a:lnTo>
                    <a:pt x="87630" y="1461135"/>
                  </a:lnTo>
                  <a:lnTo>
                    <a:pt x="87630" y="1457325"/>
                  </a:lnTo>
                  <a:lnTo>
                    <a:pt x="85725" y="1447800"/>
                  </a:lnTo>
                  <a:lnTo>
                    <a:pt x="84773" y="1442085"/>
                  </a:lnTo>
                  <a:lnTo>
                    <a:pt x="85725" y="1439228"/>
                  </a:lnTo>
                  <a:lnTo>
                    <a:pt x="87630" y="1436370"/>
                  </a:lnTo>
                  <a:lnTo>
                    <a:pt x="93345" y="1433513"/>
                  </a:lnTo>
                  <a:lnTo>
                    <a:pt x="97155" y="1429703"/>
                  </a:lnTo>
                  <a:lnTo>
                    <a:pt x="98107" y="1425893"/>
                  </a:lnTo>
                  <a:lnTo>
                    <a:pt x="99060" y="1423035"/>
                  </a:lnTo>
                  <a:lnTo>
                    <a:pt x="99060" y="1409700"/>
                  </a:lnTo>
                  <a:lnTo>
                    <a:pt x="100965" y="1401128"/>
                  </a:lnTo>
                  <a:lnTo>
                    <a:pt x="102870" y="1395413"/>
                  </a:lnTo>
                  <a:lnTo>
                    <a:pt x="105728" y="1391603"/>
                  </a:lnTo>
                  <a:lnTo>
                    <a:pt x="109538" y="1388745"/>
                  </a:lnTo>
                  <a:lnTo>
                    <a:pt x="114300" y="1384935"/>
                  </a:lnTo>
                  <a:lnTo>
                    <a:pt x="118110" y="1379220"/>
                  </a:lnTo>
                  <a:lnTo>
                    <a:pt x="120015" y="1373505"/>
                  </a:lnTo>
                  <a:lnTo>
                    <a:pt x="120015" y="1367790"/>
                  </a:lnTo>
                  <a:lnTo>
                    <a:pt x="118110" y="1363980"/>
                  </a:lnTo>
                  <a:lnTo>
                    <a:pt x="115253" y="1362075"/>
                  </a:lnTo>
                  <a:lnTo>
                    <a:pt x="111443" y="1360170"/>
                  </a:lnTo>
                  <a:lnTo>
                    <a:pt x="104775" y="1354455"/>
                  </a:lnTo>
                  <a:lnTo>
                    <a:pt x="99060" y="1348740"/>
                  </a:lnTo>
                  <a:lnTo>
                    <a:pt x="98107" y="1344930"/>
                  </a:lnTo>
                  <a:lnTo>
                    <a:pt x="96203" y="1338263"/>
                  </a:lnTo>
                  <a:lnTo>
                    <a:pt x="96203" y="1329690"/>
                  </a:lnTo>
                  <a:lnTo>
                    <a:pt x="96203" y="1314450"/>
                  </a:lnTo>
                  <a:lnTo>
                    <a:pt x="97155" y="1305878"/>
                  </a:lnTo>
                  <a:lnTo>
                    <a:pt x="109538" y="1258253"/>
                  </a:lnTo>
                  <a:lnTo>
                    <a:pt x="111443" y="1253490"/>
                  </a:lnTo>
                  <a:lnTo>
                    <a:pt x="113348" y="1250633"/>
                  </a:lnTo>
                  <a:lnTo>
                    <a:pt x="115253" y="1249680"/>
                  </a:lnTo>
                  <a:lnTo>
                    <a:pt x="118110" y="1247775"/>
                  </a:lnTo>
                  <a:lnTo>
                    <a:pt x="121920" y="1245870"/>
                  </a:lnTo>
                  <a:lnTo>
                    <a:pt x="126682" y="1238250"/>
                  </a:lnTo>
                  <a:lnTo>
                    <a:pt x="127635" y="1232535"/>
                  </a:lnTo>
                  <a:lnTo>
                    <a:pt x="128588" y="1227773"/>
                  </a:lnTo>
                  <a:lnTo>
                    <a:pt x="128588" y="1218248"/>
                  </a:lnTo>
                  <a:lnTo>
                    <a:pt x="128588" y="1199198"/>
                  </a:lnTo>
                  <a:lnTo>
                    <a:pt x="130493" y="1190625"/>
                  </a:lnTo>
                  <a:lnTo>
                    <a:pt x="129540" y="1185863"/>
                  </a:lnTo>
                  <a:lnTo>
                    <a:pt x="127635" y="1183005"/>
                  </a:lnTo>
                  <a:lnTo>
                    <a:pt x="117157" y="1173480"/>
                  </a:lnTo>
                  <a:lnTo>
                    <a:pt x="115253" y="1170623"/>
                  </a:lnTo>
                  <a:lnTo>
                    <a:pt x="113348" y="1166813"/>
                  </a:lnTo>
                  <a:lnTo>
                    <a:pt x="113348" y="1160145"/>
                  </a:lnTo>
                  <a:lnTo>
                    <a:pt x="114300" y="1158240"/>
                  </a:lnTo>
                  <a:lnTo>
                    <a:pt x="122873" y="1148715"/>
                  </a:lnTo>
                  <a:lnTo>
                    <a:pt x="128588" y="1143000"/>
                  </a:lnTo>
                  <a:lnTo>
                    <a:pt x="136207" y="1127760"/>
                  </a:lnTo>
                  <a:lnTo>
                    <a:pt x="140970" y="1118235"/>
                  </a:lnTo>
                  <a:lnTo>
                    <a:pt x="140018" y="1114425"/>
                  </a:lnTo>
                  <a:lnTo>
                    <a:pt x="138113" y="1112520"/>
                  </a:lnTo>
                  <a:lnTo>
                    <a:pt x="132398" y="1109663"/>
                  </a:lnTo>
                  <a:lnTo>
                    <a:pt x="125730" y="1107758"/>
                  </a:lnTo>
                  <a:lnTo>
                    <a:pt x="122873" y="1107758"/>
                  </a:lnTo>
                  <a:lnTo>
                    <a:pt x="120968" y="1109663"/>
                  </a:lnTo>
                  <a:lnTo>
                    <a:pt x="110490" y="1133475"/>
                  </a:lnTo>
                  <a:lnTo>
                    <a:pt x="108585" y="1135380"/>
                  </a:lnTo>
                  <a:lnTo>
                    <a:pt x="106680" y="1137285"/>
                  </a:lnTo>
                  <a:lnTo>
                    <a:pt x="103823" y="1137285"/>
                  </a:lnTo>
                  <a:lnTo>
                    <a:pt x="76200" y="1131570"/>
                  </a:lnTo>
                  <a:lnTo>
                    <a:pt x="64770" y="1125855"/>
                  </a:lnTo>
                  <a:lnTo>
                    <a:pt x="60007" y="1122045"/>
                  </a:lnTo>
                  <a:lnTo>
                    <a:pt x="55245" y="1117283"/>
                  </a:lnTo>
                  <a:lnTo>
                    <a:pt x="54293" y="1114425"/>
                  </a:lnTo>
                  <a:lnTo>
                    <a:pt x="55245" y="1111568"/>
                  </a:lnTo>
                  <a:lnTo>
                    <a:pt x="62865" y="1106805"/>
                  </a:lnTo>
                  <a:lnTo>
                    <a:pt x="65723" y="1102995"/>
                  </a:lnTo>
                  <a:lnTo>
                    <a:pt x="66675" y="1099185"/>
                  </a:lnTo>
                  <a:lnTo>
                    <a:pt x="65723" y="1096328"/>
                  </a:lnTo>
                  <a:lnTo>
                    <a:pt x="64770" y="1094423"/>
                  </a:lnTo>
                  <a:lnTo>
                    <a:pt x="62865" y="1092518"/>
                  </a:lnTo>
                  <a:lnTo>
                    <a:pt x="60007" y="1092518"/>
                  </a:lnTo>
                  <a:lnTo>
                    <a:pt x="49530" y="1095375"/>
                  </a:lnTo>
                  <a:lnTo>
                    <a:pt x="42863" y="1094423"/>
                  </a:lnTo>
                  <a:lnTo>
                    <a:pt x="22860" y="1084898"/>
                  </a:lnTo>
                  <a:lnTo>
                    <a:pt x="2857" y="1079183"/>
                  </a:lnTo>
                  <a:lnTo>
                    <a:pt x="0" y="1076325"/>
                  </a:lnTo>
                  <a:lnTo>
                    <a:pt x="953" y="1071563"/>
                  </a:lnTo>
                  <a:lnTo>
                    <a:pt x="13335" y="1049655"/>
                  </a:lnTo>
                  <a:lnTo>
                    <a:pt x="14288" y="1046798"/>
                  </a:lnTo>
                  <a:lnTo>
                    <a:pt x="16193" y="1041083"/>
                  </a:lnTo>
                  <a:lnTo>
                    <a:pt x="15240" y="1037273"/>
                  </a:lnTo>
                  <a:lnTo>
                    <a:pt x="14288" y="1032510"/>
                  </a:lnTo>
                  <a:lnTo>
                    <a:pt x="11430" y="1024890"/>
                  </a:lnTo>
                  <a:lnTo>
                    <a:pt x="11430" y="1013460"/>
                  </a:lnTo>
                  <a:lnTo>
                    <a:pt x="12382" y="1008698"/>
                  </a:lnTo>
                  <a:lnTo>
                    <a:pt x="14288" y="1005840"/>
                  </a:lnTo>
                  <a:lnTo>
                    <a:pt x="41910" y="996315"/>
                  </a:lnTo>
                  <a:lnTo>
                    <a:pt x="46673" y="991553"/>
                  </a:lnTo>
                  <a:lnTo>
                    <a:pt x="47625" y="985838"/>
                  </a:lnTo>
                  <a:lnTo>
                    <a:pt x="48578" y="980123"/>
                  </a:lnTo>
                  <a:lnTo>
                    <a:pt x="47625" y="970598"/>
                  </a:lnTo>
                  <a:lnTo>
                    <a:pt x="47625" y="965835"/>
                  </a:lnTo>
                  <a:lnTo>
                    <a:pt x="49530" y="962025"/>
                  </a:lnTo>
                  <a:lnTo>
                    <a:pt x="63818" y="954405"/>
                  </a:lnTo>
                  <a:lnTo>
                    <a:pt x="66675" y="952500"/>
                  </a:lnTo>
                  <a:lnTo>
                    <a:pt x="68580" y="948690"/>
                  </a:lnTo>
                  <a:lnTo>
                    <a:pt x="69532" y="945833"/>
                  </a:lnTo>
                  <a:lnTo>
                    <a:pt x="68580" y="942975"/>
                  </a:lnTo>
                  <a:lnTo>
                    <a:pt x="65723" y="932498"/>
                  </a:lnTo>
                  <a:lnTo>
                    <a:pt x="65723" y="927735"/>
                  </a:lnTo>
                  <a:lnTo>
                    <a:pt x="67628" y="924878"/>
                  </a:lnTo>
                  <a:lnTo>
                    <a:pt x="70485" y="918210"/>
                  </a:lnTo>
                  <a:lnTo>
                    <a:pt x="70485" y="916305"/>
                  </a:lnTo>
                  <a:lnTo>
                    <a:pt x="68580" y="913448"/>
                  </a:lnTo>
                  <a:lnTo>
                    <a:pt x="61913" y="907733"/>
                  </a:lnTo>
                  <a:lnTo>
                    <a:pt x="60007" y="904875"/>
                  </a:lnTo>
                  <a:lnTo>
                    <a:pt x="58103" y="900113"/>
                  </a:lnTo>
                  <a:lnTo>
                    <a:pt x="58103" y="895350"/>
                  </a:lnTo>
                  <a:lnTo>
                    <a:pt x="59055" y="890588"/>
                  </a:lnTo>
                  <a:lnTo>
                    <a:pt x="60960" y="882968"/>
                  </a:lnTo>
                  <a:lnTo>
                    <a:pt x="60960" y="879158"/>
                  </a:lnTo>
                  <a:lnTo>
                    <a:pt x="60960" y="875348"/>
                  </a:lnTo>
                  <a:lnTo>
                    <a:pt x="59055" y="873443"/>
                  </a:lnTo>
                  <a:lnTo>
                    <a:pt x="57150" y="871538"/>
                  </a:lnTo>
                  <a:lnTo>
                    <a:pt x="55245" y="870585"/>
                  </a:lnTo>
                  <a:lnTo>
                    <a:pt x="48578" y="870585"/>
                  </a:lnTo>
                  <a:lnTo>
                    <a:pt x="45720" y="870585"/>
                  </a:lnTo>
                  <a:lnTo>
                    <a:pt x="43815" y="868680"/>
                  </a:lnTo>
                  <a:lnTo>
                    <a:pt x="41910" y="864870"/>
                  </a:lnTo>
                  <a:lnTo>
                    <a:pt x="40005" y="859155"/>
                  </a:lnTo>
                  <a:lnTo>
                    <a:pt x="35243" y="849630"/>
                  </a:lnTo>
                  <a:lnTo>
                    <a:pt x="32385" y="844868"/>
                  </a:lnTo>
                  <a:lnTo>
                    <a:pt x="32385" y="840105"/>
                  </a:lnTo>
                  <a:lnTo>
                    <a:pt x="32385" y="837248"/>
                  </a:lnTo>
                  <a:lnTo>
                    <a:pt x="36195" y="829628"/>
                  </a:lnTo>
                  <a:lnTo>
                    <a:pt x="40005" y="824865"/>
                  </a:lnTo>
                  <a:lnTo>
                    <a:pt x="42863" y="823913"/>
                  </a:lnTo>
                  <a:lnTo>
                    <a:pt x="48578" y="825818"/>
                  </a:lnTo>
                  <a:lnTo>
                    <a:pt x="50482" y="827723"/>
                  </a:lnTo>
                  <a:lnTo>
                    <a:pt x="52388" y="830580"/>
                  </a:lnTo>
                  <a:lnTo>
                    <a:pt x="56198" y="841058"/>
                  </a:lnTo>
                  <a:lnTo>
                    <a:pt x="59055" y="845820"/>
                  </a:lnTo>
                  <a:lnTo>
                    <a:pt x="60960" y="847725"/>
                  </a:lnTo>
                  <a:lnTo>
                    <a:pt x="67628" y="849630"/>
                  </a:lnTo>
                  <a:lnTo>
                    <a:pt x="74295" y="849630"/>
                  </a:lnTo>
                  <a:lnTo>
                    <a:pt x="84773" y="847725"/>
                  </a:lnTo>
                  <a:lnTo>
                    <a:pt x="90488" y="844868"/>
                  </a:lnTo>
                  <a:lnTo>
                    <a:pt x="92393" y="842963"/>
                  </a:lnTo>
                  <a:lnTo>
                    <a:pt x="94298" y="840105"/>
                  </a:lnTo>
                  <a:lnTo>
                    <a:pt x="96203" y="835343"/>
                  </a:lnTo>
                  <a:lnTo>
                    <a:pt x="96203" y="825818"/>
                  </a:lnTo>
                  <a:lnTo>
                    <a:pt x="95250" y="819150"/>
                  </a:lnTo>
                  <a:lnTo>
                    <a:pt x="95250" y="814388"/>
                  </a:lnTo>
                  <a:lnTo>
                    <a:pt x="96203" y="810578"/>
                  </a:lnTo>
                  <a:lnTo>
                    <a:pt x="100013" y="804863"/>
                  </a:lnTo>
                  <a:lnTo>
                    <a:pt x="100013" y="801053"/>
                  </a:lnTo>
                  <a:lnTo>
                    <a:pt x="96203" y="797243"/>
                  </a:lnTo>
                  <a:lnTo>
                    <a:pt x="93345" y="793433"/>
                  </a:lnTo>
                  <a:lnTo>
                    <a:pt x="91440" y="787718"/>
                  </a:lnTo>
                  <a:lnTo>
                    <a:pt x="88582" y="774383"/>
                  </a:lnTo>
                  <a:lnTo>
                    <a:pt x="89535" y="767715"/>
                  </a:lnTo>
                  <a:lnTo>
                    <a:pt x="90488" y="763905"/>
                  </a:lnTo>
                  <a:lnTo>
                    <a:pt x="95250" y="761048"/>
                  </a:lnTo>
                  <a:lnTo>
                    <a:pt x="98107" y="759143"/>
                  </a:lnTo>
                  <a:lnTo>
                    <a:pt x="100965" y="754380"/>
                  </a:lnTo>
                  <a:lnTo>
                    <a:pt x="100965" y="750570"/>
                  </a:lnTo>
                  <a:lnTo>
                    <a:pt x="100965" y="746760"/>
                  </a:lnTo>
                  <a:lnTo>
                    <a:pt x="96203" y="729615"/>
                  </a:lnTo>
                  <a:lnTo>
                    <a:pt x="96203" y="727710"/>
                  </a:lnTo>
                  <a:lnTo>
                    <a:pt x="98107" y="727710"/>
                  </a:lnTo>
                  <a:lnTo>
                    <a:pt x="114300" y="736283"/>
                  </a:lnTo>
                  <a:lnTo>
                    <a:pt x="119063" y="738188"/>
                  </a:lnTo>
                  <a:lnTo>
                    <a:pt x="120968" y="737235"/>
                  </a:lnTo>
                  <a:lnTo>
                    <a:pt x="128588" y="726758"/>
                  </a:lnTo>
                  <a:lnTo>
                    <a:pt x="130493" y="722948"/>
                  </a:lnTo>
                  <a:lnTo>
                    <a:pt x="128588" y="718185"/>
                  </a:lnTo>
                  <a:lnTo>
                    <a:pt x="126682" y="716280"/>
                  </a:lnTo>
                  <a:lnTo>
                    <a:pt x="116205" y="706755"/>
                  </a:lnTo>
                  <a:lnTo>
                    <a:pt x="113348" y="702945"/>
                  </a:lnTo>
                  <a:lnTo>
                    <a:pt x="112395" y="697230"/>
                  </a:lnTo>
                  <a:lnTo>
                    <a:pt x="111443" y="686753"/>
                  </a:lnTo>
                  <a:lnTo>
                    <a:pt x="112395" y="681990"/>
                  </a:lnTo>
                  <a:lnTo>
                    <a:pt x="115253" y="679133"/>
                  </a:lnTo>
                  <a:lnTo>
                    <a:pt x="123825" y="676275"/>
                  </a:lnTo>
                  <a:lnTo>
                    <a:pt x="126682" y="674370"/>
                  </a:lnTo>
                  <a:lnTo>
                    <a:pt x="127635" y="671513"/>
                  </a:lnTo>
                  <a:lnTo>
                    <a:pt x="127635" y="669608"/>
                  </a:lnTo>
                  <a:lnTo>
                    <a:pt x="125730" y="666750"/>
                  </a:lnTo>
                  <a:lnTo>
                    <a:pt x="121920" y="662940"/>
                  </a:lnTo>
                  <a:lnTo>
                    <a:pt x="119063" y="661035"/>
                  </a:lnTo>
                  <a:lnTo>
                    <a:pt x="117157" y="657225"/>
                  </a:lnTo>
                  <a:lnTo>
                    <a:pt x="115253" y="622935"/>
                  </a:lnTo>
                  <a:lnTo>
                    <a:pt x="114300" y="619125"/>
                  </a:lnTo>
                  <a:lnTo>
                    <a:pt x="112395" y="616268"/>
                  </a:lnTo>
                  <a:lnTo>
                    <a:pt x="109538" y="615315"/>
                  </a:lnTo>
                  <a:lnTo>
                    <a:pt x="106680" y="613410"/>
                  </a:lnTo>
                  <a:lnTo>
                    <a:pt x="104775" y="610553"/>
                  </a:lnTo>
                  <a:lnTo>
                    <a:pt x="102870" y="602933"/>
                  </a:lnTo>
                  <a:lnTo>
                    <a:pt x="103823" y="593408"/>
                  </a:lnTo>
                  <a:lnTo>
                    <a:pt x="112395" y="581978"/>
                  </a:lnTo>
                  <a:lnTo>
                    <a:pt x="112395" y="572453"/>
                  </a:lnTo>
                  <a:lnTo>
                    <a:pt x="83820" y="543878"/>
                  </a:lnTo>
                  <a:lnTo>
                    <a:pt x="80010" y="538163"/>
                  </a:lnTo>
                  <a:lnTo>
                    <a:pt x="76200" y="531495"/>
                  </a:lnTo>
                  <a:lnTo>
                    <a:pt x="70485" y="512445"/>
                  </a:lnTo>
                  <a:lnTo>
                    <a:pt x="67628" y="505778"/>
                  </a:lnTo>
                  <a:lnTo>
                    <a:pt x="64770" y="487680"/>
                  </a:lnTo>
                  <a:lnTo>
                    <a:pt x="69532" y="467678"/>
                  </a:lnTo>
                  <a:lnTo>
                    <a:pt x="79057" y="451485"/>
                  </a:lnTo>
                  <a:lnTo>
                    <a:pt x="85725" y="444818"/>
                  </a:lnTo>
                  <a:lnTo>
                    <a:pt x="96203" y="438150"/>
                  </a:lnTo>
                  <a:lnTo>
                    <a:pt x="100965" y="424815"/>
                  </a:lnTo>
                  <a:lnTo>
                    <a:pt x="106680" y="413385"/>
                  </a:lnTo>
                  <a:lnTo>
                    <a:pt x="120015" y="409575"/>
                  </a:lnTo>
                  <a:lnTo>
                    <a:pt x="120015" y="402908"/>
                  </a:lnTo>
                  <a:lnTo>
                    <a:pt x="116205" y="392430"/>
                  </a:lnTo>
                  <a:lnTo>
                    <a:pt x="126682" y="389573"/>
                  </a:lnTo>
                  <a:lnTo>
                    <a:pt x="150495" y="391478"/>
                  </a:lnTo>
                  <a:lnTo>
                    <a:pt x="156210" y="387668"/>
                  </a:lnTo>
                  <a:lnTo>
                    <a:pt x="175260" y="371475"/>
                  </a:lnTo>
                  <a:lnTo>
                    <a:pt x="182880" y="368618"/>
                  </a:lnTo>
                  <a:lnTo>
                    <a:pt x="195263" y="366713"/>
                  </a:lnTo>
                  <a:lnTo>
                    <a:pt x="224790" y="356235"/>
                  </a:lnTo>
                  <a:lnTo>
                    <a:pt x="230505" y="346710"/>
                  </a:lnTo>
                  <a:lnTo>
                    <a:pt x="229553" y="337185"/>
                  </a:lnTo>
                  <a:lnTo>
                    <a:pt x="220980" y="322898"/>
                  </a:lnTo>
                  <a:lnTo>
                    <a:pt x="218123" y="320993"/>
                  </a:lnTo>
                  <a:lnTo>
                    <a:pt x="218123" y="319088"/>
                  </a:lnTo>
                  <a:lnTo>
                    <a:pt x="224790" y="311468"/>
                  </a:lnTo>
                  <a:lnTo>
                    <a:pt x="227648" y="306705"/>
                  </a:lnTo>
                  <a:lnTo>
                    <a:pt x="228600" y="301943"/>
                  </a:lnTo>
                  <a:lnTo>
                    <a:pt x="228600" y="298133"/>
                  </a:lnTo>
                  <a:lnTo>
                    <a:pt x="228600" y="270510"/>
                  </a:lnTo>
                  <a:lnTo>
                    <a:pt x="229553" y="264795"/>
                  </a:lnTo>
                  <a:lnTo>
                    <a:pt x="231457" y="261938"/>
                  </a:lnTo>
                  <a:lnTo>
                    <a:pt x="234315" y="260985"/>
                  </a:lnTo>
                  <a:lnTo>
                    <a:pt x="236220" y="260985"/>
                  </a:lnTo>
                  <a:lnTo>
                    <a:pt x="239078" y="264795"/>
                  </a:lnTo>
                  <a:lnTo>
                    <a:pt x="241935" y="270510"/>
                  </a:lnTo>
                  <a:lnTo>
                    <a:pt x="243840" y="271463"/>
                  </a:lnTo>
                  <a:lnTo>
                    <a:pt x="246698" y="272415"/>
                  </a:lnTo>
                  <a:lnTo>
                    <a:pt x="253365" y="273368"/>
                  </a:lnTo>
                  <a:lnTo>
                    <a:pt x="265748" y="271463"/>
                  </a:lnTo>
                  <a:lnTo>
                    <a:pt x="277178" y="268605"/>
                  </a:lnTo>
                  <a:lnTo>
                    <a:pt x="280035" y="266700"/>
                  </a:lnTo>
                  <a:lnTo>
                    <a:pt x="282893" y="262890"/>
                  </a:lnTo>
                  <a:lnTo>
                    <a:pt x="286703" y="253365"/>
                  </a:lnTo>
                  <a:lnTo>
                    <a:pt x="287655" y="248603"/>
                  </a:lnTo>
                  <a:lnTo>
                    <a:pt x="288607" y="243840"/>
                  </a:lnTo>
                  <a:lnTo>
                    <a:pt x="288607" y="240030"/>
                  </a:lnTo>
                  <a:lnTo>
                    <a:pt x="287655" y="238125"/>
                  </a:lnTo>
                  <a:lnTo>
                    <a:pt x="284798" y="237173"/>
                  </a:lnTo>
                  <a:lnTo>
                    <a:pt x="268605" y="235268"/>
                  </a:lnTo>
                  <a:lnTo>
                    <a:pt x="265748" y="234315"/>
                  </a:lnTo>
                  <a:lnTo>
                    <a:pt x="263843" y="232410"/>
                  </a:lnTo>
                  <a:lnTo>
                    <a:pt x="260985" y="224790"/>
                  </a:lnTo>
                  <a:lnTo>
                    <a:pt x="259080" y="222885"/>
                  </a:lnTo>
                  <a:lnTo>
                    <a:pt x="253365" y="216218"/>
                  </a:lnTo>
                  <a:lnTo>
                    <a:pt x="243840" y="202883"/>
                  </a:lnTo>
                  <a:lnTo>
                    <a:pt x="231457" y="190500"/>
                  </a:lnTo>
                  <a:lnTo>
                    <a:pt x="228600" y="188595"/>
                  </a:lnTo>
                  <a:lnTo>
                    <a:pt x="205740" y="180975"/>
                  </a:lnTo>
                  <a:lnTo>
                    <a:pt x="203835" y="179070"/>
                  </a:lnTo>
                  <a:lnTo>
                    <a:pt x="201930" y="171450"/>
                  </a:lnTo>
                  <a:lnTo>
                    <a:pt x="199073" y="130492"/>
                  </a:lnTo>
                  <a:lnTo>
                    <a:pt x="201930" y="120015"/>
                  </a:lnTo>
                  <a:lnTo>
                    <a:pt x="216218" y="105728"/>
                  </a:lnTo>
                  <a:lnTo>
                    <a:pt x="220980" y="97155"/>
                  </a:lnTo>
                  <a:lnTo>
                    <a:pt x="222885" y="91440"/>
                  </a:lnTo>
                  <a:lnTo>
                    <a:pt x="223838" y="75248"/>
                  </a:lnTo>
                  <a:lnTo>
                    <a:pt x="224790" y="68580"/>
                  </a:lnTo>
                  <a:lnTo>
                    <a:pt x="227648" y="62865"/>
                  </a:lnTo>
                  <a:lnTo>
                    <a:pt x="234315" y="52387"/>
                  </a:lnTo>
                  <a:lnTo>
                    <a:pt x="235268" y="46673"/>
                  </a:lnTo>
                  <a:lnTo>
                    <a:pt x="237173" y="33337"/>
                  </a:lnTo>
                  <a:lnTo>
                    <a:pt x="240982" y="19050"/>
                  </a:lnTo>
                  <a:lnTo>
                    <a:pt x="242888" y="14288"/>
                  </a:lnTo>
                  <a:lnTo>
                    <a:pt x="244793" y="16193"/>
                  </a:lnTo>
                  <a:lnTo>
                    <a:pt x="252413" y="20003"/>
                  </a:lnTo>
                  <a:lnTo>
                    <a:pt x="261938" y="19050"/>
                  </a:lnTo>
                  <a:lnTo>
                    <a:pt x="269557" y="13335"/>
                  </a:lnTo>
                  <a:lnTo>
                    <a:pt x="277178" y="7620"/>
                  </a:lnTo>
                  <a:lnTo>
                    <a:pt x="284798" y="2857"/>
                  </a:lnTo>
                  <a:lnTo>
                    <a:pt x="295275" y="17145"/>
                  </a:lnTo>
                  <a:lnTo>
                    <a:pt x="291465" y="50483"/>
                  </a:lnTo>
                  <a:lnTo>
                    <a:pt x="300990" y="63817"/>
                  </a:lnTo>
                  <a:lnTo>
                    <a:pt x="312420" y="62865"/>
                  </a:lnTo>
                  <a:lnTo>
                    <a:pt x="348615" y="26670"/>
                  </a:lnTo>
                  <a:lnTo>
                    <a:pt x="394335" y="4763"/>
                  </a:lnTo>
                  <a:lnTo>
                    <a:pt x="418148" y="0"/>
                  </a:lnTo>
                  <a:lnTo>
                    <a:pt x="442913" y="952"/>
                  </a:lnTo>
                  <a:lnTo>
                    <a:pt x="455295" y="5715"/>
                  </a:lnTo>
                  <a:lnTo>
                    <a:pt x="461963" y="14288"/>
                  </a:lnTo>
                  <a:lnTo>
                    <a:pt x="465773" y="25718"/>
                  </a:lnTo>
                  <a:lnTo>
                    <a:pt x="474345" y="40958"/>
                  </a:lnTo>
                  <a:lnTo>
                    <a:pt x="484823" y="51435"/>
                  </a:lnTo>
                  <a:lnTo>
                    <a:pt x="506730" y="64770"/>
                  </a:lnTo>
                  <a:lnTo>
                    <a:pt x="516255" y="79058"/>
                  </a:lnTo>
                  <a:lnTo>
                    <a:pt x="529590" y="108585"/>
                  </a:lnTo>
                  <a:lnTo>
                    <a:pt x="537210" y="118110"/>
                  </a:lnTo>
                  <a:lnTo>
                    <a:pt x="570548" y="140970"/>
                  </a:lnTo>
                  <a:lnTo>
                    <a:pt x="579120" y="150495"/>
                  </a:lnTo>
                  <a:lnTo>
                    <a:pt x="588645" y="164783"/>
                  </a:lnTo>
                  <a:lnTo>
                    <a:pt x="593407" y="174308"/>
                  </a:lnTo>
                  <a:lnTo>
                    <a:pt x="596265" y="182880"/>
                  </a:lnTo>
                  <a:lnTo>
                    <a:pt x="598170" y="191453"/>
                  </a:lnTo>
                  <a:lnTo>
                    <a:pt x="598170" y="200978"/>
                  </a:lnTo>
                  <a:lnTo>
                    <a:pt x="588645" y="220028"/>
                  </a:lnTo>
                  <a:lnTo>
                    <a:pt x="588645" y="224790"/>
                  </a:lnTo>
                  <a:lnTo>
                    <a:pt x="590550" y="239078"/>
                  </a:lnTo>
                  <a:lnTo>
                    <a:pt x="592455" y="267653"/>
                  </a:lnTo>
                  <a:lnTo>
                    <a:pt x="595313" y="283845"/>
                  </a:lnTo>
                  <a:lnTo>
                    <a:pt x="601028" y="299085"/>
                  </a:lnTo>
                  <a:lnTo>
                    <a:pt x="612457" y="317183"/>
                  </a:lnTo>
                  <a:lnTo>
                    <a:pt x="614363" y="332423"/>
                  </a:lnTo>
                  <a:lnTo>
                    <a:pt x="609600" y="344805"/>
                  </a:lnTo>
                  <a:lnTo>
                    <a:pt x="609600" y="352425"/>
                  </a:lnTo>
                  <a:lnTo>
                    <a:pt x="636270" y="352425"/>
                  </a:lnTo>
                  <a:lnTo>
                    <a:pt x="646748" y="360045"/>
                  </a:lnTo>
                  <a:lnTo>
                    <a:pt x="666750" y="385763"/>
                  </a:lnTo>
                  <a:lnTo>
                    <a:pt x="669607" y="388620"/>
                  </a:lnTo>
                  <a:lnTo>
                    <a:pt x="676275" y="393383"/>
                  </a:lnTo>
                  <a:lnTo>
                    <a:pt x="679132" y="397193"/>
                  </a:lnTo>
                  <a:lnTo>
                    <a:pt x="681038" y="401003"/>
                  </a:lnTo>
                  <a:lnTo>
                    <a:pt x="682943" y="412433"/>
                  </a:lnTo>
                  <a:lnTo>
                    <a:pt x="682943" y="415290"/>
                  </a:lnTo>
                  <a:lnTo>
                    <a:pt x="688657" y="417195"/>
                  </a:lnTo>
                  <a:lnTo>
                    <a:pt x="699135" y="412433"/>
                  </a:lnTo>
                  <a:lnTo>
                    <a:pt x="704850" y="412433"/>
                  </a:lnTo>
                  <a:lnTo>
                    <a:pt x="714375" y="419100"/>
                  </a:lnTo>
                  <a:lnTo>
                    <a:pt x="731520" y="439103"/>
                  </a:lnTo>
                  <a:lnTo>
                    <a:pt x="741998" y="445770"/>
                  </a:lnTo>
                  <a:lnTo>
                    <a:pt x="762000" y="466725"/>
                  </a:lnTo>
                  <a:lnTo>
                    <a:pt x="776288" y="501015"/>
                  </a:lnTo>
                  <a:lnTo>
                    <a:pt x="777240" y="536258"/>
                  </a:lnTo>
                  <a:lnTo>
                    <a:pt x="757238" y="560070"/>
                  </a:lnTo>
                  <a:lnTo>
                    <a:pt x="747713" y="561975"/>
                  </a:lnTo>
                  <a:lnTo>
                    <a:pt x="716280" y="561975"/>
                  </a:lnTo>
                  <a:lnTo>
                    <a:pt x="626745" y="583883"/>
                  </a:lnTo>
                  <a:lnTo>
                    <a:pt x="605790" y="595313"/>
                  </a:lnTo>
                  <a:lnTo>
                    <a:pt x="601028" y="615315"/>
                  </a:lnTo>
                  <a:lnTo>
                    <a:pt x="606743" y="623888"/>
                  </a:lnTo>
                  <a:lnTo>
                    <a:pt x="625793" y="629603"/>
                  </a:lnTo>
                  <a:lnTo>
                    <a:pt x="632460" y="634365"/>
                  </a:lnTo>
                  <a:lnTo>
                    <a:pt x="635318" y="640080"/>
                  </a:lnTo>
                  <a:lnTo>
                    <a:pt x="637223" y="658178"/>
                  </a:lnTo>
                  <a:lnTo>
                    <a:pt x="640080" y="665798"/>
                  </a:lnTo>
                  <a:lnTo>
                    <a:pt x="643890" y="672465"/>
                  </a:lnTo>
                  <a:lnTo>
                    <a:pt x="665798" y="698183"/>
                  </a:lnTo>
                  <a:lnTo>
                    <a:pt x="672465" y="709613"/>
                  </a:lnTo>
                  <a:lnTo>
                    <a:pt x="677228" y="724853"/>
                  </a:lnTo>
                  <a:lnTo>
                    <a:pt x="678180" y="742950"/>
                  </a:lnTo>
                  <a:lnTo>
                    <a:pt x="677228" y="751523"/>
                  </a:lnTo>
                  <a:lnTo>
                    <a:pt x="672465" y="766763"/>
                  </a:lnTo>
                  <a:lnTo>
                    <a:pt x="670560" y="775335"/>
                  </a:lnTo>
                  <a:lnTo>
                    <a:pt x="671513" y="783908"/>
                  </a:lnTo>
                  <a:lnTo>
                    <a:pt x="673418" y="791528"/>
                  </a:lnTo>
                  <a:lnTo>
                    <a:pt x="675323" y="798195"/>
                  </a:lnTo>
                  <a:lnTo>
                    <a:pt x="673418" y="806768"/>
                  </a:lnTo>
                  <a:lnTo>
                    <a:pt x="669607" y="811530"/>
                  </a:lnTo>
                  <a:lnTo>
                    <a:pt x="657225" y="814388"/>
                  </a:lnTo>
                  <a:lnTo>
                    <a:pt x="655320" y="819150"/>
                  </a:lnTo>
                  <a:lnTo>
                    <a:pt x="657225" y="826770"/>
                  </a:lnTo>
                  <a:lnTo>
                    <a:pt x="661988" y="833438"/>
                  </a:lnTo>
                  <a:lnTo>
                    <a:pt x="672465" y="843915"/>
                  </a:lnTo>
                  <a:lnTo>
                    <a:pt x="681038" y="848678"/>
                  </a:lnTo>
                  <a:lnTo>
                    <a:pt x="689610" y="852488"/>
                  </a:lnTo>
                  <a:lnTo>
                    <a:pt x="698182" y="854393"/>
                  </a:lnTo>
                  <a:lnTo>
                    <a:pt x="706755" y="854393"/>
                  </a:lnTo>
                  <a:lnTo>
                    <a:pt x="717232" y="848678"/>
                  </a:lnTo>
                  <a:lnTo>
                    <a:pt x="721995" y="877253"/>
                  </a:lnTo>
                  <a:lnTo>
                    <a:pt x="708660" y="904875"/>
                  </a:lnTo>
                  <a:lnTo>
                    <a:pt x="687705" y="927735"/>
                  </a:lnTo>
                  <a:lnTo>
                    <a:pt x="657225" y="948690"/>
                  </a:lnTo>
                  <a:lnTo>
                    <a:pt x="695325" y="965835"/>
                  </a:lnTo>
                  <a:lnTo>
                    <a:pt x="707707" y="967740"/>
                  </a:lnTo>
                  <a:lnTo>
                    <a:pt x="717232" y="963930"/>
                  </a:lnTo>
                  <a:lnTo>
                    <a:pt x="736282" y="946785"/>
                  </a:lnTo>
                  <a:lnTo>
                    <a:pt x="755332" y="942023"/>
                  </a:lnTo>
                  <a:lnTo>
                    <a:pt x="774382" y="945833"/>
                  </a:lnTo>
                  <a:lnTo>
                    <a:pt x="812482" y="959168"/>
                  </a:lnTo>
                  <a:lnTo>
                    <a:pt x="829628" y="965835"/>
                  </a:lnTo>
                  <a:lnTo>
                    <a:pt x="863918" y="959168"/>
                  </a:lnTo>
                  <a:lnTo>
                    <a:pt x="880110" y="962025"/>
                  </a:lnTo>
                  <a:lnTo>
                    <a:pt x="887730" y="969645"/>
                  </a:lnTo>
                  <a:lnTo>
                    <a:pt x="890588" y="981075"/>
                  </a:lnTo>
                  <a:lnTo>
                    <a:pt x="892493" y="994410"/>
                  </a:lnTo>
                  <a:lnTo>
                    <a:pt x="898207" y="1006793"/>
                  </a:lnTo>
                  <a:lnTo>
                    <a:pt x="905828" y="1014413"/>
                  </a:lnTo>
                  <a:lnTo>
                    <a:pt x="915353" y="1017270"/>
                  </a:lnTo>
                  <a:lnTo>
                    <a:pt x="953453" y="1020128"/>
                  </a:lnTo>
                  <a:lnTo>
                    <a:pt x="990600" y="1011555"/>
                  </a:lnTo>
                  <a:lnTo>
                    <a:pt x="1033463" y="993458"/>
                  </a:lnTo>
                  <a:lnTo>
                    <a:pt x="1058228" y="978218"/>
                  </a:lnTo>
                  <a:lnTo>
                    <a:pt x="1065848" y="977265"/>
                  </a:lnTo>
                  <a:lnTo>
                    <a:pt x="1076325" y="982028"/>
                  </a:lnTo>
                  <a:lnTo>
                    <a:pt x="1085850" y="988695"/>
                  </a:lnTo>
                  <a:lnTo>
                    <a:pt x="1096328" y="986790"/>
                  </a:lnTo>
                  <a:lnTo>
                    <a:pt x="1106805" y="982028"/>
                  </a:lnTo>
                  <a:lnTo>
                    <a:pt x="1117282" y="980123"/>
                  </a:lnTo>
                  <a:lnTo>
                    <a:pt x="1127760" y="983933"/>
                  </a:lnTo>
                  <a:lnTo>
                    <a:pt x="1134428" y="992505"/>
                  </a:lnTo>
                  <a:lnTo>
                    <a:pt x="1138238" y="1004888"/>
                  </a:lnTo>
                  <a:lnTo>
                    <a:pt x="1151573" y="1082040"/>
                  </a:lnTo>
                  <a:lnTo>
                    <a:pt x="1162050" y="1109663"/>
                  </a:lnTo>
                  <a:lnTo>
                    <a:pt x="1177290" y="1123950"/>
                  </a:lnTo>
                  <a:lnTo>
                    <a:pt x="1195388" y="1125855"/>
                  </a:lnTo>
                  <a:lnTo>
                    <a:pt x="1230630" y="1117283"/>
                  </a:lnTo>
                  <a:lnTo>
                    <a:pt x="1248728" y="1118235"/>
                  </a:lnTo>
                  <a:lnTo>
                    <a:pt x="1259205" y="1122045"/>
                  </a:lnTo>
                  <a:lnTo>
                    <a:pt x="1268730" y="1127760"/>
                  </a:lnTo>
                  <a:lnTo>
                    <a:pt x="1273493" y="1137285"/>
                  </a:lnTo>
                  <a:lnTo>
                    <a:pt x="1269682" y="1151573"/>
                  </a:lnTo>
                  <a:lnTo>
                    <a:pt x="1262063" y="1158240"/>
                  </a:lnTo>
                  <a:lnTo>
                    <a:pt x="1233488" y="1164908"/>
                  </a:lnTo>
                  <a:lnTo>
                    <a:pt x="1235393" y="1173480"/>
                  </a:lnTo>
                  <a:lnTo>
                    <a:pt x="1235393" y="1196340"/>
                  </a:lnTo>
                  <a:lnTo>
                    <a:pt x="1236345" y="1204913"/>
                  </a:lnTo>
                  <a:lnTo>
                    <a:pt x="1241107" y="1210628"/>
                  </a:lnTo>
                  <a:lnTo>
                    <a:pt x="1253490" y="1213485"/>
                  </a:lnTo>
                  <a:lnTo>
                    <a:pt x="1260157" y="1218248"/>
                  </a:lnTo>
                  <a:lnTo>
                    <a:pt x="1266825" y="1228725"/>
                  </a:lnTo>
                  <a:lnTo>
                    <a:pt x="1266825" y="1238250"/>
                  </a:lnTo>
                  <a:lnTo>
                    <a:pt x="1265873" y="1248728"/>
                  </a:lnTo>
                  <a:lnTo>
                    <a:pt x="1266825" y="1262063"/>
                  </a:lnTo>
                  <a:lnTo>
                    <a:pt x="1270635" y="1272540"/>
                  </a:lnTo>
                  <a:lnTo>
                    <a:pt x="1281113" y="1286828"/>
                  </a:lnTo>
                  <a:lnTo>
                    <a:pt x="1285875" y="1297305"/>
                  </a:lnTo>
                  <a:lnTo>
                    <a:pt x="1286828" y="1309688"/>
                  </a:lnTo>
                  <a:lnTo>
                    <a:pt x="1284923" y="1319213"/>
                  </a:lnTo>
                  <a:lnTo>
                    <a:pt x="1285875" y="1327785"/>
                  </a:lnTo>
                  <a:lnTo>
                    <a:pt x="1293495" y="1335405"/>
                  </a:lnTo>
                  <a:lnTo>
                    <a:pt x="1306830" y="1343025"/>
                  </a:lnTo>
                  <a:lnTo>
                    <a:pt x="1312545" y="1348740"/>
                  </a:lnTo>
                  <a:lnTo>
                    <a:pt x="1317307" y="1357313"/>
                  </a:lnTo>
                  <a:lnTo>
                    <a:pt x="1322070" y="1380173"/>
                  </a:lnTo>
                  <a:lnTo>
                    <a:pt x="1320165" y="1401128"/>
                  </a:lnTo>
                  <a:lnTo>
                    <a:pt x="1321118" y="1419225"/>
                  </a:lnTo>
                  <a:lnTo>
                    <a:pt x="1333500" y="1435418"/>
                  </a:lnTo>
                  <a:lnTo>
                    <a:pt x="1292543" y="1453515"/>
                  </a:lnTo>
                  <a:lnTo>
                    <a:pt x="1284923" y="1463993"/>
                  </a:lnTo>
                  <a:lnTo>
                    <a:pt x="1285875" y="1474470"/>
                  </a:lnTo>
                  <a:lnTo>
                    <a:pt x="1310640" y="1574483"/>
                  </a:lnTo>
                  <a:lnTo>
                    <a:pt x="1322070" y="1595438"/>
                  </a:lnTo>
                  <a:lnTo>
                    <a:pt x="1339215" y="1603058"/>
                  </a:lnTo>
                  <a:lnTo>
                    <a:pt x="1350645" y="1604963"/>
                  </a:lnTo>
                  <a:lnTo>
                    <a:pt x="1362075" y="1608773"/>
                  </a:lnTo>
                  <a:lnTo>
                    <a:pt x="1371600" y="1616393"/>
                  </a:lnTo>
                  <a:lnTo>
                    <a:pt x="1379220" y="1630680"/>
                  </a:lnTo>
                  <a:lnTo>
                    <a:pt x="1383030" y="1649730"/>
                  </a:lnTo>
                  <a:lnTo>
                    <a:pt x="1383982" y="1664970"/>
                  </a:lnTo>
                  <a:lnTo>
                    <a:pt x="1386840" y="1677353"/>
                  </a:lnTo>
                  <a:lnTo>
                    <a:pt x="1398270" y="1690688"/>
                  </a:lnTo>
                  <a:lnTo>
                    <a:pt x="1408748" y="1698308"/>
                  </a:lnTo>
                  <a:lnTo>
                    <a:pt x="1419225" y="1704023"/>
                  </a:lnTo>
                  <a:lnTo>
                    <a:pt x="1430655" y="1706880"/>
                  </a:lnTo>
                  <a:lnTo>
                    <a:pt x="1441132" y="1707833"/>
                  </a:lnTo>
                  <a:lnTo>
                    <a:pt x="1451610" y="170402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39" name="Полилиния: фигура 21">
              <a:extLst>
                <a:ext uri="{FF2B5EF4-FFF2-40B4-BE49-F238E27FC236}">
                  <a16:creationId xmlns:a16="http://schemas.microsoft.com/office/drawing/2014/main" id="{B77FFF3F-7420-3209-4690-C29B3184C3DB}"/>
                </a:ext>
              </a:extLst>
            </p:cNvPr>
            <p:cNvSpPr/>
            <p:nvPr/>
          </p:nvSpPr>
          <p:spPr>
            <a:xfrm>
              <a:off x="7064693" y="2907030"/>
              <a:ext cx="2076450" cy="1352550"/>
            </a:xfrm>
            <a:custGeom>
              <a:avLst/>
              <a:gdLst>
                <a:gd name="connsiteX0" fmla="*/ 1055370 w 2076450"/>
                <a:gd name="connsiteY0" fmla="*/ 15240 h 1352550"/>
                <a:gd name="connsiteX1" fmla="*/ 1073468 w 2076450"/>
                <a:gd name="connsiteY1" fmla="*/ 19050 h 1352550"/>
                <a:gd name="connsiteX2" fmla="*/ 1080135 w 2076450"/>
                <a:gd name="connsiteY2" fmla="*/ 17145 h 1352550"/>
                <a:gd name="connsiteX3" fmla="*/ 1082040 w 2076450"/>
                <a:gd name="connsiteY3" fmla="*/ 16192 h 1352550"/>
                <a:gd name="connsiteX4" fmla="*/ 1084897 w 2076450"/>
                <a:gd name="connsiteY4" fmla="*/ 16192 h 1352550"/>
                <a:gd name="connsiteX5" fmla="*/ 1088707 w 2076450"/>
                <a:gd name="connsiteY5" fmla="*/ 17145 h 1352550"/>
                <a:gd name="connsiteX6" fmla="*/ 1093470 w 2076450"/>
                <a:gd name="connsiteY6" fmla="*/ 20955 h 1352550"/>
                <a:gd name="connsiteX7" fmla="*/ 1097280 w 2076450"/>
                <a:gd name="connsiteY7" fmla="*/ 22860 h 1352550"/>
                <a:gd name="connsiteX8" fmla="*/ 1102995 w 2076450"/>
                <a:gd name="connsiteY8" fmla="*/ 23813 h 1352550"/>
                <a:gd name="connsiteX9" fmla="*/ 1114425 w 2076450"/>
                <a:gd name="connsiteY9" fmla="*/ 20955 h 1352550"/>
                <a:gd name="connsiteX10" fmla="*/ 1118235 w 2076450"/>
                <a:gd name="connsiteY10" fmla="*/ 20955 h 1352550"/>
                <a:gd name="connsiteX11" fmla="*/ 1131570 w 2076450"/>
                <a:gd name="connsiteY11" fmla="*/ 23813 h 1352550"/>
                <a:gd name="connsiteX12" fmla="*/ 1141095 w 2076450"/>
                <a:gd name="connsiteY12" fmla="*/ 23813 h 1352550"/>
                <a:gd name="connsiteX13" fmla="*/ 1143952 w 2076450"/>
                <a:gd name="connsiteY13" fmla="*/ 24765 h 1352550"/>
                <a:gd name="connsiteX14" fmla="*/ 1153477 w 2076450"/>
                <a:gd name="connsiteY14" fmla="*/ 28575 h 1352550"/>
                <a:gd name="connsiteX15" fmla="*/ 1168718 w 2076450"/>
                <a:gd name="connsiteY15" fmla="*/ 40005 h 1352550"/>
                <a:gd name="connsiteX16" fmla="*/ 1172527 w 2076450"/>
                <a:gd name="connsiteY16" fmla="*/ 43815 h 1352550"/>
                <a:gd name="connsiteX17" fmla="*/ 1175385 w 2076450"/>
                <a:gd name="connsiteY17" fmla="*/ 47625 h 1352550"/>
                <a:gd name="connsiteX18" fmla="*/ 1177290 w 2076450"/>
                <a:gd name="connsiteY18" fmla="*/ 55245 h 1352550"/>
                <a:gd name="connsiteX19" fmla="*/ 1179195 w 2076450"/>
                <a:gd name="connsiteY19" fmla="*/ 58102 h 1352550"/>
                <a:gd name="connsiteX20" fmla="*/ 1213485 w 2076450"/>
                <a:gd name="connsiteY20" fmla="*/ 85725 h 1352550"/>
                <a:gd name="connsiteX21" fmla="*/ 1216343 w 2076450"/>
                <a:gd name="connsiteY21" fmla="*/ 90488 h 1352550"/>
                <a:gd name="connsiteX22" fmla="*/ 1218247 w 2076450"/>
                <a:gd name="connsiteY22" fmla="*/ 94297 h 1352550"/>
                <a:gd name="connsiteX23" fmla="*/ 1221105 w 2076450"/>
                <a:gd name="connsiteY23" fmla="*/ 97155 h 1352550"/>
                <a:gd name="connsiteX24" fmla="*/ 1235393 w 2076450"/>
                <a:gd name="connsiteY24" fmla="*/ 106680 h 1352550"/>
                <a:gd name="connsiteX25" fmla="*/ 1237297 w 2076450"/>
                <a:gd name="connsiteY25" fmla="*/ 109538 h 1352550"/>
                <a:gd name="connsiteX26" fmla="*/ 1246822 w 2076450"/>
                <a:gd name="connsiteY26" fmla="*/ 121920 h 1352550"/>
                <a:gd name="connsiteX27" fmla="*/ 1254443 w 2076450"/>
                <a:gd name="connsiteY27" fmla="*/ 129540 h 1352550"/>
                <a:gd name="connsiteX28" fmla="*/ 1284922 w 2076450"/>
                <a:gd name="connsiteY28" fmla="*/ 147638 h 1352550"/>
                <a:gd name="connsiteX29" fmla="*/ 1293495 w 2076450"/>
                <a:gd name="connsiteY29" fmla="*/ 154305 h 1352550"/>
                <a:gd name="connsiteX30" fmla="*/ 1303972 w 2076450"/>
                <a:gd name="connsiteY30" fmla="*/ 166688 h 1352550"/>
                <a:gd name="connsiteX31" fmla="*/ 1307782 w 2076450"/>
                <a:gd name="connsiteY31" fmla="*/ 167640 h 1352550"/>
                <a:gd name="connsiteX32" fmla="*/ 1311593 w 2076450"/>
                <a:gd name="connsiteY32" fmla="*/ 168592 h 1352550"/>
                <a:gd name="connsiteX33" fmla="*/ 1318260 w 2076450"/>
                <a:gd name="connsiteY33" fmla="*/ 168592 h 1352550"/>
                <a:gd name="connsiteX34" fmla="*/ 1328738 w 2076450"/>
                <a:gd name="connsiteY34" fmla="*/ 165735 h 1352550"/>
                <a:gd name="connsiteX35" fmla="*/ 1331595 w 2076450"/>
                <a:gd name="connsiteY35" fmla="*/ 165735 h 1352550"/>
                <a:gd name="connsiteX36" fmla="*/ 1358265 w 2076450"/>
                <a:gd name="connsiteY36" fmla="*/ 170497 h 1352550"/>
                <a:gd name="connsiteX37" fmla="*/ 1361122 w 2076450"/>
                <a:gd name="connsiteY37" fmla="*/ 169545 h 1352550"/>
                <a:gd name="connsiteX38" fmla="*/ 1365885 w 2076450"/>
                <a:gd name="connsiteY38" fmla="*/ 167640 h 1352550"/>
                <a:gd name="connsiteX39" fmla="*/ 1368743 w 2076450"/>
                <a:gd name="connsiteY39" fmla="*/ 166688 h 1352550"/>
                <a:gd name="connsiteX40" fmla="*/ 1372552 w 2076450"/>
                <a:gd name="connsiteY40" fmla="*/ 167640 h 1352550"/>
                <a:gd name="connsiteX41" fmla="*/ 1381125 w 2076450"/>
                <a:gd name="connsiteY41" fmla="*/ 175260 h 1352550"/>
                <a:gd name="connsiteX42" fmla="*/ 1383982 w 2076450"/>
                <a:gd name="connsiteY42" fmla="*/ 178117 h 1352550"/>
                <a:gd name="connsiteX43" fmla="*/ 1386840 w 2076450"/>
                <a:gd name="connsiteY43" fmla="*/ 180022 h 1352550"/>
                <a:gd name="connsiteX44" fmla="*/ 1389697 w 2076450"/>
                <a:gd name="connsiteY44" fmla="*/ 180975 h 1352550"/>
                <a:gd name="connsiteX45" fmla="*/ 1405890 w 2076450"/>
                <a:gd name="connsiteY45" fmla="*/ 180022 h 1352550"/>
                <a:gd name="connsiteX46" fmla="*/ 1409700 w 2076450"/>
                <a:gd name="connsiteY46" fmla="*/ 180975 h 1352550"/>
                <a:gd name="connsiteX47" fmla="*/ 1413510 w 2076450"/>
                <a:gd name="connsiteY47" fmla="*/ 182880 h 1352550"/>
                <a:gd name="connsiteX48" fmla="*/ 1418272 w 2076450"/>
                <a:gd name="connsiteY48" fmla="*/ 187642 h 1352550"/>
                <a:gd name="connsiteX49" fmla="*/ 1422082 w 2076450"/>
                <a:gd name="connsiteY49" fmla="*/ 189547 h 1352550"/>
                <a:gd name="connsiteX50" fmla="*/ 1426845 w 2076450"/>
                <a:gd name="connsiteY50" fmla="*/ 189547 h 1352550"/>
                <a:gd name="connsiteX51" fmla="*/ 1429702 w 2076450"/>
                <a:gd name="connsiteY51" fmla="*/ 187642 h 1352550"/>
                <a:gd name="connsiteX52" fmla="*/ 1434465 w 2076450"/>
                <a:gd name="connsiteY52" fmla="*/ 184785 h 1352550"/>
                <a:gd name="connsiteX53" fmla="*/ 1438275 w 2076450"/>
                <a:gd name="connsiteY53" fmla="*/ 184785 h 1352550"/>
                <a:gd name="connsiteX54" fmla="*/ 1460182 w 2076450"/>
                <a:gd name="connsiteY54" fmla="*/ 191452 h 1352550"/>
                <a:gd name="connsiteX55" fmla="*/ 1471613 w 2076450"/>
                <a:gd name="connsiteY55" fmla="*/ 196215 h 1352550"/>
                <a:gd name="connsiteX56" fmla="*/ 1476375 w 2076450"/>
                <a:gd name="connsiteY56" fmla="*/ 200025 h 1352550"/>
                <a:gd name="connsiteX57" fmla="*/ 1482090 w 2076450"/>
                <a:gd name="connsiteY57" fmla="*/ 200025 h 1352550"/>
                <a:gd name="connsiteX58" fmla="*/ 1485900 w 2076450"/>
                <a:gd name="connsiteY58" fmla="*/ 200025 h 1352550"/>
                <a:gd name="connsiteX59" fmla="*/ 1490663 w 2076450"/>
                <a:gd name="connsiteY59" fmla="*/ 196215 h 1352550"/>
                <a:gd name="connsiteX60" fmla="*/ 1495425 w 2076450"/>
                <a:gd name="connsiteY60" fmla="*/ 194310 h 1352550"/>
                <a:gd name="connsiteX61" fmla="*/ 1498282 w 2076450"/>
                <a:gd name="connsiteY61" fmla="*/ 194310 h 1352550"/>
                <a:gd name="connsiteX62" fmla="*/ 1503045 w 2076450"/>
                <a:gd name="connsiteY62" fmla="*/ 192405 h 1352550"/>
                <a:gd name="connsiteX63" fmla="*/ 1504950 w 2076450"/>
                <a:gd name="connsiteY63" fmla="*/ 191452 h 1352550"/>
                <a:gd name="connsiteX64" fmla="*/ 1513522 w 2076450"/>
                <a:gd name="connsiteY64" fmla="*/ 184785 h 1352550"/>
                <a:gd name="connsiteX65" fmla="*/ 1523047 w 2076450"/>
                <a:gd name="connsiteY65" fmla="*/ 180022 h 1352550"/>
                <a:gd name="connsiteX66" fmla="*/ 1547813 w 2076450"/>
                <a:gd name="connsiteY66" fmla="*/ 170497 h 1352550"/>
                <a:gd name="connsiteX67" fmla="*/ 1554480 w 2076450"/>
                <a:gd name="connsiteY67" fmla="*/ 166688 h 1352550"/>
                <a:gd name="connsiteX68" fmla="*/ 1559243 w 2076450"/>
                <a:gd name="connsiteY68" fmla="*/ 167640 h 1352550"/>
                <a:gd name="connsiteX69" fmla="*/ 1565910 w 2076450"/>
                <a:gd name="connsiteY69" fmla="*/ 172402 h 1352550"/>
                <a:gd name="connsiteX70" fmla="*/ 1580197 w 2076450"/>
                <a:gd name="connsiteY70" fmla="*/ 185738 h 1352550"/>
                <a:gd name="connsiteX71" fmla="*/ 1584960 w 2076450"/>
                <a:gd name="connsiteY71" fmla="*/ 192405 h 1352550"/>
                <a:gd name="connsiteX72" fmla="*/ 1586865 w 2076450"/>
                <a:gd name="connsiteY72" fmla="*/ 198120 h 1352550"/>
                <a:gd name="connsiteX73" fmla="*/ 1586865 w 2076450"/>
                <a:gd name="connsiteY73" fmla="*/ 204788 h 1352550"/>
                <a:gd name="connsiteX74" fmla="*/ 1586865 w 2076450"/>
                <a:gd name="connsiteY74" fmla="*/ 207645 h 1352550"/>
                <a:gd name="connsiteX75" fmla="*/ 1590675 w 2076450"/>
                <a:gd name="connsiteY75" fmla="*/ 212407 h 1352550"/>
                <a:gd name="connsiteX76" fmla="*/ 1600200 w 2076450"/>
                <a:gd name="connsiteY76" fmla="*/ 223838 h 1352550"/>
                <a:gd name="connsiteX77" fmla="*/ 1602105 w 2076450"/>
                <a:gd name="connsiteY77" fmla="*/ 227647 h 1352550"/>
                <a:gd name="connsiteX78" fmla="*/ 1600200 w 2076450"/>
                <a:gd name="connsiteY78" fmla="*/ 232410 h 1352550"/>
                <a:gd name="connsiteX79" fmla="*/ 1594485 w 2076450"/>
                <a:gd name="connsiteY79" fmla="*/ 242888 h 1352550"/>
                <a:gd name="connsiteX80" fmla="*/ 1590675 w 2076450"/>
                <a:gd name="connsiteY80" fmla="*/ 246697 h 1352550"/>
                <a:gd name="connsiteX81" fmla="*/ 1577340 w 2076450"/>
                <a:gd name="connsiteY81" fmla="*/ 254317 h 1352550"/>
                <a:gd name="connsiteX82" fmla="*/ 1571625 w 2076450"/>
                <a:gd name="connsiteY82" fmla="*/ 260032 h 1352550"/>
                <a:gd name="connsiteX83" fmla="*/ 1570672 w 2076450"/>
                <a:gd name="connsiteY83" fmla="*/ 261938 h 1352550"/>
                <a:gd name="connsiteX84" fmla="*/ 1570672 w 2076450"/>
                <a:gd name="connsiteY84" fmla="*/ 263842 h 1352550"/>
                <a:gd name="connsiteX85" fmla="*/ 1573530 w 2076450"/>
                <a:gd name="connsiteY85" fmla="*/ 265747 h 1352550"/>
                <a:gd name="connsiteX86" fmla="*/ 1590675 w 2076450"/>
                <a:gd name="connsiteY86" fmla="*/ 264795 h 1352550"/>
                <a:gd name="connsiteX87" fmla="*/ 1593532 w 2076450"/>
                <a:gd name="connsiteY87" fmla="*/ 264795 h 1352550"/>
                <a:gd name="connsiteX88" fmla="*/ 1597343 w 2076450"/>
                <a:gd name="connsiteY88" fmla="*/ 267652 h 1352550"/>
                <a:gd name="connsiteX89" fmla="*/ 1605915 w 2076450"/>
                <a:gd name="connsiteY89" fmla="*/ 275272 h 1352550"/>
                <a:gd name="connsiteX90" fmla="*/ 1610677 w 2076450"/>
                <a:gd name="connsiteY90" fmla="*/ 278130 h 1352550"/>
                <a:gd name="connsiteX91" fmla="*/ 1624013 w 2076450"/>
                <a:gd name="connsiteY91" fmla="*/ 281940 h 1352550"/>
                <a:gd name="connsiteX92" fmla="*/ 1628775 w 2076450"/>
                <a:gd name="connsiteY92" fmla="*/ 284797 h 1352550"/>
                <a:gd name="connsiteX93" fmla="*/ 1630680 w 2076450"/>
                <a:gd name="connsiteY93" fmla="*/ 288607 h 1352550"/>
                <a:gd name="connsiteX94" fmla="*/ 1630680 w 2076450"/>
                <a:gd name="connsiteY94" fmla="*/ 292417 h 1352550"/>
                <a:gd name="connsiteX95" fmla="*/ 1632585 w 2076450"/>
                <a:gd name="connsiteY95" fmla="*/ 296227 h 1352550"/>
                <a:gd name="connsiteX96" fmla="*/ 1637347 w 2076450"/>
                <a:gd name="connsiteY96" fmla="*/ 300038 h 1352550"/>
                <a:gd name="connsiteX97" fmla="*/ 1648777 w 2076450"/>
                <a:gd name="connsiteY97" fmla="*/ 306705 h 1352550"/>
                <a:gd name="connsiteX98" fmla="*/ 1653540 w 2076450"/>
                <a:gd name="connsiteY98" fmla="*/ 310515 h 1352550"/>
                <a:gd name="connsiteX99" fmla="*/ 1657350 w 2076450"/>
                <a:gd name="connsiteY99" fmla="*/ 314325 h 1352550"/>
                <a:gd name="connsiteX100" fmla="*/ 1660207 w 2076450"/>
                <a:gd name="connsiteY100" fmla="*/ 320992 h 1352550"/>
                <a:gd name="connsiteX101" fmla="*/ 1663065 w 2076450"/>
                <a:gd name="connsiteY101" fmla="*/ 323850 h 1352550"/>
                <a:gd name="connsiteX102" fmla="*/ 1677352 w 2076450"/>
                <a:gd name="connsiteY102" fmla="*/ 334327 h 1352550"/>
                <a:gd name="connsiteX103" fmla="*/ 1680210 w 2076450"/>
                <a:gd name="connsiteY103" fmla="*/ 338138 h 1352550"/>
                <a:gd name="connsiteX104" fmla="*/ 1681163 w 2076450"/>
                <a:gd name="connsiteY104" fmla="*/ 341947 h 1352550"/>
                <a:gd name="connsiteX105" fmla="*/ 1678305 w 2076450"/>
                <a:gd name="connsiteY105" fmla="*/ 345757 h 1352550"/>
                <a:gd name="connsiteX106" fmla="*/ 1675447 w 2076450"/>
                <a:gd name="connsiteY106" fmla="*/ 348615 h 1352550"/>
                <a:gd name="connsiteX107" fmla="*/ 1664970 w 2076450"/>
                <a:gd name="connsiteY107" fmla="*/ 356235 h 1352550"/>
                <a:gd name="connsiteX108" fmla="*/ 1663065 w 2076450"/>
                <a:gd name="connsiteY108" fmla="*/ 358140 h 1352550"/>
                <a:gd name="connsiteX109" fmla="*/ 1661160 w 2076450"/>
                <a:gd name="connsiteY109" fmla="*/ 363855 h 1352550"/>
                <a:gd name="connsiteX110" fmla="*/ 1660207 w 2076450"/>
                <a:gd name="connsiteY110" fmla="*/ 366713 h 1352550"/>
                <a:gd name="connsiteX111" fmla="*/ 1661160 w 2076450"/>
                <a:gd name="connsiteY111" fmla="*/ 369570 h 1352550"/>
                <a:gd name="connsiteX112" fmla="*/ 1663065 w 2076450"/>
                <a:gd name="connsiteY112" fmla="*/ 371475 h 1352550"/>
                <a:gd name="connsiteX113" fmla="*/ 1683068 w 2076450"/>
                <a:gd name="connsiteY113" fmla="*/ 385763 h 1352550"/>
                <a:gd name="connsiteX114" fmla="*/ 1696402 w 2076450"/>
                <a:gd name="connsiteY114" fmla="*/ 399097 h 1352550"/>
                <a:gd name="connsiteX115" fmla="*/ 1733550 w 2076450"/>
                <a:gd name="connsiteY115" fmla="*/ 430530 h 1352550"/>
                <a:gd name="connsiteX116" fmla="*/ 1740218 w 2076450"/>
                <a:gd name="connsiteY116" fmla="*/ 438150 h 1352550"/>
                <a:gd name="connsiteX117" fmla="*/ 1742122 w 2076450"/>
                <a:gd name="connsiteY117" fmla="*/ 442913 h 1352550"/>
                <a:gd name="connsiteX118" fmla="*/ 1740218 w 2076450"/>
                <a:gd name="connsiteY118" fmla="*/ 448627 h 1352550"/>
                <a:gd name="connsiteX119" fmla="*/ 1733550 w 2076450"/>
                <a:gd name="connsiteY119" fmla="*/ 461963 h 1352550"/>
                <a:gd name="connsiteX120" fmla="*/ 1731645 w 2076450"/>
                <a:gd name="connsiteY120" fmla="*/ 466725 h 1352550"/>
                <a:gd name="connsiteX121" fmla="*/ 1731645 w 2076450"/>
                <a:gd name="connsiteY121" fmla="*/ 469582 h 1352550"/>
                <a:gd name="connsiteX122" fmla="*/ 1733550 w 2076450"/>
                <a:gd name="connsiteY122" fmla="*/ 471488 h 1352550"/>
                <a:gd name="connsiteX123" fmla="*/ 1742122 w 2076450"/>
                <a:gd name="connsiteY123" fmla="*/ 478155 h 1352550"/>
                <a:gd name="connsiteX124" fmla="*/ 1750695 w 2076450"/>
                <a:gd name="connsiteY124" fmla="*/ 487680 h 1352550"/>
                <a:gd name="connsiteX125" fmla="*/ 1752600 w 2076450"/>
                <a:gd name="connsiteY125" fmla="*/ 491490 h 1352550"/>
                <a:gd name="connsiteX126" fmla="*/ 1750695 w 2076450"/>
                <a:gd name="connsiteY126" fmla="*/ 496252 h 1352550"/>
                <a:gd name="connsiteX127" fmla="*/ 1736407 w 2076450"/>
                <a:gd name="connsiteY127" fmla="*/ 512445 h 1352550"/>
                <a:gd name="connsiteX128" fmla="*/ 1734502 w 2076450"/>
                <a:gd name="connsiteY128" fmla="*/ 517207 h 1352550"/>
                <a:gd name="connsiteX129" fmla="*/ 1735455 w 2076450"/>
                <a:gd name="connsiteY129" fmla="*/ 519113 h 1352550"/>
                <a:gd name="connsiteX130" fmla="*/ 1741170 w 2076450"/>
                <a:gd name="connsiteY130" fmla="*/ 524827 h 1352550"/>
                <a:gd name="connsiteX131" fmla="*/ 1743075 w 2076450"/>
                <a:gd name="connsiteY131" fmla="*/ 525780 h 1352550"/>
                <a:gd name="connsiteX132" fmla="*/ 1745932 w 2076450"/>
                <a:gd name="connsiteY132" fmla="*/ 525780 h 1352550"/>
                <a:gd name="connsiteX133" fmla="*/ 1750695 w 2076450"/>
                <a:gd name="connsiteY133" fmla="*/ 521970 h 1352550"/>
                <a:gd name="connsiteX134" fmla="*/ 1755457 w 2076450"/>
                <a:gd name="connsiteY134" fmla="*/ 517207 h 1352550"/>
                <a:gd name="connsiteX135" fmla="*/ 1757363 w 2076450"/>
                <a:gd name="connsiteY135" fmla="*/ 515302 h 1352550"/>
                <a:gd name="connsiteX136" fmla="*/ 1759268 w 2076450"/>
                <a:gd name="connsiteY136" fmla="*/ 514350 h 1352550"/>
                <a:gd name="connsiteX137" fmla="*/ 1764982 w 2076450"/>
                <a:gd name="connsiteY137" fmla="*/ 517207 h 1352550"/>
                <a:gd name="connsiteX138" fmla="*/ 1768793 w 2076450"/>
                <a:gd name="connsiteY138" fmla="*/ 521017 h 1352550"/>
                <a:gd name="connsiteX139" fmla="*/ 1771650 w 2076450"/>
                <a:gd name="connsiteY139" fmla="*/ 522922 h 1352550"/>
                <a:gd name="connsiteX140" fmla="*/ 1775460 w 2076450"/>
                <a:gd name="connsiteY140" fmla="*/ 522922 h 1352550"/>
                <a:gd name="connsiteX141" fmla="*/ 1779270 w 2076450"/>
                <a:gd name="connsiteY141" fmla="*/ 521017 h 1352550"/>
                <a:gd name="connsiteX142" fmla="*/ 1788795 w 2076450"/>
                <a:gd name="connsiteY142" fmla="*/ 514350 h 1352550"/>
                <a:gd name="connsiteX143" fmla="*/ 1789747 w 2076450"/>
                <a:gd name="connsiteY143" fmla="*/ 511492 h 1352550"/>
                <a:gd name="connsiteX144" fmla="*/ 1789747 w 2076450"/>
                <a:gd name="connsiteY144" fmla="*/ 508635 h 1352550"/>
                <a:gd name="connsiteX145" fmla="*/ 1784985 w 2076450"/>
                <a:gd name="connsiteY145" fmla="*/ 504825 h 1352550"/>
                <a:gd name="connsiteX146" fmla="*/ 1784032 w 2076450"/>
                <a:gd name="connsiteY146" fmla="*/ 503872 h 1352550"/>
                <a:gd name="connsiteX147" fmla="*/ 1783080 w 2076450"/>
                <a:gd name="connsiteY147" fmla="*/ 501015 h 1352550"/>
                <a:gd name="connsiteX148" fmla="*/ 1784032 w 2076450"/>
                <a:gd name="connsiteY148" fmla="*/ 498157 h 1352550"/>
                <a:gd name="connsiteX149" fmla="*/ 1792605 w 2076450"/>
                <a:gd name="connsiteY149" fmla="*/ 483870 h 1352550"/>
                <a:gd name="connsiteX150" fmla="*/ 1830705 w 2076450"/>
                <a:gd name="connsiteY150" fmla="*/ 437197 h 1352550"/>
                <a:gd name="connsiteX151" fmla="*/ 1839277 w 2076450"/>
                <a:gd name="connsiteY151" fmla="*/ 431482 h 1352550"/>
                <a:gd name="connsiteX152" fmla="*/ 1842135 w 2076450"/>
                <a:gd name="connsiteY152" fmla="*/ 430530 h 1352550"/>
                <a:gd name="connsiteX153" fmla="*/ 1846897 w 2076450"/>
                <a:gd name="connsiteY153" fmla="*/ 430530 h 1352550"/>
                <a:gd name="connsiteX154" fmla="*/ 1855470 w 2076450"/>
                <a:gd name="connsiteY154" fmla="*/ 433388 h 1352550"/>
                <a:gd name="connsiteX155" fmla="*/ 1878330 w 2076450"/>
                <a:gd name="connsiteY155" fmla="*/ 446722 h 1352550"/>
                <a:gd name="connsiteX156" fmla="*/ 1886902 w 2076450"/>
                <a:gd name="connsiteY156" fmla="*/ 453390 h 1352550"/>
                <a:gd name="connsiteX157" fmla="*/ 1889760 w 2076450"/>
                <a:gd name="connsiteY157" fmla="*/ 457200 h 1352550"/>
                <a:gd name="connsiteX158" fmla="*/ 1892618 w 2076450"/>
                <a:gd name="connsiteY158" fmla="*/ 461963 h 1352550"/>
                <a:gd name="connsiteX159" fmla="*/ 1894522 w 2076450"/>
                <a:gd name="connsiteY159" fmla="*/ 463867 h 1352550"/>
                <a:gd name="connsiteX160" fmla="*/ 1898332 w 2076450"/>
                <a:gd name="connsiteY160" fmla="*/ 465772 h 1352550"/>
                <a:gd name="connsiteX161" fmla="*/ 1905000 w 2076450"/>
                <a:gd name="connsiteY161" fmla="*/ 466725 h 1352550"/>
                <a:gd name="connsiteX162" fmla="*/ 1924050 w 2076450"/>
                <a:gd name="connsiteY162" fmla="*/ 464820 h 1352550"/>
                <a:gd name="connsiteX163" fmla="*/ 1928813 w 2076450"/>
                <a:gd name="connsiteY163" fmla="*/ 462915 h 1352550"/>
                <a:gd name="connsiteX164" fmla="*/ 1932622 w 2076450"/>
                <a:gd name="connsiteY164" fmla="*/ 458152 h 1352550"/>
                <a:gd name="connsiteX165" fmla="*/ 1943100 w 2076450"/>
                <a:gd name="connsiteY165" fmla="*/ 451485 h 1352550"/>
                <a:gd name="connsiteX166" fmla="*/ 1973580 w 2076450"/>
                <a:gd name="connsiteY166" fmla="*/ 447675 h 1352550"/>
                <a:gd name="connsiteX167" fmla="*/ 1975485 w 2076450"/>
                <a:gd name="connsiteY167" fmla="*/ 454342 h 1352550"/>
                <a:gd name="connsiteX168" fmla="*/ 1976438 w 2076450"/>
                <a:gd name="connsiteY168" fmla="*/ 461010 h 1352550"/>
                <a:gd name="connsiteX169" fmla="*/ 1978343 w 2076450"/>
                <a:gd name="connsiteY169" fmla="*/ 464820 h 1352550"/>
                <a:gd name="connsiteX170" fmla="*/ 1980247 w 2076450"/>
                <a:gd name="connsiteY170" fmla="*/ 466725 h 1352550"/>
                <a:gd name="connsiteX171" fmla="*/ 1983105 w 2076450"/>
                <a:gd name="connsiteY171" fmla="*/ 466725 h 1352550"/>
                <a:gd name="connsiteX172" fmla="*/ 2001202 w 2076450"/>
                <a:gd name="connsiteY172" fmla="*/ 463867 h 1352550"/>
                <a:gd name="connsiteX173" fmla="*/ 2004060 w 2076450"/>
                <a:gd name="connsiteY173" fmla="*/ 463867 h 1352550"/>
                <a:gd name="connsiteX174" fmla="*/ 2005965 w 2076450"/>
                <a:gd name="connsiteY174" fmla="*/ 464820 h 1352550"/>
                <a:gd name="connsiteX175" fmla="*/ 2007870 w 2076450"/>
                <a:gd name="connsiteY175" fmla="*/ 466725 h 1352550"/>
                <a:gd name="connsiteX176" fmla="*/ 2006918 w 2076450"/>
                <a:gd name="connsiteY176" fmla="*/ 471488 h 1352550"/>
                <a:gd name="connsiteX177" fmla="*/ 2005013 w 2076450"/>
                <a:gd name="connsiteY177" fmla="*/ 474345 h 1352550"/>
                <a:gd name="connsiteX178" fmla="*/ 2000250 w 2076450"/>
                <a:gd name="connsiteY178" fmla="*/ 477202 h 1352550"/>
                <a:gd name="connsiteX179" fmla="*/ 1998345 w 2076450"/>
                <a:gd name="connsiteY179" fmla="*/ 479107 h 1352550"/>
                <a:gd name="connsiteX180" fmla="*/ 1992630 w 2076450"/>
                <a:gd name="connsiteY180" fmla="*/ 490538 h 1352550"/>
                <a:gd name="connsiteX181" fmla="*/ 1987868 w 2076450"/>
                <a:gd name="connsiteY181" fmla="*/ 494347 h 1352550"/>
                <a:gd name="connsiteX182" fmla="*/ 1985963 w 2076450"/>
                <a:gd name="connsiteY182" fmla="*/ 496252 h 1352550"/>
                <a:gd name="connsiteX183" fmla="*/ 1985010 w 2076450"/>
                <a:gd name="connsiteY183" fmla="*/ 501015 h 1352550"/>
                <a:gd name="connsiteX184" fmla="*/ 1985010 w 2076450"/>
                <a:gd name="connsiteY184" fmla="*/ 516255 h 1352550"/>
                <a:gd name="connsiteX185" fmla="*/ 1985010 w 2076450"/>
                <a:gd name="connsiteY185" fmla="*/ 521017 h 1352550"/>
                <a:gd name="connsiteX186" fmla="*/ 1985963 w 2076450"/>
                <a:gd name="connsiteY186" fmla="*/ 522922 h 1352550"/>
                <a:gd name="connsiteX187" fmla="*/ 1986915 w 2076450"/>
                <a:gd name="connsiteY187" fmla="*/ 523875 h 1352550"/>
                <a:gd name="connsiteX188" fmla="*/ 1988820 w 2076450"/>
                <a:gd name="connsiteY188" fmla="*/ 524827 h 1352550"/>
                <a:gd name="connsiteX189" fmla="*/ 2005965 w 2076450"/>
                <a:gd name="connsiteY189" fmla="*/ 522922 h 1352550"/>
                <a:gd name="connsiteX190" fmla="*/ 2007870 w 2076450"/>
                <a:gd name="connsiteY190" fmla="*/ 521970 h 1352550"/>
                <a:gd name="connsiteX191" fmla="*/ 2009775 w 2076450"/>
                <a:gd name="connsiteY191" fmla="*/ 520065 h 1352550"/>
                <a:gd name="connsiteX192" fmla="*/ 2012632 w 2076450"/>
                <a:gd name="connsiteY192" fmla="*/ 514350 h 1352550"/>
                <a:gd name="connsiteX193" fmla="*/ 2016443 w 2076450"/>
                <a:gd name="connsiteY193" fmla="*/ 496252 h 1352550"/>
                <a:gd name="connsiteX194" fmla="*/ 2017395 w 2076450"/>
                <a:gd name="connsiteY194" fmla="*/ 492442 h 1352550"/>
                <a:gd name="connsiteX195" fmla="*/ 2020252 w 2076450"/>
                <a:gd name="connsiteY195" fmla="*/ 487680 h 1352550"/>
                <a:gd name="connsiteX196" fmla="*/ 2023110 w 2076450"/>
                <a:gd name="connsiteY196" fmla="*/ 484822 h 1352550"/>
                <a:gd name="connsiteX197" fmla="*/ 2025968 w 2076450"/>
                <a:gd name="connsiteY197" fmla="*/ 483870 h 1352550"/>
                <a:gd name="connsiteX198" fmla="*/ 2048827 w 2076450"/>
                <a:gd name="connsiteY198" fmla="*/ 481965 h 1352550"/>
                <a:gd name="connsiteX199" fmla="*/ 2054543 w 2076450"/>
                <a:gd name="connsiteY199" fmla="*/ 482917 h 1352550"/>
                <a:gd name="connsiteX200" fmla="*/ 2056447 w 2076450"/>
                <a:gd name="connsiteY200" fmla="*/ 484822 h 1352550"/>
                <a:gd name="connsiteX201" fmla="*/ 2057400 w 2076450"/>
                <a:gd name="connsiteY201" fmla="*/ 486727 h 1352550"/>
                <a:gd name="connsiteX202" fmla="*/ 2059305 w 2076450"/>
                <a:gd name="connsiteY202" fmla="*/ 491490 h 1352550"/>
                <a:gd name="connsiteX203" fmla="*/ 2060257 w 2076450"/>
                <a:gd name="connsiteY203" fmla="*/ 500063 h 1352550"/>
                <a:gd name="connsiteX204" fmla="*/ 2061210 w 2076450"/>
                <a:gd name="connsiteY204" fmla="*/ 517207 h 1352550"/>
                <a:gd name="connsiteX205" fmla="*/ 2060257 w 2076450"/>
                <a:gd name="connsiteY205" fmla="*/ 521017 h 1352550"/>
                <a:gd name="connsiteX206" fmla="*/ 2059305 w 2076450"/>
                <a:gd name="connsiteY206" fmla="*/ 523875 h 1352550"/>
                <a:gd name="connsiteX207" fmla="*/ 2055495 w 2076450"/>
                <a:gd name="connsiteY207" fmla="*/ 526732 h 1352550"/>
                <a:gd name="connsiteX208" fmla="*/ 2049780 w 2076450"/>
                <a:gd name="connsiteY208" fmla="*/ 529590 h 1352550"/>
                <a:gd name="connsiteX209" fmla="*/ 2043113 w 2076450"/>
                <a:gd name="connsiteY209" fmla="*/ 532447 h 1352550"/>
                <a:gd name="connsiteX210" fmla="*/ 2041207 w 2076450"/>
                <a:gd name="connsiteY210" fmla="*/ 534352 h 1352550"/>
                <a:gd name="connsiteX211" fmla="*/ 2040255 w 2076450"/>
                <a:gd name="connsiteY211" fmla="*/ 537210 h 1352550"/>
                <a:gd name="connsiteX212" fmla="*/ 2042160 w 2076450"/>
                <a:gd name="connsiteY212" fmla="*/ 544830 h 1352550"/>
                <a:gd name="connsiteX213" fmla="*/ 2043113 w 2076450"/>
                <a:gd name="connsiteY213" fmla="*/ 551497 h 1352550"/>
                <a:gd name="connsiteX214" fmla="*/ 2043113 w 2076450"/>
                <a:gd name="connsiteY214" fmla="*/ 553402 h 1352550"/>
                <a:gd name="connsiteX215" fmla="*/ 2042160 w 2076450"/>
                <a:gd name="connsiteY215" fmla="*/ 556260 h 1352550"/>
                <a:gd name="connsiteX216" fmla="*/ 2040255 w 2076450"/>
                <a:gd name="connsiteY216" fmla="*/ 558165 h 1352550"/>
                <a:gd name="connsiteX217" fmla="*/ 2034540 w 2076450"/>
                <a:gd name="connsiteY217" fmla="*/ 561022 h 1352550"/>
                <a:gd name="connsiteX218" fmla="*/ 2032635 w 2076450"/>
                <a:gd name="connsiteY218" fmla="*/ 562927 h 1352550"/>
                <a:gd name="connsiteX219" fmla="*/ 2031682 w 2076450"/>
                <a:gd name="connsiteY219" fmla="*/ 566738 h 1352550"/>
                <a:gd name="connsiteX220" fmla="*/ 2030730 w 2076450"/>
                <a:gd name="connsiteY220" fmla="*/ 590550 h 1352550"/>
                <a:gd name="connsiteX221" fmla="*/ 2032635 w 2076450"/>
                <a:gd name="connsiteY221" fmla="*/ 594360 h 1352550"/>
                <a:gd name="connsiteX222" fmla="*/ 2037397 w 2076450"/>
                <a:gd name="connsiteY222" fmla="*/ 598170 h 1352550"/>
                <a:gd name="connsiteX223" fmla="*/ 2037397 w 2076450"/>
                <a:gd name="connsiteY223" fmla="*/ 600075 h 1352550"/>
                <a:gd name="connsiteX224" fmla="*/ 2035493 w 2076450"/>
                <a:gd name="connsiteY224" fmla="*/ 603885 h 1352550"/>
                <a:gd name="connsiteX225" fmla="*/ 2032635 w 2076450"/>
                <a:gd name="connsiteY225" fmla="*/ 605790 h 1352550"/>
                <a:gd name="connsiteX226" fmla="*/ 2020252 w 2076450"/>
                <a:gd name="connsiteY226" fmla="*/ 611505 h 1352550"/>
                <a:gd name="connsiteX227" fmla="*/ 2018347 w 2076450"/>
                <a:gd name="connsiteY227" fmla="*/ 613410 h 1352550"/>
                <a:gd name="connsiteX228" fmla="*/ 2017395 w 2076450"/>
                <a:gd name="connsiteY228" fmla="*/ 616267 h 1352550"/>
                <a:gd name="connsiteX229" fmla="*/ 2017395 w 2076450"/>
                <a:gd name="connsiteY229" fmla="*/ 622935 h 1352550"/>
                <a:gd name="connsiteX230" fmla="*/ 2018347 w 2076450"/>
                <a:gd name="connsiteY230" fmla="*/ 626745 h 1352550"/>
                <a:gd name="connsiteX231" fmla="*/ 2020252 w 2076450"/>
                <a:gd name="connsiteY231" fmla="*/ 638175 h 1352550"/>
                <a:gd name="connsiteX232" fmla="*/ 2023110 w 2076450"/>
                <a:gd name="connsiteY232" fmla="*/ 661035 h 1352550"/>
                <a:gd name="connsiteX233" fmla="*/ 2022157 w 2076450"/>
                <a:gd name="connsiteY233" fmla="*/ 664845 h 1352550"/>
                <a:gd name="connsiteX234" fmla="*/ 2019300 w 2076450"/>
                <a:gd name="connsiteY234" fmla="*/ 681990 h 1352550"/>
                <a:gd name="connsiteX235" fmla="*/ 2019300 w 2076450"/>
                <a:gd name="connsiteY235" fmla="*/ 685800 h 1352550"/>
                <a:gd name="connsiteX236" fmla="*/ 2020252 w 2076450"/>
                <a:gd name="connsiteY236" fmla="*/ 691515 h 1352550"/>
                <a:gd name="connsiteX237" fmla="*/ 2021205 w 2076450"/>
                <a:gd name="connsiteY237" fmla="*/ 693420 h 1352550"/>
                <a:gd name="connsiteX238" fmla="*/ 2023110 w 2076450"/>
                <a:gd name="connsiteY238" fmla="*/ 695325 h 1352550"/>
                <a:gd name="connsiteX239" fmla="*/ 2025968 w 2076450"/>
                <a:gd name="connsiteY239" fmla="*/ 695325 h 1352550"/>
                <a:gd name="connsiteX240" fmla="*/ 2032635 w 2076450"/>
                <a:gd name="connsiteY240" fmla="*/ 692467 h 1352550"/>
                <a:gd name="connsiteX241" fmla="*/ 2038350 w 2076450"/>
                <a:gd name="connsiteY241" fmla="*/ 691515 h 1352550"/>
                <a:gd name="connsiteX242" fmla="*/ 2043113 w 2076450"/>
                <a:gd name="connsiteY242" fmla="*/ 692467 h 1352550"/>
                <a:gd name="connsiteX243" fmla="*/ 2045970 w 2076450"/>
                <a:gd name="connsiteY243" fmla="*/ 693420 h 1352550"/>
                <a:gd name="connsiteX244" fmla="*/ 2046922 w 2076450"/>
                <a:gd name="connsiteY244" fmla="*/ 695325 h 1352550"/>
                <a:gd name="connsiteX245" fmla="*/ 2047875 w 2076450"/>
                <a:gd name="connsiteY245" fmla="*/ 700088 h 1352550"/>
                <a:gd name="connsiteX246" fmla="*/ 2049780 w 2076450"/>
                <a:gd name="connsiteY246" fmla="*/ 701992 h 1352550"/>
                <a:gd name="connsiteX247" fmla="*/ 2051685 w 2076450"/>
                <a:gd name="connsiteY247" fmla="*/ 702945 h 1352550"/>
                <a:gd name="connsiteX248" fmla="*/ 2063115 w 2076450"/>
                <a:gd name="connsiteY248" fmla="*/ 704850 h 1352550"/>
                <a:gd name="connsiteX249" fmla="*/ 2065972 w 2076450"/>
                <a:gd name="connsiteY249" fmla="*/ 706755 h 1352550"/>
                <a:gd name="connsiteX250" fmla="*/ 2067877 w 2076450"/>
                <a:gd name="connsiteY250" fmla="*/ 708660 h 1352550"/>
                <a:gd name="connsiteX251" fmla="*/ 2068830 w 2076450"/>
                <a:gd name="connsiteY251" fmla="*/ 710565 h 1352550"/>
                <a:gd name="connsiteX252" fmla="*/ 2068830 w 2076450"/>
                <a:gd name="connsiteY252" fmla="*/ 719138 h 1352550"/>
                <a:gd name="connsiteX253" fmla="*/ 2069782 w 2076450"/>
                <a:gd name="connsiteY253" fmla="*/ 724852 h 1352550"/>
                <a:gd name="connsiteX254" fmla="*/ 2072640 w 2076450"/>
                <a:gd name="connsiteY254" fmla="*/ 735330 h 1352550"/>
                <a:gd name="connsiteX255" fmla="*/ 2077402 w 2076450"/>
                <a:gd name="connsiteY255" fmla="*/ 765810 h 1352550"/>
                <a:gd name="connsiteX256" fmla="*/ 2078355 w 2076450"/>
                <a:gd name="connsiteY256" fmla="*/ 773430 h 1352550"/>
                <a:gd name="connsiteX257" fmla="*/ 2079307 w 2076450"/>
                <a:gd name="connsiteY257" fmla="*/ 782002 h 1352550"/>
                <a:gd name="connsiteX258" fmla="*/ 2079307 w 2076450"/>
                <a:gd name="connsiteY258" fmla="*/ 784860 h 1352550"/>
                <a:gd name="connsiteX259" fmla="*/ 2078355 w 2076450"/>
                <a:gd name="connsiteY259" fmla="*/ 788670 h 1352550"/>
                <a:gd name="connsiteX260" fmla="*/ 2075497 w 2076450"/>
                <a:gd name="connsiteY260" fmla="*/ 793432 h 1352550"/>
                <a:gd name="connsiteX261" fmla="*/ 2067877 w 2076450"/>
                <a:gd name="connsiteY261" fmla="*/ 801052 h 1352550"/>
                <a:gd name="connsiteX262" fmla="*/ 2064068 w 2076450"/>
                <a:gd name="connsiteY262" fmla="*/ 803910 h 1352550"/>
                <a:gd name="connsiteX263" fmla="*/ 2060257 w 2076450"/>
                <a:gd name="connsiteY263" fmla="*/ 805815 h 1352550"/>
                <a:gd name="connsiteX264" fmla="*/ 2054543 w 2076450"/>
                <a:gd name="connsiteY264" fmla="*/ 806767 h 1352550"/>
                <a:gd name="connsiteX265" fmla="*/ 2052638 w 2076450"/>
                <a:gd name="connsiteY265" fmla="*/ 808672 h 1352550"/>
                <a:gd name="connsiteX266" fmla="*/ 2050732 w 2076450"/>
                <a:gd name="connsiteY266" fmla="*/ 811530 h 1352550"/>
                <a:gd name="connsiteX267" fmla="*/ 2049780 w 2076450"/>
                <a:gd name="connsiteY267" fmla="*/ 816292 h 1352550"/>
                <a:gd name="connsiteX268" fmla="*/ 2049780 w 2076450"/>
                <a:gd name="connsiteY268" fmla="*/ 823913 h 1352550"/>
                <a:gd name="connsiteX269" fmla="*/ 2053590 w 2076450"/>
                <a:gd name="connsiteY269" fmla="*/ 844867 h 1352550"/>
                <a:gd name="connsiteX270" fmla="*/ 2054543 w 2076450"/>
                <a:gd name="connsiteY270" fmla="*/ 850582 h 1352550"/>
                <a:gd name="connsiteX271" fmla="*/ 2060257 w 2076450"/>
                <a:gd name="connsiteY271" fmla="*/ 864870 h 1352550"/>
                <a:gd name="connsiteX272" fmla="*/ 2061210 w 2076450"/>
                <a:gd name="connsiteY272" fmla="*/ 870585 h 1352550"/>
                <a:gd name="connsiteX273" fmla="*/ 2062163 w 2076450"/>
                <a:gd name="connsiteY273" fmla="*/ 881063 h 1352550"/>
                <a:gd name="connsiteX274" fmla="*/ 2062163 w 2076450"/>
                <a:gd name="connsiteY274" fmla="*/ 887730 h 1352550"/>
                <a:gd name="connsiteX275" fmla="*/ 2061210 w 2076450"/>
                <a:gd name="connsiteY275" fmla="*/ 890588 h 1352550"/>
                <a:gd name="connsiteX276" fmla="*/ 2058352 w 2076450"/>
                <a:gd name="connsiteY276" fmla="*/ 895350 h 1352550"/>
                <a:gd name="connsiteX277" fmla="*/ 2052638 w 2076450"/>
                <a:gd name="connsiteY277" fmla="*/ 901065 h 1352550"/>
                <a:gd name="connsiteX278" fmla="*/ 2039302 w 2076450"/>
                <a:gd name="connsiteY278" fmla="*/ 912495 h 1352550"/>
                <a:gd name="connsiteX279" fmla="*/ 2033588 w 2076450"/>
                <a:gd name="connsiteY279" fmla="*/ 916305 h 1352550"/>
                <a:gd name="connsiteX280" fmla="*/ 2027872 w 2076450"/>
                <a:gd name="connsiteY280" fmla="*/ 918210 h 1352550"/>
                <a:gd name="connsiteX281" fmla="*/ 2025015 w 2076450"/>
                <a:gd name="connsiteY281" fmla="*/ 917257 h 1352550"/>
                <a:gd name="connsiteX282" fmla="*/ 2006918 w 2076450"/>
                <a:gd name="connsiteY282" fmla="*/ 907732 h 1352550"/>
                <a:gd name="connsiteX283" fmla="*/ 1986915 w 2076450"/>
                <a:gd name="connsiteY283" fmla="*/ 902017 h 1352550"/>
                <a:gd name="connsiteX284" fmla="*/ 1982152 w 2076450"/>
                <a:gd name="connsiteY284" fmla="*/ 899160 h 1352550"/>
                <a:gd name="connsiteX285" fmla="*/ 1980247 w 2076450"/>
                <a:gd name="connsiteY285" fmla="*/ 897255 h 1352550"/>
                <a:gd name="connsiteX286" fmla="*/ 1978343 w 2076450"/>
                <a:gd name="connsiteY286" fmla="*/ 889635 h 1352550"/>
                <a:gd name="connsiteX287" fmla="*/ 1974532 w 2076450"/>
                <a:gd name="connsiteY287" fmla="*/ 885825 h 1352550"/>
                <a:gd name="connsiteX288" fmla="*/ 1972627 w 2076450"/>
                <a:gd name="connsiteY288" fmla="*/ 883920 h 1352550"/>
                <a:gd name="connsiteX289" fmla="*/ 1941195 w 2076450"/>
                <a:gd name="connsiteY289" fmla="*/ 874395 h 1352550"/>
                <a:gd name="connsiteX290" fmla="*/ 1935480 w 2076450"/>
                <a:gd name="connsiteY290" fmla="*/ 874395 h 1352550"/>
                <a:gd name="connsiteX291" fmla="*/ 1918335 w 2076450"/>
                <a:gd name="connsiteY291" fmla="*/ 879157 h 1352550"/>
                <a:gd name="connsiteX292" fmla="*/ 1908810 w 2076450"/>
                <a:gd name="connsiteY292" fmla="*/ 879157 h 1352550"/>
                <a:gd name="connsiteX293" fmla="*/ 1905952 w 2076450"/>
                <a:gd name="connsiteY293" fmla="*/ 879157 h 1352550"/>
                <a:gd name="connsiteX294" fmla="*/ 1901190 w 2076450"/>
                <a:gd name="connsiteY294" fmla="*/ 881063 h 1352550"/>
                <a:gd name="connsiteX295" fmla="*/ 1897380 w 2076450"/>
                <a:gd name="connsiteY295" fmla="*/ 885825 h 1352550"/>
                <a:gd name="connsiteX296" fmla="*/ 1895475 w 2076450"/>
                <a:gd name="connsiteY296" fmla="*/ 890588 h 1352550"/>
                <a:gd name="connsiteX297" fmla="*/ 1894522 w 2076450"/>
                <a:gd name="connsiteY297" fmla="*/ 898207 h 1352550"/>
                <a:gd name="connsiteX298" fmla="*/ 1891665 w 2076450"/>
                <a:gd name="connsiteY298" fmla="*/ 943927 h 1352550"/>
                <a:gd name="connsiteX299" fmla="*/ 1892618 w 2076450"/>
                <a:gd name="connsiteY299" fmla="*/ 947738 h 1352550"/>
                <a:gd name="connsiteX300" fmla="*/ 1894522 w 2076450"/>
                <a:gd name="connsiteY300" fmla="*/ 958215 h 1352550"/>
                <a:gd name="connsiteX301" fmla="*/ 1894522 w 2076450"/>
                <a:gd name="connsiteY301" fmla="*/ 966788 h 1352550"/>
                <a:gd name="connsiteX302" fmla="*/ 1897380 w 2076450"/>
                <a:gd name="connsiteY302" fmla="*/ 971550 h 1352550"/>
                <a:gd name="connsiteX303" fmla="*/ 1900238 w 2076450"/>
                <a:gd name="connsiteY303" fmla="*/ 973455 h 1352550"/>
                <a:gd name="connsiteX304" fmla="*/ 1909763 w 2076450"/>
                <a:gd name="connsiteY304" fmla="*/ 975360 h 1352550"/>
                <a:gd name="connsiteX305" fmla="*/ 1912620 w 2076450"/>
                <a:gd name="connsiteY305" fmla="*/ 976313 h 1352550"/>
                <a:gd name="connsiteX306" fmla="*/ 1914525 w 2076450"/>
                <a:gd name="connsiteY306" fmla="*/ 977265 h 1352550"/>
                <a:gd name="connsiteX307" fmla="*/ 1915477 w 2076450"/>
                <a:gd name="connsiteY307" fmla="*/ 980122 h 1352550"/>
                <a:gd name="connsiteX308" fmla="*/ 1921193 w 2076450"/>
                <a:gd name="connsiteY308" fmla="*/ 994410 h 1352550"/>
                <a:gd name="connsiteX309" fmla="*/ 1925002 w 2076450"/>
                <a:gd name="connsiteY309" fmla="*/ 1001077 h 1352550"/>
                <a:gd name="connsiteX310" fmla="*/ 1925002 w 2076450"/>
                <a:gd name="connsiteY310" fmla="*/ 1005840 h 1352550"/>
                <a:gd name="connsiteX311" fmla="*/ 1922145 w 2076450"/>
                <a:gd name="connsiteY311" fmla="*/ 1006792 h 1352550"/>
                <a:gd name="connsiteX312" fmla="*/ 1916430 w 2076450"/>
                <a:gd name="connsiteY312" fmla="*/ 1007745 h 1352550"/>
                <a:gd name="connsiteX313" fmla="*/ 1899285 w 2076450"/>
                <a:gd name="connsiteY313" fmla="*/ 1008697 h 1352550"/>
                <a:gd name="connsiteX314" fmla="*/ 1895475 w 2076450"/>
                <a:gd name="connsiteY314" fmla="*/ 1008697 h 1352550"/>
                <a:gd name="connsiteX315" fmla="*/ 1892618 w 2076450"/>
                <a:gd name="connsiteY315" fmla="*/ 1010602 h 1352550"/>
                <a:gd name="connsiteX316" fmla="*/ 1888807 w 2076450"/>
                <a:gd name="connsiteY316" fmla="*/ 1013460 h 1352550"/>
                <a:gd name="connsiteX317" fmla="*/ 1884997 w 2076450"/>
                <a:gd name="connsiteY317" fmla="*/ 1014413 h 1352550"/>
                <a:gd name="connsiteX318" fmla="*/ 1876425 w 2076450"/>
                <a:gd name="connsiteY318" fmla="*/ 1014413 h 1352550"/>
                <a:gd name="connsiteX319" fmla="*/ 1874520 w 2076450"/>
                <a:gd name="connsiteY319" fmla="*/ 1016317 h 1352550"/>
                <a:gd name="connsiteX320" fmla="*/ 1872615 w 2076450"/>
                <a:gd name="connsiteY320" fmla="*/ 1018222 h 1352550"/>
                <a:gd name="connsiteX321" fmla="*/ 1871663 w 2076450"/>
                <a:gd name="connsiteY321" fmla="*/ 1022985 h 1352550"/>
                <a:gd name="connsiteX322" fmla="*/ 1870710 w 2076450"/>
                <a:gd name="connsiteY322" fmla="*/ 1025842 h 1352550"/>
                <a:gd name="connsiteX323" fmla="*/ 1870710 w 2076450"/>
                <a:gd name="connsiteY323" fmla="*/ 1032510 h 1352550"/>
                <a:gd name="connsiteX324" fmla="*/ 1871663 w 2076450"/>
                <a:gd name="connsiteY324" fmla="*/ 1035367 h 1352550"/>
                <a:gd name="connsiteX325" fmla="*/ 1873568 w 2076450"/>
                <a:gd name="connsiteY325" fmla="*/ 1038225 h 1352550"/>
                <a:gd name="connsiteX326" fmla="*/ 1878330 w 2076450"/>
                <a:gd name="connsiteY326" fmla="*/ 1041082 h 1352550"/>
                <a:gd name="connsiteX327" fmla="*/ 1885950 w 2076450"/>
                <a:gd name="connsiteY327" fmla="*/ 1042988 h 1352550"/>
                <a:gd name="connsiteX328" fmla="*/ 1888807 w 2076450"/>
                <a:gd name="connsiteY328" fmla="*/ 1045845 h 1352550"/>
                <a:gd name="connsiteX329" fmla="*/ 1890713 w 2076450"/>
                <a:gd name="connsiteY329" fmla="*/ 1048702 h 1352550"/>
                <a:gd name="connsiteX330" fmla="*/ 1894522 w 2076450"/>
                <a:gd name="connsiteY330" fmla="*/ 1066800 h 1352550"/>
                <a:gd name="connsiteX331" fmla="*/ 1797368 w 2076450"/>
                <a:gd name="connsiteY331" fmla="*/ 1081088 h 1352550"/>
                <a:gd name="connsiteX332" fmla="*/ 1795463 w 2076450"/>
                <a:gd name="connsiteY332" fmla="*/ 1080135 h 1352550"/>
                <a:gd name="connsiteX333" fmla="*/ 1793557 w 2076450"/>
                <a:gd name="connsiteY333" fmla="*/ 1078230 h 1352550"/>
                <a:gd name="connsiteX334" fmla="*/ 1790700 w 2076450"/>
                <a:gd name="connsiteY334" fmla="*/ 1074420 h 1352550"/>
                <a:gd name="connsiteX335" fmla="*/ 1786890 w 2076450"/>
                <a:gd name="connsiteY335" fmla="*/ 1070610 h 1352550"/>
                <a:gd name="connsiteX336" fmla="*/ 1781175 w 2076450"/>
                <a:gd name="connsiteY336" fmla="*/ 1069657 h 1352550"/>
                <a:gd name="connsiteX337" fmla="*/ 1778318 w 2076450"/>
                <a:gd name="connsiteY337" fmla="*/ 1070610 h 1352550"/>
                <a:gd name="connsiteX338" fmla="*/ 1773555 w 2076450"/>
                <a:gd name="connsiteY338" fmla="*/ 1072515 h 1352550"/>
                <a:gd name="connsiteX339" fmla="*/ 1767840 w 2076450"/>
                <a:gd name="connsiteY339" fmla="*/ 1077277 h 1352550"/>
                <a:gd name="connsiteX340" fmla="*/ 1765935 w 2076450"/>
                <a:gd name="connsiteY340" fmla="*/ 1081088 h 1352550"/>
                <a:gd name="connsiteX341" fmla="*/ 1762125 w 2076450"/>
                <a:gd name="connsiteY341" fmla="*/ 1086802 h 1352550"/>
                <a:gd name="connsiteX342" fmla="*/ 1758315 w 2076450"/>
                <a:gd name="connsiteY342" fmla="*/ 1089660 h 1352550"/>
                <a:gd name="connsiteX343" fmla="*/ 1753552 w 2076450"/>
                <a:gd name="connsiteY343" fmla="*/ 1090613 h 1352550"/>
                <a:gd name="connsiteX344" fmla="*/ 1742122 w 2076450"/>
                <a:gd name="connsiteY344" fmla="*/ 1090613 h 1352550"/>
                <a:gd name="connsiteX345" fmla="*/ 1735455 w 2076450"/>
                <a:gd name="connsiteY345" fmla="*/ 1089660 h 1352550"/>
                <a:gd name="connsiteX346" fmla="*/ 1731645 w 2076450"/>
                <a:gd name="connsiteY346" fmla="*/ 1088707 h 1352550"/>
                <a:gd name="connsiteX347" fmla="*/ 1725930 w 2076450"/>
                <a:gd name="connsiteY347" fmla="*/ 1082992 h 1352550"/>
                <a:gd name="connsiteX348" fmla="*/ 1724025 w 2076450"/>
                <a:gd name="connsiteY348" fmla="*/ 1082040 h 1352550"/>
                <a:gd name="connsiteX349" fmla="*/ 1721168 w 2076450"/>
                <a:gd name="connsiteY349" fmla="*/ 1080135 h 1352550"/>
                <a:gd name="connsiteX350" fmla="*/ 1708785 w 2076450"/>
                <a:gd name="connsiteY350" fmla="*/ 1079182 h 1352550"/>
                <a:gd name="connsiteX351" fmla="*/ 1704022 w 2076450"/>
                <a:gd name="connsiteY351" fmla="*/ 1077277 h 1352550"/>
                <a:gd name="connsiteX352" fmla="*/ 1703070 w 2076450"/>
                <a:gd name="connsiteY352" fmla="*/ 1075373 h 1352550"/>
                <a:gd name="connsiteX353" fmla="*/ 1701165 w 2076450"/>
                <a:gd name="connsiteY353" fmla="*/ 1058227 h 1352550"/>
                <a:gd name="connsiteX354" fmla="*/ 1700213 w 2076450"/>
                <a:gd name="connsiteY354" fmla="*/ 1053465 h 1352550"/>
                <a:gd name="connsiteX355" fmla="*/ 1698307 w 2076450"/>
                <a:gd name="connsiteY355" fmla="*/ 1051560 h 1352550"/>
                <a:gd name="connsiteX356" fmla="*/ 1692593 w 2076450"/>
                <a:gd name="connsiteY356" fmla="*/ 1051560 h 1352550"/>
                <a:gd name="connsiteX357" fmla="*/ 1689735 w 2076450"/>
                <a:gd name="connsiteY357" fmla="*/ 1052513 h 1352550"/>
                <a:gd name="connsiteX358" fmla="*/ 1685925 w 2076450"/>
                <a:gd name="connsiteY358" fmla="*/ 1053465 h 1352550"/>
                <a:gd name="connsiteX359" fmla="*/ 1682115 w 2076450"/>
                <a:gd name="connsiteY359" fmla="*/ 1058227 h 1352550"/>
                <a:gd name="connsiteX360" fmla="*/ 1680210 w 2076450"/>
                <a:gd name="connsiteY360" fmla="*/ 1062038 h 1352550"/>
                <a:gd name="connsiteX361" fmla="*/ 1677352 w 2076450"/>
                <a:gd name="connsiteY361" fmla="*/ 1067752 h 1352550"/>
                <a:gd name="connsiteX362" fmla="*/ 1675447 w 2076450"/>
                <a:gd name="connsiteY362" fmla="*/ 1069657 h 1352550"/>
                <a:gd name="connsiteX363" fmla="*/ 1670685 w 2076450"/>
                <a:gd name="connsiteY363" fmla="*/ 1071563 h 1352550"/>
                <a:gd name="connsiteX364" fmla="*/ 1646872 w 2076450"/>
                <a:gd name="connsiteY364" fmla="*/ 1073467 h 1352550"/>
                <a:gd name="connsiteX365" fmla="*/ 1643063 w 2076450"/>
                <a:gd name="connsiteY365" fmla="*/ 1073467 h 1352550"/>
                <a:gd name="connsiteX366" fmla="*/ 1639252 w 2076450"/>
                <a:gd name="connsiteY366" fmla="*/ 1069657 h 1352550"/>
                <a:gd name="connsiteX367" fmla="*/ 1637347 w 2076450"/>
                <a:gd name="connsiteY367" fmla="*/ 1067752 h 1352550"/>
                <a:gd name="connsiteX368" fmla="*/ 1632585 w 2076450"/>
                <a:gd name="connsiteY368" fmla="*/ 1065848 h 1352550"/>
                <a:gd name="connsiteX369" fmla="*/ 1631632 w 2076450"/>
                <a:gd name="connsiteY369" fmla="*/ 1063942 h 1352550"/>
                <a:gd name="connsiteX370" fmla="*/ 1630680 w 2076450"/>
                <a:gd name="connsiteY370" fmla="*/ 1058227 h 1352550"/>
                <a:gd name="connsiteX371" fmla="*/ 1628775 w 2076450"/>
                <a:gd name="connsiteY371" fmla="*/ 1056323 h 1352550"/>
                <a:gd name="connsiteX372" fmla="*/ 1624013 w 2076450"/>
                <a:gd name="connsiteY372" fmla="*/ 1053465 h 1352550"/>
                <a:gd name="connsiteX373" fmla="*/ 1623060 w 2076450"/>
                <a:gd name="connsiteY373" fmla="*/ 1051560 h 1352550"/>
                <a:gd name="connsiteX374" fmla="*/ 1622107 w 2076450"/>
                <a:gd name="connsiteY374" fmla="*/ 1045845 h 1352550"/>
                <a:gd name="connsiteX375" fmla="*/ 1623060 w 2076450"/>
                <a:gd name="connsiteY375" fmla="*/ 1042988 h 1352550"/>
                <a:gd name="connsiteX376" fmla="*/ 1624013 w 2076450"/>
                <a:gd name="connsiteY376" fmla="*/ 1042035 h 1352550"/>
                <a:gd name="connsiteX377" fmla="*/ 1628775 w 2076450"/>
                <a:gd name="connsiteY377" fmla="*/ 1042035 h 1352550"/>
                <a:gd name="connsiteX378" fmla="*/ 1630680 w 2076450"/>
                <a:gd name="connsiteY378" fmla="*/ 1043940 h 1352550"/>
                <a:gd name="connsiteX379" fmla="*/ 1634490 w 2076450"/>
                <a:gd name="connsiteY379" fmla="*/ 1047750 h 1352550"/>
                <a:gd name="connsiteX380" fmla="*/ 1637347 w 2076450"/>
                <a:gd name="connsiteY380" fmla="*/ 1048702 h 1352550"/>
                <a:gd name="connsiteX381" fmla="*/ 1640205 w 2076450"/>
                <a:gd name="connsiteY381" fmla="*/ 1047750 h 1352550"/>
                <a:gd name="connsiteX382" fmla="*/ 1643063 w 2076450"/>
                <a:gd name="connsiteY382" fmla="*/ 1043940 h 1352550"/>
                <a:gd name="connsiteX383" fmla="*/ 1644015 w 2076450"/>
                <a:gd name="connsiteY383" fmla="*/ 1040130 h 1352550"/>
                <a:gd name="connsiteX384" fmla="*/ 1648777 w 2076450"/>
                <a:gd name="connsiteY384" fmla="*/ 1026795 h 1352550"/>
                <a:gd name="connsiteX385" fmla="*/ 1652588 w 2076450"/>
                <a:gd name="connsiteY385" fmla="*/ 1018222 h 1352550"/>
                <a:gd name="connsiteX386" fmla="*/ 1652588 w 2076450"/>
                <a:gd name="connsiteY386" fmla="*/ 1015365 h 1352550"/>
                <a:gd name="connsiteX387" fmla="*/ 1652588 w 2076450"/>
                <a:gd name="connsiteY387" fmla="*/ 1012507 h 1352550"/>
                <a:gd name="connsiteX388" fmla="*/ 1650682 w 2076450"/>
                <a:gd name="connsiteY388" fmla="*/ 1004888 h 1352550"/>
                <a:gd name="connsiteX389" fmla="*/ 1651635 w 2076450"/>
                <a:gd name="connsiteY389" fmla="*/ 999172 h 1352550"/>
                <a:gd name="connsiteX390" fmla="*/ 1652588 w 2076450"/>
                <a:gd name="connsiteY390" fmla="*/ 994410 h 1352550"/>
                <a:gd name="connsiteX391" fmla="*/ 1652588 w 2076450"/>
                <a:gd name="connsiteY391" fmla="*/ 991552 h 1352550"/>
                <a:gd name="connsiteX392" fmla="*/ 1651635 w 2076450"/>
                <a:gd name="connsiteY392" fmla="*/ 991552 h 1352550"/>
                <a:gd name="connsiteX393" fmla="*/ 1636395 w 2076450"/>
                <a:gd name="connsiteY393" fmla="*/ 992505 h 1352550"/>
                <a:gd name="connsiteX394" fmla="*/ 1632585 w 2076450"/>
                <a:gd name="connsiteY394" fmla="*/ 989647 h 1352550"/>
                <a:gd name="connsiteX395" fmla="*/ 1630680 w 2076450"/>
                <a:gd name="connsiteY395" fmla="*/ 986790 h 1352550"/>
                <a:gd name="connsiteX396" fmla="*/ 1628775 w 2076450"/>
                <a:gd name="connsiteY396" fmla="*/ 984885 h 1352550"/>
                <a:gd name="connsiteX397" fmla="*/ 1622107 w 2076450"/>
                <a:gd name="connsiteY397" fmla="*/ 982027 h 1352550"/>
                <a:gd name="connsiteX398" fmla="*/ 1621155 w 2076450"/>
                <a:gd name="connsiteY398" fmla="*/ 980122 h 1352550"/>
                <a:gd name="connsiteX399" fmla="*/ 1622107 w 2076450"/>
                <a:gd name="connsiteY399" fmla="*/ 971550 h 1352550"/>
                <a:gd name="connsiteX400" fmla="*/ 1622107 w 2076450"/>
                <a:gd name="connsiteY400" fmla="*/ 967740 h 1352550"/>
                <a:gd name="connsiteX401" fmla="*/ 1621155 w 2076450"/>
                <a:gd name="connsiteY401" fmla="*/ 957263 h 1352550"/>
                <a:gd name="connsiteX402" fmla="*/ 1620202 w 2076450"/>
                <a:gd name="connsiteY402" fmla="*/ 951547 h 1352550"/>
                <a:gd name="connsiteX403" fmla="*/ 1617345 w 2076450"/>
                <a:gd name="connsiteY403" fmla="*/ 946785 h 1352550"/>
                <a:gd name="connsiteX404" fmla="*/ 1615440 w 2076450"/>
                <a:gd name="connsiteY404" fmla="*/ 945832 h 1352550"/>
                <a:gd name="connsiteX405" fmla="*/ 1612582 w 2076450"/>
                <a:gd name="connsiteY405" fmla="*/ 944880 h 1352550"/>
                <a:gd name="connsiteX406" fmla="*/ 1604963 w 2076450"/>
                <a:gd name="connsiteY406" fmla="*/ 942975 h 1352550"/>
                <a:gd name="connsiteX407" fmla="*/ 1602105 w 2076450"/>
                <a:gd name="connsiteY407" fmla="*/ 940117 h 1352550"/>
                <a:gd name="connsiteX408" fmla="*/ 1602105 w 2076450"/>
                <a:gd name="connsiteY408" fmla="*/ 938213 h 1352550"/>
                <a:gd name="connsiteX409" fmla="*/ 1603057 w 2076450"/>
                <a:gd name="connsiteY409" fmla="*/ 935355 h 1352550"/>
                <a:gd name="connsiteX410" fmla="*/ 1605915 w 2076450"/>
                <a:gd name="connsiteY410" fmla="*/ 930592 h 1352550"/>
                <a:gd name="connsiteX411" fmla="*/ 1612582 w 2076450"/>
                <a:gd name="connsiteY411" fmla="*/ 922972 h 1352550"/>
                <a:gd name="connsiteX412" fmla="*/ 1615440 w 2076450"/>
                <a:gd name="connsiteY412" fmla="*/ 917257 h 1352550"/>
                <a:gd name="connsiteX413" fmla="*/ 1616393 w 2076450"/>
                <a:gd name="connsiteY413" fmla="*/ 914400 h 1352550"/>
                <a:gd name="connsiteX414" fmla="*/ 1614488 w 2076450"/>
                <a:gd name="connsiteY414" fmla="*/ 909638 h 1352550"/>
                <a:gd name="connsiteX415" fmla="*/ 1611630 w 2076450"/>
                <a:gd name="connsiteY415" fmla="*/ 908685 h 1352550"/>
                <a:gd name="connsiteX416" fmla="*/ 1607820 w 2076450"/>
                <a:gd name="connsiteY416" fmla="*/ 909638 h 1352550"/>
                <a:gd name="connsiteX417" fmla="*/ 1590675 w 2076450"/>
                <a:gd name="connsiteY417" fmla="*/ 922020 h 1352550"/>
                <a:gd name="connsiteX418" fmla="*/ 1585913 w 2076450"/>
                <a:gd name="connsiteY418" fmla="*/ 922972 h 1352550"/>
                <a:gd name="connsiteX419" fmla="*/ 1580197 w 2076450"/>
                <a:gd name="connsiteY419" fmla="*/ 922972 h 1352550"/>
                <a:gd name="connsiteX420" fmla="*/ 1577340 w 2076450"/>
                <a:gd name="connsiteY420" fmla="*/ 921067 h 1352550"/>
                <a:gd name="connsiteX421" fmla="*/ 1576388 w 2076450"/>
                <a:gd name="connsiteY421" fmla="*/ 919163 h 1352550"/>
                <a:gd name="connsiteX422" fmla="*/ 1576388 w 2076450"/>
                <a:gd name="connsiteY422" fmla="*/ 912495 h 1352550"/>
                <a:gd name="connsiteX423" fmla="*/ 1576388 w 2076450"/>
                <a:gd name="connsiteY423" fmla="*/ 909638 h 1352550"/>
                <a:gd name="connsiteX424" fmla="*/ 1573530 w 2076450"/>
                <a:gd name="connsiteY424" fmla="*/ 902970 h 1352550"/>
                <a:gd name="connsiteX425" fmla="*/ 1572577 w 2076450"/>
                <a:gd name="connsiteY425" fmla="*/ 897255 h 1352550"/>
                <a:gd name="connsiteX426" fmla="*/ 1573530 w 2076450"/>
                <a:gd name="connsiteY426" fmla="*/ 893445 h 1352550"/>
                <a:gd name="connsiteX427" fmla="*/ 1575435 w 2076450"/>
                <a:gd name="connsiteY427" fmla="*/ 882967 h 1352550"/>
                <a:gd name="connsiteX428" fmla="*/ 1575435 w 2076450"/>
                <a:gd name="connsiteY428" fmla="*/ 880110 h 1352550"/>
                <a:gd name="connsiteX429" fmla="*/ 1575435 w 2076450"/>
                <a:gd name="connsiteY429" fmla="*/ 877252 h 1352550"/>
                <a:gd name="connsiteX430" fmla="*/ 1573530 w 2076450"/>
                <a:gd name="connsiteY430" fmla="*/ 875347 h 1352550"/>
                <a:gd name="connsiteX431" fmla="*/ 1571625 w 2076450"/>
                <a:gd name="connsiteY431" fmla="*/ 873442 h 1352550"/>
                <a:gd name="connsiteX432" fmla="*/ 1569720 w 2076450"/>
                <a:gd name="connsiteY432" fmla="*/ 872490 h 1352550"/>
                <a:gd name="connsiteX433" fmla="*/ 1565910 w 2076450"/>
                <a:gd name="connsiteY433" fmla="*/ 871538 h 1352550"/>
                <a:gd name="connsiteX434" fmla="*/ 1560195 w 2076450"/>
                <a:gd name="connsiteY434" fmla="*/ 871538 h 1352550"/>
                <a:gd name="connsiteX435" fmla="*/ 1528763 w 2076450"/>
                <a:gd name="connsiteY435" fmla="*/ 879157 h 1352550"/>
                <a:gd name="connsiteX436" fmla="*/ 1500188 w 2076450"/>
                <a:gd name="connsiteY436" fmla="*/ 890588 h 1352550"/>
                <a:gd name="connsiteX437" fmla="*/ 1494472 w 2076450"/>
                <a:gd name="connsiteY437" fmla="*/ 891540 h 1352550"/>
                <a:gd name="connsiteX438" fmla="*/ 1489710 w 2076450"/>
                <a:gd name="connsiteY438" fmla="*/ 890588 h 1352550"/>
                <a:gd name="connsiteX439" fmla="*/ 1482090 w 2076450"/>
                <a:gd name="connsiteY439" fmla="*/ 878205 h 1352550"/>
                <a:gd name="connsiteX440" fmla="*/ 1478280 w 2076450"/>
                <a:gd name="connsiteY440" fmla="*/ 874395 h 1352550"/>
                <a:gd name="connsiteX441" fmla="*/ 1475422 w 2076450"/>
                <a:gd name="connsiteY441" fmla="*/ 873442 h 1352550"/>
                <a:gd name="connsiteX442" fmla="*/ 1449705 w 2076450"/>
                <a:gd name="connsiteY442" fmla="*/ 867727 h 1352550"/>
                <a:gd name="connsiteX443" fmla="*/ 1444943 w 2076450"/>
                <a:gd name="connsiteY443" fmla="*/ 864870 h 1352550"/>
                <a:gd name="connsiteX444" fmla="*/ 1438275 w 2076450"/>
                <a:gd name="connsiteY444" fmla="*/ 857250 h 1352550"/>
                <a:gd name="connsiteX445" fmla="*/ 1434465 w 2076450"/>
                <a:gd name="connsiteY445" fmla="*/ 850582 h 1352550"/>
                <a:gd name="connsiteX446" fmla="*/ 1430655 w 2076450"/>
                <a:gd name="connsiteY446" fmla="*/ 846772 h 1352550"/>
                <a:gd name="connsiteX447" fmla="*/ 1424940 w 2076450"/>
                <a:gd name="connsiteY447" fmla="*/ 844867 h 1352550"/>
                <a:gd name="connsiteX448" fmla="*/ 1419225 w 2076450"/>
                <a:gd name="connsiteY448" fmla="*/ 843915 h 1352550"/>
                <a:gd name="connsiteX449" fmla="*/ 1403985 w 2076450"/>
                <a:gd name="connsiteY449" fmla="*/ 845820 h 1352550"/>
                <a:gd name="connsiteX450" fmla="*/ 1382077 w 2076450"/>
                <a:gd name="connsiteY450" fmla="*/ 851535 h 1352550"/>
                <a:gd name="connsiteX451" fmla="*/ 1377315 w 2076450"/>
                <a:gd name="connsiteY451" fmla="*/ 854392 h 1352550"/>
                <a:gd name="connsiteX452" fmla="*/ 1368743 w 2076450"/>
                <a:gd name="connsiteY452" fmla="*/ 861060 h 1352550"/>
                <a:gd name="connsiteX453" fmla="*/ 1357313 w 2076450"/>
                <a:gd name="connsiteY453" fmla="*/ 873442 h 1352550"/>
                <a:gd name="connsiteX454" fmla="*/ 1351597 w 2076450"/>
                <a:gd name="connsiteY454" fmla="*/ 877252 h 1352550"/>
                <a:gd name="connsiteX455" fmla="*/ 1343025 w 2076450"/>
                <a:gd name="connsiteY455" fmla="*/ 880110 h 1352550"/>
                <a:gd name="connsiteX456" fmla="*/ 1338263 w 2076450"/>
                <a:gd name="connsiteY456" fmla="*/ 881063 h 1352550"/>
                <a:gd name="connsiteX457" fmla="*/ 1333500 w 2076450"/>
                <a:gd name="connsiteY457" fmla="*/ 881063 h 1352550"/>
                <a:gd name="connsiteX458" fmla="*/ 1325880 w 2076450"/>
                <a:gd name="connsiteY458" fmla="*/ 876300 h 1352550"/>
                <a:gd name="connsiteX459" fmla="*/ 1243013 w 2076450"/>
                <a:gd name="connsiteY459" fmla="*/ 862013 h 1352550"/>
                <a:gd name="connsiteX460" fmla="*/ 1208722 w 2076450"/>
                <a:gd name="connsiteY460" fmla="*/ 844867 h 1352550"/>
                <a:gd name="connsiteX461" fmla="*/ 1197293 w 2076450"/>
                <a:gd name="connsiteY461" fmla="*/ 841057 h 1352550"/>
                <a:gd name="connsiteX462" fmla="*/ 1192530 w 2076450"/>
                <a:gd name="connsiteY462" fmla="*/ 841057 h 1352550"/>
                <a:gd name="connsiteX463" fmla="*/ 1163955 w 2076450"/>
                <a:gd name="connsiteY463" fmla="*/ 845820 h 1352550"/>
                <a:gd name="connsiteX464" fmla="*/ 1155382 w 2076450"/>
                <a:gd name="connsiteY464" fmla="*/ 848677 h 1352550"/>
                <a:gd name="connsiteX465" fmla="*/ 1150620 w 2076450"/>
                <a:gd name="connsiteY465" fmla="*/ 849630 h 1352550"/>
                <a:gd name="connsiteX466" fmla="*/ 1145857 w 2076450"/>
                <a:gd name="connsiteY466" fmla="*/ 849630 h 1352550"/>
                <a:gd name="connsiteX467" fmla="*/ 1131570 w 2076450"/>
                <a:gd name="connsiteY467" fmla="*/ 842963 h 1352550"/>
                <a:gd name="connsiteX468" fmla="*/ 1125855 w 2076450"/>
                <a:gd name="connsiteY468" fmla="*/ 842010 h 1352550"/>
                <a:gd name="connsiteX469" fmla="*/ 1117282 w 2076450"/>
                <a:gd name="connsiteY469" fmla="*/ 842010 h 1352550"/>
                <a:gd name="connsiteX470" fmla="*/ 1105852 w 2076450"/>
                <a:gd name="connsiteY470" fmla="*/ 844867 h 1352550"/>
                <a:gd name="connsiteX471" fmla="*/ 1102995 w 2076450"/>
                <a:gd name="connsiteY471" fmla="*/ 846772 h 1352550"/>
                <a:gd name="connsiteX472" fmla="*/ 1098232 w 2076450"/>
                <a:gd name="connsiteY472" fmla="*/ 849630 h 1352550"/>
                <a:gd name="connsiteX473" fmla="*/ 1088707 w 2076450"/>
                <a:gd name="connsiteY473" fmla="*/ 850582 h 1352550"/>
                <a:gd name="connsiteX474" fmla="*/ 1083945 w 2076450"/>
                <a:gd name="connsiteY474" fmla="*/ 850582 h 1352550"/>
                <a:gd name="connsiteX475" fmla="*/ 1078230 w 2076450"/>
                <a:gd name="connsiteY475" fmla="*/ 849630 h 1352550"/>
                <a:gd name="connsiteX476" fmla="*/ 1072515 w 2076450"/>
                <a:gd name="connsiteY476" fmla="*/ 851535 h 1352550"/>
                <a:gd name="connsiteX477" fmla="*/ 1064895 w 2076450"/>
                <a:gd name="connsiteY477" fmla="*/ 856297 h 1352550"/>
                <a:gd name="connsiteX478" fmla="*/ 1046797 w 2076450"/>
                <a:gd name="connsiteY478" fmla="*/ 871538 h 1352550"/>
                <a:gd name="connsiteX479" fmla="*/ 1033463 w 2076450"/>
                <a:gd name="connsiteY479" fmla="*/ 880110 h 1352550"/>
                <a:gd name="connsiteX480" fmla="*/ 1002982 w 2076450"/>
                <a:gd name="connsiteY480" fmla="*/ 880110 h 1352550"/>
                <a:gd name="connsiteX481" fmla="*/ 1000125 w 2076450"/>
                <a:gd name="connsiteY481" fmla="*/ 879157 h 1352550"/>
                <a:gd name="connsiteX482" fmla="*/ 998220 w 2076450"/>
                <a:gd name="connsiteY482" fmla="*/ 877252 h 1352550"/>
                <a:gd name="connsiteX483" fmla="*/ 996315 w 2076450"/>
                <a:gd name="connsiteY483" fmla="*/ 872490 h 1352550"/>
                <a:gd name="connsiteX484" fmla="*/ 995363 w 2076450"/>
                <a:gd name="connsiteY484" fmla="*/ 866775 h 1352550"/>
                <a:gd name="connsiteX485" fmla="*/ 995363 w 2076450"/>
                <a:gd name="connsiteY485" fmla="*/ 861060 h 1352550"/>
                <a:gd name="connsiteX486" fmla="*/ 995363 w 2076450"/>
                <a:gd name="connsiteY486" fmla="*/ 851535 h 1352550"/>
                <a:gd name="connsiteX487" fmla="*/ 995363 w 2076450"/>
                <a:gd name="connsiteY487" fmla="*/ 849630 h 1352550"/>
                <a:gd name="connsiteX488" fmla="*/ 993457 w 2076450"/>
                <a:gd name="connsiteY488" fmla="*/ 847725 h 1352550"/>
                <a:gd name="connsiteX489" fmla="*/ 990600 w 2076450"/>
                <a:gd name="connsiteY489" fmla="*/ 846772 h 1352550"/>
                <a:gd name="connsiteX490" fmla="*/ 984885 w 2076450"/>
                <a:gd name="connsiteY490" fmla="*/ 846772 h 1352550"/>
                <a:gd name="connsiteX491" fmla="*/ 982027 w 2076450"/>
                <a:gd name="connsiteY491" fmla="*/ 848677 h 1352550"/>
                <a:gd name="connsiteX492" fmla="*/ 979170 w 2076450"/>
                <a:gd name="connsiteY492" fmla="*/ 850582 h 1352550"/>
                <a:gd name="connsiteX493" fmla="*/ 977265 w 2076450"/>
                <a:gd name="connsiteY493" fmla="*/ 858202 h 1352550"/>
                <a:gd name="connsiteX494" fmla="*/ 976313 w 2076450"/>
                <a:gd name="connsiteY494" fmla="*/ 862013 h 1352550"/>
                <a:gd name="connsiteX495" fmla="*/ 977265 w 2076450"/>
                <a:gd name="connsiteY495" fmla="*/ 865822 h 1352550"/>
                <a:gd name="connsiteX496" fmla="*/ 979170 w 2076450"/>
                <a:gd name="connsiteY496" fmla="*/ 873442 h 1352550"/>
                <a:gd name="connsiteX497" fmla="*/ 982027 w 2076450"/>
                <a:gd name="connsiteY497" fmla="*/ 880110 h 1352550"/>
                <a:gd name="connsiteX498" fmla="*/ 982980 w 2076450"/>
                <a:gd name="connsiteY498" fmla="*/ 882967 h 1352550"/>
                <a:gd name="connsiteX499" fmla="*/ 981075 w 2076450"/>
                <a:gd name="connsiteY499" fmla="*/ 887730 h 1352550"/>
                <a:gd name="connsiteX500" fmla="*/ 980122 w 2076450"/>
                <a:gd name="connsiteY500" fmla="*/ 892492 h 1352550"/>
                <a:gd name="connsiteX501" fmla="*/ 979170 w 2076450"/>
                <a:gd name="connsiteY501" fmla="*/ 911542 h 1352550"/>
                <a:gd name="connsiteX502" fmla="*/ 978218 w 2076450"/>
                <a:gd name="connsiteY502" fmla="*/ 913447 h 1352550"/>
                <a:gd name="connsiteX503" fmla="*/ 976313 w 2076450"/>
                <a:gd name="connsiteY503" fmla="*/ 916305 h 1352550"/>
                <a:gd name="connsiteX504" fmla="*/ 969645 w 2076450"/>
                <a:gd name="connsiteY504" fmla="*/ 921067 h 1352550"/>
                <a:gd name="connsiteX505" fmla="*/ 966788 w 2076450"/>
                <a:gd name="connsiteY505" fmla="*/ 922972 h 1352550"/>
                <a:gd name="connsiteX506" fmla="*/ 964882 w 2076450"/>
                <a:gd name="connsiteY506" fmla="*/ 927735 h 1352550"/>
                <a:gd name="connsiteX507" fmla="*/ 964882 w 2076450"/>
                <a:gd name="connsiteY507" fmla="*/ 931545 h 1352550"/>
                <a:gd name="connsiteX508" fmla="*/ 965835 w 2076450"/>
                <a:gd name="connsiteY508" fmla="*/ 934402 h 1352550"/>
                <a:gd name="connsiteX509" fmla="*/ 967740 w 2076450"/>
                <a:gd name="connsiteY509" fmla="*/ 935355 h 1352550"/>
                <a:gd name="connsiteX510" fmla="*/ 969645 w 2076450"/>
                <a:gd name="connsiteY510" fmla="*/ 936307 h 1352550"/>
                <a:gd name="connsiteX511" fmla="*/ 975360 w 2076450"/>
                <a:gd name="connsiteY511" fmla="*/ 936307 h 1352550"/>
                <a:gd name="connsiteX512" fmla="*/ 978218 w 2076450"/>
                <a:gd name="connsiteY512" fmla="*/ 937260 h 1352550"/>
                <a:gd name="connsiteX513" fmla="*/ 980122 w 2076450"/>
                <a:gd name="connsiteY513" fmla="*/ 938213 h 1352550"/>
                <a:gd name="connsiteX514" fmla="*/ 982027 w 2076450"/>
                <a:gd name="connsiteY514" fmla="*/ 942975 h 1352550"/>
                <a:gd name="connsiteX515" fmla="*/ 982027 w 2076450"/>
                <a:gd name="connsiteY515" fmla="*/ 949642 h 1352550"/>
                <a:gd name="connsiteX516" fmla="*/ 982027 w 2076450"/>
                <a:gd name="connsiteY516" fmla="*/ 952500 h 1352550"/>
                <a:gd name="connsiteX517" fmla="*/ 984885 w 2076450"/>
                <a:gd name="connsiteY517" fmla="*/ 957263 h 1352550"/>
                <a:gd name="connsiteX518" fmla="*/ 987743 w 2076450"/>
                <a:gd name="connsiteY518" fmla="*/ 961072 h 1352550"/>
                <a:gd name="connsiteX519" fmla="*/ 993457 w 2076450"/>
                <a:gd name="connsiteY519" fmla="*/ 963930 h 1352550"/>
                <a:gd name="connsiteX520" fmla="*/ 1012507 w 2076450"/>
                <a:gd name="connsiteY520" fmla="*/ 968692 h 1352550"/>
                <a:gd name="connsiteX521" fmla="*/ 1015365 w 2076450"/>
                <a:gd name="connsiteY521" fmla="*/ 969645 h 1352550"/>
                <a:gd name="connsiteX522" fmla="*/ 1018222 w 2076450"/>
                <a:gd name="connsiteY522" fmla="*/ 974407 h 1352550"/>
                <a:gd name="connsiteX523" fmla="*/ 1019175 w 2076450"/>
                <a:gd name="connsiteY523" fmla="*/ 979170 h 1352550"/>
                <a:gd name="connsiteX524" fmla="*/ 1020127 w 2076450"/>
                <a:gd name="connsiteY524" fmla="*/ 982027 h 1352550"/>
                <a:gd name="connsiteX525" fmla="*/ 1019175 w 2076450"/>
                <a:gd name="connsiteY525" fmla="*/ 988695 h 1352550"/>
                <a:gd name="connsiteX526" fmla="*/ 1017270 w 2076450"/>
                <a:gd name="connsiteY526" fmla="*/ 992505 h 1352550"/>
                <a:gd name="connsiteX527" fmla="*/ 1014413 w 2076450"/>
                <a:gd name="connsiteY527" fmla="*/ 995363 h 1352550"/>
                <a:gd name="connsiteX528" fmla="*/ 1008697 w 2076450"/>
                <a:gd name="connsiteY528" fmla="*/ 998220 h 1352550"/>
                <a:gd name="connsiteX529" fmla="*/ 985838 w 2076450"/>
                <a:gd name="connsiteY529" fmla="*/ 1002982 h 1352550"/>
                <a:gd name="connsiteX530" fmla="*/ 982980 w 2076450"/>
                <a:gd name="connsiteY530" fmla="*/ 1004888 h 1352550"/>
                <a:gd name="connsiteX531" fmla="*/ 968693 w 2076450"/>
                <a:gd name="connsiteY531" fmla="*/ 1017270 h 1352550"/>
                <a:gd name="connsiteX532" fmla="*/ 965835 w 2076450"/>
                <a:gd name="connsiteY532" fmla="*/ 1021080 h 1352550"/>
                <a:gd name="connsiteX533" fmla="*/ 963930 w 2076450"/>
                <a:gd name="connsiteY533" fmla="*/ 1026795 h 1352550"/>
                <a:gd name="connsiteX534" fmla="*/ 962025 w 2076450"/>
                <a:gd name="connsiteY534" fmla="*/ 1034415 h 1352550"/>
                <a:gd name="connsiteX535" fmla="*/ 962025 w 2076450"/>
                <a:gd name="connsiteY535" fmla="*/ 1040130 h 1352550"/>
                <a:gd name="connsiteX536" fmla="*/ 963930 w 2076450"/>
                <a:gd name="connsiteY536" fmla="*/ 1044892 h 1352550"/>
                <a:gd name="connsiteX537" fmla="*/ 967740 w 2076450"/>
                <a:gd name="connsiteY537" fmla="*/ 1048702 h 1352550"/>
                <a:gd name="connsiteX538" fmla="*/ 1008697 w 2076450"/>
                <a:gd name="connsiteY538" fmla="*/ 1073467 h 1352550"/>
                <a:gd name="connsiteX539" fmla="*/ 1011555 w 2076450"/>
                <a:gd name="connsiteY539" fmla="*/ 1077277 h 1352550"/>
                <a:gd name="connsiteX540" fmla="*/ 1012507 w 2076450"/>
                <a:gd name="connsiteY540" fmla="*/ 1080135 h 1352550"/>
                <a:gd name="connsiteX541" fmla="*/ 1012507 w 2076450"/>
                <a:gd name="connsiteY541" fmla="*/ 1084898 h 1352550"/>
                <a:gd name="connsiteX542" fmla="*/ 1010602 w 2076450"/>
                <a:gd name="connsiteY542" fmla="*/ 1088707 h 1352550"/>
                <a:gd name="connsiteX543" fmla="*/ 1005840 w 2076450"/>
                <a:gd name="connsiteY543" fmla="*/ 1097280 h 1352550"/>
                <a:gd name="connsiteX544" fmla="*/ 1003935 w 2076450"/>
                <a:gd name="connsiteY544" fmla="*/ 1102042 h 1352550"/>
                <a:gd name="connsiteX545" fmla="*/ 1003935 w 2076450"/>
                <a:gd name="connsiteY545" fmla="*/ 1105852 h 1352550"/>
                <a:gd name="connsiteX546" fmla="*/ 1003935 w 2076450"/>
                <a:gd name="connsiteY546" fmla="*/ 1108710 h 1352550"/>
                <a:gd name="connsiteX547" fmla="*/ 1005840 w 2076450"/>
                <a:gd name="connsiteY547" fmla="*/ 1116330 h 1352550"/>
                <a:gd name="connsiteX548" fmla="*/ 1005840 w 2076450"/>
                <a:gd name="connsiteY548" fmla="*/ 1119188 h 1352550"/>
                <a:gd name="connsiteX549" fmla="*/ 1003935 w 2076450"/>
                <a:gd name="connsiteY549" fmla="*/ 1129665 h 1352550"/>
                <a:gd name="connsiteX550" fmla="*/ 1003935 w 2076450"/>
                <a:gd name="connsiteY550" fmla="*/ 1132523 h 1352550"/>
                <a:gd name="connsiteX551" fmla="*/ 1004888 w 2076450"/>
                <a:gd name="connsiteY551" fmla="*/ 1134427 h 1352550"/>
                <a:gd name="connsiteX552" fmla="*/ 1007745 w 2076450"/>
                <a:gd name="connsiteY552" fmla="*/ 1136332 h 1352550"/>
                <a:gd name="connsiteX553" fmla="*/ 1017270 w 2076450"/>
                <a:gd name="connsiteY553" fmla="*/ 1138238 h 1352550"/>
                <a:gd name="connsiteX554" fmla="*/ 1029652 w 2076450"/>
                <a:gd name="connsiteY554" fmla="*/ 1140142 h 1352550"/>
                <a:gd name="connsiteX555" fmla="*/ 1032510 w 2076450"/>
                <a:gd name="connsiteY555" fmla="*/ 1142048 h 1352550"/>
                <a:gd name="connsiteX556" fmla="*/ 1034415 w 2076450"/>
                <a:gd name="connsiteY556" fmla="*/ 1143000 h 1352550"/>
                <a:gd name="connsiteX557" fmla="*/ 1034415 w 2076450"/>
                <a:gd name="connsiteY557" fmla="*/ 1148715 h 1352550"/>
                <a:gd name="connsiteX558" fmla="*/ 1028700 w 2076450"/>
                <a:gd name="connsiteY558" fmla="*/ 1185863 h 1352550"/>
                <a:gd name="connsiteX559" fmla="*/ 1024890 w 2076450"/>
                <a:gd name="connsiteY559" fmla="*/ 1198245 h 1352550"/>
                <a:gd name="connsiteX560" fmla="*/ 1021080 w 2076450"/>
                <a:gd name="connsiteY560" fmla="*/ 1221105 h 1352550"/>
                <a:gd name="connsiteX561" fmla="*/ 1017270 w 2076450"/>
                <a:gd name="connsiteY561" fmla="*/ 1234440 h 1352550"/>
                <a:gd name="connsiteX562" fmla="*/ 1009650 w 2076450"/>
                <a:gd name="connsiteY562" fmla="*/ 1254442 h 1352550"/>
                <a:gd name="connsiteX563" fmla="*/ 1008697 w 2076450"/>
                <a:gd name="connsiteY563" fmla="*/ 1260157 h 1352550"/>
                <a:gd name="connsiteX564" fmla="*/ 1008697 w 2076450"/>
                <a:gd name="connsiteY564" fmla="*/ 1262063 h 1352550"/>
                <a:gd name="connsiteX565" fmla="*/ 1010602 w 2076450"/>
                <a:gd name="connsiteY565" fmla="*/ 1263967 h 1352550"/>
                <a:gd name="connsiteX566" fmla="*/ 1021080 w 2076450"/>
                <a:gd name="connsiteY566" fmla="*/ 1272540 h 1352550"/>
                <a:gd name="connsiteX567" fmla="*/ 1023938 w 2076450"/>
                <a:gd name="connsiteY567" fmla="*/ 1276350 h 1352550"/>
                <a:gd name="connsiteX568" fmla="*/ 1026795 w 2076450"/>
                <a:gd name="connsiteY568" fmla="*/ 1281113 h 1352550"/>
                <a:gd name="connsiteX569" fmla="*/ 1026795 w 2076450"/>
                <a:gd name="connsiteY569" fmla="*/ 1286827 h 1352550"/>
                <a:gd name="connsiteX570" fmla="*/ 1022985 w 2076450"/>
                <a:gd name="connsiteY570" fmla="*/ 1303020 h 1352550"/>
                <a:gd name="connsiteX571" fmla="*/ 1022032 w 2076450"/>
                <a:gd name="connsiteY571" fmla="*/ 1305877 h 1352550"/>
                <a:gd name="connsiteX572" fmla="*/ 1019175 w 2076450"/>
                <a:gd name="connsiteY572" fmla="*/ 1311592 h 1352550"/>
                <a:gd name="connsiteX573" fmla="*/ 1014413 w 2076450"/>
                <a:gd name="connsiteY573" fmla="*/ 1317307 h 1352550"/>
                <a:gd name="connsiteX574" fmla="*/ 1009650 w 2076450"/>
                <a:gd name="connsiteY574" fmla="*/ 1318260 h 1352550"/>
                <a:gd name="connsiteX575" fmla="*/ 975360 w 2076450"/>
                <a:gd name="connsiteY575" fmla="*/ 1316355 h 1352550"/>
                <a:gd name="connsiteX576" fmla="*/ 921068 w 2076450"/>
                <a:gd name="connsiteY576" fmla="*/ 1305877 h 1352550"/>
                <a:gd name="connsiteX577" fmla="*/ 876300 w 2076450"/>
                <a:gd name="connsiteY577" fmla="*/ 1286827 h 1352550"/>
                <a:gd name="connsiteX578" fmla="*/ 849630 w 2076450"/>
                <a:gd name="connsiteY578" fmla="*/ 1282065 h 1352550"/>
                <a:gd name="connsiteX579" fmla="*/ 843915 w 2076450"/>
                <a:gd name="connsiteY579" fmla="*/ 1283970 h 1352550"/>
                <a:gd name="connsiteX580" fmla="*/ 771525 w 2076450"/>
                <a:gd name="connsiteY580" fmla="*/ 1318260 h 1352550"/>
                <a:gd name="connsiteX581" fmla="*/ 704850 w 2076450"/>
                <a:gd name="connsiteY581" fmla="*/ 1332548 h 1352550"/>
                <a:gd name="connsiteX582" fmla="*/ 643890 w 2076450"/>
                <a:gd name="connsiteY582" fmla="*/ 1352550 h 1352550"/>
                <a:gd name="connsiteX583" fmla="*/ 619125 w 2076450"/>
                <a:gd name="connsiteY583" fmla="*/ 1356360 h 1352550"/>
                <a:gd name="connsiteX584" fmla="*/ 566738 w 2076450"/>
                <a:gd name="connsiteY584" fmla="*/ 1351598 h 1352550"/>
                <a:gd name="connsiteX585" fmla="*/ 484822 w 2076450"/>
                <a:gd name="connsiteY585" fmla="*/ 1324927 h 1352550"/>
                <a:gd name="connsiteX586" fmla="*/ 472440 w 2076450"/>
                <a:gd name="connsiteY586" fmla="*/ 1324927 h 1352550"/>
                <a:gd name="connsiteX587" fmla="*/ 405765 w 2076450"/>
                <a:gd name="connsiteY587" fmla="*/ 1343025 h 1352550"/>
                <a:gd name="connsiteX588" fmla="*/ 354330 w 2076450"/>
                <a:gd name="connsiteY588" fmla="*/ 1346835 h 1352550"/>
                <a:gd name="connsiteX589" fmla="*/ 347663 w 2076450"/>
                <a:gd name="connsiteY589" fmla="*/ 1344930 h 1352550"/>
                <a:gd name="connsiteX590" fmla="*/ 346710 w 2076450"/>
                <a:gd name="connsiteY590" fmla="*/ 1343025 h 1352550"/>
                <a:gd name="connsiteX591" fmla="*/ 343852 w 2076450"/>
                <a:gd name="connsiteY591" fmla="*/ 1334452 h 1352550"/>
                <a:gd name="connsiteX592" fmla="*/ 340995 w 2076450"/>
                <a:gd name="connsiteY592" fmla="*/ 1329690 h 1352550"/>
                <a:gd name="connsiteX593" fmla="*/ 338138 w 2076450"/>
                <a:gd name="connsiteY593" fmla="*/ 1326832 h 1352550"/>
                <a:gd name="connsiteX594" fmla="*/ 334327 w 2076450"/>
                <a:gd name="connsiteY594" fmla="*/ 1326832 h 1352550"/>
                <a:gd name="connsiteX595" fmla="*/ 321945 w 2076450"/>
                <a:gd name="connsiteY595" fmla="*/ 1327785 h 1352550"/>
                <a:gd name="connsiteX596" fmla="*/ 319088 w 2076450"/>
                <a:gd name="connsiteY596" fmla="*/ 1326832 h 1352550"/>
                <a:gd name="connsiteX597" fmla="*/ 317182 w 2076450"/>
                <a:gd name="connsiteY597" fmla="*/ 1324927 h 1352550"/>
                <a:gd name="connsiteX598" fmla="*/ 314325 w 2076450"/>
                <a:gd name="connsiteY598" fmla="*/ 1314450 h 1352550"/>
                <a:gd name="connsiteX599" fmla="*/ 312420 w 2076450"/>
                <a:gd name="connsiteY599" fmla="*/ 1309688 h 1352550"/>
                <a:gd name="connsiteX600" fmla="*/ 312420 w 2076450"/>
                <a:gd name="connsiteY600" fmla="*/ 1306830 h 1352550"/>
                <a:gd name="connsiteX601" fmla="*/ 314325 w 2076450"/>
                <a:gd name="connsiteY601" fmla="*/ 1301115 h 1352550"/>
                <a:gd name="connsiteX602" fmla="*/ 319088 w 2076450"/>
                <a:gd name="connsiteY602" fmla="*/ 1291590 h 1352550"/>
                <a:gd name="connsiteX603" fmla="*/ 319088 w 2076450"/>
                <a:gd name="connsiteY603" fmla="*/ 1289685 h 1352550"/>
                <a:gd name="connsiteX604" fmla="*/ 318135 w 2076450"/>
                <a:gd name="connsiteY604" fmla="*/ 1285875 h 1352550"/>
                <a:gd name="connsiteX605" fmla="*/ 316230 w 2076450"/>
                <a:gd name="connsiteY605" fmla="*/ 1283017 h 1352550"/>
                <a:gd name="connsiteX606" fmla="*/ 312420 w 2076450"/>
                <a:gd name="connsiteY606" fmla="*/ 1279207 h 1352550"/>
                <a:gd name="connsiteX607" fmla="*/ 308610 w 2076450"/>
                <a:gd name="connsiteY607" fmla="*/ 1278255 h 1352550"/>
                <a:gd name="connsiteX608" fmla="*/ 305752 w 2076450"/>
                <a:gd name="connsiteY608" fmla="*/ 1277302 h 1352550"/>
                <a:gd name="connsiteX609" fmla="*/ 274320 w 2076450"/>
                <a:gd name="connsiteY609" fmla="*/ 1283970 h 1352550"/>
                <a:gd name="connsiteX610" fmla="*/ 269557 w 2076450"/>
                <a:gd name="connsiteY610" fmla="*/ 1285875 h 1352550"/>
                <a:gd name="connsiteX611" fmla="*/ 268605 w 2076450"/>
                <a:gd name="connsiteY611" fmla="*/ 1287780 h 1352550"/>
                <a:gd name="connsiteX612" fmla="*/ 267652 w 2076450"/>
                <a:gd name="connsiteY612" fmla="*/ 1290638 h 1352550"/>
                <a:gd name="connsiteX613" fmla="*/ 269557 w 2076450"/>
                <a:gd name="connsiteY613" fmla="*/ 1298257 h 1352550"/>
                <a:gd name="connsiteX614" fmla="*/ 269557 w 2076450"/>
                <a:gd name="connsiteY614" fmla="*/ 1303973 h 1352550"/>
                <a:gd name="connsiteX615" fmla="*/ 268605 w 2076450"/>
                <a:gd name="connsiteY615" fmla="*/ 1306830 h 1352550"/>
                <a:gd name="connsiteX616" fmla="*/ 264795 w 2076450"/>
                <a:gd name="connsiteY616" fmla="*/ 1310640 h 1352550"/>
                <a:gd name="connsiteX617" fmla="*/ 260032 w 2076450"/>
                <a:gd name="connsiteY617" fmla="*/ 1312545 h 1352550"/>
                <a:gd name="connsiteX618" fmla="*/ 203835 w 2076450"/>
                <a:gd name="connsiteY618" fmla="*/ 1323975 h 1352550"/>
                <a:gd name="connsiteX619" fmla="*/ 200025 w 2076450"/>
                <a:gd name="connsiteY619" fmla="*/ 1325880 h 1352550"/>
                <a:gd name="connsiteX620" fmla="*/ 197168 w 2076450"/>
                <a:gd name="connsiteY620" fmla="*/ 1330642 h 1352550"/>
                <a:gd name="connsiteX621" fmla="*/ 196215 w 2076450"/>
                <a:gd name="connsiteY621" fmla="*/ 1335405 h 1352550"/>
                <a:gd name="connsiteX622" fmla="*/ 194310 w 2076450"/>
                <a:gd name="connsiteY622" fmla="*/ 1337310 h 1352550"/>
                <a:gd name="connsiteX623" fmla="*/ 191452 w 2076450"/>
                <a:gd name="connsiteY623" fmla="*/ 1340167 h 1352550"/>
                <a:gd name="connsiteX624" fmla="*/ 187643 w 2076450"/>
                <a:gd name="connsiteY624" fmla="*/ 1340167 h 1352550"/>
                <a:gd name="connsiteX625" fmla="*/ 184785 w 2076450"/>
                <a:gd name="connsiteY625" fmla="*/ 1339215 h 1352550"/>
                <a:gd name="connsiteX626" fmla="*/ 179070 w 2076450"/>
                <a:gd name="connsiteY626" fmla="*/ 1336357 h 1352550"/>
                <a:gd name="connsiteX627" fmla="*/ 174307 w 2076450"/>
                <a:gd name="connsiteY627" fmla="*/ 1331595 h 1352550"/>
                <a:gd name="connsiteX628" fmla="*/ 170497 w 2076450"/>
                <a:gd name="connsiteY628" fmla="*/ 1327785 h 1352550"/>
                <a:gd name="connsiteX629" fmla="*/ 169545 w 2076450"/>
                <a:gd name="connsiteY629" fmla="*/ 1325880 h 1352550"/>
                <a:gd name="connsiteX630" fmla="*/ 167640 w 2076450"/>
                <a:gd name="connsiteY630" fmla="*/ 1321117 h 1352550"/>
                <a:gd name="connsiteX631" fmla="*/ 165735 w 2076450"/>
                <a:gd name="connsiteY631" fmla="*/ 1313498 h 1352550"/>
                <a:gd name="connsiteX632" fmla="*/ 163830 w 2076450"/>
                <a:gd name="connsiteY632" fmla="*/ 1308735 h 1352550"/>
                <a:gd name="connsiteX633" fmla="*/ 158115 w 2076450"/>
                <a:gd name="connsiteY633" fmla="*/ 1305877 h 1352550"/>
                <a:gd name="connsiteX634" fmla="*/ 149543 w 2076450"/>
                <a:gd name="connsiteY634" fmla="*/ 1302067 h 1352550"/>
                <a:gd name="connsiteX635" fmla="*/ 110490 w 2076450"/>
                <a:gd name="connsiteY635" fmla="*/ 1294448 h 1352550"/>
                <a:gd name="connsiteX636" fmla="*/ 106680 w 2076450"/>
                <a:gd name="connsiteY636" fmla="*/ 1290638 h 1352550"/>
                <a:gd name="connsiteX637" fmla="*/ 99060 w 2076450"/>
                <a:gd name="connsiteY637" fmla="*/ 1283970 h 1352550"/>
                <a:gd name="connsiteX638" fmla="*/ 96202 w 2076450"/>
                <a:gd name="connsiteY638" fmla="*/ 1283017 h 1352550"/>
                <a:gd name="connsiteX639" fmla="*/ 56197 w 2076450"/>
                <a:gd name="connsiteY639" fmla="*/ 1271588 h 1352550"/>
                <a:gd name="connsiteX640" fmla="*/ 11430 w 2076450"/>
                <a:gd name="connsiteY640" fmla="*/ 1264920 h 1352550"/>
                <a:gd name="connsiteX641" fmla="*/ 7620 w 2076450"/>
                <a:gd name="connsiteY641" fmla="*/ 1263015 h 1352550"/>
                <a:gd name="connsiteX642" fmla="*/ 5715 w 2076450"/>
                <a:gd name="connsiteY642" fmla="*/ 1261110 h 1352550"/>
                <a:gd name="connsiteX643" fmla="*/ 4763 w 2076450"/>
                <a:gd name="connsiteY643" fmla="*/ 1259205 h 1352550"/>
                <a:gd name="connsiteX644" fmla="*/ 4763 w 2076450"/>
                <a:gd name="connsiteY644" fmla="*/ 1255395 h 1352550"/>
                <a:gd name="connsiteX645" fmla="*/ 5715 w 2076450"/>
                <a:gd name="connsiteY645" fmla="*/ 1249680 h 1352550"/>
                <a:gd name="connsiteX646" fmla="*/ 9525 w 2076450"/>
                <a:gd name="connsiteY646" fmla="*/ 1243965 h 1352550"/>
                <a:gd name="connsiteX647" fmla="*/ 15240 w 2076450"/>
                <a:gd name="connsiteY647" fmla="*/ 1237298 h 1352550"/>
                <a:gd name="connsiteX648" fmla="*/ 18097 w 2076450"/>
                <a:gd name="connsiteY648" fmla="*/ 1233488 h 1352550"/>
                <a:gd name="connsiteX649" fmla="*/ 20002 w 2076450"/>
                <a:gd name="connsiteY649" fmla="*/ 1229677 h 1352550"/>
                <a:gd name="connsiteX650" fmla="*/ 20002 w 2076450"/>
                <a:gd name="connsiteY650" fmla="*/ 1224915 h 1352550"/>
                <a:gd name="connsiteX651" fmla="*/ 19050 w 2076450"/>
                <a:gd name="connsiteY651" fmla="*/ 1217295 h 1352550"/>
                <a:gd name="connsiteX652" fmla="*/ 16193 w 2076450"/>
                <a:gd name="connsiteY652" fmla="*/ 1208723 h 1352550"/>
                <a:gd name="connsiteX653" fmla="*/ 12382 w 2076450"/>
                <a:gd name="connsiteY653" fmla="*/ 1199198 h 1352550"/>
                <a:gd name="connsiteX654" fmla="*/ 3810 w 2076450"/>
                <a:gd name="connsiteY654" fmla="*/ 1183957 h 1352550"/>
                <a:gd name="connsiteX655" fmla="*/ 952 w 2076450"/>
                <a:gd name="connsiteY655" fmla="*/ 1176338 h 1352550"/>
                <a:gd name="connsiteX656" fmla="*/ 0 w 2076450"/>
                <a:gd name="connsiteY656" fmla="*/ 1171575 h 1352550"/>
                <a:gd name="connsiteX657" fmla="*/ 2857 w 2076450"/>
                <a:gd name="connsiteY657" fmla="*/ 1169670 h 1352550"/>
                <a:gd name="connsiteX658" fmla="*/ 6668 w 2076450"/>
                <a:gd name="connsiteY658" fmla="*/ 1165860 h 1352550"/>
                <a:gd name="connsiteX659" fmla="*/ 9525 w 2076450"/>
                <a:gd name="connsiteY659" fmla="*/ 1164907 h 1352550"/>
                <a:gd name="connsiteX660" fmla="*/ 29527 w 2076450"/>
                <a:gd name="connsiteY660" fmla="*/ 1159192 h 1352550"/>
                <a:gd name="connsiteX661" fmla="*/ 52388 w 2076450"/>
                <a:gd name="connsiteY661" fmla="*/ 1157288 h 1352550"/>
                <a:gd name="connsiteX662" fmla="*/ 54293 w 2076450"/>
                <a:gd name="connsiteY662" fmla="*/ 1154430 h 1352550"/>
                <a:gd name="connsiteX663" fmla="*/ 55245 w 2076450"/>
                <a:gd name="connsiteY663" fmla="*/ 1150620 h 1352550"/>
                <a:gd name="connsiteX664" fmla="*/ 52388 w 2076450"/>
                <a:gd name="connsiteY664" fmla="*/ 1140142 h 1352550"/>
                <a:gd name="connsiteX665" fmla="*/ 49530 w 2076450"/>
                <a:gd name="connsiteY665" fmla="*/ 1135380 h 1352550"/>
                <a:gd name="connsiteX666" fmla="*/ 46672 w 2076450"/>
                <a:gd name="connsiteY666" fmla="*/ 1132523 h 1352550"/>
                <a:gd name="connsiteX667" fmla="*/ 42863 w 2076450"/>
                <a:gd name="connsiteY667" fmla="*/ 1129665 h 1352550"/>
                <a:gd name="connsiteX668" fmla="*/ 40957 w 2076450"/>
                <a:gd name="connsiteY668" fmla="*/ 1125855 h 1352550"/>
                <a:gd name="connsiteX669" fmla="*/ 40957 w 2076450"/>
                <a:gd name="connsiteY669" fmla="*/ 1120140 h 1352550"/>
                <a:gd name="connsiteX670" fmla="*/ 40957 w 2076450"/>
                <a:gd name="connsiteY670" fmla="*/ 1077277 h 1352550"/>
                <a:gd name="connsiteX671" fmla="*/ 42863 w 2076450"/>
                <a:gd name="connsiteY671" fmla="*/ 1066800 h 1352550"/>
                <a:gd name="connsiteX672" fmla="*/ 44768 w 2076450"/>
                <a:gd name="connsiteY672" fmla="*/ 1062038 h 1352550"/>
                <a:gd name="connsiteX673" fmla="*/ 45720 w 2076450"/>
                <a:gd name="connsiteY673" fmla="*/ 1058227 h 1352550"/>
                <a:gd name="connsiteX674" fmla="*/ 46672 w 2076450"/>
                <a:gd name="connsiteY674" fmla="*/ 1040130 h 1352550"/>
                <a:gd name="connsiteX675" fmla="*/ 47625 w 2076450"/>
                <a:gd name="connsiteY675" fmla="*/ 1036320 h 1352550"/>
                <a:gd name="connsiteX676" fmla="*/ 48577 w 2076450"/>
                <a:gd name="connsiteY676" fmla="*/ 1033463 h 1352550"/>
                <a:gd name="connsiteX677" fmla="*/ 52388 w 2076450"/>
                <a:gd name="connsiteY677" fmla="*/ 1028700 h 1352550"/>
                <a:gd name="connsiteX678" fmla="*/ 52388 w 2076450"/>
                <a:gd name="connsiteY678" fmla="*/ 1025842 h 1352550"/>
                <a:gd name="connsiteX679" fmla="*/ 50482 w 2076450"/>
                <a:gd name="connsiteY679" fmla="*/ 1021080 h 1352550"/>
                <a:gd name="connsiteX680" fmla="*/ 45720 w 2076450"/>
                <a:gd name="connsiteY680" fmla="*/ 1013460 h 1352550"/>
                <a:gd name="connsiteX681" fmla="*/ 41910 w 2076450"/>
                <a:gd name="connsiteY681" fmla="*/ 1011555 h 1352550"/>
                <a:gd name="connsiteX682" fmla="*/ 38100 w 2076450"/>
                <a:gd name="connsiteY682" fmla="*/ 1010602 h 1352550"/>
                <a:gd name="connsiteX683" fmla="*/ 35243 w 2076450"/>
                <a:gd name="connsiteY683" fmla="*/ 1011555 h 1352550"/>
                <a:gd name="connsiteX684" fmla="*/ 29527 w 2076450"/>
                <a:gd name="connsiteY684" fmla="*/ 1011555 h 1352550"/>
                <a:gd name="connsiteX685" fmla="*/ 26670 w 2076450"/>
                <a:gd name="connsiteY685" fmla="*/ 1009650 h 1352550"/>
                <a:gd name="connsiteX686" fmla="*/ 25718 w 2076450"/>
                <a:gd name="connsiteY686" fmla="*/ 1006792 h 1352550"/>
                <a:gd name="connsiteX687" fmla="*/ 25718 w 2076450"/>
                <a:gd name="connsiteY687" fmla="*/ 1002030 h 1352550"/>
                <a:gd name="connsiteX688" fmla="*/ 29527 w 2076450"/>
                <a:gd name="connsiteY688" fmla="*/ 987742 h 1352550"/>
                <a:gd name="connsiteX689" fmla="*/ 32385 w 2076450"/>
                <a:gd name="connsiteY689" fmla="*/ 980122 h 1352550"/>
                <a:gd name="connsiteX690" fmla="*/ 33338 w 2076450"/>
                <a:gd name="connsiteY690" fmla="*/ 975360 h 1352550"/>
                <a:gd name="connsiteX691" fmla="*/ 27622 w 2076450"/>
                <a:gd name="connsiteY691" fmla="*/ 970597 h 1352550"/>
                <a:gd name="connsiteX692" fmla="*/ 33338 w 2076450"/>
                <a:gd name="connsiteY692" fmla="*/ 943927 h 1352550"/>
                <a:gd name="connsiteX693" fmla="*/ 39052 w 2076450"/>
                <a:gd name="connsiteY693" fmla="*/ 922972 h 1352550"/>
                <a:gd name="connsiteX694" fmla="*/ 40957 w 2076450"/>
                <a:gd name="connsiteY694" fmla="*/ 921067 h 1352550"/>
                <a:gd name="connsiteX695" fmla="*/ 44768 w 2076450"/>
                <a:gd name="connsiteY695" fmla="*/ 918210 h 1352550"/>
                <a:gd name="connsiteX696" fmla="*/ 49530 w 2076450"/>
                <a:gd name="connsiteY696" fmla="*/ 917257 h 1352550"/>
                <a:gd name="connsiteX697" fmla="*/ 55245 w 2076450"/>
                <a:gd name="connsiteY697" fmla="*/ 913447 h 1352550"/>
                <a:gd name="connsiteX698" fmla="*/ 59055 w 2076450"/>
                <a:gd name="connsiteY698" fmla="*/ 907732 h 1352550"/>
                <a:gd name="connsiteX699" fmla="*/ 63818 w 2076450"/>
                <a:gd name="connsiteY699" fmla="*/ 898207 h 1352550"/>
                <a:gd name="connsiteX700" fmla="*/ 67627 w 2076450"/>
                <a:gd name="connsiteY700" fmla="*/ 893445 h 1352550"/>
                <a:gd name="connsiteX701" fmla="*/ 72390 w 2076450"/>
                <a:gd name="connsiteY701" fmla="*/ 888682 h 1352550"/>
                <a:gd name="connsiteX702" fmla="*/ 80010 w 2076450"/>
                <a:gd name="connsiteY702" fmla="*/ 882967 h 1352550"/>
                <a:gd name="connsiteX703" fmla="*/ 83820 w 2076450"/>
                <a:gd name="connsiteY703" fmla="*/ 880110 h 1352550"/>
                <a:gd name="connsiteX704" fmla="*/ 87630 w 2076450"/>
                <a:gd name="connsiteY704" fmla="*/ 879157 h 1352550"/>
                <a:gd name="connsiteX705" fmla="*/ 107632 w 2076450"/>
                <a:gd name="connsiteY705" fmla="*/ 881063 h 1352550"/>
                <a:gd name="connsiteX706" fmla="*/ 120015 w 2076450"/>
                <a:gd name="connsiteY706" fmla="*/ 877252 h 1352550"/>
                <a:gd name="connsiteX707" fmla="*/ 123825 w 2076450"/>
                <a:gd name="connsiteY707" fmla="*/ 875347 h 1352550"/>
                <a:gd name="connsiteX708" fmla="*/ 125730 w 2076450"/>
                <a:gd name="connsiteY708" fmla="*/ 872490 h 1352550"/>
                <a:gd name="connsiteX709" fmla="*/ 128588 w 2076450"/>
                <a:gd name="connsiteY709" fmla="*/ 862965 h 1352550"/>
                <a:gd name="connsiteX710" fmla="*/ 129540 w 2076450"/>
                <a:gd name="connsiteY710" fmla="*/ 856297 h 1352550"/>
                <a:gd name="connsiteX711" fmla="*/ 128588 w 2076450"/>
                <a:gd name="connsiteY711" fmla="*/ 850582 h 1352550"/>
                <a:gd name="connsiteX712" fmla="*/ 128588 w 2076450"/>
                <a:gd name="connsiteY712" fmla="*/ 844867 h 1352550"/>
                <a:gd name="connsiteX713" fmla="*/ 127635 w 2076450"/>
                <a:gd name="connsiteY713" fmla="*/ 839152 h 1352550"/>
                <a:gd name="connsiteX714" fmla="*/ 129540 w 2076450"/>
                <a:gd name="connsiteY714" fmla="*/ 832485 h 1352550"/>
                <a:gd name="connsiteX715" fmla="*/ 131445 w 2076450"/>
                <a:gd name="connsiteY715" fmla="*/ 822960 h 1352550"/>
                <a:gd name="connsiteX716" fmla="*/ 134302 w 2076450"/>
                <a:gd name="connsiteY716" fmla="*/ 808672 h 1352550"/>
                <a:gd name="connsiteX717" fmla="*/ 136207 w 2076450"/>
                <a:gd name="connsiteY717" fmla="*/ 806767 h 1352550"/>
                <a:gd name="connsiteX718" fmla="*/ 139065 w 2076450"/>
                <a:gd name="connsiteY718" fmla="*/ 805815 h 1352550"/>
                <a:gd name="connsiteX719" fmla="*/ 140970 w 2076450"/>
                <a:gd name="connsiteY719" fmla="*/ 805815 h 1352550"/>
                <a:gd name="connsiteX720" fmla="*/ 142875 w 2076450"/>
                <a:gd name="connsiteY720" fmla="*/ 809625 h 1352550"/>
                <a:gd name="connsiteX721" fmla="*/ 146685 w 2076450"/>
                <a:gd name="connsiteY721" fmla="*/ 831532 h 1352550"/>
                <a:gd name="connsiteX722" fmla="*/ 146685 w 2076450"/>
                <a:gd name="connsiteY722" fmla="*/ 833438 h 1352550"/>
                <a:gd name="connsiteX723" fmla="*/ 143827 w 2076450"/>
                <a:gd name="connsiteY723" fmla="*/ 840105 h 1352550"/>
                <a:gd name="connsiteX724" fmla="*/ 142875 w 2076450"/>
                <a:gd name="connsiteY724" fmla="*/ 842963 h 1352550"/>
                <a:gd name="connsiteX725" fmla="*/ 142875 w 2076450"/>
                <a:gd name="connsiteY725" fmla="*/ 848677 h 1352550"/>
                <a:gd name="connsiteX726" fmla="*/ 144780 w 2076450"/>
                <a:gd name="connsiteY726" fmla="*/ 856297 h 1352550"/>
                <a:gd name="connsiteX727" fmla="*/ 145732 w 2076450"/>
                <a:gd name="connsiteY727" fmla="*/ 859155 h 1352550"/>
                <a:gd name="connsiteX728" fmla="*/ 147638 w 2076450"/>
                <a:gd name="connsiteY728" fmla="*/ 861060 h 1352550"/>
                <a:gd name="connsiteX729" fmla="*/ 150495 w 2076450"/>
                <a:gd name="connsiteY729" fmla="*/ 862965 h 1352550"/>
                <a:gd name="connsiteX730" fmla="*/ 152400 w 2076450"/>
                <a:gd name="connsiteY730" fmla="*/ 861060 h 1352550"/>
                <a:gd name="connsiteX731" fmla="*/ 154305 w 2076450"/>
                <a:gd name="connsiteY731" fmla="*/ 859155 h 1352550"/>
                <a:gd name="connsiteX732" fmla="*/ 158115 w 2076450"/>
                <a:gd name="connsiteY732" fmla="*/ 846772 h 1352550"/>
                <a:gd name="connsiteX733" fmla="*/ 162877 w 2076450"/>
                <a:gd name="connsiteY733" fmla="*/ 835342 h 1352550"/>
                <a:gd name="connsiteX734" fmla="*/ 163830 w 2076450"/>
                <a:gd name="connsiteY734" fmla="*/ 832485 h 1352550"/>
                <a:gd name="connsiteX735" fmla="*/ 185738 w 2076450"/>
                <a:gd name="connsiteY735" fmla="*/ 808672 h 1352550"/>
                <a:gd name="connsiteX736" fmla="*/ 188595 w 2076450"/>
                <a:gd name="connsiteY736" fmla="*/ 803910 h 1352550"/>
                <a:gd name="connsiteX737" fmla="*/ 190500 w 2076450"/>
                <a:gd name="connsiteY737" fmla="*/ 799147 h 1352550"/>
                <a:gd name="connsiteX738" fmla="*/ 192405 w 2076450"/>
                <a:gd name="connsiteY738" fmla="*/ 797242 h 1352550"/>
                <a:gd name="connsiteX739" fmla="*/ 195263 w 2076450"/>
                <a:gd name="connsiteY739" fmla="*/ 797242 h 1352550"/>
                <a:gd name="connsiteX740" fmla="*/ 197168 w 2076450"/>
                <a:gd name="connsiteY740" fmla="*/ 798195 h 1352550"/>
                <a:gd name="connsiteX741" fmla="*/ 201930 w 2076450"/>
                <a:gd name="connsiteY741" fmla="*/ 803910 h 1352550"/>
                <a:gd name="connsiteX742" fmla="*/ 205740 w 2076450"/>
                <a:gd name="connsiteY742" fmla="*/ 807720 h 1352550"/>
                <a:gd name="connsiteX743" fmla="*/ 211455 w 2076450"/>
                <a:gd name="connsiteY743" fmla="*/ 807720 h 1352550"/>
                <a:gd name="connsiteX744" fmla="*/ 218122 w 2076450"/>
                <a:gd name="connsiteY744" fmla="*/ 806767 h 1352550"/>
                <a:gd name="connsiteX745" fmla="*/ 220980 w 2076450"/>
                <a:gd name="connsiteY745" fmla="*/ 805815 h 1352550"/>
                <a:gd name="connsiteX746" fmla="*/ 223838 w 2076450"/>
                <a:gd name="connsiteY746" fmla="*/ 802957 h 1352550"/>
                <a:gd name="connsiteX747" fmla="*/ 228600 w 2076450"/>
                <a:gd name="connsiteY747" fmla="*/ 797242 h 1352550"/>
                <a:gd name="connsiteX748" fmla="*/ 249555 w 2076450"/>
                <a:gd name="connsiteY748" fmla="*/ 777240 h 1352550"/>
                <a:gd name="connsiteX749" fmla="*/ 251460 w 2076450"/>
                <a:gd name="connsiteY749" fmla="*/ 775335 h 1352550"/>
                <a:gd name="connsiteX750" fmla="*/ 257175 w 2076450"/>
                <a:gd name="connsiteY750" fmla="*/ 763905 h 1352550"/>
                <a:gd name="connsiteX751" fmla="*/ 260032 w 2076450"/>
                <a:gd name="connsiteY751" fmla="*/ 762000 h 1352550"/>
                <a:gd name="connsiteX752" fmla="*/ 262890 w 2076450"/>
                <a:gd name="connsiteY752" fmla="*/ 761047 h 1352550"/>
                <a:gd name="connsiteX753" fmla="*/ 266700 w 2076450"/>
                <a:gd name="connsiteY753" fmla="*/ 761047 h 1352550"/>
                <a:gd name="connsiteX754" fmla="*/ 270510 w 2076450"/>
                <a:gd name="connsiteY754" fmla="*/ 760095 h 1352550"/>
                <a:gd name="connsiteX755" fmla="*/ 277177 w 2076450"/>
                <a:gd name="connsiteY755" fmla="*/ 758190 h 1352550"/>
                <a:gd name="connsiteX756" fmla="*/ 280035 w 2076450"/>
                <a:gd name="connsiteY756" fmla="*/ 755332 h 1352550"/>
                <a:gd name="connsiteX757" fmla="*/ 280988 w 2076450"/>
                <a:gd name="connsiteY757" fmla="*/ 751522 h 1352550"/>
                <a:gd name="connsiteX758" fmla="*/ 286702 w 2076450"/>
                <a:gd name="connsiteY758" fmla="*/ 714375 h 1352550"/>
                <a:gd name="connsiteX759" fmla="*/ 285750 w 2076450"/>
                <a:gd name="connsiteY759" fmla="*/ 708660 h 1352550"/>
                <a:gd name="connsiteX760" fmla="*/ 284797 w 2076450"/>
                <a:gd name="connsiteY760" fmla="*/ 706755 h 1352550"/>
                <a:gd name="connsiteX761" fmla="*/ 282893 w 2076450"/>
                <a:gd name="connsiteY761" fmla="*/ 704850 h 1352550"/>
                <a:gd name="connsiteX762" fmla="*/ 276225 w 2076450"/>
                <a:gd name="connsiteY762" fmla="*/ 702945 h 1352550"/>
                <a:gd name="connsiteX763" fmla="*/ 274320 w 2076450"/>
                <a:gd name="connsiteY763" fmla="*/ 701040 h 1352550"/>
                <a:gd name="connsiteX764" fmla="*/ 272415 w 2076450"/>
                <a:gd name="connsiteY764" fmla="*/ 697230 h 1352550"/>
                <a:gd name="connsiteX765" fmla="*/ 271463 w 2076450"/>
                <a:gd name="connsiteY765" fmla="*/ 690563 h 1352550"/>
                <a:gd name="connsiteX766" fmla="*/ 270510 w 2076450"/>
                <a:gd name="connsiteY766" fmla="*/ 649605 h 1352550"/>
                <a:gd name="connsiteX767" fmla="*/ 266700 w 2076450"/>
                <a:gd name="connsiteY767" fmla="*/ 633413 h 1352550"/>
                <a:gd name="connsiteX768" fmla="*/ 266700 w 2076450"/>
                <a:gd name="connsiteY768" fmla="*/ 626745 h 1352550"/>
                <a:gd name="connsiteX769" fmla="*/ 265747 w 2076450"/>
                <a:gd name="connsiteY769" fmla="*/ 621982 h 1352550"/>
                <a:gd name="connsiteX770" fmla="*/ 260985 w 2076450"/>
                <a:gd name="connsiteY770" fmla="*/ 619125 h 1352550"/>
                <a:gd name="connsiteX771" fmla="*/ 259080 w 2076450"/>
                <a:gd name="connsiteY771" fmla="*/ 618172 h 1352550"/>
                <a:gd name="connsiteX772" fmla="*/ 258127 w 2076450"/>
                <a:gd name="connsiteY772" fmla="*/ 615315 h 1352550"/>
                <a:gd name="connsiteX773" fmla="*/ 257175 w 2076450"/>
                <a:gd name="connsiteY773" fmla="*/ 608647 h 1352550"/>
                <a:gd name="connsiteX774" fmla="*/ 258127 w 2076450"/>
                <a:gd name="connsiteY774" fmla="*/ 603885 h 1352550"/>
                <a:gd name="connsiteX775" fmla="*/ 260032 w 2076450"/>
                <a:gd name="connsiteY775" fmla="*/ 601027 h 1352550"/>
                <a:gd name="connsiteX776" fmla="*/ 263843 w 2076450"/>
                <a:gd name="connsiteY776" fmla="*/ 598170 h 1352550"/>
                <a:gd name="connsiteX777" fmla="*/ 264795 w 2076450"/>
                <a:gd name="connsiteY777" fmla="*/ 595313 h 1352550"/>
                <a:gd name="connsiteX778" fmla="*/ 264795 w 2076450"/>
                <a:gd name="connsiteY778" fmla="*/ 592455 h 1352550"/>
                <a:gd name="connsiteX779" fmla="*/ 253365 w 2076450"/>
                <a:gd name="connsiteY779" fmla="*/ 565785 h 1352550"/>
                <a:gd name="connsiteX780" fmla="*/ 251460 w 2076450"/>
                <a:gd name="connsiteY780" fmla="*/ 561022 h 1352550"/>
                <a:gd name="connsiteX781" fmla="*/ 251460 w 2076450"/>
                <a:gd name="connsiteY781" fmla="*/ 557213 h 1352550"/>
                <a:gd name="connsiteX782" fmla="*/ 252413 w 2076450"/>
                <a:gd name="connsiteY782" fmla="*/ 551497 h 1352550"/>
                <a:gd name="connsiteX783" fmla="*/ 252413 w 2076450"/>
                <a:gd name="connsiteY783" fmla="*/ 549592 h 1352550"/>
                <a:gd name="connsiteX784" fmla="*/ 250507 w 2076450"/>
                <a:gd name="connsiteY784" fmla="*/ 548640 h 1352550"/>
                <a:gd name="connsiteX785" fmla="*/ 245745 w 2076450"/>
                <a:gd name="connsiteY785" fmla="*/ 548640 h 1352550"/>
                <a:gd name="connsiteX786" fmla="*/ 243840 w 2076450"/>
                <a:gd name="connsiteY786" fmla="*/ 547688 h 1352550"/>
                <a:gd name="connsiteX787" fmla="*/ 242888 w 2076450"/>
                <a:gd name="connsiteY787" fmla="*/ 543877 h 1352550"/>
                <a:gd name="connsiteX788" fmla="*/ 241935 w 2076450"/>
                <a:gd name="connsiteY788" fmla="*/ 537210 h 1352550"/>
                <a:gd name="connsiteX789" fmla="*/ 241935 w 2076450"/>
                <a:gd name="connsiteY789" fmla="*/ 530542 h 1352550"/>
                <a:gd name="connsiteX790" fmla="*/ 243840 w 2076450"/>
                <a:gd name="connsiteY790" fmla="*/ 527685 h 1352550"/>
                <a:gd name="connsiteX791" fmla="*/ 245745 w 2076450"/>
                <a:gd name="connsiteY791" fmla="*/ 524827 h 1352550"/>
                <a:gd name="connsiteX792" fmla="*/ 260985 w 2076450"/>
                <a:gd name="connsiteY792" fmla="*/ 515302 h 1352550"/>
                <a:gd name="connsiteX793" fmla="*/ 305752 w 2076450"/>
                <a:gd name="connsiteY793" fmla="*/ 497205 h 1352550"/>
                <a:gd name="connsiteX794" fmla="*/ 307657 w 2076450"/>
                <a:gd name="connsiteY794" fmla="*/ 498157 h 1352550"/>
                <a:gd name="connsiteX795" fmla="*/ 308610 w 2076450"/>
                <a:gd name="connsiteY795" fmla="*/ 501967 h 1352550"/>
                <a:gd name="connsiteX796" fmla="*/ 311468 w 2076450"/>
                <a:gd name="connsiteY796" fmla="*/ 501967 h 1352550"/>
                <a:gd name="connsiteX797" fmla="*/ 315277 w 2076450"/>
                <a:gd name="connsiteY797" fmla="*/ 500063 h 1352550"/>
                <a:gd name="connsiteX798" fmla="*/ 329565 w 2076450"/>
                <a:gd name="connsiteY798" fmla="*/ 484822 h 1352550"/>
                <a:gd name="connsiteX799" fmla="*/ 334327 w 2076450"/>
                <a:gd name="connsiteY799" fmla="*/ 481965 h 1352550"/>
                <a:gd name="connsiteX800" fmla="*/ 389572 w 2076450"/>
                <a:gd name="connsiteY800" fmla="*/ 454342 h 1352550"/>
                <a:gd name="connsiteX801" fmla="*/ 394335 w 2076450"/>
                <a:gd name="connsiteY801" fmla="*/ 451485 h 1352550"/>
                <a:gd name="connsiteX802" fmla="*/ 413385 w 2076450"/>
                <a:gd name="connsiteY802" fmla="*/ 431482 h 1352550"/>
                <a:gd name="connsiteX803" fmla="*/ 416243 w 2076450"/>
                <a:gd name="connsiteY803" fmla="*/ 429577 h 1352550"/>
                <a:gd name="connsiteX804" fmla="*/ 421957 w 2076450"/>
                <a:gd name="connsiteY804" fmla="*/ 428625 h 1352550"/>
                <a:gd name="connsiteX805" fmla="*/ 425768 w 2076450"/>
                <a:gd name="connsiteY805" fmla="*/ 427672 h 1352550"/>
                <a:gd name="connsiteX806" fmla="*/ 430530 w 2076450"/>
                <a:gd name="connsiteY806" fmla="*/ 425767 h 1352550"/>
                <a:gd name="connsiteX807" fmla="*/ 437197 w 2076450"/>
                <a:gd name="connsiteY807" fmla="*/ 420052 h 1352550"/>
                <a:gd name="connsiteX808" fmla="*/ 441007 w 2076450"/>
                <a:gd name="connsiteY808" fmla="*/ 416242 h 1352550"/>
                <a:gd name="connsiteX809" fmla="*/ 441960 w 2076450"/>
                <a:gd name="connsiteY809" fmla="*/ 413385 h 1352550"/>
                <a:gd name="connsiteX810" fmla="*/ 441007 w 2076450"/>
                <a:gd name="connsiteY810" fmla="*/ 411480 h 1352550"/>
                <a:gd name="connsiteX811" fmla="*/ 438150 w 2076450"/>
                <a:gd name="connsiteY811" fmla="*/ 409575 h 1352550"/>
                <a:gd name="connsiteX812" fmla="*/ 417195 w 2076450"/>
                <a:gd name="connsiteY812" fmla="*/ 404813 h 1352550"/>
                <a:gd name="connsiteX813" fmla="*/ 414338 w 2076450"/>
                <a:gd name="connsiteY813" fmla="*/ 403860 h 1352550"/>
                <a:gd name="connsiteX814" fmla="*/ 413385 w 2076450"/>
                <a:gd name="connsiteY814" fmla="*/ 401955 h 1352550"/>
                <a:gd name="connsiteX815" fmla="*/ 412432 w 2076450"/>
                <a:gd name="connsiteY815" fmla="*/ 396240 h 1352550"/>
                <a:gd name="connsiteX816" fmla="*/ 409575 w 2076450"/>
                <a:gd name="connsiteY816" fmla="*/ 391477 h 1352550"/>
                <a:gd name="connsiteX817" fmla="*/ 407670 w 2076450"/>
                <a:gd name="connsiteY817" fmla="*/ 389572 h 1352550"/>
                <a:gd name="connsiteX818" fmla="*/ 376238 w 2076450"/>
                <a:gd name="connsiteY818" fmla="*/ 387667 h 1352550"/>
                <a:gd name="connsiteX819" fmla="*/ 370522 w 2076450"/>
                <a:gd name="connsiteY819" fmla="*/ 386715 h 1352550"/>
                <a:gd name="connsiteX820" fmla="*/ 359093 w 2076450"/>
                <a:gd name="connsiteY820" fmla="*/ 378142 h 1352550"/>
                <a:gd name="connsiteX821" fmla="*/ 356235 w 2076450"/>
                <a:gd name="connsiteY821" fmla="*/ 377190 h 1352550"/>
                <a:gd name="connsiteX822" fmla="*/ 326707 w 2076450"/>
                <a:gd name="connsiteY822" fmla="*/ 371475 h 1352550"/>
                <a:gd name="connsiteX823" fmla="*/ 324802 w 2076450"/>
                <a:gd name="connsiteY823" fmla="*/ 370522 h 1352550"/>
                <a:gd name="connsiteX824" fmla="*/ 320993 w 2076450"/>
                <a:gd name="connsiteY824" fmla="*/ 366713 h 1352550"/>
                <a:gd name="connsiteX825" fmla="*/ 318135 w 2076450"/>
                <a:gd name="connsiteY825" fmla="*/ 359092 h 1352550"/>
                <a:gd name="connsiteX826" fmla="*/ 316230 w 2076450"/>
                <a:gd name="connsiteY826" fmla="*/ 354330 h 1352550"/>
                <a:gd name="connsiteX827" fmla="*/ 314325 w 2076450"/>
                <a:gd name="connsiteY827" fmla="*/ 352425 h 1352550"/>
                <a:gd name="connsiteX828" fmla="*/ 309563 w 2076450"/>
                <a:gd name="connsiteY828" fmla="*/ 349567 h 1352550"/>
                <a:gd name="connsiteX829" fmla="*/ 307657 w 2076450"/>
                <a:gd name="connsiteY829" fmla="*/ 347663 h 1352550"/>
                <a:gd name="connsiteX830" fmla="*/ 304800 w 2076450"/>
                <a:gd name="connsiteY830" fmla="*/ 343852 h 1352550"/>
                <a:gd name="connsiteX831" fmla="*/ 301943 w 2076450"/>
                <a:gd name="connsiteY831" fmla="*/ 335280 h 1352550"/>
                <a:gd name="connsiteX832" fmla="*/ 302895 w 2076450"/>
                <a:gd name="connsiteY832" fmla="*/ 330517 h 1352550"/>
                <a:gd name="connsiteX833" fmla="*/ 310515 w 2076450"/>
                <a:gd name="connsiteY833" fmla="*/ 318135 h 1352550"/>
                <a:gd name="connsiteX834" fmla="*/ 314325 w 2076450"/>
                <a:gd name="connsiteY834" fmla="*/ 314325 h 1352550"/>
                <a:gd name="connsiteX835" fmla="*/ 317182 w 2076450"/>
                <a:gd name="connsiteY835" fmla="*/ 312420 h 1352550"/>
                <a:gd name="connsiteX836" fmla="*/ 320040 w 2076450"/>
                <a:gd name="connsiteY836" fmla="*/ 312420 h 1352550"/>
                <a:gd name="connsiteX837" fmla="*/ 321945 w 2076450"/>
                <a:gd name="connsiteY837" fmla="*/ 312420 h 1352550"/>
                <a:gd name="connsiteX838" fmla="*/ 323850 w 2076450"/>
                <a:gd name="connsiteY838" fmla="*/ 314325 h 1352550"/>
                <a:gd name="connsiteX839" fmla="*/ 326707 w 2076450"/>
                <a:gd name="connsiteY839" fmla="*/ 319088 h 1352550"/>
                <a:gd name="connsiteX840" fmla="*/ 328613 w 2076450"/>
                <a:gd name="connsiteY840" fmla="*/ 320992 h 1352550"/>
                <a:gd name="connsiteX841" fmla="*/ 332422 w 2076450"/>
                <a:gd name="connsiteY841" fmla="*/ 320992 h 1352550"/>
                <a:gd name="connsiteX842" fmla="*/ 335280 w 2076450"/>
                <a:gd name="connsiteY842" fmla="*/ 320992 h 1352550"/>
                <a:gd name="connsiteX843" fmla="*/ 356235 w 2076450"/>
                <a:gd name="connsiteY843" fmla="*/ 302895 h 1352550"/>
                <a:gd name="connsiteX844" fmla="*/ 359093 w 2076450"/>
                <a:gd name="connsiteY844" fmla="*/ 301942 h 1352550"/>
                <a:gd name="connsiteX845" fmla="*/ 362902 w 2076450"/>
                <a:gd name="connsiteY845" fmla="*/ 301942 h 1352550"/>
                <a:gd name="connsiteX846" fmla="*/ 368618 w 2076450"/>
                <a:gd name="connsiteY846" fmla="*/ 303847 h 1352550"/>
                <a:gd name="connsiteX847" fmla="*/ 370522 w 2076450"/>
                <a:gd name="connsiteY847" fmla="*/ 305752 h 1352550"/>
                <a:gd name="connsiteX848" fmla="*/ 372427 w 2076450"/>
                <a:gd name="connsiteY848" fmla="*/ 307657 h 1352550"/>
                <a:gd name="connsiteX849" fmla="*/ 374332 w 2076450"/>
                <a:gd name="connsiteY849" fmla="*/ 316230 h 1352550"/>
                <a:gd name="connsiteX850" fmla="*/ 375285 w 2076450"/>
                <a:gd name="connsiteY850" fmla="*/ 318135 h 1352550"/>
                <a:gd name="connsiteX851" fmla="*/ 377190 w 2076450"/>
                <a:gd name="connsiteY851" fmla="*/ 320040 h 1352550"/>
                <a:gd name="connsiteX852" fmla="*/ 380047 w 2076450"/>
                <a:gd name="connsiteY852" fmla="*/ 321945 h 1352550"/>
                <a:gd name="connsiteX853" fmla="*/ 382905 w 2076450"/>
                <a:gd name="connsiteY853" fmla="*/ 321945 h 1352550"/>
                <a:gd name="connsiteX854" fmla="*/ 385763 w 2076450"/>
                <a:gd name="connsiteY854" fmla="*/ 320992 h 1352550"/>
                <a:gd name="connsiteX855" fmla="*/ 389572 w 2076450"/>
                <a:gd name="connsiteY855" fmla="*/ 319088 h 1352550"/>
                <a:gd name="connsiteX856" fmla="*/ 399097 w 2076450"/>
                <a:gd name="connsiteY856" fmla="*/ 305752 h 1352550"/>
                <a:gd name="connsiteX857" fmla="*/ 403860 w 2076450"/>
                <a:gd name="connsiteY857" fmla="*/ 301942 h 1352550"/>
                <a:gd name="connsiteX858" fmla="*/ 406718 w 2076450"/>
                <a:gd name="connsiteY858" fmla="*/ 301942 h 1352550"/>
                <a:gd name="connsiteX859" fmla="*/ 413385 w 2076450"/>
                <a:gd name="connsiteY859" fmla="*/ 302895 h 1352550"/>
                <a:gd name="connsiteX860" fmla="*/ 415290 w 2076450"/>
                <a:gd name="connsiteY860" fmla="*/ 304800 h 1352550"/>
                <a:gd name="connsiteX861" fmla="*/ 417195 w 2076450"/>
                <a:gd name="connsiteY861" fmla="*/ 306705 h 1352550"/>
                <a:gd name="connsiteX862" fmla="*/ 417195 w 2076450"/>
                <a:gd name="connsiteY862" fmla="*/ 309563 h 1352550"/>
                <a:gd name="connsiteX863" fmla="*/ 415290 w 2076450"/>
                <a:gd name="connsiteY863" fmla="*/ 320040 h 1352550"/>
                <a:gd name="connsiteX864" fmla="*/ 416243 w 2076450"/>
                <a:gd name="connsiteY864" fmla="*/ 322897 h 1352550"/>
                <a:gd name="connsiteX865" fmla="*/ 417195 w 2076450"/>
                <a:gd name="connsiteY865" fmla="*/ 324802 h 1352550"/>
                <a:gd name="connsiteX866" fmla="*/ 421005 w 2076450"/>
                <a:gd name="connsiteY866" fmla="*/ 323850 h 1352550"/>
                <a:gd name="connsiteX867" fmla="*/ 423863 w 2076450"/>
                <a:gd name="connsiteY867" fmla="*/ 320040 h 1352550"/>
                <a:gd name="connsiteX868" fmla="*/ 427672 w 2076450"/>
                <a:gd name="connsiteY868" fmla="*/ 314325 h 1352550"/>
                <a:gd name="connsiteX869" fmla="*/ 429577 w 2076450"/>
                <a:gd name="connsiteY869" fmla="*/ 311467 h 1352550"/>
                <a:gd name="connsiteX870" fmla="*/ 431482 w 2076450"/>
                <a:gd name="connsiteY870" fmla="*/ 311467 h 1352550"/>
                <a:gd name="connsiteX871" fmla="*/ 432435 w 2076450"/>
                <a:gd name="connsiteY871" fmla="*/ 313372 h 1352550"/>
                <a:gd name="connsiteX872" fmla="*/ 433388 w 2076450"/>
                <a:gd name="connsiteY872" fmla="*/ 322897 h 1352550"/>
                <a:gd name="connsiteX873" fmla="*/ 433388 w 2076450"/>
                <a:gd name="connsiteY873" fmla="*/ 324802 h 1352550"/>
                <a:gd name="connsiteX874" fmla="*/ 436245 w 2076450"/>
                <a:gd name="connsiteY874" fmla="*/ 330517 h 1352550"/>
                <a:gd name="connsiteX875" fmla="*/ 436245 w 2076450"/>
                <a:gd name="connsiteY875" fmla="*/ 338138 h 1352550"/>
                <a:gd name="connsiteX876" fmla="*/ 441007 w 2076450"/>
                <a:gd name="connsiteY876" fmla="*/ 340995 h 1352550"/>
                <a:gd name="connsiteX877" fmla="*/ 443865 w 2076450"/>
                <a:gd name="connsiteY877" fmla="*/ 340042 h 1352550"/>
                <a:gd name="connsiteX878" fmla="*/ 446722 w 2076450"/>
                <a:gd name="connsiteY878" fmla="*/ 338138 h 1352550"/>
                <a:gd name="connsiteX879" fmla="*/ 449580 w 2076450"/>
                <a:gd name="connsiteY879" fmla="*/ 333375 h 1352550"/>
                <a:gd name="connsiteX880" fmla="*/ 453390 w 2076450"/>
                <a:gd name="connsiteY880" fmla="*/ 320040 h 1352550"/>
                <a:gd name="connsiteX881" fmla="*/ 457200 w 2076450"/>
                <a:gd name="connsiteY881" fmla="*/ 313372 h 1352550"/>
                <a:gd name="connsiteX882" fmla="*/ 461963 w 2076450"/>
                <a:gd name="connsiteY882" fmla="*/ 310515 h 1352550"/>
                <a:gd name="connsiteX883" fmla="*/ 464820 w 2076450"/>
                <a:gd name="connsiteY883" fmla="*/ 306705 h 1352550"/>
                <a:gd name="connsiteX884" fmla="*/ 468630 w 2076450"/>
                <a:gd name="connsiteY884" fmla="*/ 300038 h 1352550"/>
                <a:gd name="connsiteX885" fmla="*/ 473393 w 2076450"/>
                <a:gd name="connsiteY885" fmla="*/ 296227 h 1352550"/>
                <a:gd name="connsiteX886" fmla="*/ 475297 w 2076450"/>
                <a:gd name="connsiteY886" fmla="*/ 292417 h 1352550"/>
                <a:gd name="connsiteX887" fmla="*/ 476250 w 2076450"/>
                <a:gd name="connsiteY887" fmla="*/ 289560 h 1352550"/>
                <a:gd name="connsiteX888" fmla="*/ 477202 w 2076450"/>
                <a:gd name="connsiteY888" fmla="*/ 285750 h 1352550"/>
                <a:gd name="connsiteX889" fmla="*/ 480060 w 2076450"/>
                <a:gd name="connsiteY889" fmla="*/ 276225 h 1352550"/>
                <a:gd name="connsiteX890" fmla="*/ 493395 w 2076450"/>
                <a:gd name="connsiteY890" fmla="*/ 255270 h 1352550"/>
                <a:gd name="connsiteX891" fmla="*/ 498157 w 2076450"/>
                <a:gd name="connsiteY891" fmla="*/ 260032 h 1352550"/>
                <a:gd name="connsiteX892" fmla="*/ 557213 w 2076450"/>
                <a:gd name="connsiteY892" fmla="*/ 301942 h 1352550"/>
                <a:gd name="connsiteX893" fmla="*/ 561022 w 2076450"/>
                <a:gd name="connsiteY893" fmla="*/ 302895 h 1352550"/>
                <a:gd name="connsiteX894" fmla="*/ 568643 w 2076450"/>
                <a:gd name="connsiteY894" fmla="*/ 301942 h 1352550"/>
                <a:gd name="connsiteX895" fmla="*/ 572452 w 2076450"/>
                <a:gd name="connsiteY895" fmla="*/ 301942 h 1352550"/>
                <a:gd name="connsiteX896" fmla="*/ 575310 w 2076450"/>
                <a:gd name="connsiteY896" fmla="*/ 303847 h 1352550"/>
                <a:gd name="connsiteX897" fmla="*/ 581977 w 2076450"/>
                <a:gd name="connsiteY897" fmla="*/ 309563 h 1352550"/>
                <a:gd name="connsiteX898" fmla="*/ 584835 w 2076450"/>
                <a:gd name="connsiteY898" fmla="*/ 312420 h 1352550"/>
                <a:gd name="connsiteX899" fmla="*/ 594360 w 2076450"/>
                <a:gd name="connsiteY899" fmla="*/ 316230 h 1352550"/>
                <a:gd name="connsiteX900" fmla="*/ 621982 w 2076450"/>
                <a:gd name="connsiteY900" fmla="*/ 320992 h 1352550"/>
                <a:gd name="connsiteX901" fmla="*/ 638175 w 2076450"/>
                <a:gd name="connsiteY901" fmla="*/ 329565 h 1352550"/>
                <a:gd name="connsiteX902" fmla="*/ 654368 w 2076450"/>
                <a:gd name="connsiteY902" fmla="*/ 350520 h 1352550"/>
                <a:gd name="connsiteX903" fmla="*/ 661035 w 2076450"/>
                <a:gd name="connsiteY903" fmla="*/ 351472 h 1352550"/>
                <a:gd name="connsiteX904" fmla="*/ 676275 w 2076450"/>
                <a:gd name="connsiteY904" fmla="*/ 340995 h 1352550"/>
                <a:gd name="connsiteX905" fmla="*/ 687705 w 2076450"/>
                <a:gd name="connsiteY905" fmla="*/ 329565 h 1352550"/>
                <a:gd name="connsiteX906" fmla="*/ 691515 w 2076450"/>
                <a:gd name="connsiteY906" fmla="*/ 325755 h 1352550"/>
                <a:gd name="connsiteX907" fmla="*/ 692468 w 2076450"/>
                <a:gd name="connsiteY907" fmla="*/ 322897 h 1352550"/>
                <a:gd name="connsiteX908" fmla="*/ 691515 w 2076450"/>
                <a:gd name="connsiteY908" fmla="*/ 320992 h 1352550"/>
                <a:gd name="connsiteX909" fmla="*/ 690563 w 2076450"/>
                <a:gd name="connsiteY909" fmla="*/ 318135 h 1352550"/>
                <a:gd name="connsiteX910" fmla="*/ 683895 w 2076450"/>
                <a:gd name="connsiteY910" fmla="*/ 313372 h 1352550"/>
                <a:gd name="connsiteX911" fmla="*/ 681990 w 2076450"/>
                <a:gd name="connsiteY911" fmla="*/ 311467 h 1352550"/>
                <a:gd name="connsiteX912" fmla="*/ 681038 w 2076450"/>
                <a:gd name="connsiteY912" fmla="*/ 308610 h 1352550"/>
                <a:gd name="connsiteX913" fmla="*/ 681038 w 2076450"/>
                <a:gd name="connsiteY913" fmla="*/ 302895 h 1352550"/>
                <a:gd name="connsiteX914" fmla="*/ 681990 w 2076450"/>
                <a:gd name="connsiteY914" fmla="*/ 300038 h 1352550"/>
                <a:gd name="connsiteX915" fmla="*/ 682943 w 2076450"/>
                <a:gd name="connsiteY915" fmla="*/ 297180 h 1352550"/>
                <a:gd name="connsiteX916" fmla="*/ 693420 w 2076450"/>
                <a:gd name="connsiteY916" fmla="*/ 285750 h 1352550"/>
                <a:gd name="connsiteX917" fmla="*/ 699135 w 2076450"/>
                <a:gd name="connsiteY917" fmla="*/ 281940 h 1352550"/>
                <a:gd name="connsiteX918" fmla="*/ 701993 w 2076450"/>
                <a:gd name="connsiteY918" fmla="*/ 279082 h 1352550"/>
                <a:gd name="connsiteX919" fmla="*/ 702945 w 2076450"/>
                <a:gd name="connsiteY919" fmla="*/ 276225 h 1352550"/>
                <a:gd name="connsiteX920" fmla="*/ 701040 w 2076450"/>
                <a:gd name="connsiteY920" fmla="*/ 259080 h 1352550"/>
                <a:gd name="connsiteX921" fmla="*/ 699135 w 2076450"/>
                <a:gd name="connsiteY921" fmla="*/ 254317 h 1352550"/>
                <a:gd name="connsiteX922" fmla="*/ 697230 w 2076450"/>
                <a:gd name="connsiteY922" fmla="*/ 252413 h 1352550"/>
                <a:gd name="connsiteX923" fmla="*/ 681990 w 2076450"/>
                <a:gd name="connsiteY923" fmla="*/ 237172 h 1352550"/>
                <a:gd name="connsiteX924" fmla="*/ 680085 w 2076450"/>
                <a:gd name="connsiteY924" fmla="*/ 232410 h 1352550"/>
                <a:gd name="connsiteX925" fmla="*/ 680085 w 2076450"/>
                <a:gd name="connsiteY925" fmla="*/ 226695 h 1352550"/>
                <a:gd name="connsiteX926" fmla="*/ 681038 w 2076450"/>
                <a:gd name="connsiteY926" fmla="*/ 216217 h 1352550"/>
                <a:gd name="connsiteX927" fmla="*/ 682943 w 2076450"/>
                <a:gd name="connsiteY927" fmla="*/ 209550 h 1352550"/>
                <a:gd name="connsiteX928" fmla="*/ 687705 w 2076450"/>
                <a:gd name="connsiteY928" fmla="*/ 199072 h 1352550"/>
                <a:gd name="connsiteX929" fmla="*/ 695325 w 2076450"/>
                <a:gd name="connsiteY929" fmla="*/ 176213 h 1352550"/>
                <a:gd name="connsiteX930" fmla="*/ 699135 w 2076450"/>
                <a:gd name="connsiteY930" fmla="*/ 170497 h 1352550"/>
                <a:gd name="connsiteX931" fmla="*/ 701993 w 2076450"/>
                <a:gd name="connsiteY931" fmla="*/ 167640 h 1352550"/>
                <a:gd name="connsiteX932" fmla="*/ 707707 w 2076450"/>
                <a:gd name="connsiteY932" fmla="*/ 162877 h 1352550"/>
                <a:gd name="connsiteX933" fmla="*/ 717232 w 2076450"/>
                <a:gd name="connsiteY933" fmla="*/ 159067 h 1352550"/>
                <a:gd name="connsiteX934" fmla="*/ 723900 w 2076450"/>
                <a:gd name="connsiteY934" fmla="*/ 159067 h 1352550"/>
                <a:gd name="connsiteX935" fmla="*/ 727710 w 2076450"/>
                <a:gd name="connsiteY935" fmla="*/ 157163 h 1352550"/>
                <a:gd name="connsiteX936" fmla="*/ 730568 w 2076450"/>
                <a:gd name="connsiteY936" fmla="*/ 154305 h 1352550"/>
                <a:gd name="connsiteX937" fmla="*/ 730568 w 2076450"/>
                <a:gd name="connsiteY937" fmla="*/ 151447 h 1352550"/>
                <a:gd name="connsiteX938" fmla="*/ 729615 w 2076450"/>
                <a:gd name="connsiteY938" fmla="*/ 149542 h 1352550"/>
                <a:gd name="connsiteX939" fmla="*/ 727710 w 2076450"/>
                <a:gd name="connsiteY939" fmla="*/ 148590 h 1352550"/>
                <a:gd name="connsiteX940" fmla="*/ 721995 w 2076450"/>
                <a:gd name="connsiteY940" fmla="*/ 148590 h 1352550"/>
                <a:gd name="connsiteX941" fmla="*/ 718185 w 2076450"/>
                <a:gd name="connsiteY941" fmla="*/ 147638 h 1352550"/>
                <a:gd name="connsiteX942" fmla="*/ 717232 w 2076450"/>
                <a:gd name="connsiteY942" fmla="*/ 142875 h 1352550"/>
                <a:gd name="connsiteX943" fmla="*/ 719138 w 2076450"/>
                <a:gd name="connsiteY943" fmla="*/ 138113 h 1352550"/>
                <a:gd name="connsiteX944" fmla="*/ 721043 w 2076450"/>
                <a:gd name="connsiteY944" fmla="*/ 136207 h 1352550"/>
                <a:gd name="connsiteX945" fmla="*/ 734377 w 2076450"/>
                <a:gd name="connsiteY945" fmla="*/ 124777 h 1352550"/>
                <a:gd name="connsiteX946" fmla="*/ 741997 w 2076450"/>
                <a:gd name="connsiteY946" fmla="*/ 117157 h 1352550"/>
                <a:gd name="connsiteX947" fmla="*/ 748665 w 2076450"/>
                <a:gd name="connsiteY947" fmla="*/ 107632 h 1352550"/>
                <a:gd name="connsiteX948" fmla="*/ 749618 w 2076450"/>
                <a:gd name="connsiteY948" fmla="*/ 104775 h 1352550"/>
                <a:gd name="connsiteX949" fmla="*/ 750570 w 2076450"/>
                <a:gd name="connsiteY949" fmla="*/ 98107 h 1352550"/>
                <a:gd name="connsiteX950" fmla="*/ 749618 w 2076450"/>
                <a:gd name="connsiteY950" fmla="*/ 92392 h 1352550"/>
                <a:gd name="connsiteX951" fmla="*/ 749618 w 2076450"/>
                <a:gd name="connsiteY951" fmla="*/ 89535 h 1352550"/>
                <a:gd name="connsiteX952" fmla="*/ 751522 w 2076450"/>
                <a:gd name="connsiteY952" fmla="*/ 85725 h 1352550"/>
                <a:gd name="connsiteX953" fmla="*/ 754380 w 2076450"/>
                <a:gd name="connsiteY953" fmla="*/ 84772 h 1352550"/>
                <a:gd name="connsiteX954" fmla="*/ 757238 w 2076450"/>
                <a:gd name="connsiteY954" fmla="*/ 84772 h 1352550"/>
                <a:gd name="connsiteX955" fmla="*/ 762952 w 2076450"/>
                <a:gd name="connsiteY955" fmla="*/ 87630 h 1352550"/>
                <a:gd name="connsiteX956" fmla="*/ 858202 w 2076450"/>
                <a:gd name="connsiteY956" fmla="*/ 45720 h 1352550"/>
                <a:gd name="connsiteX957" fmla="*/ 876300 w 2076450"/>
                <a:gd name="connsiteY957" fmla="*/ 42863 h 1352550"/>
                <a:gd name="connsiteX958" fmla="*/ 919163 w 2076450"/>
                <a:gd name="connsiteY958" fmla="*/ 29527 h 1352550"/>
                <a:gd name="connsiteX959" fmla="*/ 923925 w 2076450"/>
                <a:gd name="connsiteY959" fmla="*/ 27622 h 1352550"/>
                <a:gd name="connsiteX960" fmla="*/ 927735 w 2076450"/>
                <a:gd name="connsiteY960" fmla="*/ 24765 h 1352550"/>
                <a:gd name="connsiteX961" fmla="*/ 932497 w 2076450"/>
                <a:gd name="connsiteY961" fmla="*/ 18097 h 1352550"/>
                <a:gd name="connsiteX962" fmla="*/ 938213 w 2076450"/>
                <a:gd name="connsiteY962" fmla="*/ 12382 h 1352550"/>
                <a:gd name="connsiteX963" fmla="*/ 942022 w 2076450"/>
                <a:gd name="connsiteY963" fmla="*/ 9525 h 1352550"/>
                <a:gd name="connsiteX964" fmla="*/ 946785 w 2076450"/>
                <a:gd name="connsiteY964" fmla="*/ 7620 h 1352550"/>
                <a:gd name="connsiteX965" fmla="*/ 949643 w 2076450"/>
                <a:gd name="connsiteY965" fmla="*/ 6667 h 1352550"/>
                <a:gd name="connsiteX966" fmla="*/ 962977 w 2076450"/>
                <a:gd name="connsiteY966" fmla="*/ 7620 h 1352550"/>
                <a:gd name="connsiteX967" fmla="*/ 966788 w 2076450"/>
                <a:gd name="connsiteY967" fmla="*/ 6667 h 1352550"/>
                <a:gd name="connsiteX968" fmla="*/ 971550 w 2076450"/>
                <a:gd name="connsiteY968" fmla="*/ 2857 h 1352550"/>
                <a:gd name="connsiteX969" fmla="*/ 974407 w 2076450"/>
                <a:gd name="connsiteY969" fmla="*/ 1905 h 1352550"/>
                <a:gd name="connsiteX970" fmla="*/ 977265 w 2076450"/>
                <a:gd name="connsiteY970" fmla="*/ 1905 h 1352550"/>
                <a:gd name="connsiteX971" fmla="*/ 992505 w 2076450"/>
                <a:gd name="connsiteY971" fmla="*/ 7620 h 1352550"/>
                <a:gd name="connsiteX972" fmla="*/ 994410 w 2076450"/>
                <a:gd name="connsiteY972" fmla="*/ 9525 h 1352550"/>
                <a:gd name="connsiteX973" fmla="*/ 995363 w 2076450"/>
                <a:gd name="connsiteY973" fmla="*/ 11430 h 1352550"/>
                <a:gd name="connsiteX974" fmla="*/ 995363 w 2076450"/>
                <a:gd name="connsiteY974" fmla="*/ 14288 h 1352550"/>
                <a:gd name="connsiteX975" fmla="*/ 994410 w 2076450"/>
                <a:gd name="connsiteY975" fmla="*/ 16192 h 1352550"/>
                <a:gd name="connsiteX976" fmla="*/ 990600 w 2076450"/>
                <a:gd name="connsiteY976" fmla="*/ 20002 h 1352550"/>
                <a:gd name="connsiteX977" fmla="*/ 988695 w 2076450"/>
                <a:gd name="connsiteY977" fmla="*/ 21907 h 1352550"/>
                <a:gd name="connsiteX978" fmla="*/ 987743 w 2076450"/>
                <a:gd name="connsiteY978" fmla="*/ 24765 h 1352550"/>
                <a:gd name="connsiteX979" fmla="*/ 988695 w 2076450"/>
                <a:gd name="connsiteY979" fmla="*/ 26670 h 1352550"/>
                <a:gd name="connsiteX980" fmla="*/ 990600 w 2076450"/>
                <a:gd name="connsiteY980" fmla="*/ 29527 h 1352550"/>
                <a:gd name="connsiteX981" fmla="*/ 993457 w 2076450"/>
                <a:gd name="connsiteY981" fmla="*/ 30480 h 1352550"/>
                <a:gd name="connsiteX982" fmla="*/ 1000125 w 2076450"/>
                <a:gd name="connsiteY982" fmla="*/ 31432 h 1352550"/>
                <a:gd name="connsiteX983" fmla="*/ 1002982 w 2076450"/>
                <a:gd name="connsiteY983" fmla="*/ 29527 h 1352550"/>
                <a:gd name="connsiteX984" fmla="*/ 1005840 w 2076450"/>
                <a:gd name="connsiteY984" fmla="*/ 28575 h 1352550"/>
                <a:gd name="connsiteX985" fmla="*/ 1008697 w 2076450"/>
                <a:gd name="connsiteY985" fmla="*/ 22860 h 1352550"/>
                <a:gd name="connsiteX986" fmla="*/ 1011555 w 2076450"/>
                <a:gd name="connsiteY986" fmla="*/ 12382 h 1352550"/>
                <a:gd name="connsiteX987" fmla="*/ 1013460 w 2076450"/>
                <a:gd name="connsiteY987" fmla="*/ 7620 h 1352550"/>
                <a:gd name="connsiteX988" fmla="*/ 1018222 w 2076450"/>
                <a:gd name="connsiteY988" fmla="*/ 2857 h 1352550"/>
                <a:gd name="connsiteX989" fmla="*/ 1021080 w 2076450"/>
                <a:gd name="connsiteY989" fmla="*/ 952 h 1352550"/>
                <a:gd name="connsiteX990" fmla="*/ 1024890 w 2076450"/>
                <a:gd name="connsiteY990" fmla="*/ 0 h 1352550"/>
                <a:gd name="connsiteX991" fmla="*/ 1027747 w 2076450"/>
                <a:gd name="connsiteY991" fmla="*/ 0 h 1352550"/>
                <a:gd name="connsiteX992" fmla="*/ 1033463 w 2076450"/>
                <a:gd name="connsiteY992" fmla="*/ 1905 h 1352550"/>
                <a:gd name="connsiteX993" fmla="*/ 1039177 w 2076450"/>
                <a:gd name="connsiteY993" fmla="*/ 4763 h 1352550"/>
                <a:gd name="connsiteX994" fmla="*/ 1055370 w 2076450"/>
                <a:gd name="connsiteY994" fmla="*/ 15240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</a:cxnLst>
              <a:rect l="l" t="t" r="r" b="b"/>
              <a:pathLst>
                <a:path w="2076450" h="1352550">
                  <a:moveTo>
                    <a:pt x="1055370" y="15240"/>
                  </a:moveTo>
                  <a:lnTo>
                    <a:pt x="1073468" y="19050"/>
                  </a:lnTo>
                  <a:lnTo>
                    <a:pt x="1080135" y="17145"/>
                  </a:lnTo>
                  <a:lnTo>
                    <a:pt x="1082040" y="16192"/>
                  </a:lnTo>
                  <a:lnTo>
                    <a:pt x="1084897" y="16192"/>
                  </a:lnTo>
                  <a:lnTo>
                    <a:pt x="1088707" y="17145"/>
                  </a:lnTo>
                  <a:lnTo>
                    <a:pt x="1093470" y="20955"/>
                  </a:lnTo>
                  <a:lnTo>
                    <a:pt x="1097280" y="22860"/>
                  </a:lnTo>
                  <a:lnTo>
                    <a:pt x="1102995" y="23813"/>
                  </a:lnTo>
                  <a:lnTo>
                    <a:pt x="1114425" y="20955"/>
                  </a:lnTo>
                  <a:lnTo>
                    <a:pt x="1118235" y="20955"/>
                  </a:lnTo>
                  <a:lnTo>
                    <a:pt x="1131570" y="23813"/>
                  </a:lnTo>
                  <a:lnTo>
                    <a:pt x="1141095" y="23813"/>
                  </a:lnTo>
                  <a:lnTo>
                    <a:pt x="1143952" y="24765"/>
                  </a:lnTo>
                  <a:lnTo>
                    <a:pt x="1153477" y="28575"/>
                  </a:lnTo>
                  <a:lnTo>
                    <a:pt x="1168718" y="40005"/>
                  </a:lnTo>
                  <a:lnTo>
                    <a:pt x="1172527" y="43815"/>
                  </a:lnTo>
                  <a:lnTo>
                    <a:pt x="1175385" y="47625"/>
                  </a:lnTo>
                  <a:lnTo>
                    <a:pt x="1177290" y="55245"/>
                  </a:lnTo>
                  <a:lnTo>
                    <a:pt x="1179195" y="58102"/>
                  </a:lnTo>
                  <a:lnTo>
                    <a:pt x="1213485" y="85725"/>
                  </a:lnTo>
                  <a:lnTo>
                    <a:pt x="1216343" y="90488"/>
                  </a:lnTo>
                  <a:lnTo>
                    <a:pt x="1218247" y="94297"/>
                  </a:lnTo>
                  <a:lnTo>
                    <a:pt x="1221105" y="97155"/>
                  </a:lnTo>
                  <a:lnTo>
                    <a:pt x="1235393" y="106680"/>
                  </a:lnTo>
                  <a:lnTo>
                    <a:pt x="1237297" y="109538"/>
                  </a:lnTo>
                  <a:lnTo>
                    <a:pt x="1246822" y="121920"/>
                  </a:lnTo>
                  <a:lnTo>
                    <a:pt x="1254443" y="129540"/>
                  </a:lnTo>
                  <a:lnTo>
                    <a:pt x="1284922" y="147638"/>
                  </a:lnTo>
                  <a:lnTo>
                    <a:pt x="1293495" y="154305"/>
                  </a:lnTo>
                  <a:lnTo>
                    <a:pt x="1303972" y="166688"/>
                  </a:lnTo>
                  <a:lnTo>
                    <a:pt x="1307782" y="167640"/>
                  </a:lnTo>
                  <a:lnTo>
                    <a:pt x="1311593" y="168592"/>
                  </a:lnTo>
                  <a:lnTo>
                    <a:pt x="1318260" y="168592"/>
                  </a:lnTo>
                  <a:lnTo>
                    <a:pt x="1328738" y="165735"/>
                  </a:lnTo>
                  <a:lnTo>
                    <a:pt x="1331595" y="165735"/>
                  </a:lnTo>
                  <a:lnTo>
                    <a:pt x="1358265" y="170497"/>
                  </a:lnTo>
                  <a:lnTo>
                    <a:pt x="1361122" y="169545"/>
                  </a:lnTo>
                  <a:lnTo>
                    <a:pt x="1365885" y="167640"/>
                  </a:lnTo>
                  <a:lnTo>
                    <a:pt x="1368743" y="166688"/>
                  </a:lnTo>
                  <a:lnTo>
                    <a:pt x="1372552" y="167640"/>
                  </a:lnTo>
                  <a:lnTo>
                    <a:pt x="1381125" y="175260"/>
                  </a:lnTo>
                  <a:lnTo>
                    <a:pt x="1383982" y="178117"/>
                  </a:lnTo>
                  <a:lnTo>
                    <a:pt x="1386840" y="180022"/>
                  </a:lnTo>
                  <a:lnTo>
                    <a:pt x="1389697" y="180975"/>
                  </a:lnTo>
                  <a:lnTo>
                    <a:pt x="1405890" y="180022"/>
                  </a:lnTo>
                  <a:lnTo>
                    <a:pt x="1409700" y="180975"/>
                  </a:lnTo>
                  <a:lnTo>
                    <a:pt x="1413510" y="182880"/>
                  </a:lnTo>
                  <a:lnTo>
                    <a:pt x="1418272" y="187642"/>
                  </a:lnTo>
                  <a:lnTo>
                    <a:pt x="1422082" y="189547"/>
                  </a:lnTo>
                  <a:lnTo>
                    <a:pt x="1426845" y="189547"/>
                  </a:lnTo>
                  <a:lnTo>
                    <a:pt x="1429702" y="187642"/>
                  </a:lnTo>
                  <a:lnTo>
                    <a:pt x="1434465" y="184785"/>
                  </a:lnTo>
                  <a:lnTo>
                    <a:pt x="1438275" y="184785"/>
                  </a:lnTo>
                  <a:lnTo>
                    <a:pt x="1460182" y="191452"/>
                  </a:lnTo>
                  <a:lnTo>
                    <a:pt x="1471613" y="196215"/>
                  </a:lnTo>
                  <a:lnTo>
                    <a:pt x="1476375" y="200025"/>
                  </a:lnTo>
                  <a:lnTo>
                    <a:pt x="1482090" y="200025"/>
                  </a:lnTo>
                  <a:lnTo>
                    <a:pt x="1485900" y="200025"/>
                  </a:lnTo>
                  <a:lnTo>
                    <a:pt x="1490663" y="196215"/>
                  </a:lnTo>
                  <a:lnTo>
                    <a:pt x="1495425" y="194310"/>
                  </a:lnTo>
                  <a:lnTo>
                    <a:pt x="1498282" y="194310"/>
                  </a:lnTo>
                  <a:lnTo>
                    <a:pt x="1503045" y="192405"/>
                  </a:lnTo>
                  <a:lnTo>
                    <a:pt x="1504950" y="191452"/>
                  </a:lnTo>
                  <a:lnTo>
                    <a:pt x="1513522" y="184785"/>
                  </a:lnTo>
                  <a:lnTo>
                    <a:pt x="1523047" y="180022"/>
                  </a:lnTo>
                  <a:lnTo>
                    <a:pt x="1547813" y="170497"/>
                  </a:lnTo>
                  <a:lnTo>
                    <a:pt x="1554480" y="166688"/>
                  </a:lnTo>
                  <a:lnTo>
                    <a:pt x="1559243" y="167640"/>
                  </a:lnTo>
                  <a:lnTo>
                    <a:pt x="1565910" y="172402"/>
                  </a:lnTo>
                  <a:lnTo>
                    <a:pt x="1580197" y="185738"/>
                  </a:lnTo>
                  <a:lnTo>
                    <a:pt x="1584960" y="192405"/>
                  </a:lnTo>
                  <a:lnTo>
                    <a:pt x="1586865" y="198120"/>
                  </a:lnTo>
                  <a:lnTo>
                    <a:pt x="1586865" y="204788"/>
                  </a:lnTo>
                  <a:lnTo>
                    <a:pt x="1586865" y="207645"/>
                  </a:lnTo>
                  <a:lnTo>
                    <a:pt x="1590675" y="212407"/>
                  </a:lnTo>
                  <a:lnTo>
                    <a:pt x="1600200" y="223838"/>
                  </a:lnTo>
                  <a:lnTo>
                    <a:pt x="1602105" y="227647"/>
                  </a:lnTo>
                  <a:lnTo>
                    <a:pt x="1600200" y="232410"/>
                  </a:lnTo>
                  <a:lnTo>
                    <a:pt x="1594485" y="242888"/>
                  </a:lnTo>
                  <a:lnTo>
                    <a:pt x="1590675" y="246697"/>
                  </a:lnTo>
                  <a:lnTo>
                    <a:pt x="1577340" y="254317"/>
                  </a:lnTo>
                  <a:lnTo>
                    <a:pt x="1571625" y="260032"/>
                  </a:lnTo>
                  <a:lnTo>
                    <a:pt x="1570672" y="261938"/>
                  </a:lnTo>
                  <a:lnTo>
                    <a:pt x="1570672" y="263842"/>
                  </a:lnTo>
                  <a:lnTo>
                    <a:pt x="1573530" y="265747"/>
                  </a:lnTo>
                  <a:lnTo>
                    <a:pt x="1590675" y="264795"/>
                  </a:lnTo>
                  <a:lnTo>
                    <a:pt x="1593532" y="264795"/>
                  </a:lnTo>
                  <a:lnTo>
                    <a:pt x="1597343" y="267652"/>
                  </a:lnTo>
                  <a:lnTo>
                    <a:pt x="1605915" y="275272"/>
                  </a:lnTo>
                  <a:lnTo>
                    <a:pt x="1610677" y="278130"/>
                  </a:lnTo>
                  <a:lnTo>
                    <a:pt x="1624013" y="281940"/>
                  </a:lnTo>
                  <a:lnTo>
                    <a:pt x="1628775" y="284797"/>
                  </a:lnTo>
                  <a:lnTo>
                    <a:pt x="1630680" y="288607"/>
                  </a:lnTo>
                  <a:lnTo>
                    <a:pt x="1630680" y="292417"/>
                  </a:lnTo>
                  <a:lnTo>
                    <a:pt x="1632585" y="296227"/>
                  </a:lnTo>
                  <a:lnTo>
                    <a:pt x="1637347" y="300038"/>
                  </a:lnTo>
                  <a:lnTo>
                    <a:pt x="1648777" y="306705"/>
                  </a:lnTo>
                  <a:lnTo>
                    <a:pt x="1653540" y="310515"/>
                  </a:lnTo>
                  <a:lnTo>
                    <a:pt x="1657350" y="314325"/>
                  </a:lnTo>
                  <a:lnTo>
                    <a:pt x="1660207" y="320992"/>
                  </a:lnTo>
                  <a:lnTo>
                    <a:pt x="1663065" y="323850"/>
                  </a:lnTo>
                  <a:lnTo>
                    <a:pt x="1677352" y="334327"/>
                  </a:lnTo>
                  <a:lnTo>
                    <a:pt x="1680210" y="338138"/>
                  </a:lnTo>
                  <a:lnTo>
                    <a:pt x="1681163" y="341947"/>
                  </a:lnTo>
                  <a:lnTo>
                    <a:pt x="1678305" y="345757"/>
                  </a:lnTo>
                  <a:lnTo>
                    <a:pt x="1675447" y="348615"/>
                  </a:lnTo>
                  <a:lnTo>
                    <a:pt x="1664970" y="356235"/>
                  </a:lnTo>
                  <a:lnTo>
                    <a:pt x="1663065" y="358140"/>
                  </a:lnTo>
                  <a:lnTo>
                    <a:pt x="1661160" y="363855"/>
                  </a:lnTo>
                  <a:lnTo>
                    <a:pt x="1660207" y="366713"/>
                  </a:lnTo>
                  <a:lnTo>
                    <a:pt x="1661160" y="369570"/>
                  </a:lnTo>
                  <a:lnTo>
                    <a:pt x="1663065" y="371475"/>
                  </a:lnTo>
                  <a:lnTo>
                    <a:pt x="1683068" y="385763"/>
                  </a:lnTo>
                  <a:lnTo>
                    <a:pt x="1696402" y="399097"/>
                  </a:lnTo>
                  <a:lnTo>
                    <a:pt x="1733550" y="430530"/>
                  </a:lnTo>
                  <a:lnTo>
                    <a:pt x="1740218" y="438150"/>
                  </a:lnTo>
                  <a:lnTo>
                    <a:pt x="1742122" y="442913"/>
                  </a:lnTo>
                  <a:lnTo>
                    <a:pt x="1740218" y="448627"/>
                  </a:lnTo>
                  <a:lnTo>
                    <a:pt x="1733550" y="461963"/>
                  </a:lnTo>
                  <a:lnTo>
                    <a:pt x="1731645" y="466725"/>
                  </a:lnTo>
                  <a:lnTo>
                    <a:pt x="1731645" y="469582"/>
                  </a:lnTo>
                  <a:lnTo>
                    <a:pt x="1733550" y="471488"/>
                  </a:lnTo>
                  <a:lnTo>
                    <a:pt x="1742122" y="478155"/>
                  </a:lnTo>
                  <a:lnTo>
                    <a:pt x="1750695" y="487680"/>
                  </a:lnTo>
                  <a:lnTo>
                    <a:pt x="1752600" y="491490"/>
                  </a:lnTo>
                  <a:lnTo>
                    <a:pt x="1750695" y="496252"/>
                  </a:lnTo>
                  <a:lnTo>
                    <a:pt x="1736407" y="512445"/>
                  </a:lnTo>
                  <a:lnTo>
                    <a:pt x="1734502" y="517207"/>
                  </a:lnTo>
                  <a:lnTo>
                    <a:pt x="1735455" y="519113"/>
                  </a:lnTo>
                  <a:lnTo>
                    <a:pt x="1741170" y="524827"/>
                  </a:lnTo>
                  <a:lnTo>
                    <a:pt x="1743075" y="525780"/>
                  </a:lnTo>
                  <a:lnTo>
                    <a:pt x="1745932" y="525780"/>
                  </a:lnTo>
                  <a:lnTo>
                    <a:pt x="1750695" y="521970"/>
                  </a:lnTo>
                  <a:lnTo>
                    <a:pt x="1755457" y="517207"/>
                  </a:lnTo>
                  <a:lnTo>
                    <a:pt x="1757363" y="515302"/>
                  </a:lnTo>
                  <a:lnTo>
                    <a:pt x="1759268" y="514350"/>
                  </a:lnTo>
                  <a:lnTo>
                    <a:pt x="1764982" y="517207"/>
                  </a:lnTo>
                  <a:lnTo>
                    <a:pt x="1768793" y="521017"/>
                  </a:lnTo>
                  <a:lnTo>
                    <a:pt x="1771650" y="522922"/>
                  </a:lnTo>
                  <a:lnTo>
                    <a:pt x="1775460" y="522922"/>
                  </a:lnTo>
                  <a:lnTo>
                    <a:pt x="1779270" y="521017"/>
                  </a:lnTo>
                  <a:lnTo>
                    <a:pt x="1788795" y="514350"/>
                  </a:lnTo>
                  <a:lnTo>
                    <a:pt x="1789747" y="511492"/>
                  </a:lnTo>
                  <a:lnTo>
                    <a:pt x="1789747" y="508635"/>
                  </a:lnTo>
                  <a:lnTo>
                    <a:pt x="1784985" y="504825"/>
                  </a:lnTo>
                  <a:lnTo>
                    <a:pt x="1784032" y="503872"/>
                  </a:lnTo>
                  <a:lnTo>
                    <a:pt x="1783080" y="501015"/>
                  </a:lnTo>
                  <a:lnTo>
                    <a:pt x="1784032" y="498157"/>
                  </a:lnTo>
                  <a:lnTo>
                    <a:pt x="1792605" y="483870"/>
                  </a:lnTo>
                  <a:lnTo>
                    <a:pt x="1830705" y="437197"/>
                  </a:lnTo>
                  <a:lnTo>
                    <a:pt x="1839277" y="431482"/>
                  </a:lnTo>
                  <a:lnTo>
                    <a:pt x="1842135" y="430530"/>
                  </a:lnTo>
                  <a:lnTo>
                    <a:pt x="1846897" y="430530"/>
                  </a:lnTo>
                  <a:lnTo>
                    <a:pt x="1855470" y="433388"/>
                  </a:lnTo>
                  <a:lnTo>
                    <a:pt x="1878330" y="446722"/>
                  </a:lnTo>
                  <a:lnTo>
                    <a:pt x="1886902" y="453390"/>
                  </a:lnTo>
                  <a:lnTo>
                    <a:pt x="1889760" y="457200"/>
                  </a:lnTo>
                  <a:lnTo>
                    <a:pt x="1892618" y="461963"/>
                  </a:lnTo>
                  <a:lnTo>
                    <a:pt x="1894522" y="463867"/>
                  </a:lnTo>
                  <a:lnTo>
                    <a:pt x="1898332" y="465772"/>
                  </a:lnTo>
                  <a:lnTo>
                    <a:pt x="1905000" y="466725"/>
                  </a:lnTo>
                  <a:lnTo>
                    <a:pt x="1924050" y="464820"/>
                  </a:lnTo>
                  <a:lnTo>
                    <a:pt x="1928813" y="462915"/>
                  </a:lnTo>
                  <a:lnTo>
                    <a:pt x="1932622" y="458152"/>
                  </a:lnTo>
                  <a:lnTo>
                    <a:pt x="1943100" y="451485"/>
                  </a:lnTo>
                  <a:lnTo>
                    <a:pt x="1973580" y="447675"/>
                  </a:lnTo>
                  <a:lnTo>
                    <a:pt x="1975485" y="454342"/>
                  </a:lnTo>
                  <a:lnTo>
                    <a:pt x="1976438" y="461010"/>
                  </a:lnTo>
                  <a:lnTo>
                    <a:pt x="1978343" y="464820"/>
                  </a:lnTo>
                  <a:lnTo>
                    <a:pt x="1980247" y="466725"/>
                  </a:lnTo>
                  <a:lnTo>
                    <a:pt x="1983105" y="466725"/>
                  </a:lnTo>
                  <a:lnTo>
                    <a:pt x="2001202" y="463867"/>
                  </a:lnTo>
                  <a:lnTo>
                    <a:pt x="2004060" y="463867"/>
                  </a:lnTo>
                  <a:lnTo>
                    <a:pt x="2005965" y="464820"/>
                  </a:lnTo>
                  <a:lnTo>
                    <a:pt x="2007870" y="466725"/>
                  </a:lnTo>
                  <a:lnTo>
                    <a:pt x="2006918" y="471488"/>
                  </a:lnTo>
                  <a:lnTo>
                    <a:pt x="2005013" y="474345"/>
                  </a:lnTo>
                  <a:lnTo>
                    <a:pt x="2000250" y="477202"/>
                  </a:lnTo>
                  <a:lnTo>
                    <a:pt x="1998345" y="479107"/>
                  </a:lnTo>
                  <a:lnTo>
                    <a:pt x="1992630" y="490538"/>
                  </a:lnTo>
                  <a:lnTo>
                    <a:pt x="1987868" y="494347"/>
                  </a:lnTo>
                  <a:lnTo>
                    <a:pt x="1985963" y="496252"/>
                  </a:lnTo>
                  <a:lnTo>
                    <a:pt x="1985010" y="501015"/>
                  </a:lnTo>
                  <a:lnTo>
                    <a:pt x="1985010" y="516255"/>
                  </a:lnTo>
                  <a:lnTo>
                    <a:pt x="1985010" y="521017"/>
                  </a:lnTo>
                  <a:lnTo>
                    <a:pt x="1985963" y="522922"/>
                  </a:lnTo>
                  <a:lnTo>
                    <a:pt x="1986915" y="523875"/>
                  </a:lnTo>
                  <a:lnTo>
                    <a:pt x="1988820" y="524827"/>
                  </a:lnTo>
                  <a:lnTo>
                    <a:pt x="2005965" y="522922"/>
                  </a:lnTo>
                  <a:lnTo>
                    <a:pt x="2007870" y="521970"/>
                  </a:lnTo>
                  <a:lnTo>
                    <a:pt x="2009775" y="520065"/>
                  </a:lnTo>
                  <a:lnTo>
                    <a:pt x="2012632" y="514350"/>
                  </a:lnTo>
                  <a:lnTo>
                    <a:pt x="2016443" y="496252"/>
                  </a:lnTo>
                  <a:lnTo>
                    <a:pt x="2017395" y="492442"/>
                  </a:lnTo>
                  <a:lnTo>
                    <a:pt x="2020252" y="487680"/>
                  </a:lnTo>
                  <a:lnTo>
                    <a:pt x="2023110" y="484822"/>
                  </a:lnTo>
                  <a:lnTo>
                    <a:pt x="2025968" y="483870"/>
                  </a:lnTo>
                  <a:lnTo>
                    <a:pt x="2048827" y="481965"/>
                  </a:lnTo>
                  <a:lnTo>
                    <a:pt x="2054543" y="482917"/>
                  </a:lnTo>
                  <a:lnTo>
                    <a:pt x="2056447" y="484822"/>
                  </a:lnTo>
                  <a:lnTo>
                    <a:pt x="2057400" y="486727"/>
                  </a:lnTo>
                  <a:lnTo>
                    <a:pt x="2059305" y="491490"/>
                  </a:lnTo>
                  <a:lnTo>
                    <a:pt x="2060257" y="500063"/>
                  </a:lnTo>
                  <a:lnTo>
                    <a:pt x="2061210" y="517207"/>
                  </a:lnTo>
                  <a:lnTo>
                    <a:pt x="2060257" y="521017"/>
                  </a:lnTo>
                  <a:lnTo>
                    <a:pt x="2059305" y="523875"/>
                  </a:lnTo>
                  <a:lnTo>
                    <a:pt x="2055495" y="526732"/>
                  </a:lnTo>
                  <a:lnTo>
                    <a:pt x="2049780" y="529590"/>
                  </a:lnTo>
                  <a:lnTo>
                    <a:pt x="2043113" y="532447"/>
                  </a:lnTo>
                  <a:lnTo>
                    <a:pt x="2041207" y="534352"/>
                  </a:lnTo>
                  <a:lnTo>
                    <a:pt x="2040255" y="537210"/>
                  </a:lnTo>
                  <a:lnTo>
                    <a:pt x="2042160" y="544830"/>
                  </a:lnTo>
                  <a:lnTo>
                    <a:pt x="2043113" y="551497"/>
                  </a:lnTo>
                  <a:lnTo>
                    <a:pt x="2043113" y="553402"/>
                  </a:lnTo>
                  <a:lnTo>
                    <a:pt x="2042160" y="556260"/>
                  </a:lnTo>
                  <a:lnTo>
                    <a:pt x="2040255" y="558165"/>
                  </a:lnTo>
                  <a:lnTo>
                    <a:pt x="2034540" y="561022"/>
                  </a:lnTo>
                  <a:lnTo>
                    <a:pt x="2032635" y="562927"/>
                  </a:lnTo>
                  <a:lnTo>
                    <a:pt x="2031682" y="566738"/>
                  </a:lnTo>
                  <a:lnTo>
                    <a:pt x="2030730" y="590550"/>
                  </a:lnTo>
                  <a:lnTo>
                    <a:pt x="2032635" y="594360"/>
                  </a:lnTo>
                  <a:lnTo>
                    <a:pt x="2037397" y="598170"/>
                  </a:lnTo>
                  <a:lnTo>
                    <a:pt x="2037397" y="600075"/>
                  </a:lnTo>
                  <a:lnTo>
                    <a:pt x="2035493" y="603885"/>
                  </a:lnTo>
                  <a:lnTo>
                    <a:pt x="2032635" y="605790"/>
                  </a:lnTo>
                  <a:lnTo>
                    <a:pt x="2020252" y="611505"/>
                  </a:lnTo>
                  <a:lnTo>
                    <a:pt x="2018347" y="613410"/>
                  </a:lnTo>
                  <a:lnTo>
                    <a:pt x="2017395" y="616267"/>
                  </a:lnTo>
                  <a:lnTo>
                    <a:pt x="2017395" y="622935"/>
                  </a:lnTo>
                  <a:lnTo>
                    <a:pt x="2018347" y="626745"/>
                  </a:lnTo>
                  <a:lnTo>
                    <a:pt x="2020252" y="638175"/>
                  </a:lnTo>
                  <a:lnTo>
                    <a:pt x="2023110" y="661035"/>
                  </a:lnTo>
                  <a:lnTo>
                    <a:pt x="2022157" y="664845"/>
                  </a:lnTo>
                  <a:lnTo>
                    <a:pt x="2019300" y="681990"/>
                  </a:lnTo>
                  <a:lnTo>
                    <a:pt x="2019300" y="685800"/>
                  </a:lnTo>
                  <a:lnTo>
                    <a:pt x="2020252" y="691515"/>
                  </a:lnTo>
                  <a:lnTo>
                    <a:pt x="2021205" y="693420"/>
                  </a:lnTo>
                  <a:lnTo>
                    <a:pt x="2023110" y="695325"/>
                  </a:lnTo>
                  <a:lnTo>
                    <a:pt x="2025968" y="695325"/>
                  </a:lnTo>
                  <a:lnTo>
                    <a:pt x="2032635" y="692467"/>
                  </a:lnTo>
                  <a:lnTo>
                    <a:pt x="2038350" y="691515"/>
                  </a:lnTo>
                  <a:lnTo>
                    <a:pt x="2043113" y="692467"/>
                  </a:lnTo>
                  <a:lnTo>
                    <a:pt x="2045970" y="693420"/>
                  </a:lnTo>
                  <a:lnTo>
                    <a:pt x="2046922" y="695325"/>
                  </a:lnTo>
                  <a:lnTo>
                    <a:pt x="2047875" y="700088"/>
                  </a:lnTo>
                  <a:lnTo>
                    <a:pt x="2049780" y="701992"/>
                  </a:lnTo>
                  <a:lnTo>
                    <a:pt x="2051685" y="702945"/>
                  </a:lnTo>
                  <a:lnTo>
                    <a:pt x="2063115" y="704850"/>
                  </a:lnTo>
                  <a:lnTo>
                    <a:pt x="2065972" y="706755"/>
                  </a:lnTo>
                  <a:lnTo>
                    <a:pt x="2067877" y="708660"/>
                  </a:lnTo>
                  <a:lnTo>
                    <a:pt x="2068830" y="710565"/>
                  </a:lnTo>
                  <a:lnTo>
                    <a:pt x="2068830" y="719138"/>
                  </a:lnTo>
                  <a:lnTo>
                    <a:pt x="2069782" y="724852"/>
                  </a:lnTo>
                  <a:lnTo>
                    <a:pt x="2072640" y="735330"/>
                  </a:lnTo>
                  <a:lnTo>
                    <a:pt x="2077402" y="765810"/>
                  </a:lnTo>
                  <a:lnTo>
                    <a:pt x="2078355" y="773430"/>
                  </a:lnTo>
                  <a:lnTo>
                    <a:pt x="2079307" y="782002"/>
                  </a:lnTo>
                  <a:lnTo>
                    <a:pt x="2079307" y="784860"/>
                  </a:lnTo>
                  <a:lnTo>
                    <a:pt x="2078355" y="788670"/>
                  </a:lnTo>
                  <a:lnTo>
                    <a:pt x="2075497" y="793432"/>
                  </a:lnTo>
                  <a:lnTo>
                    <a:pt x="2067877" y="801052"/>
                  </a:lnTo>
                  <a:lnTo>
                    <a:pt x="2064068" y="803910"/>
                  </a:lnTo>
                  <a:lnTo>
                    <a:pt x="2060257" y="805815"/>
                  </a:lnTo>
                  <a:lnTo>
                    <a:pt x="2054543" y="806767"/>
                  </a:lnTo>
                  <a:lnTo>
                    <a:pt x="2052638" y="808672"/>
                  </a:lnTo>
                  <a:lnTo>
                    <a:pt x="2050732" y="811530"/>
                  </a:lnTo>
                  <a:lnTo>
                    <a:pt x="2049780" y="816292"/>
                  </a:lnTo>
                  <a:lnTo>
                    <a:pt x="2049780" y="823913"/>
                  </a:lnTo>
                  <a:lnTo>
                    <a:pt x="2053590" y="844867"/>
                  </a:lnTo>
                  <a:lnTo>
                    <a:pt x="2054543" y="850582"/>
                  </a:lnTo>
                  <a:lnTo>
                    <a:pt x="2060257" y="864870"/>
                  </a:lnTo>
                  <a:lnTo>
                    <a:pt x="2061210" y="870585"/>
                  </a:lnTo>
                  <a:lnTo>
                    <a:pt x="2062163" y="881063"/>
                  </a:lnTo>
                  <a:lnTo>
                    <a:pt x="2062163" y="887730"/>
                  </a:lnTo>
                  <a:lnTo>
                    <a:pt x="2061210" y="890588"/>
                  </a:lnTo>
                  <a:lnTo>
                    <a:pt x="2058352" y="895350"/>
                  </a:lnTo>
                  <a:lnTo>
                    <a:pt x="2052638" y="901065"/>
                  </a:lnTo>
                  <a:lnTo>
                    <a:pt x="2039302" y="912495"/>
                  </a:lnTo>
                  <a:lnTo>
                    <a:pt x="2033588" y="916305"/>
                  </a:lnTo>
                  <a:lnTo>
                    <a:pt x="2027872" y="918210"/>
                  </a:lnTo>
                  <a:lnTo>
                    <a:pt x="2025015" y="917257"/>
                  </a:lnTo>
                  <a:lnTo>
                    <a:pt x="2006918" y="907732"/>
                  </a:lnTo>
                  <a:lnTo>
                    <a:pt x="1986915" y="902017"/>
                  </a:lnTo>
                  <a:lnTo>
                    <a:pt x="1982152" y="899160"/>
                  </a:lnTo>
                  <a:lnTo>
                    <a:pt x="1980247" y="897255"/>
                  </a:lnTo>
                  <a:lnTo>
                    <a:pt x="1978343" y="889635"/>
                  </a:lnTo>
                  <a:lnTo>
                    <a:pt x="1974532" y="885825"/>
                  </a:lnTo>
                  <a:lnTo>
                    <a:pt x="1972627" y="883920"/>
                  </a:lnTo>
                  <a:lnTo>
                    <a:pt x="1941195" y="874395"/>
                  </a:lnTo>
                  <a:lnTo>
                    <a:pt x="1935480" y="874395"/>
                  </a:lnTo>
                  <a:lnTo>
                    <a:pt x="1918335" y="879157"/>
                  </a:lnTo>
                  <a:lnTo>
                    <a:pt x="1908810" y="879157"/>
                  </a:lnTo>
                  <a:lnTo>
                    <a:pt x="1905952" y="879157"/>
                  </a:lnTo>
                  <a:lnTo>
                    <a:pt x="1901190" y="881063"/>
                  </a:lnTo>
                  <a:lnTo>
                    <a:pt x="1897380" y="885825"/>
                  </a:lnTo>
                  <a:lnTo>
                    <a:pt x="1895475" y="890588"/>
                  </a:lnTo>
                  <a:lnTo>
                    <a:pt x="1894522" y="898207"/>
                  </a:lnTo>
                  <a:lnTo>
                    <a:pt x="1891665" y="943927"/>
                  </a:lnTo>
                  <a:lnTo>
                    <a:pt x="1892618" y="947738"/>
                  </a:lnTo>
                  <a:lnTo>
                    <a:pt x="1894522" y="958215"/>
                  </a:lnTo>
                  <a:lnTo>
                    <a:pt x="1894522" y="966788"/>
                  </a:lnTo>
                  <a:lnTo>
                    <a:pt x="1897380" y="971550"/>
                  </a:lnTo>
                  <a:lnTo>
                    <a:pt x="1900238" y="973455"/>
                  </a:lnTo>
                  <a:lnTo>
                    <a:pt x="1909763" y="975360"/>
                  </a:lnTo>
                  <a:lnTo>
                    <a:pt x="1912620" y="976313"/>
                  </a:lnTo>
                  <a:lnTo>
                    <a:pt x="1914525" y="977265"/>
                  </a:lnTo>
                  <a:lnTo>
                    <a:pt x="1915477" y="980122"/>
                  </a:lnTo>
                  <a:lnTo>
                    <a:pt x="1921193" y="994410"/>
                  </a:lnTo>
                  <a:lnTo>
                    <a:pt x="1925002" y="1001077"/>
                  </a:lnTo>
                  <a:lnTo>
                    <a:pt x="1925002" y="1005840"/>
                  </a:lnTo>
                  <a:lnTo>
                    <a:pt x="1922145" y="1006792"/>
                  </a:lnTo>
                  <a:lnTo>
                    <a:pt x="1916430" y="1007745"/>
                  </a:lnTo>
                  <a:lnTo>
                    <a:pt x="1899285" y="1008697"/>
                  </a:lnTo>
                  <a:lnTo>
                    <a:pt x="1895475" y="1008697"/>
                  </a:lnTo>
                  <a:lnTo>
                    <a:pt x="1892618" y="1010602"/>
                  </a:lnTo>
                  <a:lnTo>
                    <a:pt x="1888807" y="1013460"/>
                  </a:lnTo>
                  <a:lnTo>
                    <a:pt x="1884997" y="1014413"/>
                  </a:lnTo>
                  <a:lnTo>
                    <a:pt x="1876425" y="1014413"/>
                  </a:lnTo>
                  <a:lnTo>
                    <a:pt x="1874520" y="1016317"/>
                  </a:lnTo>
                  <a:lnTo>
                    <a:pt x="1872615" y="1018222"/>
                  </a:lnTo>
                  <a:lnTo>
                    <a:pt x="1871663" y="1022985"/>
                  </a:lnTo>
                  <a:lnTo>
                    <a:pt x="1870710" y="1025842"/>
                  </a:lnTo>
                  <a:lnTo>
                    <a:pt x="1870710" y="1032510"/>
                  </a:lnTo>
                  <a:lnTo>
                    <a:pt x="1871663" y="1035367"/>
                  </a:lnTo>
                  <a:lnTo>
                    <a:pt x="1873568" y="1038225"/>
                  </a:lnTo>
                  <a:lnTo>
                    <a:pt x="1878330" y="1041082"/>
                  </a:lnTo>
                  <a:lnTo>
                    <a:pt x="1885950" y="1042988"/>
                  </a:lnTo>
                  <a:lnTo>
                    <a:pt x="1888807" y="1045845"/>
                  </a:lnTo>
                  <a:lnTo>
                    <a:pt x="1890713" y="1048702"/>
                  </a:lnTo>
                  <a:lnTo>
                    <a:pt x="1894522" y="1066800"/>
                  </a:lnTo>
                  <a:lnTo>
                    <a:pt x="1797368" y="1081088"/>
                  </a:lnTo>
                  <a:lnTo>
                    <a:pt x="1795463" y="1080135"/>
                  </a:lnTo>
                  <a:lnTo>
                    <a:pt x="1793557" y="1078230"/>
                  </a:lnTo>
                  <a:lnTo>
                    <a:pt x="1790700" y="1074420"/>
                  </a:lnTo>
                  <a:lnTo>
                    <a:pt x="1786890" y="1070610"/>
                  </a:lnTo>
                  <a:lnTo>
                    <a:pt x="1781175" y="1069657"/>
                  </a:lnTo>
                  <a:lnTo>
                    <a:pt x="1778318" y="1070610"/>
                  </a:lnTo>
                  <a:lnTo>
                    <a:pt x="1773555" y="1072515"/>
                  </a:lnTo>
                  <a:lnTo>
                    <a:pt x="1767840" y="1077277"/>
                  </a:lnTo>
                  <a:lnTo>
                    <a:pt x="1765935" y="1081088"/>
                  </a:lnTo>
                  <a:lnTo>
                    <a:pt x="1762125" y="1086802"/>
                  </a:lnTo>
                  <a:lnTo>
                    <a:pt x="1758315" y="1089660"/>
                  </a:lnTo>
                  <a:lnTo>
                    <a:pt x="1753552" y="1090613"/>
                  </a:lnTo>
                  <a:lnTo>
                    <a:pt x="1742122" y="1090613"/>
                  </a:lnTo>
                  <a:lnTo>
                    <a:pt x="1735455" y="1089660"/>
                  </a:lnTo>
                  <a:lnTo>
                    <a:pt x="1731645" y="1088707"/>
                  </a:lnTo>
                  <a:lnTo>
                    <a:pt x="1725930" y="1082992"/>
                  </a:lnTo>
                  <a:lnTo>
                    <a:pt x="1724025" y="1082040"/>
                  </a:lnTo>
                  <a:lnTo>
                    <a:pt x="1721168" y="1080135"/>
                  </a:lnTo>
                  <a:lnTo>
                    <a:pt x="1708785" y="1079182"/>
                  </a:lnTo>
                  <a:lnTo>
                    <a:pt x="1704022" y="1077277"/>
                  </a:lnTo>
                  <a:lnTo>
                    <a:pt x="1703070" y="1075373"/>
                  </a:lnTo>
                  <a:lnTo>
                    <a:pt x="1701165" y="1058227"/>
                  </a:lnTo>
                  <a:lnTo>
                    <a:pt x="1700213" y="1053465"/>
                  </a:lnTo>
                  <a:lnTo>
                    <a:pt x="1698307" y="1051560"/>
                  </a:lnTo>
                  <a:lnTo>
                    <a:pt x="1692593" y="1051560"/>
                  </a:lnTo>
                  <a:lnTo>
                    <a:pt x="1689735" y="1052513"/>
                  </a:lnTo>
                  <a:lnTo>
                    <a:pt x="1685925" y="1053465"/>
                  </a:lnTo>
                  <a:lnTo>
                    <a:pt x="1682115" y="1058227"/>
                  </a:lnTo>
                  <a:lnTo>
                    <a:pt x="1680210" y="1062038"/>
                  </a:lnTo>
                  <a:lnTo>
                    <a:pt x="1677352" y="1067752"/>
                  </a:lnTo>
                  <a:lnTo>
                    <a:pt x="1675447" y="1069657"/>
                  </a:lnTo>
                  <a:lnTo>
                    <a:pt x="1670685" y="1071563"/>
                  </a:lnTo>
                  <a:lnTo>
                    <a:pt x="1646872" y="1073467"/>
                  </a:lnTo>
                  <a:lnTo>
                    <a:pt x="1643063" y="1073467"/>
                  </a:lnTo>
                  <a:lnTo>
                    <a:pt x="1639252" y="1069657"/>
                  </a:lnTo>
                  <a:lnTo>
                    <a:pt x="1637347" y="1067752"/>
                  </a:lnTo>
                  <a:lnTo>
                    <a:pt x="1632585" y="1065848"/>
                  </a:lnTo>
                  <a:lnTo>
                    <a:pt x="1631632" y="1063942"/>
                  </a:lnTo>
                  <a:lnTo>
                    <a:pt x="1630680" y="1058227"/>
                  </a:lnTo>
                  <a:lnTo>
                    <a:pt x="1628775" y="1056323"/>
                  </a:lnTo>
                  <a:lnTo>
                    <a:pt x="1624013" y="1053465"/>
                  </a:lnTo>
                  <a:lnTo>
                    <a:pt x="1623060" y="1051560"/>
                  </a:lnTo>
                  <a:lnTo>
                    <a:pt x="1622107" y="1045845"/>
                  </a:lnTo>
                  <a:lnTo>
                    <a:pt x="1623060" y="1042988"/>
                  </a:lnTo>
                  <a:lnTo>
                    <a:pt x="1624013" y="1042035"/>
                  </a:lnTo>
                  <a:lnTo>
                    <a:pt x="1628775" y="1042035"/>
                  </a:lnTo>
                  <a:lnTo>
                    <a:pt x="1630680" y="1043940"/>
                  </a:lnTo>
                  <a:lnTo>
                    <a:pt x="1634490" y="1047750"/>
                  </a:lnTo>
                  <a:lnTo>
                    <a:pt x="1637347" y="1048702"/>
                  </a:lnTo>
                  <a:lnTo>
                    <a:pt x="1640205" y="1047750"/>
                  </a:lnTo>
                  <a:lnTo>
                    <a:pt x="1643063" y="1043940"/>
                  </a:lnTo>
                  <a:lnTo>
                    <a:pt x="1644015" y="1040130"/>
                  </a:lnTo>
                  <a:lnTo>
                    <a:pt x="1648777" y="1026795"/>
                  </a:lnTo>
                  <a:lnTo>
                    <a:pt x="1652588" y="1018222"/>
                  </a:lnTo>
                  <a:lnTo>
                    <a:pt x="1652588" y="1015365"/>
                  </a:lnTo>
                  <a:lnTo>
                    <a:pt x="1652588" y="1012507"/>
                  </a:lnTo>
                  <a:lnTo>
                    <a:pt x="1650682" y="1004888"/>
                  </a:lnTo>
                  <a:lnTo>
                    <a:pt x="1651635" y="999172"/>
                  </a:lnTo>
                  <a:lnTo>
                    <a:pt x="1652588" y="994410"/>
                  </a:lnTo>
                  <a:lnTo>
                    <a:pt x="1652588" y="991552"/>
                  </a:lnTo>
                  <a:lnTo>
                    <a:pt x="1651635" y="991552"/>
                  </a:lnTo>
                  <a:lnTo>
                    <a:pt x="1636395" y="992505"/>
                  </a:lnTo>
                  <a:lnTo>
                    <a:pt x="1632585" y="989647"/>
                  </a:lnTo>
                  <a:lnTo>
                    <a:pt x="1630680" y="986790"/>
                  </a:lnTo>
                  <a:lnTo>
                    <a:pt x="1628775" y="984885"/>
                  </a:lnTo>
                  <a:lnTo>
                    <a:pt x="1622107" y="982027"/>
                  </a:lnTo>
                  <a:lnTo>
                    <a:pt x="1621155" y="980122"/>
                  </a:lnTo>
                  <a:lnTo>
                    <a:pt x="1622107" y="971550"/>
                  </a:lnTo>
                  <a:lnTo>
                    <a:pt x="1622107" y="967740"/>
                  </a:lnTo>
                  <a:lnTo>
                    <a:pt x="1621155" y="957263"/>
                  </a:lnTo>
                  <a:lnTo>
                    <a:pt x="1620202" y="951547"/>
                  </a:lnTo>
                  <a:lnTo>
                    <a:pt x="1617345" y="946785"/>
                  </a:lnTo>
                  <a:lnTo>
                    <a:pt x="1615440" y="945832"/>
                  </a:lnTo>
                  <a:lnTo>
                    <a:pt x="1612582" y="944880"/>
                  </a:lnTo>
                  <a:lnTo>
                    <a:pt x="1604963" y="942975"/>
                  </a:lnTo>
                  <a:lnTo>
                    <a:pt x="1602105" y="940117"/>
                  </a:lnTo>
                  <a:lnTo>
                    <a:pt x="1602105" y="938213"/>
                  </a:lnTo>
                  <a:lnTo>
                    <a:pt x="1603057" y="935355"/>
                  </a:lnTo>
                  <a:lnTo>
                    <a:pt x="1605915" y="930592"/>
                  </a:lnTo>
                  <a:lnTo>
                    <a:pt x="1612582" y="922972"/>
                  </a:lnTo>
                  <a:lnTo>
                    <a:pt x="1615440" y="917257"/>
                  </a:lnTo>
                  <a:lnTo>
                    <a:pt x="1616393" y="914400"/>
                  </a:lnTo>
                  <a:lnTo>
                    <a:pt x="1614488" y="909638"/>
                  </a:lnTo>
                  <a:lnTo>
                    <a:pt x="1611630" y="908685"/>
                  </a:lnTo>
                  <a:lnTo>
                    <a:pt x="1607820" y="909638"/>
                  </a:lnTo>
                  <a:lnTo>
                    <a:pt x="1590675" y="922020"/>
                  </a:lnTo>
                  <a:lnTo>
                    <a:pt x="1585913" y="922972"/>
                  </a:lnTo>
                  <a:lnTo>
                    <a:pt x="1580197" y="922972"/>
                  </a:lnTo>
                  <a:lnTo>
                    <a:pt x="1577340" y="921067"/>
                  </a:lnTo>
                  <a:lnTo>
                    <a:pt x="1576388" y="919163"/>
                  </a:lnTo>
                  <a:lnTo>
                    <a:pt x="1576388" y="912495"/>
                  </a:lnTo>
                  <a:lnTo>
                    <a:pt x="1576388" y="909638"/>
                  </a:lnTo>
                  <a:lnTo>
                    <a:pt x="1573530" y="902970"/>
                  </a:lnTo>
                  <a:lnTo>
                    <a:pt x="1572577" y="897255"/>
                  </a:lnTo>
                  <a:lnTo>
                    <a:pt x="1573530" y="893445"/>
                  </a:lnTo>
                  <a:lnTo>
                    <a:pt x="1575435" y="882967"/>
                  </a:lnTo>
                  <a:lnTo>
                    <a:pt x="1575435" y="880110"/>
                  </a:lnTo>
                  <a:lnTo>
                    <a:pt x="1575435" y="877252"/>
                  </a:lnTo>
                  <a:lnTo>
                    <a:pt x="1573530" y="875347"/>
                  </a:lnTo>
                  <a:lnTo>
                    <a:pt x="1571625" y="873442"/>
                  </a:lnTo>
                  <a:lnTo>
                    <a:pt x="1569720" y="872490"/>
                  </a:lnTo>
                  <a:lnTo>
                    <a:pt x="1565910" y="871538"/>
                  </a:lnTo>
                  <a:lnTo>
                    <a:pt x="1560195" y="871538"/>
                  </a:lnTo>
                  <a:lnTo>
                    <a:pt x="1528763" y="879157"/>
                  </a:lnTo>
                  <a:lnTo>
                    <a:pt x="1500188" y="890588"/>
                  </a:lnTo>
                  <a:lnTo>
                    <a:pt x="1494472" y="891540"/>
                  </a:lnTo>
                  <a:lnTo>
                    <a:pt x="1489710" y="890588"/>
                  </a:lnTo>
                  <a:lnTo>
                    <a:pt x="1482090" y="878205"/>
                  </a:lnTo>
                  <a:lnTo>
                    <a:pt x="1478280" y="874395"/>
                  </a:lnTo>
                  <a:lnTo>
                    <a:pt x="1475422" y="873442"/>
                  </a:lnTo>
                  <a:lnTo>
                    <a:pt x="1449705" y="867727"/>
                  </a:lnTo>
                  <a:lnTo>
                    <a:pt x="1444943" y="864870"/>
                  </a:lnTo>
                  <a:lnTo>
                    <a:pt x="1438275" y="857250"/>
                  </a:lnTo>
                  <a:lnTo>
                    <a:pt x="1434465" y="850582"/>
                  </a:lnTo>
                  <a:lnTo>
                    <a:pt x="1430655" y="846772"/>
                  </a:lnTo>
                  <a:lnTo>
                    <a:pt x="1424940" y="844867"/>
                  </a:lnTo>
                  <a:lnTo>
                    <a:pt x="1419225" y="843915"/>
                  </a:lnTo>
                  <a:lnTo>
                    <a:pt x="1403985" y="845820"/>
                  </a:lnTo>
                  <a:lnTo>
                    <a:pt x="1382077" y="851535"/>
                  </a:lnTo>
                  <a:lnTo>
                    <a:pt x="1377315" y="854392"/>
                  </a:lnTo>
                  <a:lnTo>
                    <a:pt x="1368743" y="861060"/>
                  </a:lnTo>
                  <a:lnTo>
                    <a:pt x="1357313" y="873442"/>
                  </a:lnTo>
                  <a:lnTo>
                    <a:pt x="1351597" y="877252"/>
                  </a:lnTo>
                  <a:lnTo>
                    <a:pt x="1343025" y="880110"/>
                  </a:lnTo>
                  <a:lnTo>
                    <a:pt x="1338263" y="881063"/>
                  </a:lnTo>
                  <a:lnTo>
                    <a:pt x="1333500" y="881063"/>
                  </a:lnTo>
                  <a:lnTo>
                    <a:pt x="1325880" y="876300"/>
                  </a:lnTo>
                  <a:lnTo>
                    <a:pt x="1243013" y="862013"/>
                  </a:lnTo>
                  <a:lnTo>
                    <a:pt x="1208722" y="844867"/>
                  </a:lnTo>
                  <a:lnTo>
                    <a:pt x="1197293" y="841057"/>
                  </a:lnTo>
                  <a:lnTo>
                    <a:pt x="1192530" y="841057"/>
                  </a:lnTo>
                  <a:lnTo>
                    <a:pt x="1163955" y="845820"/>
                  </a:lnTo>
                  <a:lnTo>
                    <a:pt x="1155382" y="848677"/>
                  </a:lnTo>
                  <a:lnTo>
                    <a:pt x="1150620" y="849630"/>
                  </a:lnTo>
                  <a:lnTo>
                    <a:pt x="1145857" y="849630"/>
                  </a:lnTo>
                  <a:lnTo>
                    <a:pt x="1131570" y="842963"/>
                  </a:lnTo>
                  <a:lnTo>
                    <a:pt x="1125855" y="842010"/>
                  </a:lnTo>
                  <a:lnTo>
                    <a:pt x="1117282" y="842010"/>
                  </a:lnTo>
                  <a:lnTo>
                    <a:pt x="1105852" y="844867"/>
                  </a:lnTo>
                  <a:lnTo>
                    <a:pt x="1102995" y="846772"/>
                  </a:lnTo>
                  <a:lnTo>
                    <a:pt x="1098232" y="849630"/>
                  </a:lnTo>
                  <a:lnTo>
                    <a:pt x="1088707" y="850582"/>
                  </a:lnTo>
                  <a:lnTo>
                    <a:pt x="1083945" y="850582"/>
                  </a:lnTo>
                  <a:lnTo>
                    <a:pt x="1078230" y="849630"/>
                  </a:lnTo>
                  <a:lnTo>
                    <a:pt x="1072515" y="851535"/>
                  </a:lnTo>
                  <a:lnTo>
                    <a:pt x="1064895" y="856297"/>
                  </a:lnTo>
                  <a:lnTo>
                    <a:pt x="1046797" y="871538"/>
                  </a:lnTo>
                  <a:lnTo>
                    <a:pt x="1033463" y="880110"/>
                  </a:lnTo>
                  <a:lnTo>
                    <a:pt x="1002982" y="880110"/>
                  </a:lnTo>
                  <a:lnTo>
                    <a:pt x="1000125" y="879157"/>
                  </a:lnTo>
                  <a:lnTo>
                    <a:pt x="998220" y="877252"/>
                  </a:lnTo>
                  <a:lnTo>
                    <a:pt x="996315" y="872490"/>
                  </a:lnTo>
                  <a:lnTo>
                    <a:pt x="995363" y="866775"/>
                  </a:lnTo>
                  <a:lnTo>
                    <a:pt x="995363" y="861060"/>
                  </a:lnTo>
                  <a:lnTo>
                    <a:pt x="995363" y="851535"/>
                  </a:lnTo>
                  <a:lnTo>
                    <a:pt x="995363" y="849630"/>
                  </a:lnTo>
                  <a:lnTo>
                    <a:pt x="993457" y="847725"/>
                  </a:lnTo>
                  <a:lnTo>
                    <a:pt x="990600" y="846772"/>
                  </a:lnTo>
                  <a:lnTo>
                    <a:pt x="984885" y="846772"/>
                  </a:lnTo>
                  <a:lnTo>
                    <a:pt x="982027" y="848677"/>
                  </a:lnTo>
                  <a:lnTo>
                    <a:pt x="979170" y="850582"/>
                  </a:lnTo>
                  <a:lnTo>
                    <a:pt x="977265" y="858202"/>
                  </a:lnTo>
                  <a:lnTo>
                    <a:pt x="976313" y="862013"/>
                  </a:lnTo>
                  <a:lnTo>
                    <a:pt x="977265" y="865822"/>
                  </a:lnTo>
                  <a:lnTo>
                    <a:pt x="979170" y="873442"/>
                  </a:lnTo>
                  <a:lnTo>
                    <a:pt x="982027" y="880110"/>
                  </a:lnTo>
                  <a:lnTo>
                    <a:pt x="982980" y="882967"/>
                  </a:lnTo>
                  <a:lnTo>
                    <a:pt x="981075" y="887730"/>
                  </a:lnTo>
                  <a:lnTo>
                    <a:pt x="980122" y="892492"/>
                  </a:lnTo>
                  <a:lnTo>
                    <a:pt x="979170" y="911542"/>
                  </a:lnTo>
                  <a:lnTo>
                    <a:pt x="978218" y="913447"/>
                  </a:lnTo>
                  <a:lnTo>
                    <a:pt x="976313" y="916305"/>
                  </a:lnTo>
                  <a:lnTo>
                    <a:pt x="969645" y="921067"/>
                  </a:lnTo>
                  <a:lnTo>
                    <a:pt x="966788" y="922972"/>
                  </a:lnTo>
                  <a:lnTo>
                    <a:pt x="964882" y="927735"/>
                  </a:lnTo>
                  <a:lnTo>
                    <a:pt x="964882" y="931545"/>
                  </a:lnTo>
                  <a:lnTo>
                    <a:pt x="965835" y="934402"/>
                  </a:lnTo>
                  <a:lnTo>
                    <a:pt x="967740" y="935355"/>
                  </a:lnTo>
                  <a:lnTo>
                    <a:pt x="969645" y="936307"/>
                  </a:lnTo>
                  <a:lnTo>
                    <a:pt x="975360" y="936307"/>
                  </a:lnTo>
                  <a:lnTo>
                    <a:pt x="978218" y="937260"/>
                  </a:lnTo>
                  <a:lnTo>
                    <a:pt x="980122" y="938213"/>
                  </a:lnTo>
                  <a:lnTo>
                    <a:pt x="982027" y="942975"/>
                  </a:lnTo>
                  <a:lnTo>
                    <a:pt x="982027" y="949642"/>
                  </a:lnTo>
                  <a:lnTo>
                    <a:pt x="982027" y="952500"/>
                  </a:lnTo>
                  <a:lnTo>
                    <a:pt x="984885" y="957263"/>
                  </a:lnTo>
                  <a:lnTo>
                    <a:pt x="987743" y="961072"/>
                  </a:lnTo>
                  <a:lnTo>
                    <a:pt x="993457" y="963930"/>
                  </a:lnTo>
                  <a:lnTo>
                    <a:pt x="1012507" y="968692"/>
                  </a:lnTo>
                  <a:lnTo>
                    <a:pt x="1015365" y="969645"/>
                  </a:lnTo>
                  <a:lnTo>
                    <a:pt x="1018222" y="974407"/>
                  </a:lnTo>
                  <a:lnTo>
                    <a:pt x="1019175" y="979170"/>
                  </a:lnTo>
                  <a:lnTo>
                    <a:pt x="1020127" y="982027"/>
                  </a:lnTo>
                  <a:lnTo>
                    <a:pt x="1019175" y="988695"/>
                  </a:lnTo>
                  <a:lnTo>
                    <a:pt x="1017270" y="992505"/>
                  </a:lnTo>
                  <a:lnTo>
                    <a:pt x="1014413" y="995363"/>
                  </a:lnTo>
                  <a:lnTo>
                    <a:pt x="1008697" y="998220"/>
                  </a:lnTo>
                  <a:lnTo>
                    <a:pt x="985838" y="1002982"/>
                  </a:lnTo>
                  <a:lnTo>
                    <a:pt x="982980" y="1004888"/>
                  </a:lnTo>
                  <a:lnTo>
                    <a:pt x="968693" y="1017270"/>
                  </a:lnTo>
                  <a:lnTo>
                    <a:pt x="965835" y="1021080"/>
                  </a:lnTo>
                  <a:lnTo>
                    <a:pt x="963930" y="1026795"/>
                  </a:lnTo>
                  <a:lnTo>
                    <a:pt x="962025" y="1034415"/>
                  </a:lnTo>
                  <a:lnTo>
                    <a:pt x="962025" y="1040130"/>
                  </a:lnTo>
                  <a:lnTo>
                    <a:pt x="963930" y="1044892"/>
                  </a:lnTo>
                  <a:lnTo>
                    <a:pt x="967740" y="1048702"/>
                  </a:lnTo>
                  <a:lnTo>
                    <a:pt x="1008697" y="1073467"/>
                  </a:lnTo>
                  <a:lnTo>
                    <a:pt x="1011555" y="1077277"/>
                  </a:lnTo>
                  <a:lnTo>
                    <a:pt x="1012507" y="1080135"/>
                  </a:lnTo>
                  <a:lnTo>
                    <a:pt x="1012507" y="1084898"/>
                  </a:lnTo>
                  <a:lnTo>
                    <a:pt x="1010602" y="1088707"/>
                  </a:lnTo>
                  <a:lnTo>
                    <a:pt x="1005840" y="1097280"/>
                  </a:lnTo>
                  <a:lnTo>
                    <a:pt x="1003935" y="1102042"/>
                  </a:lnTo>
                  <a:lnTo>
                    <a:pt x="1003935" y="1105852"/>
                  </a:lnTo>
                  <a:lnTo>
                    <a:pt x="1003935" y="1108710"/>
                  </a:lnTo>
                  <a:lnTo>
                    <a:pt x="1005840" y="1116330"/>
                  </a:lnTo>
                  <a:lnTo>
                    <a:pt x="1005840" y="1119188"/>
                  </a:lnTo>
                  <a:lnTo>
                    <a:pt x="1003935" y="1129665"/>
                  </a:lnTo>
                  <a:lnTo>
                    <a:pt x="1003935" y="1132523"/>
                  </a:lnTo>
                  <a:lnTo>
                    <a:pt x="1004888" y="1134427"/>
                  </a:lnTo>
                  <a:lnTo>
                    <a:pt x="1007745" y="1136332"/>
                  </a:lnTo>
                  <a:lnTo>
                    <a:pt x="1017270" y="1138238"/>
                  </a:lnTo>
                  <a:lnTo>
                    <a:pt x="1029652" y="1140142"/>
                  </a:lnTo>
                  <a:lnTo>
                    <a:pt x="1032510" y="1142048"/>
                  </a:lnTo>
                  <a:lnTo>
                    <a:pt x="1034415" y="1143000"/>
                  </a:lnTo>
                  <a:lnTo>
                    <a:pt x="1034415" y="1148715"/>
                  </a:lnTo>
                  <a:lnTo>
                    <a:pt x="1028700" y="1185863"/>
                  </a:lnTo>
                  <a:lnTo>
                    <a:pt x="1024890" y="1198245"/>
                  </a:lnTo>
                  <a:lnTo>
                    <a:pt x="1021080" y="1221105"/>
                  </a:lnTo>
                  <a:lnTo>
                    <a:pt x="1017270" y="1234440"/>
                  </a:lnTo>
                  <a:lnTo>
                    <a:pt x="1009650" y="1254442"/>
                  </a:lnTo>
                  <a:lnTo>
                    <a:pt x="1008697" y="1260157"/>
                  </a:lnTo>
                  <a:lnTo>
                    <a:pt x="1008697" y="1262063"/>
                  </a:lnTo>
                  <a:lnTo>
                    <a:pt x="1010602" y="1263967"/>
                  </a:lnTo>
                  <a:lnTo>
                    <a:pt x="1021080" y="1272540"/>
                  </a:lnTo>
                  <a:lnTo>
                    <a:pt x="1023938" y="1276350"/>
                  </a:lnTo>
                  <a:lnTo>
                    <a:pt x="1026795" y="1281113"/>
                  </a:lnTo>
                  <a:lnTo>
                    <a:pt x="1026795" y="1286827"/>
                  </a:lnTo>
                  <a:lnTo>
                    <a:pt x="1022985" y="1303020"/>
                  </a:lnTo>
                  <a:lnTo>
                    <a:pt x="1022032" y="1305877"/>
                  </a:lnTo>
                  <a:lnTo>
                    <a:pt x="1019175" y="1311592"/>
                  </a:lnTo>
                  <a:lnTo>
                    <a:pt x="1014413" y="1317307"/>
                  </a:lnTo>
                  <a:lnTo>
                    <a:pt x="1009650" y="1318260"/>
                  </a:lnTo>
                  <a:lnTo>
                    <a:pt x="975360" y="1316355"/>
                  </a:lnTo>
                  <a:lnTo>
                    <a:pt x="921068" y="1305877"/>
                  </a:lnTo>
                  <a:lnTo>
                    <a:pt x="876300" y="1286827"/>
                  </a:lnTo>
                  <a:lnTo>
                    <a:pt x="849630" y="1282065"/>
                  </a:lnTo>
                  <a:lnTo>
                    <a:pt x="843915" y="1283970"/>
                  </a:lnTo>
                  <a:lnTo>
                    <a:pt x="771525" y="1318260"/>
                  </a:lnTo>
                  <a:lnTo>
                    <a:pt x="704850" y="1332548"/>
                  </a:lnTo>
                  <a:lnTo>
                    <a:pt x="643890" y="1352550"/>
                  </a:lnTo>
                  <a:lnTo>
                    <a:pt x="619125" y="1356360"/>
                  </a:lnTo>
                  <a:lnTo>
                    <a:pt x="566738" y="1351598"/>
                  </a:lnTo>
                  <a:lnTo>
                    <a:pt x="484822" y="1324927"/>
                  </a:lnTo>
                  <a:lnTo>
                    <a:pt x="472440" y="1324927"/>
                  </a:lnTo>
                  <a:lnTo>
                    <a:pt x="405765" y="1343025"/>
                  </a:lnTo>
                  <a:lnTo>
                    <a:pt x="354330" y="1346835"/>
                  </a:lnTo>
                  <a:lnTo>
                    <a:pt x="347663" y="1344930"/>
                  </a:lnTo>
                  <a:lnTo>
                    <a:pt x="346710" y="1343025"/>
                  </a:lnTo>
                  <a:lnTo>
                    <a:pt x="343852" y="1334452"/>
                  </a:lnTo>
                  <a:lnTo>
                    <a:pt x="340995" y="1329690"/>
                  </a:lnTo>
                  <a:lnTo>
                    <a:pt x="338138" y="1326832"/>
                  </a:lnTo>
                  <a:lnTo>
                    <a:pt x="334327" y="1326832"/>
                  </a:lnTo>
                  <a:lnTo>
                    <a:pt x="321945" y="1327785"/>
                  </a:lnTo>
                  <a:lnTo>
                    <a:pt x="319088" y="1326832"/>
                  </a:lnTo>
                  <a:lnTo>
                    <a:pt x="317182" y="1324927"/>
                  </a:lnTo>
                  <a:lnTo>
                    <a:pt x="314325" y="1314450"/>
                  </a:lnTo>
                  <a:lnTo>
                    <a:pt x="312420" y="1309688"/>
                  </a:lnTo>
                  <a:lnTo>
                    <a:pt x="312420" y="1306830"/>
                  </a:lnTo>
                  <a:lnTo>
                    <a:pt x="314325" y="1301115"/>
                  </a:lnTo>
                  <a:lnTo>
                    <a:pt x="319088" y="1291590"/>
                  </a:lnTo>
                  <a:lnTo>
                    <a:pt x="319088" y="1289685"/>
                  </a:lnTo>
                  <a:lnTo>
                    <a:pt x="318135" y="1285875"/>
                  </a:lnTo>
                  <a:lnTo>
                    <a:pt x="316230" y="1283017"/>
                  </a:lnTo>
                  <a:lnTo>
                    <a:pt x="312420" y="1279207"/>
                  </a:lnTo>
                  <a:lnTo>
                    <a:pt x="308610" y="1278255"/>
                  </a:lnTo>
                  <a:lnTo>
                    <a:pt x="305752" y="1277302"/>
                  </a:lnTo>
                  <a:lnTo>
                    <a:pt x="274320" y="1283970"/>
                  </a:lnTo>
                  <a:lnTo>
                    <a:pt x="269557" y="1285875"/>
                  </a:lnTo>
                  <a:lnTo>
                    <a:pt x="268605" y="1287780"/>
                  </a:lnTo>
                  <a:lnTo>
                    <a:pt x="267652" y="1290638"/>
                  </a:lnTo>
                  <a:lnTo>
                    <a:pt x="269557" y="1298257"/>
                  </a:lnTo>
                  <a:lnTo>
                    <a:pt x="269557" y="1303973"/>
                  </a:lnTo>
                  <a:lnTo>
                    <a:pt x="268605" y="1306830"/>
                  </a:lnTo>
                  <a:lnTo>
                    <a:pt x="264795" y="1310640"/>
                  </a:lnTo>
                  <a:lnTo>
                    <a:pt x="260032" y="1312545"/>
                  </a:lnTo>
                  <a:lnTo>
                    <a:pt x="203835" y="1323975"/>
                  </a:lnTo>
                  <a:lnTo>
                    <a:pt x="200025" y="1325880"/>
                  </a:lnTo>
                  <a:lnTo>
                    <a:pt x="197168" y="1330642"/>
                  </a:lnTo>
                  <a:lnTo>
                    <a:pt x="196215" y="1335405"/>
                  </a:lnTo>
                  <a:lnTo>
                    <a:pt x="194310" y="1337310"/>
                  </a:lnTo>
                  <a:lnTo>
                    <a:pt x="191452" y="1340167"/>
                  </a:lnTo>
                  <a:lnTo>
                    <a:pt x="187643" y="1340167"/>
                  </a:lnTo>
                  <a:lnTo>
                    <a:pt x="184785" y="1339215"/>
                  </a:lnTo>
                  <a:lnTo>
                    <a:pt x="179070" y="1336357"/>
                  </a:lnTo>
                  <a:lnTo>
                    <a:pt x="174307" y="1331595"/>
                  </a:lnTo>
                  <a:lnTo>
                    <a:pt x="170497" y="1327785"/>
                  </a:lnTo>
                  <a:lnTo>
                    <a:pt x="169545" y="1325880"/>
                  </a:lnTo>
                  <a:lnTo>
                    <a:pt x="167640" y="1321117"/>
                  </a:lnTo>
                  <a:lnTo>
                    <a:pt x="165735" y="1313498"/>
                  </a:lnTo>
                  <a:lnTo>
                    <a:pt x="163830" y="1308735"/>
                  </a:lnTo>
                  <a:lnTo>
                    <a:pt x="158115" y="1305877"/>
                  </a:lnTo>
                  <a:lnTo>
                    <a:pt x="149543" y="1302067"/>
                  </a:lnTo>
                  <a:lnTo>
                    <a:pt x="110490" y="1294448"/>
                  </a:lnTo>
                  <a:lnTo>
                    <a:pt x="106680" y="1290638"/>
                  </a:lnTo>
                  <a:lnTo>
                    <a:pt x="99060" y="1283970"/>
                  </a:lnTo>
                  <a:lnTo>
                    <a:pt x="96202" y="1283017"/>
                  </a:lnTo>
                  <a:lnTo>
                    <a:pt x="56197" y="1271588"/>
                  </a:lnTo>
                  <a:lnTo>
                    <a:pt x="11430" y="1264920"/>
                  </a:lnTo>
                  <a:lnTo>
                    <a:pt x="7620" y="1263015"/>
                  </a:lnTo>
                  <a:lnTo>
                    <a:pt x="5715" y="1261110"/>
                  </a:lnTo>
                  <a:lnTo>
                    <a:pt x="4763" y="1259205"/>
                  </a:lnTo>
                  <a:lnTo>
                    <a:pt x="4763" y="1255395"/>
                  </a:lnTo>
                  <a:lnTo>
                    <a:pt x="5715" y="1249680"/>
                  </a:lnTo>
                  <a:lnTo>
                    <a:pt x="9525" y="1243965"/>
                  </a:lnTo>
                  <a:lnTo>
                    <a:pt x="15240" y="1237298"/>
                  </a:lnTo>
                  <a:lnTo>
                    <a:pt x="18097" y="1233488"/>
                  </a:lnTo>
                  <a:lnTo>
                    <a:pt x="20002" y="1229677"/>
                  </a:lnTo>
                  <a:lnTo>
                    <a:pt x="20002" y="1224915"/>
                  </a:lnTo>
                  <a:lnTo>
                    <a:pt x="19050" y="1217295"/>
                  </a:lnTo>
                  <a:lnTo>
                    <a:pt x="16193" y="1208723"/>
                  </a:lnTo>
                  <a:lnTo>
                    <a:pt x="12382" y="1199198"/>
                  </a:lnTo>
                  <a:lnTo>
                    <a:pt x="3810" y="1183957"/>
                  </a:lnTo>
                  <a:lnTo>
                    <a:pt x="952" y="1176338"/>
                  </a:lnTo>
                  <a:lnTo>
                    <a:pt x="0" y="1171575"/>
                  </a:lnTo>
                  <a:lnTo>
                    <a:pt x="2857" y="1169670"/>
                  </a:lnTo>
                  <a:lnTo>
                    <a:pt x="6668" y="1165860"/>
                  </a:lnTo>
                  <a:lnTo>
                    <a:pt x="9525" y="1164907"/>
                  </a:lnTo>
                  <a:lnTo>
                    <a:pt x="29527" y="1159192"/>
                  </a:lnTo>
                  <a:lnTo>
                    <a:pt x="52388" y="1157288"/>
                  </a:lnTo>
                  <a:lnTo>
                    <a:pt x="54293" y="1154430"/>
                  </a:lnTo>
                  <a:lnTo>
                    <a:pt x="55245" y="1150620"/>
                  </a:lnTo>
                  <a:lnTo>
                    <a:pt x="52388" y="1140142"/>
                  </a:lnTo>
                  <a:lnTo>
                    <a:pt x="49530" y="1135380"/>
                  </a:lnTo>
                  <a:lnTo>
                    <a:pt x="46672" y="1132523"/>
                  </a:lnTo>
                  <a:lnTo>
                    <a:pt x="42863" y="1129665"/>
                  </a:lnTo>
                  <a:lnTo>
                    <a:pt x="40957" y="1125855"/>
                  </a:lnTo>
                  <a:lnTo>
                    <a:pt x="40957" y="1120140"/>
                  </a:lnTo>
                  <a:lnTo>
                    <a:pt x="40957" y="1077277"/>
                  </a:lnTo>
                  <a:lnTo>
                    <a:pt x="42863" y="1066800"/>
                  </a:lnTo>
                  <a:lnTo>
                    <a:pt x="44768" y="1062038"/>
                  </a:lnTo>
                  <a:lnTo>
                    <a:pt x="45720" y="1058227"/>
                  </a:lnTo>
                  <a:lnTo>
                    <a:pt x="46672" y="1040130"/>
                  </a:lnTo>
                  <a:lnTo>
                    <a:pt x="47625" y="1036320"/>
                  </a:lnTo>
                  <a:lnTo>
                    <a:pt x="48577" y="1033463"/>
                  </a:lnTo>
                  <a:lnTo>
                    <a:pt x="52388" y="1028700"/>
                  </a:lnTo>
                  <a:lnTo>
                    <a:pt x="52388" y="1025842"/>
                  </a:lnTo>
                  <a:lnTo>
                    <a:pt x="50482" y="1021080"/>
                  </a:lnTo>
                  <a:lnTo>
                    <a:pt x="45720" y="1013460"/>
                  </a:lnTo>
                  <a:lnTo>
                    <a:pt x="41910" y="1011555"/>
                  </a:lnTo>
                  <a:lnTo>
                    <a:pt x="38100" y="1010602"/>
                  </a:lnTo>
                  <a:lnTo>
                    <a:pt x="35243" y="1011555"/>
                  </a:lnTo>
                  <a:lnTo>
                    <a:pt x="29527" y="1011555"/>
                  </a:lnTo>
                  <a:lnTo>
                    <a:pt x="26670" y="1009650"/>
                  </a:lnTo>
                  <a:lnTo>
                    <a:pt x="25718" y="1006792"/>
                  </a:lnTo>
                  <a:lnTo>
                    <a:pt x="25718" y="1002030"/>
                  </a:lnTo>
                  <a:lnTo>
                    <a:pt x="29527" y="987742"/>
                  </a:lnTo>
                  <a:lnTo>
                    <a:pt x="32385" y="980122"/>
                  </a:lnTo>
                  <a:lnTo>
                    <a:pt x="33338" y="975360"/>
                  </a:lnTo>
                  <a:lnTo>
                    <a:pt x="27622" y="970597"/>
                  </a:lnTo>
                  <a:lnTo>
                    <a:pt x="33338" y="943927"/>
                  </a:lnTo>
                  <a:lnTo>
                    <a:pt x="39052" y="922972"/>
                  </a:lnTo>
                  <a:lnTo>
                    <a:pt x="40957" y="921067"/>
                  </a:lnTo>
                  <a:lnTo>
                    <a:pt x="44768" y="918210"/>
                  </a:lnTo>
                  <a:lnTo>
                    <a:pt x="49530" y="917257"/>
                  </a:lnTo>
                  <a:lnTo>
                    <a:pt x="55245" y="913447"/>
                  </a:lnTo>
                  <a:lnTo>
                    <a:pt x="59055" y="907732"/>
                  </a:lnTo>
                  <a:lnTo>
                    <a:pt x="63818" y="898207"/>
                  </a:lnTo>
                  <a:lnTo>
                    <a:pt x="67627" y="893445"/>
                  </a:lnTo>
                  <a:lnTo>
                    <a:pt x="72390" y="888682"/>
                  </a:lnTo>
                  <a:lnTo>
                    <a:pt x="80010" y="882967"/>
                  </a:lnTo>
                  <a:lnTo>
                    <a:pt x="83820" y="880110"/>
                  </a:lnTo>
                  <a:lnTo>
                    <a:pt x="87630" y="879157"/>
                  </a:lnTo>
                  <a:lnTo>
                    <a:pt x="107632" y="881063"/>
                  </a:lnTo>
                  <a:lnTo>
                    <a:pt x="120015" y="877252"/>
                  </a:lnTo>
                  <a:lnTo>
                    <a:pt x="123825" y="875347"/>
                  </a:lnTo>
                  <a:lnTo>
                    <a:pt x="125730" y="872490"/>
                  </a:lnTo>
                  <a:lnTo>
                    <a:pt x="128588" y="862965"/>
                  </a:lnTo>
                  <a:lnTo>
                    <a:pt x="129540" y="856297"/>
                  </a:lnTo>
                  <a:lnTo>
                    <a:pt x="128588" y="850582"/>
                  </a:lnTo>
                  <a:lnTo>
                    <a:pt x="128588" y="844867"/>
                  </a:lnTo>
                  <a:lnTo>
                    <a:pt x="127635" y="839152"/>
                  </a:lnTo>
                  <a:lnTo>
                    <a:pt x="129540" y="832485"/>
                  </a:lnTo>
                  <a:lnTo>
                    <a:pt x="131445" y="822960"/>
                  </a:lnTo>
                  <a:lnTo>
                    <a:pt x="134302" y="808672"/>
                  </a:lnTo>
                  <a:lnTo>
                    <a:pt x="136207" y="806767"/>
                  </a:lnTo>
                  <a:lnTo>
                    <a:pt x="139065" y="805815"/>
                  </a:lnTo>
                  <a:lnTo>
                    <a:pt x="140970" y="805815"/>
                  </a:lnTo>
                  <a:lnTo>
                    <a:pt x="142875" y="809625"/>
                  </a:lnTo>
                  <a:lnTo>
                    <a:pt x="146685" y="831532"/>
                  </a:lnTo>
                  <a:lnTo>
                    <a:pt x="146685" y="833438"/>
                  </a:lnTo>
                  <a:lnTo>
                    <a:pt x="143827" y="840105"/>
                  </a:lnTo>
                  <a:lnTo>
                    <a:pt x="142875" y="842963"/>
                  </a:lnTo>
                  <a:lnTo>
                    <a:pt x="142875" y="848677"/>
                  </a:lnTo>
                  <a:lnTo>
                    <a:pt x="144780" y="856297"/>
                  </a:lnTo>
                  <a:lnTo>
                    <a:pt x="145732" y="859155"/>
                  </a:lnTo>
                  <a:lnTo>
                    <a:pt x="147638" y="861060"/>
                  </a:lnTo>
                  <a:lnTo>
                    <a:pt x="150495" y="862965"/>
                  </a:lnTo>
                  <a:lnTo>
                    <a:pt x="152400" y="861060"/>
                  </a:lnTo>
                  <a:lnTo>
                    <a:pt x="154305" y="859155"/>
                  </a:lnTo>
                  <a:lnTo>
                    <a:pt x="158115" y="846772"/>
                  </a:lnTo>
                  <a:lnTo>
                    <a:pt x="162877" y="835342"/>
                  </a:lnTo>
                  <a:lnTo>
                    <a:pt x="163830" y="832485"/>
                  </a:lnTo>
                  <a:lnTo>
                    <a:pt x="185738" y="808672"/>
                  </a:lnTo>
                  <a:lnTo>
                    <a:pt x="188595" y="803910"/>
                  </a:lnTo>
                  <a:lnTo>
                    <a:pt x="190500" y="799147"/>
                  </a:lnTo>
                  <a:lnTo>
                    <a:pt x="192405" y="797242"/>
                  </a:lnTo>
                  <a:lnTo>
                    <a:pt x="195263" y="797242"/>
                  </a:lnTo>
                  <a:lnTo>
                    <a:pt x="197168" y="798195"/>
                  </a:lnTo>
                  <a:lnTo>
                    <a:pt x="201930" y="803910"/>
                  </a:lnTo>
                  <a:lnTo>
                    <a:pt x="205740" y="807720"/>
                  </a:lnTo>
                  <a:lnTo>
                    <a:pt x="211455" y="807720"/>
                  </a:lnTo>
                  <a:lnTo>
                    <a:pt x="218122" y="806767"/>
                  </a:lnTo>
                  <a:lnTo>
                    <a:pt x="220980" y="805815"/>
                  </a:lnTo>
                  <a:lnTo>
                    <a:pt x="223838" y="802957"/>
                  </a:lnTo>
                  <a:lnTo>
                    <a:pt x="228600" y="797242"/>
                  </a:lnTo>
                  <a:lnTo>
                    <a:pt x="249555" y="777240"/>
                  </a:lnTo>
                  <a:lnTo>
                    <a:pt x="251460" y="775335"/>
                  </a:lnTo>
                  <a:lnTo>
                    <a:pt x="257175" y="763905"/>
                  </a:lnTo>
                  <a:lnTo>
                    <a:pt x="260032" y="762000"/>
                  </a:lnTo>
                  <a:lnTo>
                    <a:pt x="262890" y="761047"/>
                  </a:lnTo>
                  <a:lnTo>
                    <a:pt x="266700" y="761047"/>
                  </a:lnTo>
                  <a:lnTo>
                    <a:pt x="270510" y="760095"/>
                  </a:lnTo>
                  <a:lnTo>
                    <a:pt x="277177" y="758190"/>
                  </a:lnTo>
                  <a:lnTo>
                    <a:pt x="280035" y="755332"/>
                  </a:lnTo>
                  <a:lnTo>
                    <a:pt x="280988" y="751522"/>
                  </a:lnTo>
                  <a:lnTo>
                    <a:pt x="286702" y="714375"/>
                  </a:lnTo>
                  <a:lnTo>
                    <a:pt x="285750" y="708660"/>
                  </a:lnTo>
                  <a:lnTo>
                    <a:pt x="284797" y="706755"/>
                  </a:lnTo>
                  <a:lnTo>
                    <a:pt x="282893" y="704850"/>
                  </a:lnTo>
                  <a:lnTo>
                    <a:pt x="276225" y="702945"/>
                  </a:lnTo>
                  <a:lnTo>
                    <a:pt x="274320" y="701040"/>
                  </a:lnTo>
                  <a:lnTo>
                    <a:pt x="272415" y="697230"/>
                  </a:lnTo>
                  <a:lnTo>
                    <a:pt x="271463" y="690563"/>
                  </a:lnTo>
                  <a:lnTo>
                    <a:pt x="270510" y="649605"/>
                  </a:lnTo>
                  <a:lnTo>
                    <a:pt x="266700" y="633413"/>
                  </a:lnTo>
                  <a:lnTo>
                    <a:pt x="266700" y="626745"/>
                  </a:lnTo>
                  <a:lnTo>
                    <a:pt x="265747" y="621982"/>
                  </a:lnTo>
                  <a:lnTo>
                    <a:pt x="260985" y="619125"/>
                  </a:lnTo>
                  <a:lnTo>
                    <a:pt x="259080" y="618172"/>
                  </a:lnTo>
                  <a:lnTo>
                    <a:pt x="258127" y="615315"/>
                  </a:lnTo>
                  <a:lnTo>
                    <a:pt x="257175" y="608647"/>
                  </a:lnTo>
                  <a:lnTo>
                    <a:pt x="258127" y="603885"/>
                  </a:lnTo>
                  <a:lnTo>
                    <a:pt x="260032" y="601027"/>
                  </a:lnTo>
                  <a:lnTo>
                    <a:pt x="263843" y="598170"/>
                  </a:lnTo>
                  <a:lnTo>
                    <a:pt x="264795" y="595313"/>
                  </a:lnTo>
                  <a:lnTo>
                    <a:pt x="264795" y="592455"/>
                  </a:lnTo>
                  <a:lnTo>
                    <a:pt x="253365" y="565785"/>
                  </a:lnTo>
                  <a:lnTo>
                    <a:pt x="251460" y="561022"/>
                  </a:lnTo>
                  <a:lnTo>
                    <a:pt x="251460" y="557213"/>
                  </a:lnTo>
                  <a:lnTo>
                    <a:pt x="252413" y="551497"/>
                  </a:lnTo>
                  <a:lnTo>
                    <a:pt x="252413" y="549592"/>
                  </a:lnTo>
                  <a:lnTo>
                    <a:pt x="250507" y="548640"/>
                  </a:lnTo>
                  <a:lnTo>
                    <a:pt x="245745" y="548640"/>
                  </a:lnTo>
                  <a:lnTo>
                    <a:pt x="243840" y="547688"/>
                  </a:lnTo>
                  <a:lnTo>
                    <a:pt x="242888" y="543877"/>
                  </a:lnTo>
                  <a:lnTo>
                    <a:pt x="241935" y="537210"/>
                  </a:lnTo>
                  <a:lnTo>
                    <a:pt x="241935" y="530542"/>
                  </a:lnTo>
                  <a:lnTo>
                    <a:pt x="243840" y="527685"/>
                  </a:lnTo>
                  <a:lnTo>
                    <a:pt x="245745" y="524827"/>
                  </a:lnTo>
                  <a:lnTo>
                    <a:pt x="260985" y="515302"/>
                  </a:lnTo>
                  <a:lnTo>
                    <a:pt x="305752" y="497205"/>
                  </a:lnTo>
                  <a:lnTo>
                    <a:pt x="307657" y="498157"/>
                  </a:lnTo>
                  <a:lnTo>
                    <a:pt x="308610" y="501967"/>
                  </a:lnTo>
                  <a:lnTo>
                    <a:pt x="311468" y="501967"/>
                  </a:lnTo>
                  <a:lnTo>
                    <a:pt x="315277" y="500063"/>
                  </a:lnTo>
                  <a:lnTo>
                    <a:pt x="329565" y="484822"/>
                  </a:lnTo>
                  <a:lnTo>
                    <a:pt x="334327" y="481965"/>
                  </a:lnTo>
                  <a:lnTo>
                    <a:pt x="389572" y="454342"/>
                  </a:lnTo>
                  <a:lnTo>
                    <a:pt x="394335" y="451485"/>
                  </a:lnTo>
                  <a:lnTo>
                    <a:pt x="413385" y="431482"/>
                  </a:lnTo>
                  <a:lnTo>
                    <a:pt x="416243" y="429577"/>
                  </a:lnTo>
                  <a:lnTo>
                    <a:pt x="421957" y="428625"/>
                  </a:lnTo>
                  <a:lnTo>
                    <a:pt x="425768" y="427672"/>
                  </a:lnTo>
                  <a:lnTo>
                    <a:pt x="430530" y="425767"/>
                  </a:lnTo>
                  <a:lnTo>
                    <a:pt x="437197" y="420052"/>
                  </a:lnTo>
                  <a:lnTo>
                    <a:pt x="441007" y="416242"/>
                  </a:lnTo>
                  <a:lnTo>
                    <a:pt x="441960" y="413385"/>
                  </a:lnTo>
                  <a:lnTo>
                    <a:pt x="441007" y="411480"/>
                  </a:lnTo>
                  <a:lnTo>
                    <a:pt x="438150" y="409575"/>
                  </a:lnTo>
                  <a:lnTo>
                    <a:pt x="417195" y="404813"/>
                  </a:lnTo>
                  <a:lnTo>
                    <a:pt x="414338" y="403860"/>
                  </a:lnTo>
                  <a:lnTo>
                    <a:pt x="413385" y="401955"/>
                  </a:lnTo>
                  <a:lnTo>
                    <a:pt x="412432" y="396240"/>
                  </a:lnTo>
                  <a:lnTo>
                    <a:pt x="409575" y="391477"/>
                  </a:lnTo>
                  <a:lnTo>
                    <a:pt x="407670" y="389572"/>
                  </a:lnTo>
                  <a:lnTo>
                    <a:pt x="376238" y="387667"/>
                  </a:lnTo>
                  <a:lnTo>
                    <a:pt x="370522" y="386715"/>
                  </a:lnTo>
                  <a:lnTo>
                    <a:pt x="359093" y="378142"/>
                  </a:lnTo>
                  <a:lnTo>
                    <a:pt x="356235" y="377190"/>
                  </a:lnTo>
                  <a:lnTo>
                    <a:pt x="326707" y="371475"/>
                  </a:lnTo>
                  <a:lnTo>
                    <a:pt x="324802" y="370522"/>
                  </a:lnTo>
                  <a:lnTo>
                    <a:pt x="320993" y="366713"/>
                  </a:lnTo>
                  <a:lnTo>
                    <a:pt x="318135" y="359092"/>
                  </a:lnTo>
                  <a:lnTo>
                    <a:pt x="316230" y="354330"/>
                  </a:lnTo>
                  <a:lnTo>
                    <a:pt x="314325" y="352425"/>
                  </a:lnTo>
                  <a:lnTo>
                    <a:pt x="309563" y="349567"/>
                  </a:lnTo>
                  <a:lnTo>
                    <a:pt x="307657" y="347663"/>
                  </a:lnTo>
                  <a:lnTo>
                    <a:pt x="304800" y="343852"/>
                  </a:lnTo>
                  <a:lnTo>
                    <a:pt x="301943" y="335280"/>
                  </a:lnTo>
                  <a:lnTo>
                    <a:pt x="302895" y="330517"/>
                  </a:lnTo>
                  <a:lnTo>
                    <a:pt x="310515" y="318135"/>
                  </a:lnTo>
                  <a:lnTo>
                    <a:pt x="314325" y="314325"/>
                  </a:lnTo>
                  <a:lnTo>
                    <a:pt x="317182" y="312420"/>
                  </a:lnTo>
                  <a:lnTo>
                    <a:pt x="320040" y="312420"/>
                  </a:lnTo>
                  <a:lnTo>
                    <a:pt x="321945" y="312420"/>
                  </a:lnTo>
                  <a:lnTo>
                    <a:pt x="323850" y="314325"/>
                  </a:lnTo>
                  <a:lnTo>
                    <a:pt x="326707" y="319088"/>
                  </a:lnTo>
                  <a:lnTo>
                    <a:pt x="328613" y="320992"/>
                  </a:lnTo>
                  <a:lnTo>
                    <a:pt x="332422" y="320992"/>
                  </a:lnTo>
                  <a:lnTo>
                    <a:pt x="335280" y="320992"/>
                  </a:lnTo>
                  <a:lnTo>
                    <a:pt x="356235" y="302895"/>
                  </a:lnTo>
                  <a:lnTo>
                    <a:pt x="359093" y="301942"/>
                  </a:lnTo>
                  <a:lnTo>
                    <a:pt x="362902" y="301942"/>
                  </a:lnTo>
                  <a:lnTo>
                    <a:pt x="368618" y="303847"/>
                  </a:lnTo>
                  <a:lnTo>
                    <a:pt x="370522" y="305752"/>
                  </a:lnTo>
                  <a:lnTo>
                    <a:pt x="372427" y="307657"/>
                  </a:lnTo>
                  <a:lnTo>
                    <a:pt x="374332" y="316230"/>
                  </a:lnTo>
                  <a:lnTo>
                    <a:pt x="375285" y="318135"/>
                  </a:lnTo>
                  <a:lnTo>
                    <a:pt x="377190" y="320040"/>
                  </a:lnTo>
                  <a:lnTo>
                    <a:pt x="380047" y="321945"/>
                  </a:lnTo>
                  <a:lnTo>
                    <a:pt x="382905" y="321945"/>
                  </a:lnTo>
                  <a:lnTo>
                    <a:pt x="385763" y="320992"/>
                  </a:lnTo>
                  <a:lnTo>
                    <a:pt x="389572" y="319088"/>
                  </a:lnTo>
                  <a:lnTo>
                    <a:pt x="399097" y="305752"/>
                  </a:lnTo>
                  <a:lnTo>
                    <a:pt x="403860" y="301942"/>
                  </a:lnTo>
                  <a:lnTo>
                    <a:pt x="406718" y="301942"/>
                  </a:lnTo>
                  <a:lnTo>
                    <a:pt x="413385" y="302895"/>
                  </a:lnTo>
                  <a:lnTo>
                    <a:pt x="415290" y="304800"/>
                  </a:lnTo>
                  <a:lnTo>
                    <a:pt x="417195" y="306705"/>
                  </a:lnTo>
                  <a:lnTo>
                    <a:pt x="417195" y="309563"/>
                  </a:lnTo>
                  <a:lnTo>
                    <a:pt x="415290" y="320040"/>
                  </a:lnTo>
                  <a:lnTo>
                    <a:pt x="416243" y="322897"/>
                  </a:lnTo>
                  <a:lnTo>
                    <a:pt x="417195" y="324802"/>
                  </a:lnTo>
                  <a:lnTo>
                    <a:pt x="421005" y="323850"/>
                  </a:lnTo>
                  <a:lnTo>
                    <a:pt x="423863" y="320040"/>
                  </a:lnTo>
                  <a:lnTo>
                    <a:pt x="427672" y="314325"/>
                  </a:lnTo>
                  <a:lnTo>
                    <a:pt x="429577" y="311467"/>
                  </a:lnTo>
                  <a:lnTo>
                    <a:pt x="431482" y="311467"/>
                  </a:lnTo>
                  <a:lnTo>
                    <a:pt x="432435" y="313372"/>
                  </a:lnTo>
                  <a:lnTo>
                    <a:pt x="433388" y="322897"/>
                  </a:lnTo>
                  <a:lnTo>
                    <a:pt x="433388" y="324802"/>
                  </a:lnTo>
                  <a:lnTo>
                    <a:pt x="436245" y="330517"/>
                  </a:lnTo>
                  <a:lnTo>
                    <a:pt x="436245" y="338138"/>
                  </a:lnTo>
                  <a:lnTo>
                    <a:pt x="441007" y="340995"/>
                  </a:lnTo>
                  <a:lnTo>
                    <a:pt x="443865" y="340042"/>
                  </a:lnTo>
                  <a:lnTo>
                    <a:pt x="446722" y="338138"/>
                  </a:lnTo>
                  <a:lnTo>
                    <a:pt x="449580" y="333375"/>
                  </a:lnTo>
                  <a:lnTo>
                    <a:pt x="453390" y="320040"/>
                  </a:lnTo>
                  <a:lnTo>
                    <a:pt x="457200" y="313372"/>
                  </a:lnTo>
                  <a:lnTo>
                    <a:pt x="461963" y="310515"/>
                  </a:lnTo>
                  <a:lnTo>
                    <a:pt x="464820" y="306705"/>
                  </a:lnTo>
                  <a:lnTo>
                    <a:pt x="468630" y="300038"/>
                  </a:lnTo>
                  <a:lnTo>
                    <a:pt x="473393" y="296227"/>
                  </a:lnTo>
                  <a:lnTo>
                    <a:pt x="475297" y="292417"/>
                  </a:lnTo>
                  <a:lnTo>
                    <a:pt x="476250" y="289560"/>
                  </a:lnTo>
                  <a:lnTo>
                    <a:pt x="477202" y="285750"/>
                  </a:lnTo>
                  <a:lnTo>
                    <a:pt x="480060" y="276225"/>
                  </a:lnTo>
                  <a:lnTo>
                    <a:pt x="493395" y="255270"/>
                  </a:lnTo>
                  <a:lnTo>
                    <a:pt x="498157" y="260032"/>
                  </a:lnTo>
                  <a:lnTo>
                    <a:pt x="557213" y="301942"/>
                  </a:lnTo>
                  <a:lnTo>
                    <a:pt x="561022" y="302895"/>
                  </a:lnTo>
                  <a:lnTo>
                    <a:pt x="568643" y="301942"/>
                  </a:lnTo>
                  <a:lnTo>
                    <a:pt x="572452" y="301942"/>
                  </a:lnTo>
                  <a:lnTo>
                    <a:pt x="575310" y="303847"/>
                  </a:lnTo>
                  <a:lnTo>
                    <a:pt x="581977" y="309563"/>
                  </a:lnTo>
                  <a:lnTo>
                    <a:pt x="584835" y="312420"/>
                  </a:lnTo>
                  <a:lnTo>
                    <a:pt x="594360" y="316230"/>
                  </a:lnTo>
                  <a:lnTo>
                    <a:pt x="621982" y="320992"/>
                  </a:lnTo>
                  <a:lnTo>
                    <a:pt x="638175" y="329565"/>
                  </a:lnTo>
                  <a:lnTo>
                    <a:pt x="654368" y="350520"/>
                  </a:lnTo>
                  <a:lnTo>
                    <a:pt x="661035" y="351472"/>
                  </a:lnTo>
                  <a:lnTo>
                    <a:pt x="676275" y="340995"/>
                  </a:lnTo>
                  <a:lnTo>
                    <a:pt x="687705" y="329565"/>
                  </a:lnTo>
                  <a:lnTo>
                    <a:pt x="691515" y="325755"/>
                  </a:lnTo>
                  <a:lnTo>
                    <a:pt x="692468" y="322897"/>
                  </a:lnTo>
                  <a:lnTo>
                    <a:pt x="691515" y="320992"/>
                  </a:lnTo>
                  <a:lnTo>
                    <a:pt x="690563" y="318135"/>
                  </a:lnTo>
                  <a:lnTo>
                    <a:pt x="683895" y="313372"/>
                  </a:lnTo>
                  <a:lnTo>
                    <a:pt x="681990" y="311467"/>
                  </a:lnTo>
                  <a:lnTo>
                    <a:pt x="681038" y="308610"/>
                  </a:lnTo>
                  <a:lnTo>
                    <a:pt x="681038" y="302895"/>
                  </a:lnTo>
                  <a:lnTo>
                    <a:pt x="681990" y="300038"/>
                  </a:lnTo>
                  <a:lnTo>
                    <a:pt x="682943" y="297180"/>
                  </a:lnTo>
                  <a:lnTo>
                    <a:pt x="693420" y="285750"/>
                  </a:lnTo>
                  <a:lnTo>
                    <a:pt x="699135" y="281940"/>
                  </a:lnTo>
                  <a:lnTo>
                    <a:pt x="701993" y="279082"/>
                  </a:lnTo>
                  <a:lnTo>
                    <a:pt x="702945" y="276225"/>
                  </a:lnTo>
                  <a:lnTo>
                    <a:pt x="701040" y="259080"/>
                  </a:lnTo>
                  <a:lnTo>
                    <a:pt x="699135" y="254317"/>
                  </a:lnTo>
                  <a:lnTo>
                    <a:pt x="697230" y="252413"/>
                  </a:lnTo>
                  <a:lnTo>
                    <a:pt x="681990" y="237172"/>
                  </a:lnTo>
                  <a:lnTo>
                    <a:pt x="680085" y="232410"/>
                  </a:lnTo>
                  <a:lnTo>
                    <a:pt x="680085" y="226695"/>
                  </a:lnTo>
                  <a:lnTo>
                    <a:pt x="681038" y="216217"/>
                  </a:lnTo>
                  <a:lnTo>
                    <a:pt x="682943" y="209550"/>
                  </a:lnTo>
                  <a:lnTo>
                    <a:pt x="687705" y="199072"/>
                  </a:lnTo>
                  <a:lnTo>
                    <a:pt x="695325" y="176213"/>
                  </a:lnTo>
                  <a:lnTo>
                    <a:pt x="699135" y="170497"/>
                  </a:lnTo>
                  <a:lnTo>
                    <a:pt x="701993" y="167640"/>
                  </a:lnTo>
                  <a:lnTo>
                    <a:pt x="707707" y="162877"/>
                  </a:lnTo>
                  <a:lnTo>
                    <a:pt x="717232" y="159067"/>
                  </a:lnTo>
                  <a:lnTo>
                    <a:pt x="723900" y="159067"/>
                  </a:lnTo>
                  <a:lnTo>
                    <a:pt x="727710" y="157163"/>
                  </a:lnTo>
                  <a:lnTo>
                    <a:pt x="730568" y="154305"/>
                  </a:lnTo>
                  <a:lnTo>
                    <a:pt x="730568" y="151447"/>
                  </a:lnTo>
                  <a:lnTo>
                    <a:pt x="729615" y="149542"/>
                  </a:lnTo>
                  <a:lnTo>
                    <a:pt x="727710" y="148590"/>
                  </a:lnTo>
                  <a:lnTo>
                    <a:pt x="721995" y="148590"/>
                  </a:lnTo>
                  <a:lnTo>
                    <a:pt x="718185" y="147638"/>
                  </a:lnTo>
                  <a:lnTo>
                    <a:pt x="717232" y="142875"/>
                  </a:lnTo>
                  <a:lnTo>
                    <a:pt x="719138" y="138113"/>
                  </a:lnTo>
                  <a:lnTo>
                    <a:pt x="721043" y="136207"/>
                  </a:lnTo>
                  <a:lnTo>
                    <a:pt x="734377" y="124777"/>
                  </a:lnTo>
                  <a:lnTo>
                    <a:pt x="741997" y="117157"/>
                  </a:lnTo>
                  <a:lnTo>
                    <a:pt x="748665" y="107632"/>
                  </a:lnTo>
                  <a:lnTo>
                    <a:pt x="749618" y="104775"/>
                  </a:lnTo>
                  <a:lnTo>
                    <a:pt x="750570" y="98107"/>
                  </a:lnTo>
                  <a:lnTo>
                    <a:pt x="749618" y="92392"/>
                  </a:lnTo>
                  <a:lnTo>
                    <a:pt x="749618" y="89535"/>
                  </a:lnTo>
                  <a:lnTo>
                    <a:pt x="751522" y="85725"/>
                  </a:lnTo>
                  <a:lnTo>
                    <a:pt x="754380" y="84772"/>
                  </a:lnTo>
                  <a:lnTo>
                    <a:pt x="757238" y="84772"/>
                  </a:lnTo>
                  <a:lnTo>
                    <a:pt x="762952" y="87630"/>
                  </a:lnTo>
                  <a:lnTo>
                    <a:pt x="858202" y="45720"/>
                  </a:lnTo>
                  <a:lnTo>
                    <a:pt x="876300" y="42863"/>
                  </a:lnTo>
                  <a:lnTo>
                    <a:pt x="919163" y="29527"/>
                  </a:lnTo>
                  <a:lnTo>
                    <a:pt x="923925" y="27622"/>
                  </a:lnTo>
                  <a:lnTo>
                    <a:pt x="927735" y="24765"/>
                  </a:lnTo>
                  <a:lnTo>
                    <a:pt x="932497" y="18097"/>
                  </a:lnTo>
                  <a:lnTo>
                    <a:pt x="938213" y="12382"/>
                  </a:lnTo>
                  <a:lnTo>
                    <a:pt x="942022" y="9525"/>
                  </a:lnTo>
                  <a:lnTo>
                    <a:pt x="946785" y="7620"/>
                  </a:lnTo>
                  <a:lnTo>
                    <a:pt x="949643" y="6667"/>
                  </a:lnTo>
                  <a:lnTo>
                    <a:pt x="962977" y="7620"/>
                  </a:lnTo>
                  <a:lnTo>
                    <a:pt x="966788" y="6667"/>
                  </a:lnTo>
                  <a:lnTo>
                    <a:pt x="971550" y="2857"/>
                  </a:lnTo>
                  <a:lnTo>
                    <a:pt x="974407" y="1905"/>
                  </a:lnTo>
                  <a:lnTo>
                    <a:pt x="977265" y="1905"/>
                  </a:lnTo>
                  <a:lnTo>
                    <a:pt x="992505" y="7620"/>
                  </a:lnTo>
                  <a:lnTo>
                    <a:pt x="994410" y="9525"/>
                  </a:lnTo>
                  <a:lnTo>
                    <a:pt x="995363" y="11430"/>
                  </a:lnTo>
                  <a:lnTo>
                    <a:pt x="995363" y="14288"/>
                  </a:lnTo>
                  <a:lnTo>
                    <a:pt x="994410" y="16192"/>
                  </a:lnTo>
                  <a:lnTo>
                    <a:pt x="990600" y="20002"/>
                  </a:lnTo>
                  <a:lnTo>
                    <a:pt x="988695" y="21907"/>
                  </a:lnTo>
                  <a:lnTo>
                    <a:pt x="987743" y="24765"/>
                  </a:lnTo>
                  <a:lnTo>
                    <a:pt x="988695" y="26670"/>
                  </a:lnTo>
                  <a:lnTo>
                    <a:pt x="990600" y="29527"/>
                  </a:lnTo>
                  <a:lnTo>
                    <a:pt x="993457" y="30480"/>
                  </a:lnTo>
                  <a:lnTo>
                    <a:pt x="1000125" y="31432"/>
                  </a:lnTo>
                  <a:lnTo>
                    <a:pt x="1002982" y="29527"/>
                  </a:lnTo>
                  <a:lnTo>
                    <a:pt x="1005840" y="28575"/>
                  </a:lnTo>
                  <a:lnTo>
                    <a:pt x="1008697" y="22860"/>
                  </a:lnTo>
                  <a:lnTo>
                    <a:pt x="1011555" y="12382"/>
                  </a:lnTo>
                  <a:lnTo>
                    <a:pt x="1013460" y="7620"/>
                  </a:lnTo>
                  <a:lnTo>
                    <a:pt x="1018222" y="2857"/>
                  </a:lnTo>
                  <a:lnTo>
                    <a:pt x="1021080" y="952"/>
                  </a:lnTo>
                  <a:lnTo>
                    <a:pt x="1024890" y="0"/>
                  </a:lnTo>
                  <a:lnTo>
                    <a:pt x="1027747" y="0"/>
                  </a:lnTo>
                  <a:lnTo>
                    <a:pt x="1033463" y="1905"/>
                  </a:lnTo>
                  <a:lnTo>
                    <a:pt x="1039177" y="4763"/>
                  </a:lnTo>
                  <a:lnTo>
                    <a:pt x="1055370" y="1524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0" name="Полилиния: фигура 22">
              <a:extLst>
                <a:ext uri="{FF2B5EF4-FFF2-40B4-BE49-F238E27FC236}">
                  <a16:creationId xmlns:a16="http://schemas.microsoft.com/office/drawing/2014/main" id="{939FF8EF-5608-679B-04DB-98275E0676FC}"/>
                </a:ext>
              </a:extLst>
            </p:cNvPr>
            <p:cNvSpPr/>
            <p:nvPr/>
          </p:nvSpPr>
          <p:spPr>
            <a:xfrm>
              <a:off x="8935402" y="2867978"/>
              <a:ext cx="1323975" cy="1857375"/>
            </a:xfrm>
            <a:custGeom>
              <a:avLst/>
              <a:gdLst>
                <a:gd name="connsiteX0" fmla="*/ 1321118 w 1323975"/>
                <a:gd name="connsiteY0" fmla="*/ 1095375 h 1857375"/>
                <a:gd name="connsiteX1" fmla="*/ 1237298 w 1323975"/>
                <a:gd name="connsiteY1" fmla="*/ 1092517 h 1857375"/>
                <a:gd name="connsiteX2" fmla="*/ 1212533 w 1323975"/>
                <a:gd name="connsiteY2" fmla="*/ 1102042 h 1857375"/>
                <a:gd name="connsiteX3" fmla="*/ 1194435 w 1323975"/>
                <a:gd name="connsiteY3" fmla="*/ 1124903 h 1857375"/>
                <a:gd name="connsiteX4" fmla="*/ 1181100 w 1323975"/>
                <a:gd name="connsiteY4" fmla="*/ 1155382 h 1857375"/>
                <a:gd name="connsiteX5" fmla="*/ 1171575 w 1323975"/>
                <a:gd name="connsiteY5" fmla="*/ 1191578 h 1857375"/>
                <a:gd name="connsiteX6" fmla="*/ 1167765 w 1323975"/>
                <a:gd name="connsiteY6" fmla="*/ 1223963 h 1857375"/>
                <a:gd name="connsiteX7" fmla="*/ 1162050 w 1323975"/>
                <a:gd name="connsiteY7" fmla="*/ 1236345 h 1857375"/>
                <a:gd name="connsiteX8" fmla="*/ 1150621 w 1323975"/>
                <a:gd name="connsiteY8" fmla="*/ 1237298 h 1857375"/>
                <a:gd name="connsiteX9" fmla="*/ 1132523 w 1323975"/>
                <a:gd name="connsiteY9" fmla="*/ 1230630 h 1857375"/>
                <a:gd name="connsiteX10" fmla="*/ 1123950 w 1323975"/>
                <a:gd name="connsiteY10" fmla="*/ 1231582 h 1857375"/>
                <a:gd name="connsiteX11" fmla="*/ 1114425 w 1323975"/>
                <a:gd name="connsiteY11" fmla="*/ 1239203 h 1857375"/>
                <a:gd name="connsiteX12" fmla="*/ 1094423 w 1323975"/>
                <a:gd name="connsiteY12" fmla="*/ 1262063 h 1857375"/>
                <a:gd name="connsiteX13" fmla="*/ 1084898 w 1323975"/>
                <a:gd name="connsiteY13" fmla="*/ 1270635 h 1857375"/>
                <a:gd name="connsiteX14" fmla="*/ 1071563 w 1323975"/>
                <a:gd name="connsiteY14" fmla="*/ 1276350 h 1857375"/>
                <a:gd name="connsiteX15" fmla="*/ 961073 w 1323975"/>
                <a:gd name="connsiteY15" fmla="*/ 1291590 h 1857375"/>
                <a:gd name="connsiteX16" fmla="*/ 942975 w 1323975"/>
                <a:gd name="connsiteY16" fmla="*/ 1303973 h 1857375"/>
                <a:gd name="connsiteX17" fmla="*/ 929640 w 1323975"/>
                <a:gd name="connsiteY17" fmla="*/ 1325880 h 1857375"/>
                <a:gd name="connsiteX18" fmla="*/ 919163 w 1323975"/>
                <a:gd name="connsiteY18" fmla="*/ 1353503 h 1857375"/>
                <a:gd name="connsiteX19" fmla="*/ 912495 w 1323975"/>
                <a:gd name="connsiteY19" fmla="*/ 1381125 h 1857375"/>
                <a:gd name="connsiteX20" fmla="*/ 913448 w 1323975"/>
                <a:gd name="connsiteY20" fmla="*/ 1436370 h 1857375"/>
                <a:gd name="connsiteX21" fmla="*/ 910590 w 1323975"/>
                <a:gd name="connsiteY21" fmla="*/ 1458278 h 1857375"/>
                <a:gd name="connsiteX22" fmla="*/ 898208 w 1323975"/>
                <a:gd name="connsiteY22" fmla="*/ 1482090 h 1857375"/>
                <a:gd name="connsiteX23" fmla="*/ 882015 w 1323975"/>
                <a:gd name="connsiteY23" fmla="*/ 1503998 h 1857375"/>
                <a:gd name="connsiteX24" fmla="*/ 875348 w 1323975"/>
                <a:gd name="connsiteY24" fmla="*/ 1518285 h 1857375"/>
                <a:gd name="connsiteX25" fmla="*/ 874395 w 1323975"/>
                <a:gd name="connsiteY25" fmla="*/ 1530667 h 1857375"/>
                <a:gd name="connsiteX26" fmla="*/ 881063 w 1323975"/>
                <a:gd name="connsiteY26" fmla="*/ 1538288 h 1857375"/>
                <a:gd name="connsiteX27" fmla="*/ 890588 w 1323975"/>
                <a:gd name="connsiteY27" fmla="*/ 1540192 h 1857375"/>
                <a:gd name="connsiteX28" fmla="*/ 910590 w 1323975"/>
                <a:gd name="connsiteY28" fmla="*/ 1536382 h 1857375"/>
                <a:gd name="connsiteX29" fmla="*/ 920115 w 1323975"/>
                <a:gd name="connsiteY29" fmla="*/ 1537335 h 1857375"/>
                <a:gd name="connsiteX30" fmla="*/ 928688 w 1323975"/>
                <a:gd name="connsiteY30" fmla="*/ 1541145 h 1857375"/>
                <a:gd name="connsiteX31" fmla="*/ 933450 w 1323975"/>
                <a:gd name="connsiteY31" fmla="*/ 1549717 h 1857375"/>
                <a:gd name="connsiteX32" fmla="*/ 931545 w 1323975"/>
                <a:gd name="connsiteY32" fmla="*/ 1564957 h 1857375"/>
                <a:gd name="connsiteX33" fmla="*/ 924878 w 1323975"/>
                <a:gd name="connsiteY33" fmla="*/ 1576388 h 1857375"/>
                <a:gd name="connsiteX34" fmla="*/ 914400 w 1323975"/>
                <a:gd name="connsiteY34" fmla="*/ 1584007 h 1857375"/>
                <a:gd name="connsiteX35" fmla="*/ 902018 w 1323975"/>
                <a:gd name="connsiteY35" fmla="*/ 1589723 h 1857375"/>
                <a:gd name="connsiteX36" fmla="*/ 892493 w 1323975"/>
                <a:gd name="connsiteY36" fmla="*/ 1597342 h 1857375"/>
                <a:gd name="connsiteX37" fmla="*/ 882015 w 1323975"/>
                <a:gd name="connsiteY37" fmla="*/ 1614488 h 1857375"/>
                <a:gd name="connsiteX38" fmla="*/ 878205 w 1323975"/>
                <a:gd name="connsiteY38" fmla="*/ 1638300 h 1857375"/>
                <a:gd name="connsiteX39" fmla="*/ 881063 w 1323975"/>
                <a:gd name="connsiteY39" fmla="*/ 1662113 h 1857375"/>
                <a:gd name="connsiteX40" fmla="*/ 888683 w 1323975"/>
                <a:gd name="connsiteY40" fmla="*/ 1684020 h 1857375"/>
                <a:gd name="connsiteX41" fmla="*/ 878205 w 1323975"/>
                <a:gd name="connsiteY41" fmla="*/ 1694498 h 1857375"/>
                <a:gd name="connsiteX42" fmla="*/ 849630 w 1323975"/>
                <a:gd name="connsiteY42" fmla="*/ 1734503 h 1857375"/>
                <a:gd name="connsiteX43" fmla="*/ 831533 w 1323975"/>
                <a:gd name="connsiteY43" fmla="*/ 1743075 h 1857375"/>
                <a:gd name="connsiteX44" fmla="*/ 843915 w 1323975"/>
                <a:gd name="connsiteY44" fmla="*/ 1718310 h 1857375"/>
                <a:gd name="connsiteX45" fmla="*/ 842963 w 1323975"/>
                <a:gd name="connsiteY45" fmla="*/ 1705928 h 1857375"/>
                <a:gd name="connsiteX46" fmla="*/ 829628 w 1323975"/>
                <a:gd name="connsiteY46" fmla="*/ 1700213 h 1857375"/>
                <a:gd name="connsiteX47" fmla="*/ 812483 w 1323975"/>
                <a:gd name="connsiteY47" fmla="*/ 1686878 h 1857375"/>
                <a:gd name="connsiteX48" fmla="*/ 809625 w 1323975"/>
                <a:gd name="connsiteY48" fmla="*/ 1687830 h 1857375"/>
                <a:gd name="connsiteX49" fmla="*/ 806768 w 1323975"/>
                <a:gd name="connsiteY49" fmla="*/ 1690688 h 1857375"/>
                <a:gd name="connsiteX50" fmla="*/ 793433 w 1323975"/>
                <a:gd name="connsiteY50" fmla="*/ 1698307 h 1857375"/>
                <a:gd name="connsiteX51" fmla="*/ 788670 w 1323975"/>
                <a:gd name="connsiteY51" fmla="*/ 1700213 h 1857375"/>
                <a:gd name="connsiteX52" fmla="*/ 768668 w 1323975"/>
                <a:gd name="connsiteY52" fmla="*/ 1692592 h 1857375"/>
                <a:gd name="connsiteX53" fmla="*/ 754380 w 1323975"/>
                <a:gd name="connsiteY53" fmla="*/ 1689735 h 1857375"/>
                <a:gd name="connsiteX54" fmla="*/ 748665 w 1323975"/>
                <a:gd name="connsiteY54" fmla="*/ 1693545 h 1857375"/>
                <a:gd name="connsiteX55" fmla="*/ 701993 w 1323975"/>
                <a:gd name="connsiteY55" fmla="*/ 1684973 h 1857375"/>
                <a:gd name="connsiteX56" fmla="*/ 644843 w 1323975"/>
                <a:gd name="connsiteY56" fmla="*/ 1705928 h 1857375"/>
                <a:gd name="connsiteX57" fmla="*/ 621983 w 1323975"/>
                <a:gd name="connsiteY57" fmla="*/ 1705928 h 1857375"/>
                <a:gd name="connsiteX58" fmla="*/ 553403 w 1323975"/>
                <a:gd name="connsiteY58" fmla="*/ 1693545 h 1857375"/>
                <a:gd name="connsiteX59" fmla="*/ 535305 w 1323975"/>
                <a:gd name="connsiteY59" fmla="*/ 1700213 h 1857375"/>
                <a:gd name="connsiteX60" fmla="*/ 501968 w 1323975"/>
                <a:gd name="connsiteY60" fmla="*/ 1736407 h 1857375"/>
                <a:gd name="connsiteX61" fmla="*/ 446723 w 1323975"/>
                <a:gd name="connsiteY61" fmla="*/ 1814513 h 1857375"/>
                <a:gd name="connsiteX62" fmla="*/ 433388 w 1323975"/>
                <a:gd name="connsiteY62" fmla="*/ 1842135 h 1857375"/>
                <a:gd name="connsiteX63" fmla="*/ 423863 w 1323975"/>
                <a:gd name="connsiteY63" fmla="*/ 1854517 h 1857375"/>
                <a:gd name="connsiteX64" fmla="*/ 412433 w 1323975"/>
                <a:gd name="connsiteY64" fmla="*/ 1860232 h 1857375"/>
                <a:gd name="connsiteX65" fmla="*/ 415290 w 1323975"/>
                <a:gd name="connsiteY65" fmla="*/ 1840230 h 1857375"/>
                <a:gd name="connsiteX66" fmla="*/ 402908 w 1323975"/>
                <a:gd name="connsiteY66" fmla="*/ 1824990 h 1857375"/>
                <a:gd name="connsiteX67" fmla="*/ 384810 w 1323975"/>
                <a:gd name="connsiteY67" fmla="*/ 1815465 h 1857375"/>
                <a:gd name="connsiteX68" fmla="*/ 367665 w 1323975"/>
                <a:gd name="connsiteY68" fmla="*/ 1812607 h 1857375"/>
                <a:gd name="connsiteX69" fmla="*/ 357188 w 1323975"/>
                <a:gd name="connsiteY69" fmla="*/ 1815465 h 1857375"/>
                <a:gd name="connsiteX70" fmla="*/ 333375 w 1323975"/>
                <a:gd name="connsiteY70" fmla="*/ 1834515 h 1857375"/>
                <a:gd name="connsiteX71" fmla="*/ 272415 w 1323975"/>
                <a:gd name="connsiteY71" fmla="*/ 1858328 h 1857375"/>
                <a:gd name="connsiteX72" fmla="*/ 267653 w 1323975"/>
                <a:gd name="connsiteY72" fmla="*/ 1859280 h 1857375"/>
                <a:gd name="connsiteX73" fmla="*/ 252413 w 1323975"/>
                <a:gd name="connsiteY73" fmla="*/ 1829753 h 1857375"/>
                <a:gd name="connsiteX74" fmla="*/ 251460 w 1323975"/>
                <a:gd name="connsiteY74" fmla="*/ 1824038 h 1857375"/>
                <a:gd name="connsiteX75" fmla="*/ 252413 w 1323975"/>
                <a:gd name="connsiteY75" fmla="*/ 1820228 h 1857375"/>
                <a:gd name="connsiteX76" fmla="*/ 255270 w 1323975"/>
                <a:gd name="connsiteY76" fmla="*/ 1815465 h 1857375"/>
                <a:gd name="connsiteX77" fmla="*/ 257175 w 1323975"/>
                <a:gd name="connsiteY77" fmla="*/ 1813560 h 1857375"/>
                <a:gd name="connsiteX78" fmla="*/ 272415 w 1323975"/>
                <a:gd name="connsiteY78" fmla="*/ 1799273 h 1857375"/>
                <a:gd name="connsiteX79" fmla="*/ 274320 w 1323975"/>
                <a:gd name="connsiteY79" fmla="*/ 1797367 h 1857375"/>
                <a:gd name="connsiteX80" fmla="*/ 280035 w 1323975"/>
                <a:gd name="connsiteY80" fmla="*/ 1793557 h 1857375"/>
                <a:gd name="connsiteX81" fmla="*/ 282893 w 1323975"/>
                <a:gd name="connsiteY81" fmla="*/ 1793557 h 1857375"/>
                <a:gd name="connsiteX82" fmla="*/ 290513 w 1323975"/>
                <a:gd name="connsiteY82" fmla="*/ 1797367 h 1857375"/>
                <a:gd name="connsiteX83" fmla="*/ 293370 w 1323975"/>
                <a:gd name="connsiteY83" fmla="*/ 1798320 h 1857375"/>
                <a:gd name="connsiteX84" fmla="*/ 295275 w 1323975"/>
                <a:gd name="connsiteY84" fmla="*/ 1798320 h 1857375"/>
                <a:gd name="connsiteX85" fmla="*/ 300038 w 1323975"/>
                <a:gd name="connsiteY85" fmla="*/ 1796415 h 1857375"/>
                <a:gd name="connsiteX86" fmla="*/ 307658 w 1323975"/>
                <a:gd name="connsiteY86" fmla="*/ 1790700 h 1857375"/>
                <a:gd name="connsiteX87" fmla="*/ 308610 w 1323975"/>
                <a:gd name="connsiteY87" fmla="*/ 1786890 h 1857375"/>
                <a:gd name="connsiteX88" fmla="*/ 307658 w 1323975"/>
                <a:gd name="connsiteY88" fmla="*/ 1782128 h 1857375"/>
                <a:gd name="connsiteX89" fmla="*/ 297180 w 1323975"/>
                <a:gd name="connsiteY89" fmla="*/ 1764030 h 1857375"/>
                <a:gd name="connsiteX90" fmla="*/ 299085 w 1323975"/>
                <a:gd name="connsiteY90" fmla="*/ 1759267 h 1857375"/>
                <a:gd name="connsiteX91" fmla="*/ 302895 w 1323975"/>
                <a:gd name="connsiteY91" fmla="*/ 1755457 h 1857375"/>
                <a:gd name="connsiteX92" fmla="*/ 308610 w 1323975"/>
                <a:gd name="connsiteY92" fmla="*/ 1749742 h 1857375"/>
                <a:gd name="connsiteX93" fmla="*/ 310515 w 1323975"/>
                <a:gd name="connsiteY93" fmla="*/ 1747838 h 1857375"/>
                <a:gd name="connsiteX94" fmla="*/ 311468 w 1323975"/>
                <a:gd name="connsiteY94" fmla="*/ 1744980 h 1857375"/>
                <a:gd name="connsiteX95" fmla="*/ 309563 w 1323975"/>
                <a:gd name="connsiteY95" fmla="*/ 1742123 h 1857375"/>
                <a:gd name="connsiteX96" fmla="*/ 305753 w 1323975"/>
                <a:gd name="connsiteY96" fmla="*/ 1737360 h 1857375"/>
                <a:gd name="connsiteX97" fmla="*/ 303848 w 1323975"/>
                <a:gd name="connsiteY97" fmla="*/ 1735455 h 1857375"/>
                <a:gd name="connsiteX98" fmla="*/ 295275 w 1323975"/>
                <a:gd name="connsiteY98" fmla="*/ 1729740 h 1857375"/>
                <a:gd name="connsiteX99" fmla="*/ 286703 w 1323975"/>
                <a:gd name="connsiteY99" fmla="*/ 1720215 h 1857375"/>
                <a:gd name="connsiteX100" fmla="*/ 282893 w 1323975"/>
                <a:gd name="connsiteY100" fmla="*/ 1719263 h 1857375"/>
                <a:gd name="connsiteX101" fmla="*/ 279083 w 1323975"/>
                <a:gd name="connsiteY101" fmla="*/ 1722120 h 1857375"/>
                <a:gd name="connsiteX102" fmla="*/ 275273 w 1323975"/>
                <a:gd name="connsiteY102" fmla="*/ 1728788 h 1857375"/>
                <a:gd name="connsiteX103" fmla="*/ 273368 w 1323975"/>
                <a:gd name="connsiteY103" fmla="*/ 1728788 h 1857375"/>
                <a:gd name="connsiteX104" fmla="*/ 271463 w 1323975"/>
                <a:gd name="connsiteY104" fmla="*/ 1727835 h 1857375"/>
                <a:gd name="connsiteX105" fmla="*/ 253365 w 1323975"/>
                <a:gd name="connsiteY105" fmla="*/ 1712595 h 1857375"/>
                <a:gd name="connsiteX106" fmla="*/ 250508 w 1323975"/>
                <a:gd name="connsiteY106" fmla="*/ 1709738 h 1857375"/>
                <a:gd name="connsiteX107" fmla="*/ 248603 w 1323975"/>
                <a:gd name="connsiteY107" fmla="*/ 1704975 h 1857375"/>
                <a:gd name="connsiteX108" fmla="*/ 242888 w 1323975"/>
                <a:gd name="connsiteY108" fmla="*/ 1681163 h 1857375"/>
                <a:gd name="connsiteX109" fmla="*/ 238125 w 1323975"/>
                <a:gd name="connsiteY109" fmla="*/ 1672590 h 1857375"/>
                <a:gd name="connsiteX110" fmla="*/ 230505 w 1323975"/>
                <a:gd name="connsiteY110" fmla="*/ 1659255 h 1857375"/>
                <a:gd name="connsiteX111" fmla="*/ 227648 w 1323975"/>
                <a:gd name="connsiteY111" fmla="*/ 1655445 h 1857375"/>
                <a:gd name="connsiteX112" fmla="*/ 225743 w 1323975"/>
                <a:gd name="connsiteY112" fmla="*/ 1653540 h 1857375"/>
                <a:gd name="connsiteX113" fmla="*/ 216218 w 1323975"/>
                <a:gd name="connsiteY113" fmla="*/ 1647825 h 1857375"/>
                <a:gd name="connsiteX114" fmla="*/ 193358 w 1323975"/>
                <a:gd name="connsiteY114" fmla="*/ 1638300 h 1857375"/>
                <a:gd name="connsiteX115" fmla="*/ 188595 w 1323975"/>
                <a:gd name="connsiteY115" fmla="*/ 1635442 h 1857375"/>
                <a:gd name="connsiteX116" fmla="*/ 176213 w 1323975"/>
                <a:gd name="connsiteY116" fmla="*/ 1622107 h 1857375"/>
                <a:gd name="connsiteX117" fmla="*/ 173355 w 1323975"/>
                <a:gd name="connsiteY117" fmla="*/ 1618298 h 1857375"/>
                <a:gd name="connsiteX118" fmla="*/ 171450 w 1323975"/>
                <a:gd name="connsiteY118" fmla="*/ 1613535 h 1857375"/>
                <a:gd name="connsiteX119" fmla="*/ 173355 w 1323975"/>
                <a:gd name="connsiteY119" fmla="*/ 1610678 h 1857375"/>
                <a:gd name="connsiteX120" fmla="*/ 176213 w 1323975"/>
                <a:gd name="connsiteY120" fmla="*/ 1609725 h 1857375"/>
                <a:gd name="connsiteX121" fmla="*/ 179070 w 1323975"/>
                <a:gd name="connsiteY121" fmla="*/ 1608773 h 1857375"/>
                <a:gd name="connsiteX122" fmla="*/ 206693 w 1323975"/>
                <a:gd name="connsiteY122" fmla="*/ 1606867 h 1857375"/>
                <a:gd name="connsiteX123" fmla="*/ 211455 w 1323975"/>
                <a:gd name="connsiteY123" fmla="*/ 1604963 h 1857375"/>
                <a:gd name="connsiteX124" fmla="*/ 215265 w 1323975"/>
                <a:gd name="connsiteY124" fmla="*/ 1602105 h 1857375"/>
                <a:gd name="connsiteX125" fmla="*/ 216218 w 1323975"/>
                <a:gd name="connsiteY125" fmla="*/ 1596390 h 1857375"/>
                <a:gd name="connsiteX126" fmla="*/ 214313 w 1323975"/>
                <a:gd name="connsiteY126" fmla="*/ 1576388 h 1857375"/>
                <a:gd name="connsiteX127" fmla="*/ 213360 w 1323975"/>
                <a:gd name="connsiteY127" fmla="*/ 1571625 h 1857375"/>
                <a:gd name="connsiteX128" fmla="*/ 212408 w 1323975"/>
                <a:gd name="connsiteY128" fmla="*/ 1566863 h 1857375"/>
                <a:gd name="connsiteX129" fmla="*/ 204788 w 1323975"/>
                <a:gd name="connsiteY129" fmla="*/ 1550670 h 1857375"/>
                <a:gd name="connsiteX130" fmla="*/ 201930 w 1323975"/>
                <a:gd name="connsiteY130" fmla="*/ 1544003 h 1857375"/>
                <a:gd name="connsiteX131" fmla="*/ 201930 w 1323975"/>
                <a:gd name="connsiteY131" fmla="*/ 1535430 h 1857375"/>
                <a:gd name="connsiteX132" fmla="*/ 202883 w 1323975"/>
                <a:gd name="connsiteY132" fmla="*/ 1532573 h 1857375"/>
                <a:gd name="connsiteX133" fmla="*/ 204788 w 1323975"/>
                <a:gd name="connsiteY133" fmla="*/ 1529715 h 1857375"/>
                <a:gd name="connsiteX134" fmla="*/ 209550 w 1323975"/>
                <a:gd name="connsiteY134" fmla="*/ 1527810 h 1857375"/>
                <a:gd name="connsiteX135" fmla="*/ 214313 w 1323975"/>
                <a:gd name="connsiteY135" fmla="*/ 1526857 h 1857375"/>
                <a:gd name="connsiteX136" fmla="*/ 219075 w 1323975"/>
                <a:gd name="connsiteY136" fmla="*/ 1531620 h 1857375"/>
                <a:gd name="connsiteX137" fmla="*/ 221933 w 1323975"/>
                <a:gd name="connsiteY137" fmla="*/ 1531620 h 1857375"/>
                <a:gd name="connsiteX138" fmla="*/ 227648 w 1323975"/>
                <a:gd name="connsiteY138" fmla="*/ 1532573 h 1857375"/>
                <a:gd name="connsiteX139" fmla="*/ 229553 w 1323975"/>
                <a:gd name="connsiteY139" fmla="*/ 1532573 h 1857375"/>
                <a:gd name="connsiteX140" fmla="*/ 235268 w 1323975"/>
                <a:gd name="connsiteY140" fmla="*/ 1538288 h 1857375"/>
                <a:gd name="connsiteX141" fmla="*/ 241935 w 1323975"/>
                <a:gd name="connsiteY141" fmla="*/ 1540192 h 1857375"/>
                <a:gd name="connsiteX142" fmla="*/ 251460 w 1323975"/>
                <a:gd name="connsiteY142" fmla="*/ 1541145 h 1857375"/>
                <a:gd name="connsiteX143" fmla="*/ 262890 w 1323975"/>
                <a:gd name="connsiteY143" fmla="*/ 1541145 h 1857375"/>
                <a:gd name="connsiteX144" fmla="*/ 281940 w 1323975"/>
                <a:gd name="connsiteY144" fmla="*/ 1534478 h 1857375"/>
                <a:gd name="connsiteX145" fmla="*/ 283845 w 1323975"/>
                <a:gd name="connsiteY145" fmla="*/ 1532573 h 1857375"/>
                <a:gd name="connsiteX146" fmla="*/ 285750 w 1323975"/>
                <a:gd name="connsiteY146" fmla="*/ 1530667 h 1857375"/>
                <a:gd name="connsiteX147" fmla="*/ 286703 w 1323975"/>
                <a:gd name="connsiteY147" fmla="*/ 1527810 h 1857375"/>
                <a:gd name="connsiteX148" fmla="*/ 286703 w 1323975"/>
                <a:gd name="connsiteY148" fmla="*/ 1524953 h 1857375"/>
                <a:gd name="connsiteX149" fmla="*/ 286703 w 1323975"/>
                <a:gd name="connsiteY149" fmla="*/ 1516380 h 1857375"/>
                <a:gd name="connsiteX150" fmla="*/ 286703 w 1323975"/>
                <a:gd name="connsiteY150" fmla="*/ 1513523 h 1857375"/>
                <a:gd name="connsiteX151" fmla="*/ 288608 w 1323975"/>
                <a:gd name="connsiteY151" fmla="*/ 1507807 h 1857375"/>
                <a:gd name="connsiteX152" fmla="*/ 293370 w 1323975"/>
                <a:gd name="connsiteY152" fmla="*/ 1500188 h 1857375"/>
                <a:gd name="connsiteX153" fmla="*/ 296228 w 1323975"/>
                <a:gd name="connsiteY153" fmla="*/ 1494473 h 1857375"/>
                <a:gd name="connsiteX154" fmla="*/ 298133 w 1323975"/>
                <a:gd name="connsiteY154" fmla="*/ 1487805 h 1857375"/>
                <a:gd name="connsiteX155" fmla="*/ 300038 w 1323975"/>
                <a:gd name="connsiteY155" fmla="*/ 1482090 h 1857375"/>
                <a:gd name="connsiteX156" fmla="*/ 303848 w 1323975"/>
                <a:gd name="connsiteY156" fmla="*/ 1478280 h 1857375"/>
                <a:gd name="connsiteX157" fmla="*/ 307658 w 1323975"/>
                <a:gd name="connsiteY157" fmla="*/ 1475423 h 1857375"/>
                <a:gd name="connsiteX158" fmla="*/ 309563 w 1323975"/>
                <a:gd name="connsiteY158" fmla="*/ 1474470 h 1857375"/>
                <a:gd name="connsiteX159" fmla="*/ 314325 w 1323975"/>
                <a:gd name="connsiteY159" fmla="*/ 1474470 h 1857375"/>
                <a:gd name="connsiteX160" fmla="*/ 319088 w 1323975"/>
                <a:gd name="connsiteY160" fmla="*/ 1476375 h 1857375"/>
                <a:gd name="connsiteX161" fmla="*/ 320993 w 1323975"/>
                <a:gd name="connsiteY161" fmla="*/ 1477328 h 1857375"/>
                <a:gd name="connsiteX162" fmla="*/ 326708 w 1323975"/>
                <a:gd name="connsiteY162" fmla="*/ 1483042 h 1857375"/>
                <a:gd name="connsiteX163" fmla="*/ 330518 w 1323975"/>
                <a:gd name="connsiteY163" fmla="*/ 1489710 h 1857375"/>
                <a:gd name="connsiteX164" fmla="*/ 332423 w 1323975"/>
                <a:gd name="connsiteY164" fmla="*/ 1494473 h 1857375"/>
                <a:gd name="connsiteX165" fmla="*/ 333375 w 1323975"/>
                <a:gd name="connsiteY165" fmla="*/ 1495425 h 1857375"/>
                <a:gd name="connsiteX166" fmla="*/ 338138 w 1323975"/>
                <a:gd name="connsiteY166" fmla="*/ 1494473 h 1857375"/>
                <a:gd name="connsiteX167" fmla="*/ 341948 w 1323975"/>
                <a:gd name="connsiteY167" fmla="*/ 1491615 h 1857375"/>
                <a:gd name="connsiteX168" fmla="*/ 344805 w 1323975"/>
                <a:gd name="connsiteY168" fmla="*/ 1487805 h 1857375"/>
                <a:gd name="connsiteX169" fmla="*/ 345758 w 1323975"/>
                <a:gd name="connsiteY169" fmla="*/ 1484948 h 1857375"/>
                <a:gd name="connsiteX170" fmla="*/ 343853 w 1323975"/>
                <a:gd name="connsiteY170" fmla="*/ 1478280 h 1857375"/>
                <a:gd name="connsiteX171" fmla="*/ 343853 w 1323975"/>
                <a:gd name="connsiteY171" fmla="*/ 1471613 h 1857375"/>
                <a:gd name="connsiteX172" fmla="*/ 343853 w 1323975"/>
                <a:gd name="connsiteY172" fmla="*/ 1465898 h 1857375"/>
                <a:gd name="connsiteX173" fmla="*/ 344805 w 1323975"/>
                <a:gd name="connsiteY173" fmla="*/ 1463040 h 1857375"/>
                <a:gd name="connsiteX174" fmla="*/ 346710 w 1323975"/>
                <a:gd name="connsiteY174" fmla="*/ 1456373 h 1857375"/>
                <a:gd name="connsiteX175" fmla="*/ 352425 w 1323975"/>
                <a:gd name="connsiteY175" fmla="*/ 1445895 h 1857375"/>
                <a:gd name="connsiteX176" fmla="*/ 352425 w 1323975"/>
                <a:gd name="connsiteY176" fmla="*/ 1443038 h 1857375"/>
                <a:gd name="connsiteX177" fmla="*/ 352425 w 1323975"/>
                <a:gd name="connsiteY177" fmla="*/ 1436370 h 1857375"/>
                <a:gd name="connsiteX178" fmla="*/ 354330 w 1323975"/>
                <a:gd name="connsiteY178" fmla="*/ 1430655 h 1857375"/>
                <a:gd name="connsiteX179" fmla="*/ 361950 w 1323975"/>
                <a:gd name="connsiteY179" fmla="*/ 1415415 h 1857375"/>
                <a:gd name="connsiteX180" fmla="*/ 363855 w 1323975"/>
                <a:gd name="connsiteY180" fmla="*/ 1412557 h 1857375"/>
                <a:gd name="connsiteX181" fmla="*/ 363855 w 1323975"/>
                <a:gd name="connsiteY181" fmla="*/ 1409700 h 1857375"/>
                <a:gd name="connsiteX182" fmla="*/ 362903 w 1323975"/>
                <a:gd name="connsiteY182" fmla="*/ 1407795 h 1857375"/>
                <a:gd name="connsiteX183" fmla="*/ 359093 w 1323975"/>
                <a:gd name="connsiteY183" fmla="*/ 1406842 h 1857375"/>
                <a:gd name="connsiteX184" fmla="*/ 349568 w 1323975"/>
                <a:gd name="connsiteY184" fmla="*/ 1406842 h 1857375"/>
                <a:gd name="connsiteX185" fmla="*/ 327660 w 1323975"/>
                <a:gd name="connsiteY185" fmla="*/ 1403032 h 1857375"/>
                <a:gd name="connsiteX186" fmla="*/ 324803 w 1323975"/>
                <a:gd name="connsiteY186" fmla="*/ 1403985 h 1857375"/>
                <a:gd name="connsiteX187" fmla="*/ 322898 w 1323975"/>
                <a:gd name="connsiteY187" fmla="*/ 1405890 h 1857375"/>
                <a:gd name="connsiteX188" fmla="*/ 321945 w 1323975"/>
                <a:gd name="connsiteY188" fmla="*/ 1410653 h 1857375"/>
                <a:gd name="connsiteX189" fmla="*/ 318135 w 1323975"/>
                <a:gd name="connsiteY189" fmla="*/ 1413510 h 1857375"/>
                <a:gd name="connsiteX190" fmla="*/ 315278 w 1323975"/>
                <a:gd name="connsiteY190" fmla="*/ 1413510 h 1857375"/>
                <a:gd name="connsiteX191" fmla="*/ 312420 w 1323975"/>
                <a:gd name="connsiteY191" fmla="*/ 1410653 h 1857375"/>
                <a:gd name="connsiteX192" fmla="*/ 301943 w 1323975"/>
                <a:gd name="connsiteY192" fmla="*/ 1394460 h 1857375"/>
                <a:gd name="connsiteX193" fmla="*/ 300038 w 1323975"/>
                <a:gd name="connsiteY193" fmla="*/ 1392555 h 1857375"/>
                <a:gd name="connsiteX194" fmla="*/ 259080 w 1323975"/>
                <a:gd name="connsiteY194" fmla="*/ 1356360 h 1857375"/>
                <a:gd name="connsiteX195" fmla="*/ 244793 w 1323975"/>
                <a:gd name="connsiteY195" fmla="*/ 1338263 h 1857375"/>
                <a:gd name="connsiteX196" fmla="*/ 240983 w 1323975"/>
                <a:gd name="connsiteY196" fmla="*/ 1334453 h 1857375"/>
                <a:gd name="connsiteX197" fmla="*/ 218123 w 1323975"/>
                <a:gd name="connsiteY197" fmla="*/ 1320165 h 1857375"/>
                <a:gd name="connsiteX198" fmla="*/ 214313 w 1323975"/>
                <a:gd name="connsiteY198" fmla="*/ 1319213 h 1857375"/>
                <a:gd name="connsiteX199" fmla="*/ 210503 w 1323975"/>
                <a:gd name="connsiteY199" fmla="*/ 1319213 h 1857375"/>
                <a:gd name="connsiteX200" fmla="*/ 197168 w 1323975"/>
                <a:gd name="connsiteY200" fmla="*/ 1330642 h 1857375"/>
                <a:gd name="connsiteX201" fmla="*/ 193358 w 1323975"/>
                <a:gd name="connsiteY201" fmla="*/ 1333500 h 1857375"/>
                <a:gd name="connsiteX202" fmla="*/ 191453 w 1323975"/>
                <a:gd name="connsiteY202" fmla="*/ 1335405 h 1857375"/>
                <a:gd name="connsiteX203" fmla="*/ 184785 w 1323975"/>
                <a:gd name="connsiteY203" fmla="*/ 1331595 h 1857375"/>
                <a:gd name="connsiteX204" fmla="*/ 176213 w 1323975"/>
                <a:gd name="connsiteY204" fmla="*/ 1323023 h 1857375"/>
                <a:gd name="connsiteX205" fmla="*/ 155258 w 1323975"/>
                <a:gd name="connsiteY205" fmla="*/ 1300163 h 1857375"/>
                <a:gd name="connsiteX206" fmla="*/ 146685 w 1323975"/>
                <a:gd name="connsiteY206" fmla="*/ 1292542 h 1857375"/>
                <a:gd name="connsiteX207" fmla="*/ 140970 w 1323975"/>
                <a:gd name="connsiteY207" fmla="*/ 1288732 h 1857375"/>
                <a:gd name="connsiteX208" fmla="*/ 124778 w 1323975"/>
                <a:gd name="connsiteY208" fmla="*/ 1295400 h 1857375"/>
                <a:gd name="connsiteX209" fmla="*/ 119063 w 1323975"/>
                <a:gd name="connsiteY209" fmla="*/ 1296353 h 1857375"/>
                <a:gd name="connsiteX210" fmla="*/ 117158 w 1323975"/>
                <a:gd name="connsiteY210" fmla="*/ 1295400 h 1857375"/>
                <a:gd name="connsiteX211" fmla="*/ 115253 w 1323975"/>
                <a:gd name="connsiteY211" fmla="*/ 1292542 h 1857375"/>
                <a:gd name="connsiteX212" fmla="*/ 114300 w 1323975"/>
                <a:gd name="connsiteY212" fmla="*/ 1287780 h 1857375"/>
                <a:gd name="connsiteX213" fmla="*/ 115253 w 1323975"/>
                <a:gd name="connsiteY213" fmla="*/ 1283017 h 1857375"/>
                <a:gd name="connsiteX214" fmla="*/ 117158 w 1323975"/>
                <a:gd name="connsiteY214" fmla="*/ 1273492 h 1857375"/>
                <a:gd name="connsiteX215" fmla="*/ 117158 w 1323975"/>
                <a:gd name="connsiteY215" fmla="*/ 1270635 h 1857375"/>
                <a:gd name="connsiteX216" fmla="*/ 115253 w 1323975"/>
                <a:gd name="connsiteY216" fmla="*/ 1268730 h 1857375"/>
                <a:gd name="connsiteX217" fmla="*/ 105728 w 1323975"/>
                <a:gd name="connsiteY217" fmla="*/ 1266825 h 1857375"/>
                <a:gd name="connsiteX218" fmla="*/ 103823 w 1323975"/>
                <a:gd name="connsiteY218" fmla="*/ 1264920 h 1857375"/>
                <a:gd name="connsiteX219" fmla="*/ 101918 w 1323975"/>
                <a:gd name="connsiteY219" fmla="*/ 1262063 h 1857375"/>
                <a:gd name="connsiteX220" fmla="*/ 100013 w 1323975"/>
                <a:gd name="connsiteY220" fmla="*/ 1258253 h 1857375"/>
                <a:gd name="connsiteX221" fmla="*/ 100013 w 1323975"/>
                <a:gd name="connsiteY221" fmla="*/ 1251585 h 1857375"/>
                <a:gd name="connsiteX222" fmla="*/ 100965 w 1323975"/>
                <a:gd name="connsiteY222" fmla="*/ 1248728 h 1857375"/>
                <a:gd name="connsiteX223" fmla="*/ 103823 w 1323975"/>
                <a:gd name="connsiteY223" fmla="*/ 1247775 h 1857375"/>
                <a:gd name="connsiteX224" fmla="*/ 108585 w 1323975"/>
                <a:gd name="connsiteY224" fmla="*/ 1245870 h 1857375"/>
                <a:gd name="connsiteX225" fmla="*/ 113348 w 1323975"/>
                <a:gd name="connsiteY225" fmla="*/ 1243965 h 1857375"/>
                <a:gd name="connsiteX226" fmla="*/ 115253 w 1323975"/>
                <a:gd name="connsiteY226" fmla="*/ 1242060 h 1857375"/>
                <a:gd name="connsiteX227" fmla="*/ 115253 w 1323975"/>
                <a:gd name="connsiteY227" fmla="*/ 1240155 h 1857375"/>
                <a:gd name="connsiteX228" fmla="*/ 114300 w 1323975"/>
                <a:gd name="connsiteY228" fmla="*/ 1238250 h 1857375"/>
                <a:gd name="connsiteX229" fmla="*/ 110490 w 1323975"/>
                <a:gd name="connsiteY229" fmla="*/ 1236345 h 1857375"/>
                <a:gd name="connsiteX230" fmla="*/ 97155 w 1323975"/>
                <a:gd name="connsiteY230" fmla="*/ 1233488 h 1857375"/>
                <a:gd name="connsiteX231" fmla="*/ 94298 w 1323975"/>
                <a:gd name="connsiteY231" fmla="*/ 1230630 h 1857375"/>
                <a:gd name="connsiteX232" fmla="*/ 90488 w 1323975"/>
                <a:gd name="connsiteY232" fmla="*/ 1225867 h 1857375"/>
                <a:gd name="connsiteX233" fmla="*/ 83820 w 1323975"/>
                <a:gd name="connsiteY233" fmla="*/ 1205865 h 1857375"/>
                <a:gd name="connsiteX234" fmla="*/ 68580 w 1323975"/>
                <a:gd name="connsiteY234" fmla="*/ 1173480 h 1857375"/>
                <a:gd name="connsiteX235" fmla="*/ 67628 w 1323975"/>
                <a:gd name="connsiteY235" fmla="*/ 1168717 h 1857375"/>
                <a:gd name="connsiteX236" fmla="*/ 66675 w 1323975"/>
                <a:gd name="connsiteY236" fmla="*/ 1157288 h 1857375"/>
                <a:gd name="connsiteX237" fmla="*/ 65723 w 1323975"/>
                <a:gd name="connsiteY237" fmla="*/ 1151573 h 1857375"/>
                <a:gd name="connsiteX238" fmla="*/ 64770 w 1323975"/>
                <a:gd name="connsiteY238" fmla="*/ 1149667 h 1857375"/>
                <a:gd name="connsiteX239" fmla="*/ 62865 w 1323975"/>
                <a:gd name="connsiteY239" fmla="*/ 1148715 h 1857375"/>
                <a:gd name="connsiteX240" fmla="*/ 59055 w 1323975"/>
                <a:gd name="connsiteY240" fmla="*/ 1148715 h 1857375"/>
                <a:gd name="connsiteX241" fmla="*/ 45720 w 1323975"/>
                <a:gd name="connsiteY241" fmla="*/ 1150620 h 1857375"/>
                <a:gd name="connsiteX242" fmla="*/ 40005 w 1323975"/>
                <a:gd name="connsiteY242" fmla="*/ 1150620 h 1857375"/>
                <a:gd name="connsiteX243" fmla="*/ 33338 w 1323975"/>
                <a:gd name="connsiteY243" fmla="*/ 1149667 h 1857375"/>
                <a:gd name="connsiteX244" fmla="*/ 27623 w 1323975"/>
                <a:gd name="connsiteY244" fmla="*/ 1146810 h 1857375"/>
                <a:gd name="connsiteX245" fmla="*/ 24765 w 1323975"/>
                <a:gd name="connsiteY245" fmla="*/ 1138238 h 1857375"/>
                <a:gd name="connsiteX246" fmla="*/ 23813 w 1323975"/>
                <a:gd name="connsiteY246" fmla="*/ 1105853 h 1857375"/>
                <a:gd name="connsiteX247" fmla="*/ 20003 w 1323975"/>
                <a:gd name="connsiteY247" fmla="*/ 1087755 h 1857375"/>
                <a:gd name="connsiteX248" fmla="*/ 18098 w 1323975"/>
                <a:gd name="connsiteY248" fmla="*/ 1084898 h 1857375"/>
                <a:gd name="connsiteX249" fmla="*/ 15240 w 1323975"/>
                <a:gd name="connsiteY249" fmla="*/ 1082040 h 1857375"/>
                <a:gd name="connsiteX250" fmla="*/ 7620 w 1323975"/>
                <a:gd name="connsiteY250" fmla="*/ 1080135 h 1857375"/>
                <a:gd name="connsiteX251" fmla="*/ 2858 w 1323975"/>
                <a:gd name="connsiteY251" fmla="*/ 1077278 h 1857375"/>
                <a:gd name="connsiteX252" fmla="*/ 953 w 1323975"/>
                <a:gd name="connsiteY252" fmla="*/ 1074420 h 1857375"/>
                <a:gd name="connsiteX253" fmla="*/ 0 w 1323975"/>
                <a:gd name="connsiteY253" fmla="*/ 1071563 h 1857375"/>
                <a:gd name="connsiteX254" fmla="*/ 0 w 1323975"/>
                <a:gd name="connsiteY254" fmla="*/ 1064895 h 1857375"/>
                <a:gd name="connsiteX255" fmla="*/ 953 w 1323975"/>
                <a:gd name="connsiteY255" fmla="*/ 1062038 h 1857375"/>
                <a:gd name="connsiteX256" fmla="*/ 1905 w 1323975"/>
                <a:gd name="connsiteY256" fmla="*/ 1057275 h 1857375"/>
                <a:gd name="connsiteX257" fmla="*/ 3810 w 1323975"/>
                <a:gd name="connsiteY257" fmla="*/ 1055370 h 1857375"/>
                <a:gd name="connsiteX258" fmla="*/ 5715 w 1323975"/>
                <a:gd name="connsiteY258" fmla="*/ 1053465 h 1857375"/>
                <a:gd name="connsiteX259" fmla="*/ 14288 w 1323975"/>
                <a:gd name="connsiteY259" fmla="*/ 1053465 h 1857375"/>
                <a:gd name="connsiteX260" fmla="*/ 18098 w 1323975"/>
                <a:gd name="connsiteY260" fmla="*/ 1052513 h 1857375"/>
                <a:gd name="connsiteX261" fmla="*/ 21908 w 1323975"/>
                <a:gd name="connsiteY261" fmla="*/ 1049655 h 1857375"/>
                <a:gd name="connsiteX262" fmla="*/ 24765 w 1323975"/>
                <a:gd name="connsiteY262" fmla="*/ 1047750 h 1857375"/>
                <a:gd name="connsiteX263" fmla="*/ 28575 w 1323975"/>
                <a:gd name="connsiteY263" fmla="*/ 1047750 h 1857375"/>
                <a:gd name="connsiteX264" fmla="*/ 45720 w 1323975"/>
                <a:gd name="connsiteY264" fmla="*/ 1046797 h 1857375"/>
                <a:gd name="connsiteX265" fmla="*/ 51435 w 1323975"/>
                <a:gd name="connsiteY265" fmla="*/ 1045845 h 1857375"/>
                <a:gd name="connsiteX266" fmla="*/ 54293 w 1323975"/>
                <a:gd name="connsiteY266" fmla="*/ 1044892 h 1857375"/>
                <a:gd name="connsiteX267" fmla="*/ 54293 w 1323975"/>
                <a:gd name="connsiteY267" fmla="*/ 1040130 h 1857375"/>
                <a:gd name="connsiteX268" fmla="*/ 50483 w 1323975"/>
                <a:gd name="connsiteY268" fmla="*/ 1033463 h 1857375"/>
                <a:gd name="connsiteX269" fmla="*/ 44768 w 1323975"/>
                <a:gd name="connsiteY269" fmla="*/ 1019175 h 1857375"/>
                <a:gd name="connsiteX270" fmla="*/ 43815 w 1323975"/>
                <a:gd name="connsiteY270" fmla="*/ 1016317 h 1857375"/>
                <a:gd name="connsiteX271" fmla="*/ 41910 w 1323975"/>
                <a:gd name="connsiteY271" fmla="*/ 1015365 h 1857375"/>
                <a:gd name="connsiteX272" fmla="*/ 39053 w 1323975"/>
                <a:gd name="connsiteY272" fmla="*/ 1014413 h 1857375"/>
                <a:gd name="connsiteX273" fmla="*/ 29528 w 1323975"/>
                <a:gd name="connsiteY273" fmla="*/ 1012507 h 1857375"/>
                <a:gd name="connsiteX274" fmla="*/ 26670 w 1323975"/>
                <a:gd name="connsiteY274" fmla="*/ 1010603 h 1857375"/>
                <a:gd name="connsiteX275" fmla="*/ 23813 w 1323975"/>
                <a:gd name="connsiteY275" fmla="*/ 1005840 h 1857375"/>
                <a:gd name="connsiteX276" fmla="*/ 23813 w 1323975"/>
                <a:gd name="connsiteY276" fmla="*/ 997267 h 1857375"/>
                <a:gd name="connsiteX277" fmla="*/ 21908 w 1323975"/>
                <a:gd name="connsiteY277" fmla="*/ 986790 h 1857375"/>
                <a:gd name="connsiteX278" fmla="*/ 20955 w 1323975"/>
                <a:gd name="connsiteY278" fmla="*/ 982980 h 1857375"/>
                <a:gd name="connsiteX279" fmla="*/ 23813 w 1323975"/>
                <a:gd name="connsiteY279" fmla="*/ 937260 h 1857375"/>
                <a:gd name="connsiteX280" fmla="*/ 24765 w 1323975"/>
                <a:gd name="connsiteY280" fmla="*/ 929640 h 1857375"/>
                <a:gd name="connsiteX281" fmla="*/ 26670 w 1323975"/>
                <a:gd name="connsiteY281" fmla="*/ 924878 h 1857375"/>
                <a:gd name="connsiteX282" fmla="*/ 30480 w 1323975"/>
                <a:gd name="connsiteY282" fmla="*/ 920115 h 1857375"/>
                <a:gd name="connsiteX283" fmla="*/ 35243 w 1323975"/>
                <a:gd name="connsiteY283" fmla="*/ 918210 h 1857375"/>
                <a:gd name="connsiteX284" fmla="*/ 38100 w 1323975"/>
                <a:gd name="connsiteY284" fmla="*/ 918210 h 1857375"/>
                <a:gd name="connsiteX285" fmla="*/ 47625 w 1323975"/>
                <a:gd name="connsiteY285" fmla="*/ 918210 h 1857375"/>
                <a:gd name="connsiteX286" fmla="*/ 64770 w 1323975"/>
                <a:gd name="connsiteY286" fmla="*/ 913447 h 1857375"/>
                <a:gd name="connsiteX287" fmla="*/ 70485 w 1323975"/>
                <a:gd name="connsiteY287" fmla="*/ 913447 h 1857375"/>
                <a:gd name="connsiteX288" fmla="*/ 101918 w 1323975"/>
                <a:gd name="connsiteY288" fmla="*/ 922972 h 1857375"/>
                <a:gd name="connsiteX289" fmla="*/ 103823 w 1323975"/>
                <a:gd name="connsiteY289" fmla="*/ 924878 h 1857375"/>
                <a:gd name="connsiteX290" fmla="*/ 107633 w 1323975"/>
                <a:gd name="connsiteY290" fmla="*/ 928688 h 1857375"/>
                <a:gd name="connsiteX291" fmla="*/ 109538 w 1323975"/>
                <a:gd name="connsiteY291" fmla="*/ 936307 h 1857375"/>
                <a:gd name="connsiteX292" fmla="*/ 111443 w 1323975"/>
                <a:gd name="connsiteY292" fmla="*/ 938213 h 1857375"/>
                <a:gd name="connsiteX293" fmla="*/ 116205 w 1323975"/>
                <a:gd name="connsiteY293" fmla="*/ 941070 h 1857375"/>
                <a:gd name="connsiteX294" fmla="*/ 136208 w 1323975"/>
                <a:gd name="connsiteY294" fmla="*/ 946785 h 1857375"/>
                <a:gd name="connsiteX295" fmla="*/ 154305 w 1323975"/>
                <a:gd name="connsiteY295" fmla="*/ 956310 h 1857375"/>
                <a:gd name="connsiteX296" fmla="*/ 157163 w 1323975"/>
                <a:gd name="connsiteY296" fmla="*/ 957263 h 1857375"/>
                <a:gd name="connsiteX297" fmla="*/ 162878 w 1323975"/>
                <a:gd name="connsiteY297" fmla="*/ 955357 h 1857375"/>
                <a:gd name="connsiteX298" fmla="*/ 168593 w 1323975"/>
                <a:gd name="connsiteY298" fmla="*/ 951547 h 1857375"/>
                <a:gd name="connsiteX299" fmla="*/ 181928 w 1323975"/>
                <a:gd name="connsiteY299" fmla="*/ 940117 h 1857375"/>
                <a:gd name="connsiteX300" fmla="*/ 187643 w 1323975"/>
                <a:gd name="connsiteY300" fmla="*/ 934403 h 1857375"/>
                <a:gd name="connsiteX301" fmla="*/ 190500 w 1323975"/>
                <a:gd name="connsiteY301" fmla="*/ 929640 h 1857375"/>
                <a:gd name="connsiteX302" fmla="*/ 191453 w 1323975"/>
                <a:gd name="connsiteY302" fmla="*/ 926782 h 1857375"/>
                <a:gd name="connsiteX303" fmla="*/ 191453 w 1323975"/>
                <a:gd name="connsiteY303" fmla="*/ 920115 h 1857375"/>
                <a:gd name="connsiteX304" fmla="*/ 190500 w 1323975"/>
                <a:gd name="connsiteY304" fmla="*/ 909638 h 1857375"/>
                <a:gd name="connsiteX305" fmla="*/ 189548 w 1323975"/>
                <a:gd name="connsiteY305" fmla="*/ 903922 h 1857375"/>
                <a:gd name="connsiteX306" fmla="*/ 183833 w 1323975"/>
                <a:gd name="connsiteY306" fmla="*/ 889635 h 1857375"/>
                <a:gd name="connsiteX307" fmla="*/ 182880 w 1323975"/>
                <a:gd name="connsiteY307" fmla="*/ 883920 h 1857375"/>
                <a:gd name="connsiteX308" fmla="*/ 179070 w 1323975"/>
                <a:gd name="connsiteY308" fmla="*/ 862965 h 1857375"/>
                <a:gd name="connsiteX309" fmla="*/ 179070 w 1323975"/>
                <a:gd name="connsiteY309" fmla="*/ 855345 h 1857375"/>
                <a:gd name="connsiteX310" fmla="*/ 180023 w 1323975"/>
                <a:gd name="connsiteY310" fmla="*/ 850582 h 1857375"/>
                <a:gd name="connsiteX311" fmla="*/ 181928 w 1323975"/>
                <a:gd name="connsiteY311" fmla="*/ 847725 h 1857375"/>
                <a:gd name="connsiteX312" fmla="*/ 183833 w 1323975"/>
                <a:gd name="connsiteY312" fmla="*/ 845820 h 1857375"/>
                <a:gd name="connsiteX313" fmla="*/ 189548 w 1323975"/>
                <a:gd name="connsiteY313" fmla="*/ 844867 h 1857375"/>
                <a:gd name="connsiteX314" fmla="*/ 193358 w 1323975"/>
                <a:gd name="connsiteY314" fmla="*/ 842963 h 1857375"/>
                <a:gd name="connsiteX315" fmla="*/ 197168 w 1323975"/>
                <a:gd name="connsiteY315" fmla="*/ 840105 h 1857375"/>
                <a:gd name="connsiteX316" fmla="*/ 204788 w 1323975"/>
                <a:gd name="connsiteY316" fmla="*/ 832485 h 1857375"/>
                <a:gd name="connsiteX317" fmla="*/ 207645 w 1323975"/>
                <a:gd name="connsiteY317" fmla="*/ 827722 h 1857375"/>
                <a:gd name="connsiteX318" fmla="*/ 208598 w 1323975"/>
                <a:gd name="connsiteY318" fmla="*/ 823913 h 1857375"/>
                <a:gd name="connsiteX319" fmla="*/ 208598 w 1323975"/>
                <a:gd name="connsiteY319" fmla="*/ 821055 h 1857375"/>
                <a:gd name="connsiteX320" fmla="*/ 207645 w 1323975"/>
                <a:gd name="connsiteY320" fmla="*/ 812482 h 1857375"/>
                <a:gd name="connsiteX321" fmla="*/ 206693 w 1323975"/>
                <a:gd name="connsiteY321" fmla="*/ 804863 h 1857375"/>
                <a:gd name="connsiteX322" fmla="*/ 201930 w 1323975"/>
                <a:gd name="connsiteY322" fmla="*/ 774382 h 1857375"/>
                <a:gd name="connsiteX323" fmla="*/ 199073 w 1323975"/>
                <a:gd name="connsiteY323" fmla="*/ 763905 h 1857375"/>
                <a:gd name="connsiteX324" fmla="*/ 198120 w 1323975"/>
                <a:gd name="connsiteY324" fmla="*/ 758190 h 1857375"/>
                <a:gd name="connsiteX325" fmla="*/ 198120 w 1323975"/>
                <a:gd name="connsiteY325" fmla="*/ 749617 h 1857375"/>
                <a:gd name="connsiteX326" fmla="*/ 197168 w 1323975"/>
                <a:gd name="connsiteY326" fmla="*/ 747713 h 1857375"/>
                <a:gd name="connsiteX327" fmla="*/ 195263 w 1323975"/>
                <a:gd name="connsiteY327" fmla="*/ 745807 h 1857375"/>
                <a:gd name="connsiteX328" fmla="*/ 192405 w 1323975"/>
                <a:gd name="connsiteY328" fmla="*/ 743903 h 1857375"/>
                <a:gd name="connsiteX329" fmla="*/ 180975 w 1323975"/>
                <a:gd name="connsiteY329" fmla="*/ 741997 h 1857375"/>
                <a:gd name="connsiteX330" fmla="*/ 179070 w 1323975"/>
                <a:gd name="connsiteY330" fmla="*/ 741045 h 1857375"/>
                <a:gd name="connsiteX331" fmla="*/ 177165 w 1323975"/>
                <a:gd name="connsiteY331" fmla="*/ 739140 h 1857375"/>
                <a:gd name="connsiteX332" fmla="*/ 176213 w 1323975"/>
                <a:gd name="connsiteY332" fmla="*/ 734378 h 1857375"/>
                <a:gd name="connsiteX333" fmla="*/ 175260 w 1323975"/>
                <a:gd name="connsiteY333" fmla="*/ 732472 h 1857375"/>
                <a:gd name="connsiteX334" fmla="*/ 172403 w 1323975"/>
                <a:gd name="connsiteY334" fmla="*/ 731520 h 1857375"/>
                <a:gd name="connsiteX335" fmla="*/ 167640 w 1323975"/>
                <a:gd name="connsiteY335" fmla="*/ 730567 h 1857375"/>
                <a:gd name="connsiteX336" fmla="*/ 161925 w 1323975"/>
                <a:gd name="connsiteY336" fmla="*/ 731520 h 1857375"/>
                <a:gd name="connsiteX337" fmla="*/ 155258 w 1323975"/>
                <a:gd name="connsiteY337" fmla="*/ 734378 h 1857375"/>
                <a:gd name="connsiteX338" fmla="*/ 152400 w 1323975"/>
                <a:gd name="connsiteY338" fmla="*/ 734378 h 1857375"/>
                <a:gd name="connsiteX339" fmla="*/ 150495 w 1323975"/>
                <a:gd name="connsiteY339" fmla="*/ 732472 h 1857375"/>
                <a:gd name="connsiteX340" fmla="*/ 149543 w 1323975"/>
                <a:gd name="connsiteY340" fmla="*/ 730567 h 1857375"/>
                <a:gd name="connsiteX341" fmla="*/ 148590 w 1323975"/>
                <a:gd name="connsiteY341" fmla="*/ 724853 h 1857375"/>
                <a:gd name="connsiteX342" fmla="*/ 148590 w 1323975"/>
                <a:gd name="connsiteY342" fmla="*/ 721042 h 1857375"/>
                <a:gd name="connsiteX343" fmla="*/ 151448 w 1323975"/>
                <a:gd name="connsiteY343" fmla="*/ 703897 h 1857375"/>
                <a:gd name="connsiteX344" fmla="*/ 152400 w 1323975"/>
                <a:gd name="connsiteY344" fmla="*/ 700088 h 1857375"/>
                <a:gd name="connsiteX345" fmla="*/ 149543 w 1323975"/>
                <a:gd name="connsiteY345" fmla="*/ 677228 h 1857375"/>
                <a:gd name="connsiteX346" fmla="*/ 147638 w 1323975"/>
                <a:gd name="connsiteY346" fmla="*/ 665797 h 1857375"/>
                <a:gd name="connsiteX347" fmla="*/ 146685 w 1323975"/>
                <a:gd name="connsiteY347" fmla="*/ 661988 h 1857375"/>
                <a:gd name="connsiteX348" fmla="*/ 146685 w 1323975"/>
                <a:gd name="connsiteY348" fmla="*/ 655320 h 1857375"/>
                <a:gd name="connsiteX349" fmla="*/ 147638 w 1323975"/>
                <a:gd name="connsiteY349" fmla="*/ 652463 h 1857375"/>
                <a:gd name="connsiteX350" fmla="*/ 149543 w 1323975"/>
                <a:gd name="connsiteY350" fmla="*/ 650557 h 1857375"/>
                <a:gd name="connsiteX351" fmla="*/ 161925 w 1323975"/>
                <a:gd name="connsiteY351" fmla="*/ 644842 h 1857375"/>
                <a:gd name="connsiteX352" fmla="*/ 164783 w 1323975"/>
                <a:gd name="connsiteY352" fmla="*/ 642938 h 1857375"/>
                <a:gd name="connsiteX353" fmla="*/ 166688 w 1323975"/>
                <a:gd name="connsiteY353" fmla="*/ 639128 h 1857375"/>
                <a:gd name="connsiteX354" fmla="*/ 166688 w 1323975"/>
                <a:gd name="connsiteY354" fmla="*/ 637222 h 1857375"/>
                <a:gd name="connsiteX355" fmla="*/ 161925 w 1323975"/>
                <a:gd name="connsiteY355" fmla="*/ 633413 h 1857375"/>
                <a:gd name="connsiteX356" fmla="*/ 160020 w 1323975"/>
                <a:gd name="connsiteY356" fmla="*/ 629603 h 1857375"/>
                <a:gd name="connsiteX357" fmla="*/ 160973 w 1323975"/>
                <a:gd name="connsiteY357" fmla="*/ 605790 h 1857375"/>
                <a:gd name="connsiteX358" fmla="*/ 161925 w 1323975"/>
                <a:gd name="connsiteY358" fmla="*/ 601980 h 1857375"/>
                <a:gd name="connsiteX359" fmla="*/ 163830 w 1323975"/>
                <a:gd name="connsiteY359" fmla="*/ 600075 h 1857375"/>
                <a:gd name="connsiteX360" fmla="*/ 169545 w 1323975"/>
                <a:gd name="connsiteY360" fmla="*/ 597217 h 1857375"/>
                <a:gd name="connsiteX361" fmla="*/ 171450 w 1323975"/>
                <a:gd name="connsiteY361" fmla="*/ 595313 h 1857375"/>
                <a:gd name="connsiteX362" fmla="*/ 172403 w 1323975"/>
                <a:gd name="connsiteY362" fmla="*/ 592455 h 1857375"/>
                <a:gd name="connsiteX363" fmla="*/ 172403 w 1323975"/>
                <a:gd name="connsiteY363" fmla="*/ 590550 h 1857375"/>
                <a:gd name="connsiteX364" fmla="*/ 171450 w 1323975"/>
                <a:gd name="connsiteY364" fmla="*/ 583882 h 1857375"/>
                <a:gd name="connsiteX365" fmla="*/ 169545 w 1323975"/>
                <a:gd name="connsiteY365" fmla="*/ 576263 h 1857375"/>
                <a:gd name="connsiteX366" fmla="*/ 170498 w 1323975"/>
                <a:gd name="connsiteY366" fmla="*/ 573405 h 1857375"/>
                <a:gd name="connsiteX367" fmla="*/ 172403 w 1323975"/>
                <a:gd name="connsiteY367" fmla="*/ 571500 h 1857375"/>
                <a:gd name="connsiteX368" fmla="*/ 179070 w 1323975"/>
                <a:gd name="connsiteY368" fmla="*/ 568642 h 1857375"/>
                <a:gd name="connsiteX369" fmla="*/ 184785 w 1323975"/>
                <a:gd name="connsiteY369" fmla="*/ 565785 h 1857375"/>
                <a:gd name="connsiteX370" fmla="*/ 188595 w 1323975"/>
                <a:gd name="connsiteY370" fmla="*/ 562928 h 1857375"/>
                <a:gd name="connsiteX371" fmla="*/ 189548 w 1323975"/>
                <a:gd name="connsiteY371" fmla="*/ 560070 h 1857375"/>
                <a:gd name="connsiteX372" fmla="*/ 190500 w 1323975"/>
                <a:gd name="connsiteY372" fmla="*/ 556260 h 1857375"/>
                <a:gd name="connsiteX373" fmla="*/ 189548 w 1323975"/>
                <a:gd name="connsiteY373" fmla="*/ 539115 h 1857375"/>
                <a:gd name="connsiteX374" fmla="*/ 188595 w 1323975"/>
                <a:gd name="connsiteY374" fmla="*/ 530542 h 1857375"/>
                <a:gd name="connsiteX375" fmla="*/ 186690 w 1323975"/>
                <a:gd name="connsiteY375" fmla="*/ 525780 h 1857375"/>
                <a:gd name="connsiteX376" fmla="*/ 185738 w 1323975"/>
                <a:gd name="connsiteY376" fmla="*/ 523875 h 1857375"/>
                <a:gd name="connsiteX377" fmla="*/ 183833 w 1323975"/>
                <a:gd name="connsiteY377" fmla="*/ 521970 h 1857375"/>
                <a:gd name="connsiteX378" fmla="*/ 178118 w 1323975"/>
                <a:gd name="connsiteY378" fmla="*/ 521017 h 1857375"/>
                <a:gd name="connsiteX379" fmla="*/ 155258 w 1323975"/>
                <a:gd name="connsiteY379" fmla="*/ 522922 h 1857375"/>
                <a:gd name="connsiteX380" fmla="*/ 152400 w 1323975"/>
                <a:gd name="connsiteY380" fmla="*/ 523875 h 1857375"/>
                <a:gd name="connsiteX381" fmla="*/ 149543 w 1323975"/>
                <a:gd name="connsiteY381" fmla="*/ 526732 h 1857375"/>
                <a:gd name="connsiteX382" fmla="*/ 146685 w 1323975"/>
                <a:gd name="connsiteY382" fmla="*/ 531495 h 1857375"/>
                <a:gd name="connsiteX383" fmla="*/ 145733 w 1323975"/>
                <a:gd name="connsiteY383" fmla="*/ 535305 h 1857375"/>
                <a:gd name="connsiteX384" fmla="*/ 141923 w 1323975"/>
                <a:gd name="connsiteY384" fmla="*/ 553403 h 1857375"/>
                <a:gd name="connsiteX385" fmla="*/ 139065 w 1323975"/>
                <a:gd name="connsiteY385" fmla="*/ 559117 h 1857375"/>
                <a:gd name="connsiteX386" fmla="*/ 137160 w 1323975"/>
                <a:gd name="connsiteY386" fmla="*/ 561022 h 1857375"/>
                <a:gd name="connsiteX387" fmla="*/ 135255 w 1323975"/>
                <a:gd name="connsiteY387" fmla="*/ 561975 h 1857375"/>
                <a:gd name="connsiteX388" fmla="*/ 118110 w 1323975"/>
                <a:gd name="connsiteY388" fmla="*/ 563880 h 1857375"/>
                <a:gd name="connsiteX389" fmla="*/ 116205 w 1323975"/>
                <a:gd name="connsiteY389" fmla="*/ 562928 h 1857375"/>
                <a:gd name="connsiteX390" fmla="*/ 115253 w 1323975"/>
                <a:gd name="connsiteY390" fmla="*/ 561975 h 1857375"/>
                <a:gd name="connsiteX391" fmla="*/ 114300 w 1323975"/>
                <a:gd name="connsiteY391" fmla="*/ 560070 h 1857375"/>
                <a:gd name="connsiteX392" fmla="*/ 114300 w 1323975"/>
                <a:gd name="connsiteY392" fmla="*/ 555307 h 1857375"/>
                <a:gd name="connsiteX393" fmla="*/ 114300 w 1323975"/>
                <a:gd name="connsiteY393" fmla="*/ 540067 h 1857375"/>
                <a:gd name="connsiteX394" fmla="*/ 115253 w 1323975"/>
                <a:gd name="connsiteY394" fmla="*/ 535305 h 1857375"/>
                <a:gd name="connsiteX395" fmla="*/ 117158 w 1323975"/>
                <a:gd name="connsiteY395" fmla="*/ 533400 h 1857375"/>
                <a:gd name="connsiteX396" fmla="*/ 121920 w 1323975"/>
                <a:gd name="connsiteY396" fmla="*/ 529590 h 1857375"/>
                <a:gd name="connsiteX397" fmla="*/ 127635 w 1323975"/>
                <a:gd name="connsiteY397" fmla="*/ 518160 h 1857375"/>
                <a:gd name="connsiteX398" fmla="*/ 129540 w 1323975"/>
                <a:gd name="connsiteY398" fmla="*/ 516255 h 1857375"/>
                <a:gd name="connsiteX399" fmla="*/ 134303 w 1323975"/>
                <a:gd name="connsiteY399" fmla="*/ 513397 h 1857375"/>
                <a:gd name="connsiteX400" fmla="*/ 136208 w 1323975"/>
                <a:gd name="connsiteY400" fmla="*/ 510540 h 1857375"/>
                <a:gd name="connsiteX401" fmla="*/ 137160 w 1323975"/>
                <a:gd name="connsiteY401" fmla="*/ 505778 h 1857375"/>
                <a:gd name="connsiteX402" fmla="*/ 135255 w 1323975"/>
                <a:gd name="connsiteY402" fmla="*/ 503872 h 1857375"/>
                <a:gd name="connsiteX403" fmla="*/ 133350 w 1323975"/>
                <a:gd name="connsiteY403" fmla="*/ 502920 h 1857375"/>
                <a:gd name="connsiteX404" fmla="*/ 130493 w 1323975"/>
                <a:gd name="connsiteY404" fmla="*/ 502920 h 1857375"/>
                <a:gd name="connsiteX405" fmla="*/ 112395 w 1323975"/>
                <a:gd name="connsiteY405" fmla="*/ 505778 h 1857375"/>
                <a:gd name="connsiteX406" fmla="*/ 109538 w 1323975"/>
                <a:gd name="connsiteY406" fmla="*/ 505778 h 1857375"/>
                <a:gd name="connsiteX407" fmla="*/ 107633 w 1323975"/>
                <a:gd name="connsiteY407" fmla="*/ 503872 h 1857375"/>
                <a:gd name="connsiteX408" fmla="*/ 105728 w 1323975"/>
                <a:gd name="connsiteY408" fmla="*/ 500063 h 1857375"/>
                <a:gd name="connsiteX409" fmla="*/ 104775 w 1323975"/>
                <a:gd name="connsiteY409" fmla="*/ 493395 h 1857375"/>
                <a:gd name="connsiteX410" fmla="*/ 102870 w 1323975"/>
                <a:gd name="connsiteY410" fmla="*/ 486728 h 1857375"/>
                <a:gd name="connsiteX411" fmla="*/ 95250 w 1323975"/>
                <a:gd name="connsiteY411" fmla="*/ 467678 h 1857375"/>
                <a:gd name="connsiteX412" fmla="*/ 93345 w 1323975"/>
                <a:gd name="connsiteY412" fmla="*/ 458153 h 1857375"/>
                <a:gd name="connsiteX413" fmla="*/ 95250 w 1323975"/>
                <a:gd name="connsiteY413" fmla="*/ 436245 h 1857375"/>
                <a:gd name="connsiteX414" fmla="*/ 94298 w 1323975"/>
                <a:gd name="connsiteY414" fmla="*/ 421957 h 1857375"/>
                <a:gd name="connsiteX415" fmla="*/ 94298 w 1323975"/>
                <a:gd name="connsiteY415" fmla="*/ 415290 h 1857375"/>
                <a:gd name="connsiteX416" fmla="*/ 85725 w 1323975"/>
                <a:gd name="connsiteY416" fmla="*/ 380047 h 1857375"/>
                <a:gd name="connsiteX417" fmla="*/ 83820 w 1323975"/>
                <a:gd name="connsiteY417" fmla="*/ 371475 h 1857375"/>
                <a:gd name="connsiteX418" fmla="*/ 83820 w 1323975"/>
                <a:gd name="connsiteY418" fmla="*/ 364807 h 1857375"/>
                <a:gd name="connsiteX419" fmla="*/ 85725 w 1323975"/>
                <a:gd name="connsiteY419" fmla="*/ 361950 h 1857375"/>
                <a:gd name="connsiteX420" fmla="*/ 87630 w 1323975"/>
                <a:gd name="connsiteY420" fmla="*/ 358140 h 1857375"/>
                <a:gd name="connsiteX421" fmla="*/ 90488 w 1323975"/>
                <a:gd name="connsiteY421" fmla="*/ 356235 h 1857375"/>
                <a:gd name="connsiteX422" fmla="*/ 93345 w 1323975"/>
                <a:gd name="connsiteY422" fmla="*/ 355282 h 1857375"/>
                <a:gd name="connsiteX423" fmla="*/ 99060 w 1323975"/>
                <a:gd name="connsiteY423" fmla="*/ 355282 h 1857375"/>
                <a:gd name="connsiteX424" fmla="*/ 105728 w 1323975"/>
                <a:gd name="connsiteY424" fmla="*/ 357188 h 1857375"/>
                <a:gd name="connsiteX425" fmla="*/ 120968 w 1323975"/>
                <a:gd name="connsiteY425" fmla="*/ 365760 h 1857375"/>
                <a:gd name="connsiteX426" fmla="*/ 127635 w 1323975"/>
                <a:gd name="connsiteY426" fmla="*/ 367665 h 1857375"/>
                <a:gd name="connsiteX427" fmla="*/ 152400 w 1323975"/>
                <a:gd name="connsiteY427" fmla="*/ 369570 h 1857375"/>
                <a:gd name="connsiteX428" fmla="*/ 155258 w 1323975"/>
                <a:gd name="connsiteY428" fmla="*/ 368617 h 1857375"/>
                <a:gd name="connsiteX429" fmla="*/ 160973 w 1323975"/>
                <a:gd name="connsiteY429" fmla="*/ 362903 h 1857375"/>
                <a:gd name="connsiteX430" fmla="*/ 166688 w 1323975"/>
                <a:gd name="connsiteY430" fmla="*/ 357188 h 1857375"/>
                <a:gd name="connsiteX431" fmla="*/ 174308 w 1323975"/>
                <a:gd name="connsiteY431" fmla="*/ 350520 h 1857375"/>
                <a:gd name="connsiteX432" fmla="*/ 176213 w 1323975"/>
                <a:gd name="connsiteY432" fmla="*/ 349567 h 1857375"/>
                <a:gd name="connsiteX433" fmla="*/ 181928 w 1323975"/>
                <a:gd name="connsiteY433" fmla="*/ 347663 h 1857375"/>
                <a:gd name="connsiteX434" fmla="*/ 186690 w 1323975"/>
                <a:gd name="connsiteY434" fmla="*/ 346710 h 1857375"/>
                <a:gd name="connsiteX435" fmla="*/ 189548 w 1323975"/>
                <a:gd name="connsiteY435" fmla="*/ 346710 h 1857375"/>
                <a:gd name="connsiteX436" fmla="*/ 196215 w 1323975"/>
                <a:gd name="connsiteY436" fmla="*/ 347663 h 1857375"/>
                <a:gd name="connsiteX437" fmla="*/ 246698 w 1323975"/>
                <a:gd name="connsiteY437" fmla="*/ 373380 h 1857375"/>
                <a:gd name="connsiteX438" fmla="*/ 252413 w 1323975"/>
                <a:gd name="connsiteY438" fmla="*/ 378142 h 1857375"/>
                <a:gd name="connsiteX439" fmla="*/ 255270 w 1323975"/>
                <a:gd name="connsiteY439" fmla="*/ 379095 h 1857375"/>
                <a:gd name="connsiteX440" fmla="*/ 260033 w 1323975"/>
                <a:gd name="connsiteY440" fmla="*/ 380047 h 1857375"/>
                <a:gd name="connsiteX441" fmla="*/ 262890 w 1323975"/>
                <a:gd name="connsiteY441" fmla="*/ 378142 h 1857375"/>
                <a:gd name="connsiteX442" fmla="*/ 264795 w 1323975"/>
                <a:gd name="connsiteY442" fmla="*/ 376238 h 1857375"/>
                <a:gd name="connsiteX443" fmla="*/ 264795 w 1323975"/>
                <a:gd name="connsiteY443" fmla="*/ 372428 h 1857375"/>
                <a:gd name="connsiteX444" fmla="*/ 264795 w 1323975"/>
                <a:gd name="connsiteY444" fmla="*/ 369570 h 1857375"/>
                <a:gd name="connsiteX445" fmla="*/ 263843 w 1323975"/>
                <a:gd name="connsiteY445" fmla="*/ 367665 h 1857375"/>
                <a:gd name="connsiteX446" fmla="*/ 261938 w 1323975"/>
                <a:gd name="connsiteY446" fmla="*/ 365760 h 1857375"/>
                <a:gd name="connsiteX447" fmla="*/ 250508 w 1323975"/>
                <a:gd name="connsiteY447" fmla="*/ 360997 h 1857375"/>
                <a:gd name="connsiteX448" fmla="*/ 247650 w 1323975"/>
                <a:gd name="connsiteY448" fmla="*/ 358140 h 1857375"/>
                <a:gd name="connsiteX449" fmla="*/ 246698 w 1323975"/>
                <a:gd name="connsiteY449" fmla="*/ 356235 h 1857375"/>
                <a:gd name="connsiteX450" fmla="*/ 246698 w 1323975"/>
                <a:gd name="connsiteY450" fmla="*/ 351472 h 1857375"/>
                <a:gd name="connsiteX451" fmla="*/ 247650 w 1323975"/>
                <a:gd name="connsiteY451" fmla="*/ 348615 h 1857375"/>
                <a:gd name="connsiteX452" fmla="*/ 254318 w 1323975"/>
                <a:gd name="connsiteY452" fmla="*/ 339090 h 1857375"/>
                <a:gd name="connsiteX453" fmla="*/ 257175 w 1323975"/>
                <a:gd name="connsiteY453" fmla="*/ 336232 h 1857375"/>
                <a:gd name="connsiteX454" fmla="*/ 260033 w 1323975"/>
                <a:gd name="connsiteY454" fmla="*/ 335280 h 1857375"/>
                <a:gd name="connsiteX455" fmla="*/ 262890 w 1323975"/>
                <a:gd name="connsiteY455" fmla="*/ 335280 h 1857375"/>
                <a:gd name="connsiteX456" fmla="*/ 268605 w 1323975"/>
                <a:gd name="connsiteY456" fmla="*/ 338138 h 1857375"/>
                <a:gd name="connsiteX457" fmla="*/ 272415 w 1323975"/>
                <a:gd name="connsiteY457" fmla="*/ 339090 h 1857375"/>
                <a:gd name="connsiteX458" fmla="*/ 278130 w 1323975"/>
                <a:gd name="connsiteY458" fmla="*/ 339090 h 1857375"/>
                <a:gd name="connsiteX459" fmla="*/ 280988 w 1323975"/>
                <a:gd name="connsiteY459" fmla="*/ 338138 h 1857375"/>
                <a:gd name="connsiteX460" fmla="*/ 282893 w 1323975"/>
                <a:gd name="connsiteY460" fmla="*/ 335280 h 1857375"/>
                <a:gd name="connsiteX461" fmla="*/ 284798 w 1323975"/>
                <a:gd name="connsiteY461" fmla="*/ 323850 h 1857375"/>
                <a:gd name="connsiteX462" fmla="*/ 286703 w 1323975"/>
                <a:gd name="connsiteY462" fmla="*/ 318135 h 1857375"/>
                <a:gd name="connsiteX463" fmla="*/ 288608 w 1323975"/>
                <a:gd name="connsiteY463" fmla="*/ 315278 h 1857375"/>
                <a:gd name="connsiteX464" fmla="*/ 291465 w 1323975"/>
                <a:gd name="connsiteY464" fmla="*/ 313372 h 1857375"/>
                <a:gd name="connsiteX465" fmla="*/ 297180 w 1323975"/>
                <a:gd name="connsiteY465" fmla="*/ 313372 h 1857375"/>
                <a:gd name="connsiteX466" fmla="*/ 300038 w 1323975"/>
                <a:gd name="connsiteY466" fmla="*/ 313372 h 1857375"/>
                <a:gd name="connsiteX467" fmla="*/ 302895 w 1323975"/>
                <a:gd name="connsiteY467" fmla="*/ 314325 h 1857375"/>
                <a:gd name="connsiteX468" fmla="*/ 304800 w 1323975"/>
                <a:gd name="connsiteY468" fmla="*/ 316230 h 1857375"/>
                <a:gd name="connsiteX469" fmla="*/ 309563 w 1323975"/>
                <a:gd name="connsiteY469" fmla="*/ 322897 h 1857375"/>
                <a:gd name="connsiteX470" fmla="*/ 313373 w 1323975"/>
                <a:gd name="connsiteY470" fmla="*/ 326707 h 1857375"/>
                <a:gd name="connsiteX471" fmla="*/ 315278 w 1323975"/>
                <a:gd name="connsiteY471" fmla="*/ 328613 h 1857375"/>
                <a:gd name="connsiteX472" fmla="*/ 320993 w 1323975"/>
                <a:gd name="connsiteY472" fmla="*/ 329565 h 1857375"/>
                <a:gd name="connsiteX473" fmla="*/ 325755 w 1323975"/>
                <a:gd name="connsiteY473" fmla="*/ 329565 h 1857375"/>
                <a:gd name="connsiteX474" fmla="*/ 337185 w 1323975"/>
                <a:gd name="connsiteY474" fmla="*/ 326707 h 1857375"/>
                <a:gd name="connsiteX475" fmla="*/ 340995 w 1323975"/>
                <a:gd name="connsiteY475" fmla="*/ 324803 h 1857375"/>
                <a:gd name="connsiteX476" fmla="*/ 342900 w 1323975"/>
                <a:gd name="connsiteY476" fmla="*/ 321945 h 1857375"/>
                <a:gd name="connsiteX477" fmla="*/ 342900 w 1323975"/>
                <a:gd name="connsiteY477" fmla="*/ 319088 h 1857375"/>
                <a:gd name="connsiteX478" fmla="*/ 340995 w 1323975"/>
                <a:gd name="connsiteY478" fmla="*/ 304800 h 1857375"/>
                <a:gd name="connsiteX479" fmla="*/ 341948 w 1323975"/>
                <a:gd name="connsiteY479" fmla="*/ 301942 h 1857375"/>
                <a:gd name="connsiteX480" fmla="*/ 342900 w 1323975"/>
                <a:gd name="connsiteY480" fmla="*/ 298132 h 1857375"/>
                <a:gd name="connsiteX481" fmla="*/ 345758 w 1323975"/>
                <a:gd name="connsiteY481" fmla="*/ 293370 h 1857375"/>
                <a:gd name="connsiteX482" fmla="*/ 348615 w 1323975"/>
                <a:gd name="connsiteY482" fmla="*/ 291465 h 1857375"/>
                <a:gd name="connsiteX483" fmla="*/ 352425 w 1323975"/>
                <a:gd name="connsiteY483" fmla="*/ 290513 h 1857375"/>
                <a:gd name="connsiteX484" fmla="*/ 355283 w 1323975"/>
                <a:gd name="connsiteY484" fmla="*/ 288607 h 1857375"/>
                <a:gd name="connsiteX485" fmla="*/ 356235 w 1323975"/>
                <a:gd name="connsiteY485" fmla="*/ 285750 h 1857375"/>
                <a:gd name="connsiteX486" fmla="*/ 359093 w 1323975"/>
                <a:gd name="connsiteY486" fmla="*/ 279082 h 1857375"/>
                <a:gd name="connsiteX487" fmla="*/ 361950 w 1323975"/>
                <a:gd name="connsiteY487" fmla="*/ 271463 h 1857375"/>
                <a:gd name="connsiteX488" fmla="*/ 363855 w 1323975"/>
                <a:gd name="connsiteY488" fmla="*/ 268605 h 1857375"/>
                <a:gd name="connsiteX489" fmla="*/ 383858 w 1323975"/>
                <a:gd name="connsiteY489" fmla="*/ 254317 h 1857375"/>
                <a:gd name="connsiteX490" fmla="*/ 387668 w 1323975"/>
                <a:gd name="connsiteY490" fmla="*/ 252413 h 1857375"/>
                <a:gd name="connsiteX491" fmla="*/ 401955 w 1323975"/>
                <a:gd name="connsiteY491" fmla="*/ 252413 h 1857375"/>
                <a:gd name="connsiteX492" fmla="*/ 408623 w 1323975"/>
                <a:gd name="connsiteY492" fmla="*/ 250507 h 1857375"/>
                <a:gd name="connsiteX493" fmla="*/ 411480 w 1323975"/>
                <a:gd name="connsiteY493" fmla="*/ 248603 h 1857375"/>
                <a:gd name="connsiteX494" fmla="*/ 413385 w 1323975"/>
                <a:gd name="connsiteY494" fmla="*/ 245745 h 1857375"/>
                <a:gd name="connsiteX495" fmla="*/ 413385 w 1323975"/>
                <a:gd name="connsiteY495" fmla="*/ 242888 h 1857375"/>
                <a:gd name="connsiteX496" fmla="*/ 411480 w 1323975"/>
                <a:gd name="connsiteY496" fmla="*/ 238125 h 1857375"/>
                <a:gd name="connsiteX497" fmla="*/ 407670 w 1323975"/>
                <a:gd name="connsiteY497" fmla="*/ 231457 h 1857375"/>
                <a:gd name="connsiteX498" fmla="*/ 407670 w 1323975"/>
                <a:gd name="connsiteY498" fmla="*/ 228600 h 1857375"/>
                <a:gd name="connsiteX499" fmla="*/ 407670 w 1323975"/>
                <a:gd name="connsiteY499" fmla="*/ 224790 h 1857375"/>
                <a:gd name="connsiteX500" fmla="*/ 408623 w 1323975"/>
                <a:gd name="connsiteY500" fmla="*/ 219075 h 1857375"/>
                <a:gd name="connsiteX501" fmla="*/ 408623 w 1323975"/>
                <a:gd name="connsiteY501" fmla="*/ 216217 h 1857375"/>
                <a:gd name="connsiteX502" fmla="*/ 407670 w 1323975"/>
                <a:gd name="connsiteY502" fmla="*/ 213360 h 1857375"/>
                <a:gd name="connsiteX503" fmla="*/ 402908 w 1323975"/>
                <a:gd name="connsiteY503" fmla="*/ 210503 h 1857375"/>
                <a:gd name="connsiteX504" fmla="*/ 401003 w 1323975"/>
                <a:gd name="connsiteY504" fmla="*/ 208597 h 1857375"/>
                <a:gd name="connsiteX505" fmla="*/ 401003 w 1323975"/>
                <a:gd name="connsiteY505" fmla="*/ 205740 h 1857375"/>
                <a:gd name="connsiteX506" fmla="*/ 401003 w 1323975"/>
                <a:gd name="connsiteY506" fmla="*/ 202882 h 1857375"/>
                <a:gd name="connsiteX507" fmla="*/ 410528 w 1323975"/>
                <a:gd name="connsiteY507" fmla="*/ 187642 h 1857375"/>
                <a:gd name="connsiteX508" fmla="*/ 413385 w 1323975"/>
                <a:gd name="connsiteY508" fmla="*/ 183832 h 1857375"/>
                <a:gd name="connsiteX509" fmla="*/ 416243 w 1323975"/>
                <a:gd name="connsiteY509" fmla="*/ 181928 h 1857375"/>
                <a:gd name="connsiteX510" fmla="*/ 428625 w 1323975"/>
                <a:gd name="connsiteY510" fmla="*/ 177165 h 1857375"/>
                <a:gd name="connsiteX511" fmla="*/ 431483 w 1323975"/>
                <a:gd name="connsiteY511" fmla="*/ 174307 h 1857375"/>
                <a:gd name="connsiteX512" fmla="*/ 433388 w 1323975"/>
                <a:gd name="connsiteY512" fmla="*/ 170497 h 1857375"/>
                <a:gd name="connsiteX513" fmla="*/ 434340 w 1323975"/>
                <a:gd name="connsiteY513" fmla="*/ 163830 h 1857375"/>
                <a:gd name="connsiteX514" fmla="*/ 435293 w 1323975"/>
                <a:gd name="connsiteY514" fmla="*/ 159067 h 1857375"/>
                <a:gd name="connsiteX515" fmla="*/ 439103 w 1323975"/>
                <a:gd name="connsiteY515" fmla="*/ 150495 h 1857375"/>
                <a:gd name="connsiteX516" fmla="*/ 444818 w 1323975"/>
                <a:gd name="connsiteY516" fmla="*/ 144780 h 1857375"/>
                <a:gd name="connsiteX517" fmla="*/ 564833 w 1323975"/>
                <a:gd name="connsiteY517" fmla="*/ 70485 h 1857375"/>
                <a:gd name="connsiteX518" fmla="*/ 568643 w 1323975"/>
                <a:gd name="connsiteY518" fmla="*/ 65722 h 1857375"/>
                <a:gd name="connsiteX519" fmla="*/ 570548 w 1323975"/>
                <a:gd name="connsiteY519" fmla="*/ 61913 h 1857375"/>
                <a:gd name="connsiteX520" fmla="*/ 569595 w 1323975"/>
                <a:gd name="connsiteY520" fmla="*/ 60007 h 1857375"/>
                <a:gd name="connsiteX521" fmla="*/ 561975 w 1323975"/>
                <a:gd name="connsiteY521" fmla="*/ 48578 h 1857375"/>
                <a:gd name="connsiteX522" fmla="*/ 559118 w 1323975"/>
                <a:gd name="connsiteY522" fmla="*/ 45720 h 1857375"/>
                <a:gd name="connsiteX523" fmla="*/ 556260 w 1323975"/>
                <a:gd name="connsiteY523" fmla="*/ 44767 h 1857375"/>
                <a:gd name="connsiteX524" fmla="*/ 544830 w 1323975"/>
                <a:gd name="connsiteY524" fmla="*/ 45720 h 1857375"/>
                <a:gd name="connsiteX525" fmla="*/ 524828 w 1323975"/>
                <a:gd name="connsiteY525" fmla="*/ 42863 h 1857375"/>
                <a:gd name="connsiteX526" fmla="*/ 518160 w 1323975"/>
                <a:gd name="connsiteY526" fmla="*/ 40957 h 1857375"/>
                <a:gd name="connsiteX527" fmla="*/ 515303 w 1323975"/>
                <a:gd name="connsiteY527" fmla="*/ 40005 h 1857375"/>
                <a:gd name="connsiteX528" fmla="*/ 513398 w 1323975"/>
                <a:gd name="connsiteY528" fmla="*/ 38100 h 1857375"/>
                <a:gd name="connsiteX529" fmla="*/ 513398 w 1323975"/>
                <a:gd name="connsiteY529" fmla="*/ 36195 h 1857375"/>
                <a:gd name="connsiteX530" fmla="*/ 529590 w 1323975"/>
                <a:gd name="connsiteY530" fmla="*/ 8572 h 1857375"/>
                <a:gd name="connsiteX531" fmla="*/ 532448 w 1323975"/>
                <a:gd name="connsiteY531" fmla="*/ 4763 h 1857375"/>
                <a:gd name="connsiteX532" fmla="*/ 536258 w 1323975"/>
                <a:gd name="connsiteY532" fmla="*/ 3810 h 1857375"/>
                <a:gd name="connsiteX533" fmla="*/ 586740 w 1323975"/>
                <a:gd name="connsiteY533" fmla="*/ 2857 h 1857375"/>
                <a:gd name="connsiteX534" fmla="*/ 654368 w 1323975"/>
                <a:gd name="connsiteY534" fmla="*/ 21907 h 1857375"/>
                <a:gd name="connsiteX535" fmla="*/ 678180 w 1323975"/>
                <a:gd name="connsiteY535" fmla="*/ 20955 h 1857375"/>
                <a:gd name="connsiteX536" fmla="*/ 686753 w 1323975"/>
                <a:gd name="connsiteY536" fmla="*/ 19050 h 1857375"/>
                <a:gd name="connsiteX537" fmla="*/ 689610 w 1323975"/>
                <a:gd name="connsiteY537" fmla="*/ 17145 h 1857375"/>
                <a:gd name="connsiteX538" fmla="*/ 691515 w 1323975"/>
                <a:gd name="connsiteY538" fmla="*/ 14288 h 1857375"/>
                <a:gd name="connsiteX539" fmla="*/ 692468 w 1323975"/>
                <a:gd name="connsiteY539" fmla="*/ 7620 h 1857375"/>
                <a:gd name="connsiteX540" fmla="*/ 694373 w 1323975"/>
                <a:gd name="connsiteY540" fmla="*/ 0 h 1857375"/>
                <a:gd name="connsiteX541" fmla="*/ 700088 w 1323975"/>
                <a:gd name="connsiteY541" fmla="*/ 0 h 1857375"/>
                <a:gd name="connsiteX542" fmla="*/ 704850 w 1323975"/>
                <a:gd name="connsiteY542" fmla="*/ 2857 h 1857375"/>
                <a:gd name="connsiteX543" fmla="*/ 711518 w 1323975"/>
                <a:gd name="connsiteY543" fmla="*/ 8572 h 1857375"/>
                <a:gd name="connsiteX544" fmla="*/ 714375 w 1323975"/>
                <a:gd name="connsiteY544" fmla="*/ 12382 h 1857375"/>
                <a:gd name="connsiteX545" fmla="*/ 719138 w 1323975"/>
                <a:gd name="connsiteY545" fmla="*/ 19050 h 1857375"/>
                <a:gd name="connsiteX546" fmla="*/ 721995 w 1323975"/>
                <a:gd name="connsiteY546" fmla="*/ 20003 h 1857375"/>
                <a:gd name="connsiteX547" fmla="*/ 724853 w 1323975"/>
                <a:gd name="connsiteY547" fmla="*/ 20955 h 1857375"/>
                <a:gd name="connsiteX548" fmla="*/ 734378 w 1323975"/>
                <a:gd name="connsiteY548" fmla="*/ 21907 h 1857375"/>
                <a:gd name="connsiteX549" fmla="*/ 737235 w 1323975"/>
                <a:gd name="connsiteY549" fmla="*/ 23813 h 1857375"/>
                <a:gd name="connsiteX550" fmla="*/ 740093 w 1323975"/>
                <a:gd name="connsiteY550" fmla="*/ 25717 h 1857375"/>
                <a:gd name="connsiteX551" fmla="*/ 740093 w 1323975"/>
                <a:gd name="connsiteY551" fmla="*/ 30480 h 1857375"/>
                <a:gd name="connsiteX552" fmla="*/ 738188 w 1323975"/>
                <a:gd name="connsiteY552" fmla="*/ 32385 h 1857375"/>
                <a:gd name="connsiteX553" fmla="*/ 735330 w 1323975"/>
                <a:gd name="connsiteY553" fmla="*/ 33338 h 1857375"/>
                <a:gd name="connsiteX554" fmla="*/ 721043 w 1323975"/>
                <a:gd name="connsiteY554" fmla="*/ 34290 h 1857375"/>
                <a:gd name="connsiteX555" fmla="*/ 719138 w 1323975"/>
                <a:gd name="connsiteY555" fmla="*/ 35242 h 1857375"/>
                <a:gd name="connsiteX556" fmla="*/ 716280 w 1323975"/>
                <a:gd name="connsiteY556" fmla="*/ 40957 h 1857375"/>
                <a:gd name="connsiteX557" fmla="*/ 713423 w 1323975"/>
                <a:gd name="connsiteY557" fmla="*/ 50482 h 1857375"/>
                <a:gd name="connsiteX558" fmla="*/ 713423 w 1323975"/>
                <a:gd name="connsiteY558" fmla="*/ 54292 h 1857375"/>
                <a:gd name="connsiteX559" fmla="*/ 715328 w 1323975"/>
                <a:gd name="connsiteY559" fmla="*/ 57150 h 1857375"/>
                <a:gd name="connsiteX560" fmla="*/ 719138 w 1323975"/>
                <a:gd name="connsiteY560" fmla="*/ 60960 h 1857375"/>
                <a:gd name="connsiteX561" fmla="*/ 742950 w 1323975"/>
                <a:gd name="connsiteY561" fmla="*/ 70485 h 1857375"/>
                <a:gd name="connsiteX562" fmla="*/ 757238 w 1323975"/>
                <a:gd name="connsiteY562" fmla="*/ 80010 h 1857375"/>
                <a:gd name="connsiteX563" fmla="*/ 762000 w 1323975"/>
                <a:gd name="connsiteY563" fmla="*/ 80963 h 1857375"/>
                <a:gd name="connsiteX564" fmla="*/ 764858 w 1323975"/>
                <a:gd name="connsiteY564" fmla="*/ 80010 h 1857375"/>
                <a:gd name="connsiteX565" fmla="*/ 766763 w 1323975"/>
                <a:gd name="connsiteY565" fmla="*/ 79057 h 1857375"/>
                <a:gd name="connsiteX566" fmla="*/ 781050 w 1323975"/>
                <a:gd name="connsiteY566" fmla="*/ 65722 h 1857375"/>
                <a:gd name="connsiteX567" fmla="*/ 782955 w 1323975"/>
                <a:gd name="connsiteY567" fmla="*/ 64770 h 1857375"/>
                <a:gd name="connsiteX568" fmla="*/ 785813 w 1323975"/>
                <a:gd name="connsiteY568" fmla="*/ 63817 h 1857375"/>
                <a:gd name="connsiteX569" fmla="*/ 807720 w 1323975"/>
                <a:gd name="connsiteY569" fmla="*/ 64770 h 1857375"/>
                <a:gd name="connsiteX570" fmla="*/ 809625 w 1323975"/>
                <a:gd name="connsiteY570" fmla="*/ 65722 h 1857375"/>
                <a:gd name="connsiteX571" fmla="*/ 811530 w 1323975"/>
                <a:gd name="connsiteY571" fmla="*/ 67628 h 1857375"/>
                <a:gd name="connsiteX572" fmla="*/ 811530 w 1323975"/>
                <a:gd name="connsiteY572" fmla="*/ 71438 h 1857375"/>
                <a:gd name="connsiteX573" fmla="*/ 807720 w 1323975"/>
                <a:gd name="connsiteY573" fmla="*/ 92392 h 1857375"/>
                <a:gd name="connsiteX574" fmla="*/ 807720 w 1323975"/>
                <a:gd name="connsiteY574" fmla="*/ 99060 h 1857375"/>
                <a:gd name="connsiteX575" fmla="*/ 807720 w 1323975"/>
                <a:gd name="connsiteY575" fmla="*/ 110490 h 1857375"/>
                <a:gd name="connsiteX576" fmla="*/ 806768 w 1323975"/>
                <a:gd name="connsiteY576" fmla="*/ 117157 h 1857375"/>
                <a:gd name="connsiteX577" fmla="*/ 803910 w 1323975"/>
                <a:gd name="connsiteY577" fmla="*/ 121920 h 1857375"/>
                <a:gd name="connsiteX578" fmla="*/ 798195 w 1323975"/>
                <a:gd name="connsiteY578" fmla="*/ 127635 h 1857375"/>
                <a:gd name="connsiteX579" fmla="*/ 796290 w 1323975"/>
                <a:gd name="connsiteY579" fmla="*/ 130492 h 1857375"/>
                <a:gd name="connsiteX580" fmla="*/ 797243 w 1323975"/>
                <a:gd name="connsiteY580" fmla="*/ 137160 h 1857375"/>
                <a:gd name="connsiteX581" fmla="*/ 800100 w 1323975"/>
                <a:gd name="connsiteY581" fmla="*/ 146685 h 1857375"/>
                <a:gd name="connsiteX582" fmla="*/ 815340 w 1323975"/>
                <a:gd name="connsiteY582" fmla="*/ 183832 h 1857375"/>
                <a:gd name="connsiteX583" fmla="*/ 815340 w 1323975"/>
                <a:gd name="connsiteY583" fmla="*/ 186690 h 1857375"/>
                <a:gd name="connsiteX584" fmla="*/ 815340 w 1323975"/>
                <a:gd name="connsiteY584" fmla="*/ 190500 h 1857375"/>
                <a:gd name="connsiteX585" fmla="*/ 813435 w 1323975"/>
                <a:gd name="connsiteY585" fmla="*/ 192405 h 1857375"/>
                <a:gd name="connsiteX586" fmla="*/ 811530 w 1323975"/>
                <a:gd name="connsiteY586" fmla="*/ 194310 h 1857375"/>
                <a:gd name="connsiteX587" fmla="*/ 809625 w 1323975"/>
                <a:gd name="connsiteY587" fmla="*/ 195263 h 1857375"/>
                <a:gd name="connsiteX588" fmla="*/ 801053 w 1323975"/>
                <a:gd name="connsiteY588" fmla="*/ 196215 h 1857375"/>
                <a:gd name="connsiteX589" fmla="*/ 798195 w 1323975"/>
                <a:gd name="connsiteY589" fmla="*/ 196215 h 1857375"/>
                <a:gd name="connsiteX590" fmla="*/ 797243 w 1323975"/>
                <a:gd name="connsiteY590" fmla="*/ 199072 h 1857375"/>
                <a:gd name="connsiteX591" fmla="*/ 797243 w 1323975"/>
                <a:gd name="connsiteY591" fmla="*/ 203835 h 1857375"/>
                <a:gd name="connsiteX592" fmla="*/ 796290 w 1323975"/>
                <a:gd name="connsiteY592" fmla="*/ 206692 h 1857375"/>
                <a:gd name="connsiteX593" fmla="*/ 794385 w 1323975"/>
                <a:gd name="connsiteY593" fmla="*/ 207645 h 1857375"/>
                <a:gd name="connsiteX594" fmla="*/ 787718 w 1323975"/>
                <a:gd name="connsiteY594" fmla="*/ 206692 h 1857375"/>
                <a:gd name="connsiteX595" fmla="*/ 784860 w 1323975"/>
                <a:gd name="connsiteY595" fmla="*/ 207645 h 1857375"/>
                <a:gd name="connsiteX596" fmla="*/ 782955 w 1323975"/>
                <a:gd name="connsiteY596" fmla="*/ 209550 h 1857375"/>
                <a:gd name="connsiteX597" fmla="*/ 782003 w 1323975"/>
                <a:gd name="connsiteY597" fmla="*/ 211455 h 1857375"/>
                <a:gd name="connsiteX598" fmla="*/ 779145 w 1323975"/>
                <a:gd name="connsiteY598" fmla="*/ 218122 h 1857375"/>
                <a:gd name="connsiteX599" fmla="*/ 779145 w 1323975"/>
                <a:gd name="connsiteY599" fmla="*/ 220980 h 1857375"/>
                <a:gd name="connsiteX600" fmla="*/ 780098 w 1323975"/>
                <a:gd name="connsiteY600" fmla="*/ 222885 h 1857375"/>
                <a:gd name="connsiteX601" fmla="*/ 782955 w 1323975"/>
                <a:gd name="connsiteY601" fmla="*/ 224790 h 1857375"/>
                <a:gd name="connsiteX602" fmla="*/ 789623 w 1323975"/>
                <a:gd name="connsiteY602" fmla="*/ 226695 h 1857375"/>
                <a:gd name="connsiteX603" fmla="*/ 793433 w 1323975"/>
                <a:gd name="connsiteY603" fmla="*/ 228600 h 1857375"/>
                <a:gd name="connsiteX604" fmla="*/ 798195 w 1323975"/>
                <a:gd name="connsiteY604" fmla="*/ 234315 h 1857375"/>
                <a:gd name="connsiteX605" fmla="*/ 802005 w 1323975"/>
                <a:gd name="connsiteY605" fmla="*/ 236220 h 1857375"/>
                <a:gd name="connsiteX606" fmla="*/ 804863 w 1323975"/>
                <a:gd name="connsiteY606" fmla="*/ 237172 h 1857375"/>
                <a:gd name="connsiteX607" fmla="*/ 864870 w 1323975"/>
                <a:gd name="connsiteY607" fmla="*/ 240982 h 1857375"/>
                <a:gd name="connsiteX608" fmla="*/ 885825 w 1323975"/>
                <a:gd name="connsiteY608" fmla="*/ 247650 h 1857375"/>
                <a:gd name="connsiteX609" fmla="*/ 887730 w 1323975"/>
                <a:gd name="connsiteY609" fmla="*/ 256222 h 1857375"/>
                <a:gd name="connsiteX610" fmla="*/ 893445 w 1323975"/>
                <a:gd name="connsiteY610" fmla="*/ 275272 h 1857375"/>
                <a:gd name="connsiteX611" fmla="*/ 895350 w 1323975"/>
                <a:gd name="connsiteY611" fmla="*/ 282892 h 1857375"/>
                <a:gd name="connsiteX612" fmla="*/ 896303 w 1323975"/>
                <a:gd name="connsiteY612" fmla="*/ 288607 h 1857375"/>
                <a:gd name="connsiteX613" fmla="*/ 896303 w 1323975"/>
                <a:gd name="connsiteY613" fmla="*/ 300038 h 1857375"/>
                <a:gd name="connsiteX614" fmla="*/ 896303 w 1323975"/>
                <a:gd name="connsiteY614" fmla="*/ 303847 h 1857375"/>
                <a:gd name="connsiteX615" fmla="*/ 898208 w 1323975"/>
                <a:gd name="connsiteY615" fmla="*/ 306705 h 1857375"/>
                <a:gd name="connsiteX616" fmla="*/ 902970 w 1323975"/>
                <a:gd name="connsiteY616" fmla="*/ 309563 h 1857375"/>
                <a:gd name="connsiteX617" fmla="*/ 910590 w 1323975"/>
                <a:gd name="connsiteY617" fmla="*/ 311467 h 1857375"/>
                <a:gd name="connsiteX618" fmla="*/ 913448 w 1323975"/>
                <a:gd name="connsiteY618" fmla="*/ 312420 h 1857375"/>
                <a:gd name="connsiteX619" fmla="*/ 920115 w 1323975"/>
                <a:gd name="connsiteY619" fmla="*/ 313372 h 1857375"/>
                <a:gd name="connsiteX620" fmla="*/ 922020 w 1323975"/>
                <a:gd name="connsiteY620" fmla="*/ 315278 h 1857375"/>
                <a:gd name="connsiteX621" fmla="*/ 922973 w 1323975"/>
                <a:gd name="connsiteY621" fmla="*/ 319088 h 1857375"/>
                <a:gd name="connsiteX622" fmla="*/ 922973 w 1323975"/>
                <a:gd name="connsiteY622" fmla="*/ 323850 h 1857375"/>
                <a:gd name="connsiteX623" fmla="*/ 922020 w 1323975"/>
                <a:gd name="connsiteY623" fmla="*/ 327660 h 1857375"/>
                <a:gd name="connsiteX624" fmla="*/ 922020 w 1323975"/>
                <a:gd name="connsiteY624" fmla="*/ 332422 h 1857375"/>
                <a:gd name="connsiteX625" fmla="*/ 923925 w 1323975"/>
                <a:gd name="connsiteY625" fmla="*/ 338138 h 1857375"/>
                <a:gd name="connsiteX626" fmla="*/ 928688 w 1323975"/>
                <a:gd name="connsiteY626" fmla="*/ 346710 h 1857375"/>
                <a:gd name="connsiteX627" fmla="*/ 930593 w 1323975"/>
                <a:gd name="connsiteY627" fmla="*/ 355282 h 1857375"/>
                <a:gd name="connsiteX628" fmla="*/ 931545 w 1323975"/>
                <a:gd name="connsiteY628" fmla="*/ 360997 h 1857375"/>
                <a:gd name="connsiteX629" fmla="*/ 930593 w 1323975"/>
                <a:gd name="connsiteY629" fmla="*/ 364807 h 1857375"/>
                <a:gd name="connsiteX630" fmla="*/ 927735 w 1323975"/>
                <a:gd name="connsiteY630" fmla="*/ 370522 h 1857375"/>
                <a:gd name="connsiteX631" fmla="*/ 924878 w 1323975"/>
                <a:gd name="connsiteY631" fmla="*/ 376238 h 1857375"/>
                <a:gd name="connsiteX632" fmla="*/ 918210 w 1323975"/>
                <a:gd name="connsiteY632" fmla="*/ 385763 h 1857375"/>
                <a:gd name="connsiteX633" fmla="*/ 917258 w 1323975"/>
                <a:gd name="connsiteY633" fmla="*/ 387667 h 1857375"/>
                <a:gd name="connsiteX634" fmla="*/ 915353 w 1323975"/>
                <a:gd name="connsiteY634" fmla="*/ 394335 h 1857375"/>
                <a:gd name="connsiteX635" fmla="*/ 915353 w 1323975"/>
                <a:gd name="connsiteY635" fmla="*/ 401003 h 1857375"/>
                <a:gd name="connsiteX636" fmla="*/ 917258 w 1323975"/>
                <a:gd name="connsiteY636" fmla="*/ 404813 h 1857375"/>
                <a:gd name="connsiteX637" fmla="*/ 919163 w 1323975"/>
                <a:gd name="connsiteY637" fmla="*/ 405765 h 1857375"/>
                <a:gd name="connsiteX638" fmla="*/ 929640 w 1323975"/>
                <a:gd name="connsiteY638" fmla="*/ 402907 h 1857375"/>
                <a:gd name="connsiteX639" fmla="*/ 932498 w 1323975"/>
                <a:gd name="connsiteY639" fmla="*/ 402907 h 1857375"/>
                <a:gd name="connsiteX640" fmla="*/ 935355 w 1323975"/>
                <a:gd name="connsiteY640" fmla="*/ 403860 h 1857375"/>
                <a:gd name="connsiteX641" fmla="*/ 936308 w 1323975"/>
                <a:gd name="connsiteY641" fmla="*/ 406717 h 1857375"/>
                <a:gd name="connsiteX642" fmla="*/ 935355 w 1323975"/>
                <a:gd name="connsiteY642" fmla="*/ 411480 h 1857375"/>
                <a:gd name="connsiteX643" fmla="*/ 933450 w 1323975"/>
                <a:gd name="connsiteY643" fmla="*/ 418147 h 1857375"/>
                <a:gd name="connsiteX644" fmla="*/ 924878 w 1323975"/>
                <a:gd name="connsiteY644" fmla="*/ 429578 h 1857375"/>
                <a:gd name="connsiteX645" fmla="*/ 912495 w 1323975"/>
                <a:gd name="connsiteY645" fmla="*/ 440055 h 1857375"/>
                <a:gd name="connsiteX646" fmla="*/ 909638 w 1323975"/>
                <a:gd name="connsiteY646" fmla="*/ 443865 h 1857375"/>
                <a:gd name="connsiteX647" fmla="*/ 907733 w 1323975"/>
                <a:gd name="connsiteY647" fmla="*/ 447675 h 1857375"/>
                <a:gd name="connsiteX648" fmla="*/ 905828 w 1323975"/>
                <a:gd name="connsiteY648" fmla="*/ 453390 h 1857375"/>
                <a:gd name="connsiteX649" fmla="*/ 905828 w 1323975"/>
                <a:gd name="connsiteY649" fmla="*/ 456247 h 1857375"/>
                <a:gd name="connsiteX650" fmla="*/ 907733 w 1323975"/>
                <a:gd name="connsiteY650" fmla="*/ 476250 h 1857375"/>
                <a:gd name="connsiteX651" fmla="*/ 909638 w 1323975"/>
                <a:gd name="connsiteY651" fmla="*/ 488632 h 1857375"/>
                <a:gd name="connsiteX652" fmla="*/ 909638 w 1323975"/>
                <a:gd name="connsiteY652" fmla="*/ 492442 h 1857375"/>
                <a:gd name="connsiteX653" fmla="*/ 908685 w 1323975"/>
                <a:gd name="connsiteY653" fmla="*/ 499110 h 1857375"/>
                <a:gd name="connsiteX654" fmla="*/ 908685 w 1323975"/>
                <a:gd name="connsiteY654" fmla="*/ 502920 h 1857375"/>
                <a:gd name="connsiteX655" fmla="*/ 909638 w 1323975"/>
                <a:gd name="connsiteY655" fmla="*/ 505778 h 1857375"/>
                <a:gd name="connsiteX656" fmla="*/ 916305 w 1323975"/>
                <a:gd name="connsiteY656" fmla="*/ 522922 h 1857375"/>
                <a:gd name="connsiteX657" fmla="*/ 917258 w 1323975"/>
                <a:gd name="connsiteY657" fmla="*/ 527685 h 1857375"/>
                <a:gd name="connsiteX658" fmla="*/ 917258 w 1323975"/>
                <a:gd name="connsiteY658" fmla="*/ 532447 h 1857375"/>
                <a:gd name="connsiteX659" fmla="*/ 916305 w 1323975"/>
                <a:gd name="connsiteY659" fmla="*/ 535305 h 1857375"/>
                <a:gd name="connsiteX660" fmla="*/ 912495 w 1323975"/>
                <a:gd name="connsiteY660" fmla="*/ 544830 h 1857375"/>
                <a:gd name="connsiteX661" fmla="*/ 911543 w 1323975"/>
                <a:gd name="connsiteY661" fmla="*/ 551497 h 1857375"/>
                <a:gd name="connsiteX662" fmla="*/ 913448 w 1323975"/>
                <a:gd name="connsiteY662" fmla="*/ 554355 h 1857375"/>
                <a:gd name="connsiteX663" fmla="*/ 915353 w 1323975"/>
                <a:gd name="connsiteY663" fmla="*/ 557213 h 1857375"/>
                <a:gd name="connsiteX664" fmla="*/ 921068 w 1323975"/>
                <a:gd name="connsiteY664" fmla="*/ 561975 h 1857375"/>
                <a:gd name="connsiteX665" fmla="*/ 927735 w 1323975"/>
                <a:gd name="connsiteY665" fmla="*/ 564832 h 1857375"/>
                <a:gd name="connsiteX666" fmla="*/ 935355 w 1323975"/>
                <a:gd name="connsiteY666" fmla="*/ 566738 h 1857375"/>
                <a:gd name="connsiteX667" fmla="*/ 938213 w 1323975"/>
                <a:gd name="connsiteY667" fmla="*/ 567690 h 1857375"/>
                <a:gd name="connsiteX668" fmla="*/ 940118 w 1323975"/>
                <a:gd name="connsiteY668" fmla="*/ 570547 h 1857375"/>
                <a:gd name="connsiteX669" fmla="*/ 941070 w 1323975"/>
                <a:gd name="connsiteY669" fmla="*/ 578167 h 1857375"/>
                <a:gd name="connsiteX670" fmla="*/ 940118 w 1323975"/>
                <a:gd name="connsiteY670" fmla="*/ 583882 h 1857375"/>
                <a:gd name="connsiteX671" fmla="*/ 937260 w 1323975"/>
                <a:gd name="connsiteY671" fmla="*/ 590550 h 1857375"/>
                <a:gd name="connsiteX672" fmla="*/ 935355 w 1323975"/>
                <a:gd name="connsiteY672" fmla="*/ 597217 h 1857375"/>
                <a:gd name="connsiteX673" fmla="*/ 934403 w 1323975"/>
                <a:gd name="connsiteY673" fmla="*/ 607695 h 1857375"/>
                <a:gd name="connsiteX674" fmla="*/ 934403 w 1323975"/>
                <a:gd name="connsiteY674" fmla="*/ 613410 h 1857375"/>
                <a:gd name="connsiteX675" fmla="*/ 934403 w 1323975"/>
                <a:gd name="connsiteY675" fmla="*/ 619125 h 1857375"/>
                <a:gd name="connsiteX676" fmla="*/ 935355 w 1323975"/>
                <a:gd name="connsiteY676" fmla="*/ 622935 h 1857375"/>
                <a:gd name="connsiteX677" fmla="*/ 938213 w 1323975"/>
                <a:gd name="connsiteY677" fmla="*/ 626745 h 1857375"/>
                <a:gd name="connsiteX678" fmla="*/ 945833 w 1323975"/>
                <a:gd name="connsiteY678" fmla="*/ 631507 h 1857375"/>
                <a:gd name="connsiteX679" fmla="*/ 949643 w 1323975"/>
                <a:gd name="connsiteY679" fmla="*/ 634365 h 1857375"/>
                <a:gd name="connsiteX680" fmla="*/ 954405 w 1323975"/>
                <a:gd name="connsiteY680" fmla="*/ 635317 h 1857375"/>
                <a:gd name="connsiteX681" fmla="*/ 957263 w 1323975"/>
                <a:gd name="connsiteY681" fmla="*/ 635317 h 1857375"/>
                <a:gd name="connsiteX682" fmla="*/ 960120 w 1323975"/>
                <a:gd name="connsiteY682" fmla="*/ 636270 h 1857375"/>
                <a:gd name="connsiteX683" fmla="*/ 966788 w 1323975"/>
                <a:gd name="connsiteY683" fmla="*/ 640080 h 1857375"/>
                <a:gd name="connsiteX684" fmla="*/ 969645 w 1323975"/>
                <a:gd name="connsiteY684" fmla="*/ 641032 h 1857375"/>
                <a:gd name="connsiteX685" fmla="*/ 972503 w 1323975"/>
                <a:gd name="connsiteY685" fmla="*/ 641032 h 1857375"/>
                <a:gd name="connsiteX686" fmla="*/ 977265 w 1323975"/>
                <a:gd name="connsiteY686" fmla="*/ 637222 h 1857375"/>
                <a:gd name="connsiteX687" fmla="*/ 980123 w 1323975"/>
                <a:gd name="connsiteY687" fmla="*/ 633413 h 1857375"/>
                <a:gd name="connsiteX688" fmla="*/ 982028 w 1323975"/>
                <a:gd name="connsiteY688" fmla="*/ 631507 h 1857375"/>
                <a:gd name="connsiteX689" fmla="*/ 984885 w 1323975"/>
                <a:gd name="connsiteY689" fmla="*/ 632460 h 1857375"/>
                <a:gd name="connsiteX690" fmla="*/ 988695 w 1323975"/>
                <a:gd name="connsiteY690" fmla="*/ 636270 h 1857375"/>
                <a:gd name="connsiteX691" fmla="*/ 994410 w 1323975"/>
                <a:gd name="connsiteY691" fmla="*/ 646747 h 1857375"/>
                <a:gd name="connsiteX692" fmla="*/ 997268 w 1323975"/>
                <a:gd name="connsiteY692" fmla="*/ 652463 h 1857375"/>
                <a:gd name="connsiteX693" fmla="*/ 999173 w 1323975"/>
                <a:gd name="connsiteY693" fmla="*/ 661988 h 1857375"/>
                <a:gd name="connsiteX694" fmla="*/ 1001078 w 1323975"/>
                <a:gd name="connsiteY694" fmla="*/ 664845 h 1857375"/>
                <a:gd name="connsiteX695" fmla="*/ 1004888 w 1323975"/>
                <a:gd name="connsiteY695" fmla="*/ 668655 h 1857375"/>
                <a:gd name="connsiteX696" fmla="*/ 1015365 w 1323975"/>
                <a:gd name="connsiteY696" fmla="*/ 677228 h 1857375"/>
                <a:gd name="connsiteX697" fmla="*/ 1021080 w 1323975"/>
                <a:gd name="connsiteY697" fmla="*/ 684847 h 1857375"/>
                <a:gd name="connsiteX698" fmla="*/ 1027748 w 1323975"/>
                <a:gd name="connsiteY698" fmla="*/ 700088 h 1857375"/>
                <a:gd name="connsiteX699" fmla="*/ 1029653 w 1323975"/>
                <a:gd name="connsiteY699" fmla="*/ 703897 h 1857375"/>
                <a:gd name="connsiteX700" fmla="*/ 1028700 w 1323975"/>
                <a:gd name="connsiteY700" fmla="*/ 707707 h 1857375"/>
                <a:gd name="connsiteX701" fmla="*/ 1026795 w 1323975"/>
                <a:gd name="connsiteY701" fmla="*/ 713422 h 1857375"/>
                <a:gd name="connsiteX702" fmla="*/ 1022985 w 1323975"/>
                <a:gd name="connsiteY702" fmla="*/ 717232 h 1857375"/>
                <a:gd name="connsiteX703" fmla="*/ 1019175 w 1323975"/>
                <a:gd name="connsiteY703" fmla="*/ 719138 h 1857375"/>
                <a:gd name="connsiteX704" fmla="*/ 995363 w 1323975"/>
                <a:gd name="connsiteY704" fmla="*/ 722947 h 1857375"/>
                <a:gd name="connsiteX705" fmla="*/ 992505 w 1323975"/>
                <a:gd name="connsiteY705" fmla="*/ 724853 h 1857375"/>
                <a:gd name="connsiteX706" fmla="*/ 990600 w 1323975"/>
                <a:gd name="connsiteY706" fmla="*/ 726757 h 1857375"/>
                <a:gd name="connsiteX707" fmla="*/ 990600 w 1323975"/>
                <a:gd name="connsiteY707" fmla="*/ 731520 h 1857375"/>
                <a:gd name="connsiteX708" fmla="*/ 992505 w 1323975"/>
                <a:gd name="connsiteY708" fmla="*/ 737235 h 1857375"/>
                <a:gd name="connsiteX709" fmla="*/ 995363 w 1323975"/>
                <a:gd name="connsiteY709" fmla="*/ 746760 h 1857375"/>
                <a:gd name="connsiteX710" fmla="*/ 998220 w 1323975"/>
                <a:gd name="connsiteY710" fmla="*/ 757238 h 1857375"/>
                <a:gd name="connsiteX711" fmla="*/ 1000125 w 1323975"/>
                <a:gd name="connsiteY711" fmla="*/ 760095 h 1857375"/>
                <a:gd name="connsiteX712" fmla="*/ 1002983 w 1323975"/>
                <a:gd name="connsiteY712" fmla="*/ 762953 h 1857375"/>
                <a:gd name="connsiteX713" fmla="*/ 1009650 w 1323975"/>
                <a:gd name="connsiteY713" fmla="*/ 765810 h 1857375"/>
                <a:gd name="connsiteX714" fmla="*/ 1018223 w 1323975"/>
                <a:gd name="connsiteY714" fmla="*/ 767715 h 1857375"/>
                <a:gd name="connsiteX715" fmla="*/ 1070610 w 1323975"/>
                <a:gd name="connsiteY715" fmla="*/ 762000 h 1857375"/>
                <a:gd name="connsiteX716" fmla="*/ 1073468 w 1323975"/>
                <a:gd name="connsiteY716" fmla="*/ 762953 h 1857375"/>
                <a:gd name="connsiteX717" fmla="*/ 1075373 w 1323975"/>
                <a:gd name="connsiteY717" fmla="*/ 765810 h 1857375"/>
                <a:gd name="connsiteX718" fmla="*/ 1079183 w 1323975"/>
                <a:gd name="connsiteY718" fmla="*/ 772478 h 1857375"/>
                <a:gd name="connsiteX719" fmla="*/ 1081088 w 1323975"/>
                <a:gd name="connsiteY719" fmla="*/ 780097 h 1857375"/>
                <a:gd name="connsiteX720" fmla="*/ 1082993 w 1323975"/>
                <a:gd name="connsiteY720" fmla="*/ 787717 h 1857375"/>
                <a:gd name="connsiteX721" fmla="*/ 1084898 w 1323975"/>
                <a:gd name="connsiteY721" fmla="*/ 795338 h 1857375"/>
                <a:gd name="connsiteX722" fmla="*/ 1093471 w 1323975"/>
                <a:gd name="connsiteY722" fmla="*/ 814388 h 1857375"/>
                <a:gd name="connsiteX723" fmla="*/ 1095375 w 1323975"/>
                <a:gd name="connsiteY723" fmla="*/ 819150 h 1857375"/>
                <a:gd name="connsiteX724" fmla="*/ 1094423 w 1323975"/>
                <a:gd name="connsiteY724" fmla="*/ 822007 h 1857375"/>
                <a:gd name="connsiteX725" fmla="*/ 1093471 w 1323975"/>
                <a:gd name="connsiteY725" fmla="*/ 828675 h 1857375"/>
                <a:gd name="connsiteX726" fmla="*/ 1091565 w 1323975"/>
                <a:gd name="connsiteY726" fmla="*/ 838200 h 1857375"/>
                <a:gd name="connsiteX727" fmla="*/ 1093471 w 1323975"/>
                <a:gd name="connsiteY727" fmla="*/ 841057 h 1857375"/>
                <a:gd name="connsiteX728" fmla="*/ 1096328 w 1323975"/>
                <a:gd name="connsiteY728" fmla="*/ 844867 h 1857375"/>
                <a:gd name="connsiteX729" fmla="*/ 1106805 w 1323975"/>
                <a:gd name="connsiteY729" fmla="*/ 851535 h 1857375"/>
                <a:gd name="connsiteX730" fmla="*/ 1173480 w 1323975"/>
                <a:gd name="connsiteY730" fmla="*/ 877253 h 1857375"/>
                <a:gd name="connsiteX731" fmla="*/ 1203960 w 1323975"/>
                <a:gd name="connsiteY731" fmla="*/ 895350 h 1857375"/>
                <a:gd name="connsiteX732" fmla="*/ 1205865 w 1323975"/>
                <a:gd name="connsiteY732" fmla="*/ 897255 h 1857375"/>
                <a:gd name="connsiteX733" fmla="*/ 1207771 w 1323975"/>
                <a:gd name="connsiteY733" fmla="*/ 901065 h 1857375"/>
                <a:gd name="connsiteX734" fmla="*/ 1208723 w 1323975"/>
                <a:gd name="connsiteY734" fmla="*/ 908685 h 1857375"/>
                <a:gd name="connsiteX735" fmla="*/ 1207771 w 1323975"/>
                <a:gd name="connsiteY735" fmla="*/ 912495 h 1857375"/>
                <a:gd name="connsiteX736" fmla="*/ 1206818 w 1323975"/>
                <a:gd name="connsiteY736" fmla="*/ 916305 h 1857375"/>
                <a:gd name="connsiteX737" fmla="*/ 1202055 w 1323975"/>
                <a:gd name="connsiteY737" fmla="*/ 922972 h 1857375"/>
                <a:gd name="connsiteX738" fmla="*/ 1198246 w 1323975"/>
                <a:gd name="connsiteY738" fmla="*/ 931545 h 1857375"/>
                <a:gd name="connsiteX739" fmla="*/ 1196340 w 1323975"/>
                <a:gd name="connsiteY739" fmla="*/ 938213 h 1857375"/>
                <a:gd name="connsiteX740" fmla="*/ 1199198 w 1323975"/>
                <a:gd name="connsiteY740" fmla="*/ 942975 h 1857375"/>
                <a:gd name="connsiteX741" fmla="*/ 1204913 w 1323975"/>
                <a:gd name="connsiteY741" fmla="*/ 948690 h 1857375"/>
                <a:gd name="connsiteX742" fmla="*/ 1218248 w 1323975"/>
                <a:gd name="connsiteY742" fmla="*/ 961072 h 1857375"/>
                <a:gd name="connsiteX743" fmla="*/ 1224915 w 1323975"/>
                <a:gd name="connsiteY743" fmla="*/ 964882 h 1857375"/>
                <a:gd name="connsiteX744" fmla="*/ 1229678 w 1323975"/>
                <a:gd name="connsiteY744" fmla="*/ 966788 h 1857375"/>
                <a:gd name="connsiteX745" fmla="*/ 1266825 w 1323975"/>
                <a:gd name="connsiteY745" fmla="*/ 965835 h 1857375"/>
                <a:gd name="connsiteX746" fmla="*/ 1316355 w 1323975"/>
                <a:gd name="connsiteY746" fmla="*/ 977265 h 1857375"/>
                <a:gd name="connsiteX747" fmla="*/ 1318260 w 1323975"/>
                <a:gd name="connsiteY747" fmla="*/ 982028 h 1857375"/>
                <a:gd name="connsiteX748" fmla="*/ 1320165 w 1323975"/>
                <a:gd name="connsiteY748" fmla="*/ 989647 h 1857375"/>
                <a:gd name="connsiteX749" fmla="*/ 1318260 w 1323975"/>
                <a:gd name="connsiteY749" fmla="*/ 1015365 h 1857375"/>
                <a:gd name="connsiteX750" fmla="*/ 1318260 w 1323975"/>
                <a:gd name="connsiteY750" fmla="*/ 1022032 h 1857375"/>
                <a:gd name="connsiteX751" fmla="*/ 1321118 w 1323975"/>
                <a:gd name="connsiteY751" fmla="*/ 1027747 h 1857375"/>
                <a:gd name="connsiteX752" fmla="*/ 1323023 w 1323975"/>
                <a:gd name="connsiteY752" fmla="*/ 1031557 h 1857375"/>
                <a:gd name="connsiteX753" fmla="*/ 1325880 w 1323975"/>
                <a:gd name="connsiteY753" fmla="*/ 1033463 h 1857375"/>
                <a:gd name="connsiteX754" fmla="*/ 1330643 w 1323975"/>
                <a:gd name="connsiteY754" fmla="*/ 1036320 h 1857375"/>
                <a:gd name="connsiteX755" fmla="*/ 1331596 w 1323975"/>
                <a:gd name="connsiteY755" fmla="*/ 1047750 h 1857375"/>
                <a:gd name="connsiteX756" fmla="*/ 1322071 w 1323975"/>
                <a:gd name="connsiteY756" fmla="*/ 1088707 h 1857375"/>
                <a:gd name="connsiteX757" fmla="*/ 1321118 w 1323975"/>
                <a:gd name="connsiteY757" fmla="*/ 1095375 h 18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</a:cxnLst>
              <a:rect l="l" t="t" r="r" b="b"/>
              <a:pathLst>
                <a:path w="1323975" h="1857375">
                  <a:moveTo>
                    <a:pt x="1321118" y="1095375"/>
                  </a:moveTo>
                  <a:lnTo>
                    <a:pt x="1237298" y="1092517"/>
                  </a:lnTo>
                  <a:lnTo>
                    <a:pt x="1212533" y="1102042"/>
                  </a:lnTo>
                  <a:lnTo>
                    <a:pt x="1194435" y="1124903"/>
                  </a:lnTo>
                  <a:lnTo>
                    <a:pt x="1181100" y="1155382"/>
                  </a:lnTo>
                  <a:lnTo>
                    <a:pt x="1171575" y="1191578"/>
                  </a:lnTo>
                  <a:lnTo>
                    <a:pt x="1167765" y="1223963"/>
                  </a:lnTo>
                  <a:lnTo>
                    <a:pt x="1162050" y="1236345"/>
                  </a:lnTo>
                  <a:lnTo>
                    <a:pt x="1150621" y="1237298"/>
                  </a:lnTo>
                  <a:lnTo>
                    <a:pt x="1132523" y="1230630"/>
                  </a:lnTo>
                  <a:lnTo>
                    <a:pt x="1123950" y="1231582"/>
                  </a:lnTo>
                  <a:lnTo>
                    <a:pt x="1114425" y="1239203"/>
                  </a:lnTo>
                  <a:lnTo>
                    <a:pt x="1094423" y="1262063"/>
                  </a:lnTo>
                  <a:lnTo>
                    <a:pt x="1084898" y="1270635"/>
                  </a:lnTo>
                  <a:lnTo>
                    <a:pt x="1071563" y="1276350"/>
                  </a:lnTo>
                  <a:lnTo>
                    <a:pt x="961073" y="1291590"/>
                  </a:lnTo>
                  <a:lnTo>
                    <a:pt x="942975" y="1303973"/>
                  </a:lnTo>
                  <a:lnTo>
                    <a:pt x="929640" y="1325880"/>
                  </a:lnTo>
                  <a:lnTo>
                    <a:pt x="919163" y="1353503"/>
                  </a:lnTo>
                  <a:lnTo>
                    <a:pt x="912495" y="1381125"/>
                  </a:lnTo>
                  <a:lnTo>
                    <a:pt x="913448" y="1436370"/>
                  </a:lnTo>
                  <a:lnTo>
                    <a:pt x="910590" y="1458278"/>
                  </a:lnTo>
                  <a:lnTo>
                    <a:pt x="898208" y="1482090"/>
                  </a:lnTo>
                  <a:lnTo>
                    <a:pt x="882015" y="1503998"/>
                  </a:lnTo>
                  <a:lnTo>
                    <a:pt x="875348" y="1518285"/>
                  </a:lnTo>
                  <a:lnTo>
                    <a:pt x="874395" y="1530667"/>
                  </a:lnTo>
                  <a:lnTo>
                    <a:pt x="881063" y="1538288"/>
                  </a:lnTo>
                  <a:lnTo>
                    <a:pt x="890588" y="1540192"/>
                  </a:lnTo>
                  <a:lnTo>
                    <a:pt x="910590" y="1536382"/>
                  </a:lnTo>
                  <a:lnTo>
                    <a:pt x="920115" y="1537335"/>
                  </a:lnTo>
                  <a:lnTo>
                    <a:pt x="928688" y="1541145"/>
                  </a:lnTo>
                  <a:lnTo>
                    <a:pt x="933450" y="1549717"/>
                  </a:lnTo>
                  <a:lnTo>
                    <a:pt x="931545" y="1564957"/>
                  </a:lnTo>
                  <a:lnTo>
                    <a:pt x="924878" y="1576388"/>
                  </a:lnTo>
                  <a:lnTo>
                    <a:pt x="914400" y="1584007"/>
                  </a:lnTo>
                  <a:lnTo>
                    <a:pt x="902018" y="1589723"/>
                  </a:lnTo>
                  <a:lnTo>
                    <a:pt x="892493" y="1597342"/>
                  </a:lnTo>
                  <a:lnTo>
                    <a:pt x="882015" y="1614488"/>
                  </a:lnTo>
                  <a:lnTo>
                    <a:pt x="878205" y="1638300"/>
                  </a:lnTo>
                  <a:lnTo>
                    <a:pt x="881063" y="1662113"/>
                  </a:lnTo>
                  <a:lnTo>
                    <a:pt x="888683" y="1684020"/>
                  </a:lnTo>
                  <a:lnTo>
                    <a:pt x="878205" y="1694498"/>
                  </a:lnTo>
                  <a:lnTo>
                    <a:pt x="849630" y="1734503"/>
                  </a:lnTo>
                  <a:lnTo>
                    <a:pt x="831533" y="1743075"/>
                  </a:lnTo>
                  <a:lnTo>
                    <a:pt x="843915" y="1718310"/>
                  </a:lnTo>
                  <a:lnTo>
                    <a:pt x="842963" y="1705928"/>
                  </a:lnTo>
                  <a:lnTo>
                    <a:pt x="829628" y="1700213"/>
                  </a:lnTo>
                  <a:lnTo>
                    <a:pt x="812483" y="1686878"/>
                  </a:lnTo>
                  <a:lnTo>
                    <a:pt x="809625" y="1687830"/>
                  </a:lnTo>
                  <a:lnTo>
                    <a:pt x="806768" y="1690688"/>
                  </a:lnTo>
                  <a:lnTo>
                    <a:pt x="793433" y="1698307"/>
                  </a:lnTo>
                  <a:lnTo>
                    <a:pt x="788670" y="1700213"/>
                  </a:lnTo>
                  <a:lnTo>
                    <a:pt x="768668" y="1692592"/>
                  </a:lnTo>
                  <a:lnTo>
                    <a:pt x="754380" y="1689735"/>
                  </a:lnTo>
                  <a:lnTo>
                    <a:pt x="748665" y="1693545"/>
                  </a:lnTo>
                  <a:lnTo>
                    <a:pt x="701993" y="1684973"/>
                  </a:lnTo>
                  <a:lnTo>
                    <a:pt x="644843" y="1705928"/>
                  </a:lnTo>
                  <a:lnTo>
                    <a:pt x="621983" y="1705928"/>
                  </a:lnTo>
                  <a:lnTo>
                    <a:pt x="553403" y="1693545"/>
                  </a:lnTo>
                  <a:lnTo>
                    <a:pt x="535305" y="1700213"/>
                  </a:lnTo>
                  <a:lnTo>
                    <a:pt x="501968" y="1736407"/>
                  </a:lnTo>
                  <a:lnTo>
                    <a:pt x="446723" y="1814513"/>
                  </a:lnTo>
                  <a:lnTo>
                    <a:pt x="433388" y="1842135"/>
                  </a:lnTo>
                  <a:lnTo>
                    <a:pt x="423863" y="1854517"/>
                  </a:lnTo>
                  <a:lnTo>
                    <a:pt x="412433" y="1860232"/>
                  </a:lnTo>
                  <a:lnTo>
                    <a:pt x="415290" y="1840230"/>
                  </a:lnTo>
                  <a:lnTo>
                    <a:pt x="402908" y="1824990"/>
                  </a:lnTo>
                  <a:lnTo>
                    <a:pt x="384810" y="1815465"/>
                  </a:lnTo>
                  <a:lnTo>
                    <a:pt x="367665" y="1812607"/>
                  </a:lnTo>
                  <a:lnTo>
                    <a:pt x="357188" y="1815465"/>
                  </a:lnTo>
                  <a:lnTo>
                    <a:pt x="333375" y="1834515"/>
                  </a:lnTo>
                  <a:lnTo>
                    <a:pt x="272415" y="1858328"/>
                  </a:lnTo>
                  <a:lnTo>
                    <a:pt x="267653" y="1859280"/>
                  </a:lnTo>
                  <a:lnTo>
                    <a:pt x="252413" y="1829753"/>
                  </a:lnTo>
                  <a:lnTo>
                    <a:pt x="251460" y="1824038"/>
                  </a:lnTo>
                  <a:lnTo>
                    <a:pt x="252413" y="1820228"/>
                  </a:lnTo>
                  <a:lnTo>
                    <a:pt x="255270" y="1815465"/>
                  </a:lnTo>
                  <a:lnTo>
                    <a:pt x="257175" y="1813560"/>
                  </a:lnTo>
                  <a:lnTo>
                    <a:pt x="272415" y="1799273"/>
                  </a:lnTo>
                  <a:lnTo>
                    <a:pt x="274320" y="1797367"/>
                  </a:lnTo>
                  <a:lnTo>
                    <a:pt x="280035" y="1793557"/>
                  </a:lnTo>
                  <a:lnTo>
                    <a:pt x="282893" y="1793557"/>
                  </a:lnTo>
                  <a:lnTo>
                    <a:pt x="290513" y="1797367"/>
                  </a:lnTo>
                  <a:lnTo>
                    <a:pt x="293370" y="1798320"/>
                  </a:lnTo>
                  <a:lnTo>
                    <a:pt x="295275" y="1798320"/>
                  </a:lnTo>
                  <a:lnTo>
                    <a:pt x="300038" y="1796415"/>
                  </a:lnTo>
                  <a:lnTo>
                    <a:pt x="307658" y="1790700"/>
                  </a:lnTo>
                  <a:lnTo>
                    <a:pt x="308610" y="1786890"/>
                  </a:lnTo>
                  <a:lnTo>
                    <a:pt x="307658" y="1782128"/>
                  </a:lnTo>
                  <a:lnTo>
                    <a:pt x="297180" y="1764030"/>
                  </a:lnTo>
                  <a:lnTo>
                    <a:pt x="299085" y="1759267"/>
                  </a:lnTo>
                  <a:lnTo>
                    <a:pt x="302895" y="1755457"/>
                  </a:lnTo>
                  <a:lnTo>
                    <a:pt x="308610" y="1749742"/>
                  </a:lnTo>
                  <a:lnTo>
                    <a:pt x="310515" y="1747838"/>
                  </a:lnTo>
                  <a:lnTo>
                    <a:pt x="311468" y="1744980"/>
                  </a:lnTo>
                  <a:lnTo>
                    <a:pt x="309563" y="1742123"/>
                  </a:lnTo>
                  <a:lnTo>
                    <a:pt x="305753" y="1737360"/>
                  </a:lnTo>
                  <a:lnTo>
                    <a:pt x="303848" y="1735455"/>
                  </a:lnTo>
                  <a:lnTo>
                    <a:pt x="295275" y="1729740"/>
                  </a:lnTo>
                  <a:lnTo>
                    <a:pt x="286703" y="1720215"/>
                  </a:lnTo>
                  <a:lnTo>
                    <a:pt x="282893" y="1719263"/>
                  </a:lnTo>
                  <a:lnTo>
                    <a:pt x="279083" y="1722120"/>
                  </a:lnTo>
                  <a:lnTo>
                    <a:pt x="275273" y="1728788"/>
                  </a:lnTo>
                  <a:lnTo>
                    <a:pt x="273368" y="1728788"/>
                  </a:lnTo>
                  <a:lnTo>
                    <a:pt x="271463" y="1727835"/>
                  </a:lnTo>
                  <a:lnTo>
                    <a:pt x="253365" y="1712595"/>
                  </a:lnTo>
                  <a:lnTo>
                    <a:pt x="250508" y="1709738"/>
                  </a:lnTo>
                  <a:lnTo>
                    <a:pt x="248603" y="1704975"/>
                  </a:lnTo>
                  <a:lnTo>
                    <a:pt x="242888" y="1681163"/>
                  </a:lnTo>
                  <a:lnTo>
                    <a:pt x="238125" y="1672590"/>
                  </a:lnTo>
                  <a:lnTo>
                    <a:pt x="230505" y="1659255"/>
                  </a:lnTo>
                  <a:lnTo>
                    <a:pt x="227648" y="1655445"/>
                  </a:lnTo>
                  <a:lnTo>
                    <a:pt x="225743" y="1653540"/>
                  </a:lnTo>
                  <a:lnTo>
                    <a:pt x="216218" y="1647825"/>
                  </a:lnTo>
                  <a:lnTo>
                    <a:pt x="193358" y="1638300"/>
                  </a:lnTo>
                  <a:lnTo>
                    <a:pt x="188595" y="1635442"/>
                  </a:lnTo>
                  <a:lnTo>
                    <a:pt x="176213" y="1622107"/>
                  </a:lnTo>
                  <a:lnTo>
                    <a:pt x="173355" y="1618298"/>
                  </a:lnTo>
                  <a:lnTo>
                    <a:pt x="171450" y="1613535"/>
                  </a:lnTo>
                  <a:lnTo>
                    <a:pt x="173355" y="1610678"/>
                  </a:lnTo>
                  <a:lnTo>
                    <a:pt x="176213" y="1609725"/>
                  </a:lnTo>
                  <a:lnTo>
                    <a:pt x="179070" y="1608773"/>
                  </a:lnTo>
                  <a:lnTo>
                    <a:pt x="206693" y="1606867"/>
                  </a:lnTo>
                  <a:lnTo>
                    <a:pt x="211455" y="1604963"/>
                  </a:lnTo>
                  <a:lnTo>
                    <a:pt x="215265" y="1602105"/>
                  </a:lnTo>
                  <a:lnTo>
                    <a:pt x="216218" y="1596390"/>
                  </a:lnTo>
                  <a:lnTo>
                    <a:pt x="214313" y="1576388"/>
                  </a:lnTo>
                  <a:lnTo>
                    <a:pt x="213360" y="1571625"/>
                  </a:lnTo>
                  <a:lnTo>
                    <a:pt x="212408" y="1566863"/>
                  </a:lnTo>
                  <a:lnTo>
                    <a:pt x="204788" y="1550670"/>
                  </a:lnTo>
                  <a:lnTo>
                    <a:pt x="201930" y="1544003"/>
                  </a:lnTo>
                  <a:lnTo>
                    <a:pt x="201930" y="1535430"/>
                  </a:lnTo>
                  <a:lnTo>
                    <a:pt x="202883" y="1532573"/>
                  </a:lnTo>
                  <a:lnTo>
                    <a:pt x="204788" y="1529715"/>
                  </a:lnTo>
                  <a:lnTo>
                    <a:pt x="209550" y="1527810"/>
                  </a:lnTo>
                  <a:lnTo>
                    <a:pt x="214313" y="1526857"/>
                  </a:lnTo>
                  <a:lnTo>
                    <a:pt x="219075" y="1531620"/>
                  </a:lnTo>
                  <a:lnTo>
                    <a:pt x="221933" y="1531620"/>
                  </a:lnTo>
                  <a:lnTo>
                    <a:pt x="227648" y="1532573"/>
                  </a:lnTo>
                  <a:lnTo>
                    <a:pt x="229553" y="1532573"/>
                  </a:lnTo>
                  <a:lnTo>
                    <a:pt x="235268" y="1538288"/>
                  </a:lnTo>
                  <a:lnTo>
                    <a:pt x="241935" y="1540192"/>
                  </a:lnTo>
                  <a:lnTo>
                    <a:pt x="251460" y="1541145"/>
                  </a:lnTo>
                  <a:lnTo>
                    <a:pt x="262890" y="1541145"/>
                  </a:lnTo>
                  <a:lnTo>
                    <a:pt x="281940" y="1534478"/>
                  </a:lnTo>
                  <a:lnTo>
                    <a:pt x="283845" y="1532573"/>
                  </a:lnTo>
                  <a:lnTo>
                    <a:pt x="285750" y="1530667"/>
                  </a:lnTo>
                  <a:lnTo>
                    <a:pt x="286703" y="1527810"/>
                  </a:lnTo>
                  <a:lnTo>
                    <a:pt x="286703" y="1524953"/>
                  </a:lnTo>
                  <a:lnTo>
                    <a:pt x="286703" y="1516380"/>
                  </a:lnTo>
                  <a:lnTo>
                    <a:pt x="286703" y="1513523"/>
                  </a:lnTo>
                  <a:lnTo>
                    <a:pt x="288608" y="1507807"/>
                  </a:lnTo>
                  <a:lnTo>
                    <a:pt x="293370" y="1500188"/>
                  </a:lnTo>
                  <a:lnTo>
                    <a:pt x="296228" y="1494473"/>
                  </a:lnTo>
                  <a:lnTo>
                    <a:pt x="298133" y="1487805"/>
                  </a:lnTo>
                  <a:lnTo>
                    <a:pt x="300038" y="1482090"/>
                  </a:lnTo>
                  <a:lnTo>
                    <a:pt x="303848" y="1478280"/>
                  </a:lnTo>
                  <a:lnTo>
                    <a:pt x="307658" y="1475423"/>
                  </a:lnTo>
                  <a:lnTo>
                    <a:pt x="309563" y="1474470"/>
                  </a:lnTo>
                  <a:lnTo>
                    <a:pt x="314325" y="1474470"/>
                  </a:lnTo>
                  <a:lnTo>
                    <a:pt x="319088" y="1476375"/>
                  </a:lnTo>
                  <a:lnTo>
                    <a:pt x="320993" y="1477328"/>
                  </a:lnTo>
                  <a:lnTo>
                    <a:pt x="326708" y="1483042"/>
                  </a:lnTo>
                  <a:lnTo>
                    <a:pt x="330518" y="1489710"/>
                  </a:lnTo>
                  <a:lnTo>
                    <a:pt x="332423" y="1494473"/>
                  </a:lnTo>
                  <a:lnTo>
                    <a:pt x="333375" y="1495425"/>
                  </a:lnTo>
                  <a:lnTo>
                    <a:pt x="338138" y="1494473"/>
                  </a:lnTo>
                  <a:lnTo>
                    <a:pt x="341948" y="1491615"/>
                  </a:lnTo>
                  <a:lnTo>
                    <a:pt x="344805" y="1487805"/>
                  </a:lnTo>
                  <a:lnTo>
                    <a:pt x="345758" y="1484948"/>
                  </a:lnTo>
                  <a:lnTo>
                    <a:pt x="343853" y="1478280"/>
                  </a:lnTo>
                  <a:lnTo>
                    <a:pt x="343853" y="1471613"/>
                  </a:lnTo>
                  <a:lnTo>
                    <a:pt x="343853" y="1465898"/>
                  </a:lnTo>
                  <a:lnTo>
                    <a:pt x="344805" y="1463040"/>
                  </a:lnTo>
                  <a:lnTo>
                    <a:pt x="346710" y="1456373"/>
                  </a:lnTo>
                  <a:lnTo>
                    <a:pt x="352425" y="1445895"/>
                  </a:lnTo>
                  <a:lnTo>
                    <a:pt x="352425" y="1443038"/>
                  </a:lnTo>
                  <a:lnTo>
                    <a:pt x="352425" y="1436370"/>
                  </a:lnTo>
                  <a:lnTo>
                    <a:pt x="354330" y="1430655"/>
                  </a:lnTo>
                  <a:lnTo>
                    <a:pt x="361950" y="1415415"/>
                  </a:lnTo>
                  <a:lnTo>
                    <a:pt x="363855" y="1412557"/>
                  </a:lnTo>
                  <a:lnTo>
                    <a:pt x="363855" y="1409700"/>
                  </a:lnTo>
                  <a:lnTo>
                    <a:pt x="362903" y="1407795"/>
                  </a:lnTo>
                  <a:lnTo>
                    <a:pt x="359093" y="1406842"/>
                  </a:lnTo>
                  <a:lnTo>
                    <a:pt x="349568" y="1406842"/>
                  </a:lnTo>
                  <a:lnTo>
                    <a:pt x="327660" y="1403032"/>
                  </a:lnTo>
                  <a:lnTo>
                    <a:pt x="324803" y="1403985"/>
                  </a:lnTo>
                  <a:lnTo>
                    <a:pt x="322898" y="1405890"/>
                  </a:lnTo>
                  <a:lnTo>
                    <a:pt x="321945" y="1410653"/>
                  </a:lnTo>
                  <a:lnTo>
                    <a:pt x="318135" y="1413510"/>
                  </a:lnTo>
                  <a:lnTo>
                    <a:pt x="315278" y="1413510"/>
                  </a:lnTo>
                  <a:lnTo>
                    <a:pt x="312420" y="1410653"/>
                  </a:lnTo>
                  <a:lnTo>
                    <a:pt x="301943" y="1394460"/>
                  </a:lnTo>
                  <a:lnTo>
                    <a:pt x="300038" y="1392555"/>
                  </a:lnTo>
                  <a:lnTo>
                    <a:pt x="259080" y="1356360"/>
                  </a:lnTo>
                  <a:lnTo>
                    <a:pt x="244793" y="1338263"/>
                  </a:lnTo>
                  <a:lnTo>
                    <a:pt x="240983" y="1334453"/>
                  </a:lnTo>
                  <a:lnTo>
                    <a:pt x="218123" y="1320165"/>
                  </a:lnTo>
                  <a:lnTo>
                    <a:pt x="214313" y="1319213"/>
                  </a:lnTo>
                  <a:lnTo>
                    <a:pt x="210503" y="1319213"/>
                  </a:lnTo>
                  <a:lnTo>
                    <a:pt x="197168" y="1330642"/>
                  </a:lnTo>
                  <a:lnTo>
                    <a:pt x="193358" y="1333500"/>
                  </a:lnTo>
                  <a:lnTo>
                    <a:pt x="191453" y="1335405"/>
                  </a:lnTo>
                  <a:lnTo>
                    <a:pt x="184785" y="1331595"/>
                  </a:lnTo>
                  <a:lnTo>
                    <a:pt x="176213" y="1323023"/>
                  </a:lnTo>
                  <a:lnTo>
                    <a:pt x="155258" y="1300163"/>
                  </a:lnTo>
                  <a:lnTo>
                    <a:pt x="146685" y="1292542"/>
                  </a:lnTo>
                  <a:lnTo>
                    <a:pt x="140970" y="1288732"/>
                  </a:lnTo>
                  <a:lnTo>
                    <a:pt x="124778" y="1295400"/>
                  </a:lnTo>
                  <a:lnTo>
                    <a:pt x="119063" y="1296353"/>
                  </a:lnTo>
                  <a:lnTo>
                    <a:pt x="117158" y="1295400"/>
                  </a:lnTo>
                  <a:lnTo>
                    <a:pt x="115253" y="1292542"/>
                  </a:lnTo>
                  <a:lnTo>
                    <a:pt x="114300" y="1287780"/>
                  </a:lnTo>
                  <a:lnTo>
                    <a:pt x="115253" y="1283017"/>
                  </a:lnTo>
                  <a:lnTo>
                    <a:pt x="117158" y="1273492"/>
                  </a:lnTo>
                  <a:lnTo>
                    <a:pt x="117158" y="1270635"/>
                  </a:lnTo>
                  <a:lnTo>
                    <a:pt x="115253" y="1268730"/>
                  </a:lnTo>
                  <a:lnTo>
                    <a:pt x="105728" y="1266825"/>
                  </a:lnTo>
                  <a:lnTo>
                    <a:pt x="103823" y="1264920"/>
                  </a:lnTo>
                  <a:lnTo>
                    <a:pt x="101918" y="1262063"/>
                  </a:lnTo>
                  <a:lnTo>
                    <a:pt x="100013" y="1258253"/>
                  </a:lnTo>
                  <a:lnTo>
                    <a:pt x="100013" y="1251585"/>
                  </a:lnTo>
                  <a:lnTo>
                    <a:pt x="100965" y="1248728"/>
                  </a:lnTo>
                  <a:lnTo>
                    <a:pt x="103823" y="1247775"/>
                  </a:lnTo>
                  <a:lnTo>
                    <a:pt x="108585" y="1245870"/>
                  </a:lnTo>
                  <a:lnTo>
                    <a:pt x="113348" y="1243965"/>
                  </a:lnTo>
                  <a:lnTo>
                    <a:pt x="115253" y="1242060"/>
                  </a:lnTo>
                  <a:lnTo>
                    <a:pt x="115253" y="1240155"/>
                  </a:lnTo>
                  <a:lnTo>
                    <a:pt x="114300" y="1238250"/>
                  </a:lnTo>
                  <a:lnTo>
                    <a:pt x="110490" y="1236345"/>
                  </a:lnTo>
                  <a:lnTo>
                    <a:pt x="97155" y="1233488"/>
                  </a:lnTo>
                  <a:lnTo>
                    <a:pt x="94298" y="1230630"/>
                  </a:lnTo>
                  <a:lnTo>
                    <a:pt x="90488" y="1225867"/>
                  </a:lnTo>
                  <a:lnTo>
                    <a:pt x="83820" y="1205865"/>
                  </a:lnTo>
                  <a:lnTo>
                    <a:pt x="68580" y="1173480"/>
                  </a:lnTo>
                  <a:lnTo>
                    <a:pt x="67628" y="1168717"/>
                  </a:lnTo>
                  <a:lnTo>
                    <a:pt x="66675" y="1157288"/>
                  </a:lnTo>
                  <a:lnTo>
                    <a:pt x="65723" y="1151573"/>
                  </a:lnTo>
                  <a:lnTo>
                    <a:pt x="64770" y="1149667"/>
                  </a:lnTo>
                  <a:lnTo>
                    <a:pt x="62865" y="1148715"/>
                  </a:lnTo>
                  <a:lnTo>
                    <a:pt x="59055" y="1148715"/>
                  </a:lnTo>
                  <a:lnTo>
                    <a:pt x="45720" y="1150620"/>
                  </a:lnTo>
                  <a:lnTo>
                    <a:pt x="40005" y="1150620"/>
                  </a:lnTo>
                  <a:lnTo>
                    <a:pt x="33338" y="1149667"/>
                  </a:lnTo>
                  <a:lnTo>
                    <a:pt x="27623" y="1146810"/>
                  </a:lnTo>
                  <a:lnTo>
                    <a:pt x="24765" y="1138238"/>
                  </a:lnTo>
                  <a:lnTo>
                    <a:pt x="23813" y="1105853"/>
                  </a:lnTo>
                  <a:lnTo>
                    <a:pt x="20003" y="1087755"/>
                  </a:lnTo>
                  <a:lnTo>
                    <a:pt x="18098" y="1084898"/>
                  </a:lnTo>
                  <a:lnTo>
                    <a:pt x="15240" y="1082040"/>
                  </a:lnTo>
                  <a:lnTo>
                    <a:pt x="7620" y="1080135"/>
                  </a:lnTo>
                  <a:lnTo>
                    <a:pt x="2858" y="1077278"/>
                  </a:lnTo>
                  <a:lnTo>
                    <a:pt x="953" y="1074420"/>
                  </a:lnTo>
                  <a:lnTo>
                    <a:pt x="0" y="1071563"/>
                  </a:lnTo>
                  <a:lnTo>
                    <a:pt x="0" y="1064895"/>
                  </a:lnTo>
                  <a:lnTo>
                    <a:pt x="953" y="1062038"/>
                  </a:lnTo>
                  <a:lnTo>
                    <a:pt x="1905" y="1057275"/>
                  </a:lnTo>
                  <a:lnTo>
                    <a:pt x="3810" y="1055370"/>
                  </a:lnTo>
                  <a:lnTo>
                    <a:pt x="5715" y="1053465"/>
                  </a:lnTo>
                  <a:lnTo>
                    <a:pt x="14288" y="1053465"/>
                  </a:lnTo>
                  <a:lnTo>
                    <a:pt x="18098" y="1052513"/>
                  </a:lnTo>
                  <a:lnTo>
                    <a:pt x="21908" y="1049655"/>
                  </a:lnTo>
                  <a:lnTo>
                    <a:pt x="24765" y="1047750"/>
                  </a:lnTo>
                  <a:lnTo>
                    <a:pt x="28575" y="1047750"/>
                  </a:lnTo>
                  <a:lnTo>
                    <a:pt x="45720" y="1046797"/>
                  </a:lnTo>
                  <a:lnTo>
                    <a:pt x="51435" y="1045845"/>
                  </a:lnTo>
                  <a:lnTo>
                    <a:pt x="54293" y="1044892"/>
                  </a:lnTo>
                  <a:lnTo>
                    <a:pt x="54293" y="1040130"/>
                  </a:lnTo>
                  <a:lnTo>
                    <a:pt x="50483" y="1033463"/>
                  </a:lnTo>
                  <a:lnTo>
                    <a:pt x="44768" y="1019175"/>
                  </a:lnTo>
                  <a:lnTo>
                    <a:pt x="43815" y="1016317"/>
                  </a:lnTo>
                  <a:lnTo>
                    <a:pt x="41910" y="1015365"/>
                  </a:lnTo>
                  <a:lnTo>
                    <a:pt x="39053" y="1014413"/>
                  </a:lnTo>
                  <a:lnTo>
                    <a:pt x="29528" y="1012507"/>
                  </a:lnTo>
                  <a:lnTo>
                    <a:pt x="26670" y="1010603"/>
                  </a:lnTo>
                  <a:lnTo>
                    <a:pt x="23813" y="1005840"/>
                  </a:lnTo>
                  <a:lnTo>
                    <a:pt x="23813" y="997267"/>
                  </a:lnTo>
                  <a:lnTo>
                    <a:pt x="21908" y="986790"/>
                  </a:lnTo>
                  <a:lnTo>
                    <a:pt x="20955" y="982980"/>
                  </a:lnTo>
                  <a:lnTo>
                    <a:pt x="23813" y="937260"/>
                  </a:lnTo>
                  <a:lnTo>
                    <a:pt x="24765" y="929640"/>
                  </a:lnTo>
                  <a:lnTo>
                    <a:pt x="26670" y="924878"/>
                  </a:lnTo>
                  <a:lnTo>
                    <a:pt x="30480" y="920115"/>
                  </a:lnTo>
                  <a:lnTo>
                    <a:pt x="35243" y="918210"/>
                  </a:lnTo>
                  <a:lnTo>
                    <a:pt x="38100" y="918210"/>
                  </a:lnTo>
                  <a:lnTo>
                    <a:pt x="47625" y="918210"/>
                  </a:lnTo>
                  <a:lnTo>
                    <a:pt x="64770" y="913447"/>
                  </a:lnTo>
                  <a:lnTo>
                    <a:pt x="70485" y="913447"/>
                  </a:lnTo>
                  <a:lnTo>
                    <a:pt x="101918" y="922972"/>
                  </a:lnTo>
                  <a:lnTo>
                    <a:pt x="103823" y="924878"/>
                  </a:lnTo>
                  <a:lnTo>
                    <a:pt x="107633" y="928688"/>
                  </a:lnTo>
                  <a:lnTo>
                    <a:pt x="109538" y="936307"/>
                  </a:lnTo>
                  <a:lnTo>
                    <a:pt x="111443" y="938213"/>
                  </a:lnTo>
                  <a:lnTo>
                    <a:pt x="116205" y="941070"/>
                  </a:lnTo>
                  <a:lnTo>
                    <a:pt x="136208" y="946785"/>
                  </a:lnTo>
                  <a:lnTo>
                    <a:pt x="154305" y="956310"/>
                  </a:lnTo>
                  <a:lnTo>
                    <a:pt x="157163" y="957263"/>
                  </a:lnTo>
                  <a:lnTo>
                    <a:pt x="162878" y="955357"/>
                  </a:lnTo>
                  <a:lnTo>
                    <a:pt x="168593" y="951547"/>
                  </a:lnTo>
                  <a:lnTo>
                    <a:pt x="181928" y="940117"/>
                  </a:lnTo>
                  <a:lnTo>
                    <a:pt x="187643" y="934403"/>
                  </a:lnTo>
                  <a:lnTo>
                    <a:pt x="190500" y="929640"/>
                  </a:lnTo>
                  <a:lnTo>
                    <a:pt x="191453" y="926782"/>
                  </a:lnTo>
                  <a:lnTo>
                    <a:pt x="191453" y="920115"/>
                  </a:lnTo>
                  <a:lnTo>
                    <a:pt x="190500" y="909638"/>
                  </a:lnTo>
                  <a:lnTo>
                    <a:pt x="189548" y="903922"/>
                  </a:lnTo>
                  <a:lnTo>
                    <a:pt x="183833" y="889635"/>
                  </a:lnTo>
                  <a:lnTo>
                    <a:pt x="182880" y="883920"/>
                  </a:lnTo>
                  <a:lnTo>
                    <a:pt x="179070" y="862965"/>
                  </a:lnTo>
                  <a:lnTo>
                    <a:pt x="179070" y="855345"/>
                  </a:lnTo>
                  <a:lnTo>
                    <a:pt x="180023" y="850582"/>
                  </a:lnTo>
                  <a:lnTo>
                    <a:pt x="181928" y="847725"/>
                  </a:lnTo>
                  <a:lnTo>
                    <a:pt x="183833" y="845820"/>
                  </a:lnTo>
                  <a:lnTo>
                    <a:pt x="189548" y="844867"/>
                  </a:lnTo>
                  <a:lnTo>
                    <a:pt x="193358" y="842963"/>
                  </a:lnTo>
                  <a:lnTo>
                    <a:pt x="197168" y="840105"/>
                  </a:lnTo>
                  <a:lnTo>
                    <a:pt x="204788" y="832485"/>
                  </a:lnTo>
                  <a:lnTo>
                    <a:pt x="207645" y="827722"/>
                  </a:lnTo>
                  <a:lnTo>
                    <a:pt x="208598" y="823913"/>
                  </a:lnTo>
                  <a:lnTo>
                    <a:pt x="208598" y="821055"/>
                  </a:lnTo>
                  <a:lnTo>
                    <a:pt x="207645" y="812482"/>
                  </a:lnTo>
                  <a:lnTo>
                    <a:pt x="206693" y="804863"/>
                  </a:lnTo>
                  <a:lnTo>
                    <a:pt x="201930" y="774382"/>
                  </a:lnTo>
                  <a:lnTo>
                    <a:pt x="199073" y="763905"/>
                  </a:lnTo>
                  <a:lnTo>
                    <a:pt x="198120" y="758190"/>
                  </a:lnTo>
                  <a:lnTo>
                    <a:pt x="198120" y="749617"/>
                  </a:lnTo>
                  <a:lnTo>
                    <a:pt x="197168" y="747713"/>
                  </a:lnTo>
                  <a:lnTo>
                    <a:pt x="195263" y="745807"/>
                  </a:lnTo>
                  <a:lnTo>
                    <a:pt x="192405" y="743903"/>
                  </a:lnTo>
                  <a:lnTo>
                    <a:pt x="180975" y="741997"/>
                  </a:lnTo>
                  <a:lnTo>
                    <a:pt x="179070" y="741045"/>
                  </a:lnTo>
                  <a:lnTo>
                    <a:pt x="177165" y="739140"/>
                  </a:lnTo>
                  <a:lnTo>
                    <a:pt x="176213" y="734378"/>
                  </a:lnTo>
                  <a:lnTo>
                    <a:pt x="175260" y="732472"/>
                  </a:lnTo>
                  <a:lnTo>
                    <a:pt x="172403" y="731520"/>
                  </a:lnTo>
                  <a:lnTo>
                    <a:pt x="167640" y="730567"/>
                  </a:lnTo>
                  <a:lnTo>
                    <a:pt x="161925" y="731520"/>
                  </a:lnTo>
                  <a:lnTo>
                    <a:pt x="155258" y="734378"/>
                  </a:lnTo>
                  <a:lnTo>
                    <a:pt x="152400" y="734378"/>
                  </a:lnTo>
                  <a:lnTo>
                    <a:pt x="150495" y="732472"/>
                  </a:lnTo>
                  <a:lnTo>
                    <a:pt x="149543" y="730567"/>
                  </a:lnTo>
                  <a:lnTo>
                    <a:pt x="148590" y="724853"/>
                  </a:lnTo>
                  <a:lnTo>
                    <a:pt x="148590" y="721042"/>
                  </a:lnTo>
                  <a:lnTo>
                    <a:pt x="151448" y="703897"/>
                  </a:lnTo>
                  <a:lnTo>
                    <a:pt x="152400" y="700088"/>
                  </a:lnTo>
                  <a:lnTo>
                    <a:pt x="149543" y="677228"/>
                  </a:lnTo>
                  <a:lnTo>
                    <a:pt x="147638" y="665797"/>
                  </a:lnTo>
                  <a:lnTo>
                    <a:pt x="146685" y="661988"/>
                  </a:lnTo>
                  <a:lnTo>
                    <a:pt x="146685" y="655320"/>
                  </a:lnTo>
                  <a:lnTo>
                    <a:pt x="147638" y="652463"/>
                  </a:lnTo>
                  <a:lnTo>
                    <a:pt x="149543" y="650557"/>
                  </a:lnTo>
                  <a:lnTo>
                    <a:pt x="161925" y="644842"/>
                  </a:lnTo>
                  <a:lnTo>
                    <a:pt x="164783" y="642938"/>
                  </a:lnTo>
                  <a:lnTo>
                    <a:pt x="166688" y="639128"/>
                  </a:lnTo>
                  <a:lnTo>
                    <a:pt x="166688" y="637222"/>
                  </a:lnTo>
                  <a:lnTo>
                    <a:pt x="161925" y="633413"/>
                  </a:lnTo>
                  <a:lnTo>
                    <a:pt x="160020" y="629603"/>
                  </a:lnTo>
                  <a:lnTo>
                    <a:pt x="160973" y="605790"/>
                  </a:lnTo>
                  <a:lnTo>
                    <a:pt x="161925" y="601980"/>
                  </a:lnTo>
                  <a:lnTo>
                    <a:pt x="163830" y="600075"/>
                  </a:lnTo>
                  <a:lnTo>
                    <a:pt x="169545" y="597217"/>
                  </a:lnTo>
                  <a:lnTo>
                    <a:pt x="171450" y="595313"/>
                  </a:lnTo>
                  <a:lnTo>
                    <a:pt x="172403" y="592455"/>
                  </a:lnTo>
                  <a:lnTo>
                    <a:pt x="172403" y="590550"/>
                  </a:lnTo>
                  <a:lnTo>
                    <a:pt x="171450" y="583882"/>
                  </a:lnTo>
                  <a:lnTo>
                    <a:pt x="169545" y="576263"/>
                  </a:lnTo>
                  <a:lnTo>
                    <a:pt x="170498" y="573405"/>
                  </a:lnTo>
                  <a:lnTo>
                    <a:pt x="172403" y="571500"/>
                  </a:lnTo>
                  <a:lnTo>
                    <a:pt x="179070" y="568642"/>
                  </a:lnTo>
                  <a:lnTo>
                    <a:pt x="184785" y="565785"/>
                  </a:lnTo>
                  <a:lnTo>
                    <a:pt x="188595" y="562928"/>
                  </a:lnTo>
                  <a:lnTo>
                    <a:pt x="189548" y="560070"/>
                  </a:lnTo>
                  <a:lnTo>
                    <a:pt x="190500" y="556260"/>
                  </a:lnTo>
                  <a:lnTo>
                    <a:pt x="189548" y="539115"/>
                  </a:lnTo>
                  <a:lnTo>
                    <a:pt x="188595" y="530542"/>
                  </a:lnTo>
                  <a:lnTo>
                    <a:pt x="186690" y="525780"/>
                  </a:lnTo>
                  <a:lnTo>
                    <a:pt x="185738" y="523875"/>
                  </a:lnTo>
                  <a:lnTo>
                    <a:pt x="183833" y="521970"/>
                  </a:lnTo>
                  <a:lnTo>
                    <a:pt x="178118" y="521017"/>
                  </a:lnTo>
                  <a:lnTo>
                    <a:pt x="155258" y="522922"/>
                  </a:lnTo>
                  <a:lnTo>
                    <a:pt x="152400" y="523875"/>
                  </a:lnTo>
                  <a:lnTo>
                    <a:pt x="149543" y="526732"/>
                  </a:lnTo>
                  <a:lnTo>
                    <a:pt x="146685" y="531495"/>
                  </a:lnTo>
                  <a:lnTo>
                    <a:pt x="145733" y="535305"/>
                  </a:lnTo>
                  <a:lnTo>
                    <a:pt x="141923" y="553403"/>
                  </a:lnTo>
                  <a:lnTo>
                    <a:pt x="139065" y="559117"/>
                  </a:lnTo>
                  <a:lnTo>
                    <a:pt x="137160" y="561022"/>
                  </a:lnTo>
                  <a:lnTo>
                    <a:pt x="135255" y="561975"/>
                  </a:lnTo>
                  <a:lnTo>
                    <a:pt x="118110" y="563880"/>
                  </a:lnTo>
                  <a:lnTo>
                    <a:pt x="116205" y="562928"/>
                  </a:lnTo>
                  <a:lnTo>
                    <a:pt x="115253" y="561975"/>
                  </a:lnTo>
                  <a:lnTo>
                    <a:pt x="114300" y="560070"/>
                  </a:lnTo>
                  <a:lnTo>
                    <a:pt x="114300" y="555307"/>
                  </a:lnTo>
                  <a:lnTo>
                    <a:pt x="114300" y="540067"/>
                  </a:lnTo>
                  <a:lnTo>
                    <a:pt x="115253" y="535305"/>
                  </a:lnTo>
                  <a:lnTo>
                    <a:pt x="117158" y="533400"/>
                  </a:lnTo>
                  <a:lnTo>
                    <a:pt x="121920" y="529590"/>
                  </a:lnTo>
                  <a:lnTo>
                    <a:pt x="127635" y="518160"/>
                  </a:lnTo>
                  <a:lnTo>
                    <a:pt x="129540" y="516255"/>
                  </a:lnTo>
                  <a:lnTo>
                    <a:pt x="134303" y="513397"/>
                  </a:lnTo>
                  <a:lnTo>
                    <a:pt x="136208" y="510540"/>
                  </a:lnTo>
                  <a:lnTo>
                    <a:pt x="137160" y="505778"/>
                  </a:lnTo>
                  <a:lnTo>
                    <a:pt x="135255" y="503872"/>
                  </a:lnTo>
                  <a:lnTo>
                    <a:pt x="133350" y="502920"/>
                  </a:lnTo>
                  <a:lnTo>
                    <a:pt x="130493" y="502920"/>
                  </a:lnTo>
                  <a:lnTo>
                    <a:pt x="112395" y="505778"/>
                  </a:lnTo>
                  <a:lnTo>
                    <a:pt x="109538" y="505778"/>
                  </a:lnTo>
                  <a:lnTo>
                    <a:pt x="107633" y="503872"/>
                  </a:lnTo>
                  <a:lnTo>
                    <a:pt x="105728" y="500063"/>
                  </a:lnTo>
                  <a:lnTo>
                    <a:pt x="104775" y="493395"/>
                  </a:lnTo>
                  <a:lnTo>
                    <a:pt x="102870" y="486728"/>
                  </a:lnTo>
                  <a:lnTo>
                    <a:pt x="95250" y="467678"/>
                  </a:lnTo>
                  <a:lnTo>
                    <a:pt x="93345" y="458153"/>
                  </a:lnTo>
                  <a:lnTo>
                    <a:pt x="95250" y="436245"/>
                  </a:lnTo>
                  <a:lnTo>
                    <a:pt x="94298" y="421957"/>
                  </a:lnTo>
                  <a:lnTo>
                    <a:pt x="94298" y="415290"/>
                  </a:lnTo>
                  <a:lnTo>
                    <a:pt x="85725" y="380047"/>
                  </a:lnTo>
                  <a:lnTo>
                    <a:pt x="83820" y="371475"/>
                  </a:lnTo>
                  <a:lnTo>
                    <a:pt x="83820" y="364807"/>
                  </a:lnTo>
                  <a:lnTo>
                    <a:pt x="85725" y="361950"/>
                  </a:lnTo>
                  <a:lnTo>
                    <a:pt x="87630" y="358140"/>
                  </a:lnTo>
                  <a:lnTo>
                    <a:pt x="90488" y="356235"/>
                  </a:lnTo>
                  <a:lnTo>
                    <a:pt x="93345" y="355282"/>
                  </a:lnTo>
                  <a:lnTo>
                    <a:pt x="99060" y="355282"/>
                  </a:lnTo>
                  <a:lnTo>
                    <a:pt x="105728" y="357188"/>
                  </a:lnTo>
                  <a:lnTo>
                    <a:pt x="120968" y="365760"/>
                  </a:lnTo>
                  <a:lnTo>
                    <a:pt x="127635" y="367665"/>
                  </a:lnTo>
                  <a:lnTo>
                    <a:pt x="152400" y="369570"/>
                  </a:lnTo>
                  <a:lnTo>
                    <a:pt x="155258" y="368617"/>
                  </a:lnTo>
                  <a:lnTo>
                    <a:pt x="160973" y="362903"/>
                  </a:lnTo>
                  <a:lnTo>
                    <a:pt x="166688" y="357188"/>
                  </a:lnTo>
                  <a:lnTo>
                    <a:pt x="174308" y="350520"/>
                  </a:lnTo>
                  <a:lnTo>
                    <a:pt x="176213" y="349567"/>
                  </a:lnTo>
                  <a:lnTo>
                    <a:pt x="181928" y="347663"/>
                  </a:lnTo>
                  <a:lnTo>
                    <a:pt x="186690" y="346710"/>
                  </a:lnTo>
                  <a:lnTo>
                    <a:pt x="189548" y="346710"/>
                  </a:lnTo>
                  <a:lnTo>
                    <a:pt x="196215" y="347663"/>
                  </a:lnTo>
                  <a:lnTo>
                    <a:pt x="246698" y="373380"/>
                  </a:lnTo>
                  <a:lnTo>
                    <a:pt x="252413" y="378142"/>
                  </a:lnTo>
                  <a:lnTo>
                    <a:pt x="255270" y="379095"/>
                  </a:lnTo>
                  <a:lnTo>
                    <a:pt x="260033" y="380047"/>
                  </a:lnTo>
                  <a:lnTo>
                    <a:pt x="262890" y="378142"/>
                  </a:lnTo>
                  <a:lnTo>
                    <a:pt x="264795" y="376238"/>
                  </a:lnTo>
                  <a:lnTo>
                    <a:pt x="264795" y="372428"/>
                  </a:lnTo>
                  <a:lnTo>
                    <a:pt x="264795" y="369570"/>
                  </a:lnTo>
                  <a:lnTo>
                    <a:pt x="263843" y="367665"/>
                  </a:lnTo>
                  <a:lnTo>
                    <a:pt x="261938" y="365760"/>
                  </a:lnTo>
                  <a:lnTo>
                    <a:pt x="250508" y="360997"/>
                  </a:lnTo>
                  <a:lnTo>
                    <a:pt x="247650" y="358140"/>
                  </a:lnTo>
                  <a:lnTo>
                    <a:pt x="246698" y="356235"/>
                  </a:lnTo>
                  <a:lnTo>
                    <a:pt x="246698" y="351472"/>
                  </a:lnTo>
                  <a:lnTo>
                    <a:pt x="247650" y="348615"/>
                  </a:lnTo>
                  <a:lnTo>
                    <a:pt x="254318" y="339090"/>
                  </a:lnTo>
                  <a:lnTo>
                    <a:pt x="257175" y="336232"/>
                  </a:lnTo>
                  <a:lnTo>
                    <a:pt x="260033" y="335280"/>
                  </a:lnTo>
                  <a:lnTo>
                    <a:pt x="262890" y="335280"/>
                  </a:lnTo>
                  <a:lnTo>
                    <a:pt x="268605" y="338138"/>
                  </a:lnTo>
                  <a:lnTo>
                    <a:pt x="272415" y="339090"/>
                  </a:lnTo>
                  <a:lnTo>
                    <a:pt x="278130" y="339090"/>
                  </a:lnTo>
                  <a:lnTo>
                    <a:pt x="280988" y="338138"/>
                  </a:lnTo>
                  <a:lnTo>
                    <a:pt x="282893" y="335280"/>
                  </a:lnTo>
                  <a:lnTo>
                    <a:pt x="284798" y="323850"/>
                  </a:lnTo>
                  <a:lnTo>
                    <a:pt x="286703" y="318135"/>
                  </a:lnTo>
                  <a:lnTo>
                    <a:pt x="288608" y="315278"/>
                  </a:lnTo>
                  <a:lnTo>
                    <a:pt x="291465" y="313372"/>
                  </a:lnTo>
                  <a:lnTo>
                    <a:pt x="297180" y="313372"/>
                  </a:lnTo>
                  <a:lnTo>
                    <a:pt x="300038" y="313372"/>
                  </a:lnTo>
                  <a:lnTo>
                    <a:pt x="302895" y="314325"/>
                  </a:lnTo>
                  <a:lnTo>
                    <a:pt x="304800" y="316230"/>
                  </a:lnTo>
                  <a:lnTo>
                    <a:pt x="309563" y="322897"/>
                  </a:lnTo>
                  <a:lnTo>
                    <a:pt x="313373" y="326707"/>
                  </a:lnTo>
                  <a:lnTo>
                    <a:pt x="315278" y="328613"/>
                  </a:lnTo>
                  <a:lnTo>
                    <a:pt x="320993" y="329565"/>
                  </a:lnTo>
                  <a:lnTo>
                    <a:pt x="325755" y="329565"/>
                  </a:lnTo>
                  <a:lnTo>
                    <a:pt x="337185" y="326707"/>
                  </a:lnTo>
                  <a:lnTo>
                    <a:pt x="340995" y="324803"/>
                  </a:lnTo>
                  <a:lnTo>
                    <a:pt x="342900" y="321945"/>
                  </a:lnTo>
                  <a:lnTo>
                    <a:pt x="342900" y="319088"/>
                  </a:lnTo>
                  <a:lnTo>
                    <a:pt x="340995" y="304800"/>
                  </a:lnTo>
                  <a:lnTo>
                    <a:pt x="341948" y="301942"/>
                  </a:lnTo>
                  <a:lnTo>
                    <a:pt x="342900" y="298132"/>
                  </a:lnTo>
                  <a:lnTo>
                    <a:pt x="345758" y="293370"/>
                  </a:lnTo>
                  <a:lnTo>
                    <a:pt x="348615" y="291465"/>
                  </a:lnTo>
                  <a:lnTo>
                    <a:pt x="352425" y="290513"/>
                  </a:lnTo>
                  <a:lnTo>
                    <a:pt x="355283" y="288607"/>
                  </a:lnTo>
                  <a:lnTo>
                    <a:pt x="356235" y="285750"/>
                  </a:lnTo>
                  <a:lnTo>
                    <a:pt x="359093" y="279082"/>
                  </a:lnTo>
                  <a:lnTo>
                    <a:pt x="361950" y="271463"/>
                  </a:lnTo>
                  <a:lnTo>
                    <a:pt x="363855" y="268605"/>
                  </a:lnTo>
                  <a:lnTo>
                    <a:pt x="383858" y="254317"/>
                  </a:lnTo>
                  <a:lnTo>
                    <a:pt x="387668" y="252413"/>
                  </a:lnTo>
                  <a:lnTo>
                    <a:pt x="401955" y="252413"/>
                  </a:lnTo>
                  <a:lnTo>
                    <a:pt x="408623" y="250507"/>
                  </a:lnTo>
                  <a:lnTo>
                    <a:pt x="411480" y="248603"/>
                  </a:lnTo>
                  <a:lnTo>
                    <a:pt x="413385" y="245745"/>
                  </a:lnTo>
                  <a:lnTo>
                    <a:pt x="413385" y="242888"/>
                  </a:lnTo>
                  <a:lnTo>
                    <a:pt x="411480" y="238125"/>
                  </a:lnTo>
                  <a:lnTo>
                    <a:pt x="407670" y="231457"/>
                  </a:lnTo>
                  <a:lnTo>
                    <a:pt x="407670" y="228600"/>
                  </a:lnTo>
                  <a:lnTo>
                    <a:pt x="407670" y="224790"/>
                  </a:lnTo>
                  <a:lnTo>
                    <a:pt x="408623" y="219075"/>
                  </a:lnTo>
                  <a:lnTo>
                    <a:pt x="408623" y="216217"/>
                  </a:lnTo>
                  <a:lnTo>
                    <a:pt x="407670" y="213360"/>
                  </a:lnTo>
                  <a:lnTo>
                    <a:pt x="402908" y="210503"/>
                  </a:lnTo>
                  <a:lnTo>
                    <a:pt x="401003" y="208597"/>
                  </a:lnTo>
                  <a:lnTo>
                    <a:pt x="401003" y="205740"/>
                  </a:lnTo>
                  <a:lnTo>
                    <a:pt x="401003" y="202882"/>
                  </a:lnTo>
                  <a:lnTo>
                    <a:pt x="410528" y="187642"/>
                  </a:lnTo>
                  <a:lnTo>
                    <a:pt x="413385" y="183832"/>
                  </a:lnTo>
                  <a:lnTo>
                    <a:pt x="416243" y="181928"/>
                  </a:lnTo>
                  <a:lnTo>
                    <a:pt x="428625" y="177165"/>
                  </a:lnTo>
                  <a:lnTo>
                    <a:pt x="431483" y="174307"/>
                  </a:lnTo>
                  <a:lnTo>
                    <a:pt x="433388" y="170497"/>
                  </a:lnTo>
                  <a:lnTo>
                    <a:pt x="434340" y="163830"/>
                  </a:lnTo>
                  <a:lnTo>
                    <a:pt x="435293" y="159067"/>
                  </a:lnTo>
                  <a:lnTo>
                    <a:pt x="439103" y="150495"/>
                  </a:lnTo>
                  <a:lnTo>
                    <a:pt x="444818" y="144780"/>
                  </a:lnTo>
                  <a:lnTo>
                    <a:pt x="564833" y="70485"/>
                  </a:lnTo>
                  <a:lnTo>
                    <a:pt x="568643" y="65722"/>
                  </a:lnTo>
                  <a:lnTo>
                    <a:pt x="570548" y="61913"/>
                  </a:lnTo>
                  <a:lnTo>
                    <a:pt x="569595" y="60007"/>
                  </a:lnTo>
                  <a:lnTo>
                    <a:pt x="561975" y="48578"/>
                  </a:lnTo>
                  <a:lnTo>
                    <a:pt x="559118" y="45720"/>
                  </a:lnTo>
                  <a:lnTo>
                    <a:pt x="556260" y="44767"/>
                  </a:lnTo>
                  <a:lnTo>
                    <a:pt x="544830" y="45720"/>
                  </a:lnTo>
                  <a:lnTo>
                    <a:pt x="524828" y="42863"/>
                  </a:lnTo>
                  <a:lnTo>
                    <a:pt x="518160" y="40957"/>
                  </a:lnTo>
                  <a:lnTo>
                    <a:pt x="515303" y="40005"/>
                  </a:lnTo>
                  <a:lnTo>
                    <a:pt x="513398" y="38100"/>
                  </a:lnTo>
                  <a:lnTo>
                    <a:pt x="513398" y="36195"/>
                  </a:lnTo>
                  <a:lnTo>
                    <a:pt x="529590" y="8572"/>
                  </a:lnTo>
                  <a:lnTo>
                    <a:pt x="532448" y="4763"/>
                  </a:lnTo>
                  <a:lnTo>
                    <a:pt x="536258" y="3810"/>
                  </a:lnTo>
                  <a:lnTo>
                    <a:pt x="586740" y="2857"/>
                  </a:lnTo>
                  <a:lnTo>
                    <a:pt x="654368" y="21907"/>
                  </a:lnTo>
                  <a:lnTo>
                    <a:pt x="678180" y="20955"/>
                  </a:lnTo>
                  <a:lnTo>
                    <a:pt x="686753" y="19050"/>
                  </a:lnTo>
                  <a:lnTo>
                    <a:pt x="689610" y="17145"/>
                  </a:lnTo>
                  <a:lnTo>
                    <a:pt x="691515" y="14288"/>
                  </a:lnTo>
                  <a:lnTo>
                    <a:pt x="692468" y="7620"/>
                  </a:lnTo>
                  <a:lnTo>
                    <a:pt x="694373" y="0"/>
                  </a:lnTo>
                  <a:lnTo>
                    <a:pt x="700088" y="0"/>
                  </a:lnTo>
                  <a:lnTo>
                    <a:pt x="704850" y="2857"/>
                  </a:lnTo>
                  <a:lnTo>
                    <a:pt x="711518" y="8572"/>
                  </a:lnTo>
                  <a:lnTo>
                    <a:pt x="714375" y="12382"/>
                  </a:lnTo>
                  <a:lnTo>
                    <a:pt x="719138" y="19050"/>
                  </a:lnTo>
                  <a:lnTo>
                    <a:pt x="721995" y="20003"/>
                  </a:lnTo>
                  <a:lnTo>
                    <a:pt x="724853" y="20955"/>
                  </a:lnTo>
                  <a:lnTo>
                    <a:pt x="734378" y="21907"/>
                  </a:lnTo>
                  <a:lnTo>
                    <a:pt x="737235" y="23813"/>
                  </a:lnTo>
                  <a:lnTo>
                    <a:pt x="740093" y="25717"/>
                  </a:lnTo>
                  <a:lnTo>
                    <a:pt x="740093" y="30480"/>
                  </a:lnTo>
                  <a:lnTo>
                    <a:pt x="738188" y="32385"/>
                  </a:lnTo>
                  <a:lnTo>
                    <a:pt x="735330" y="33338"/>
                  </a:lnTo>
                  <a:lnTo>
                    <a:pt x="721043" y="34290"/>
                  </a:lnTo>
                  <a:lnTo>
                    <a:pt x="719138" y="35242"/>
                  </a:lnTo>
                  <a:lnTo>
                    <a:pt x="716280" y="40957"/>
                  </a:lnTo>
                  <a:lnTo>
                    <a:pt x="713423" y="50482"/>
                  </a:lnTo>
                  <a:lnTo>
                    <a:pt x="713423" y="54292"/>
                  </a:lnTo>
                  <a:lnTo>
                    <a:pt x="715328" y="57150"/>
                  </a:lnTo>
                  <a:lnTo>
                    <a:pt x="719138" y="60960"/>
                  </a:lnTo>
                  <a:lnTo>
                    <a:pt x="742950" y="70485"/>
                  </a:lnTo>
                  <a:lnTo>
                    <a:pt x="757238" y="80010"/>
                  </a:lnTo>
                  <a:lnTo>
                    <a:pt x="762000" y="80963"/>
                  </a:lnTo>
                  <a:lnTo>
                    <a:pt x="764858" y="80010"/>
                  </a:lnTo>
                  <a:lnTo>
                    <a:pt x="766763" y="79057"/>
                  </a:lnTo>
                  <a:lnTo>
                    <a:pt x="781050" y="65722"/>
                  </a:lnTo>
                  <a:lnTo>
                    <a:pt x="782955" y="64770"/>
                  </a:lnTo>
                  <a:lnTo>
                    <a:pt x="785813" y="63817"/>
                  </a:lnTo>
                  <a:lnTo>
                    <a:pt x="807720" y="64770"/>
                  </a:lnTo>
                  <a:lnTo>
                    <a:pt x="809625" y="65722"/>
                  </a:lnTo>
                  <a:lnTo>
                    <a:pt x="811530" y="67628"/>
                  </a:lnTo>
                  <a:lnTo>
                    <a:pt x="811530" y="71438"/>
                  </a:lnTo>
                  <a:lnTo>
                    <a:pt x="807720" y="92392"/>
                  </a:lnTo>
                  <a:lnTo>
                    <a:pt x="807720" y="99060"/>
                  </a:lnTo>
                  <a:lnTo>
                    <a:pt x="807720" y="110490"/>
                  </a:lnTo>
                  <a:lnTo>
                    <a:pt x="806768" y="117157"/>
                  </a:lnTo>
                  <a:lnTo>
                    <a:pt x="803910" y="121920"/>
                  </a:lnTo>
                  <a:lnTo>
                    <a:pt x="798195" y="127635"/>
                  </a:lnTo>
                  <a:lnTo>
                    <a:pt x="796290" y="130492"/>
                  </a:lnTo>
                  <a:lnTo>
                    <a:pt x="797243" y="137160"/>
                  </a:lnTo>
                  <a:lnTo>
                    <a:pt x="800100" y="146685"/>
                  </a:lnTo>
                  <a:lnTo>
                    <a:pt x="815340" y="183832"/>
                  </a:lnTo>
                  <a:lnTo>
                    <a:pt x="815340" y="186690"/>
                  </a:lnTo>
                  <a:lnTo>
                    <a:pt x="815340" y="190500"/>
                  </a:lnTo>
                  <a:lnTo>
                    <a:pt x="813435" y="192405"/>
                  </a:lnTo>
                  <a:lnTo>
                    <a:pt x="811530" y="194310"/>
                  </a:lnTo>
                  <a:lnTo>
                    <a:pt x="809625" y="195263"/>
                  </a:lnTo>
                  <a:lnTo>
                    <a:pt x="801053" y="196215"/>
                  </a:lnTo>
                  <a:lnTo>
                    <a:pt x="798195" y="196215"/>
                  </a:lnTo>
                  <a:lnTo>
                    <a:pt x="797243" y="199072"/>
                  </a:lnTo>
                  <a:lnTo>
                    <a:pt x="797243" y="203835"/>
                  </a:lnTo>
                  <a:lnTo>
                    <a:pt x="796290" y="206692"/>
                  </a:lnTo>
                  <a:lnTo>
                    <a:pt x="794385" y="207645"/>
                  </a:lnTo>
                  <a:lnTo>
                    <a:pt x="787718" y="206692"/>
                  </a:lnTo>
                  <a:lnTo>
                    <a:pt x="784860" y="207645"/>
                  </a:lnTo>
                  <a:lnTo>
                    <a:pt x="782955" y="209550"/>
                  </a:lnTo>
                  <a:lnTo>
                    <a:pt x="782003" y="211455"/>
                  </a:lnTo>
                  <a:lnTo>
                    <a:pt x="779145" y="218122"/>
                  </a:lnTo>
                  <a:lnTo>
                    <a:pt x="779145" y="220980"/>
                  </a:lnTo>
                  <a:lnTo>
                    <a:pt x="780098" y="222885"/>
                  </a:lnTo>
                  <a:lnTo>
                    <a:pt x="782955" y="224790"/>
                  </a:lnTo>
                  <a:lnTo>
                    <a:pt x="789623" y="226695"/>
                  </a:lnTo>
                  <a:lnTo>
                    <a:pt x="793433" y="228600"/>
                  </a:lnTo>
                  <a:lnTo>
                    <a:pt x="798195" y="234315"/>
                  </a:lnTo>
                  <a:lnTo>
                    <a:pt x="802005" y="236220"/>
                  </a:lnTo>
                  <a:lnTo>
                    <a:pt x="804863" y="237172"/>
                  </a:lnTo>
                  <a:lnTo>
                    <a:pt x="864870" y="240982"/>
                  </a:lnTo>
                  <a:lnTo>
                    <a:pt x="885825" y="247650"/>
                  </a:lnTo>
                  <a:lnTo>
                    <a:pt x="887730" y="256222"/>
                  </a:lnTo>
                  <a:lnTo>
                    <a:pt x="893445" y="275272"/>
                  </a:lnTo>
                  <a:lnTo>
                    <a:pt x="895350" y="282892"/>
                  </a:lnTo>
                  <a:lnTo>
                    <a:pt x="896303" y="288607"/>
                  </a:lnTo>
                  <a:lnTo>
                    <a:pt x="896303" y="300038"/>
                  </a:lnTo>
                  <a:lnTo>
                    <a:pt x="896303" y="303847"/>
                  </a:lnTo>
                  <a:lnTo>
                    <a:pt x="898208" y="306705"/>
                  </a:lnTo>
                  <a:lnTo>
                    <a:pt x="902970" y="309563"/>
                  </a:lnTo>
                  <a:lnTo>
                    <a:pt x="910590" y="311467"/>
                  </a:lnTo>
                  <a:lnTo>
                    <a:pt x="913448" y="312420"/>
                  </a:lnTo>
                  <a:lnTo>
                    <a:pt x="920115" y="313372"/>
                  </a:lnTo>
                  <a:lnTo>
                    <a:pt x="922020" y="315278"/>
                  </a:lnTo>
                  <a:lnTo>
                    <a:pt x="922973" y="319088"/>
                  </a:lnTo>
                  <a:lnTo>
                    <a:pt x="922973" y="323850"/>
                  </a:lnTo>
                  <a:lnTo>
                    <a:pt x="922020" y="327660"/>
                  </a:lnTo>
                  <a:lnTo>
                    <a:pt x="922020" y="332422"/>
                  </a:lnTo>
                  <a:lnTo>
                    <a:pt x="923925" y="338138"/>
                  </a:lnTo>
                  <a:lnTo>
                    <a:pt x="928688" y="346710"/>
                  </a:lnTo>
                  <a:lnTo>
                    <a:pt x="930593" y="355282"/>
                  </a:lnTo>
                  <a:lnTo>
                    <a:pt x="931545" y="360997"/>
                  </a:lnTo>
                  <a:lnTo>
                    <a:pt x="930593" y="364807"/>
                  </a:lnTo>
                  <a:lnTo>
                    <a:pt x="927735" y="370522"/>
                  </a:lnTo>
                  <a:lnTo>
                    <a:pt x="924878" y="376238"/>
                  </a:lnTo>
                  <a:lnTo>
                    <a:pt x="918210" y="385763"/>
                  </a:lnTo>
                  <a:lnTo>
                    <a:pt x="917258" y="387667"/>
                  </a:lnTo>
                  <a:lnTo>
                    <a:pt x="915353" y="394335"/>
                  </a:lnTo>
                  <a:lnTo>
                    <a:pt x="915353" y="401003"/>
                  </a:lnTo>
                  <a:lnTo>
                    <a:pt x="917258" y="404813"/>
                  </a:lnTo>
                  <a:lnTo>
                    <a:pt x="919163" y="405765"/>
                  </a:lnTo>
                  <a:lnTo>
                    <a:pt x="929640" y="402907"/>
                  </a:lnTo>
                  <a:lnTo>
                    <a:pt x="932498" y="402907"/>
                  </a:lnTo>
                  <a:lnTo>
                    <a:pt x="935355" y="403860"/>
                  </a:lnTo>
                  <a:lnTo>
                    <a:pt x="936308" y="406717"/>
                  </a:lnTo>
                  <a:lnTo>
                    <a:pt x="935355" y="411480"/>
                  </a:lnTo>
                  <a:lnTo>
                    <a:pt x="933450" y="418147"/>
                  </a:lnTo>
                  <a:lnTo>
                    <a:pt x="924878" y="429578"/>
                  </a:lnTo>
                  <a:lnTo>
                    <a:pt x="912495" y="440055"/>
                  </a:lnTo>
                  <a:lnTo>
                    <a:pt x="909638" y="443865"/>
                  </a:lnTo>
                  <a:lnTo>
                    <a:pt x="907733" y="447675"/>
                  </a:lnTo>
                  <a:lnTo>
                    <a:pt x="905828" y="453390"/>
                  </a:lnTo>
                  <a:lnTo>
                    <a:pt x="905828" y="456247"/>
                  </a:lnTo>
                  <a:lnTo>
                    <a:pt x="907733" y="476250"/>
                  </a:lnTo>
                  <a:lnTo>
                    <a:pt x="909638" y="488632"/>
                  </a:lnTo>
                  <a:lnTo>
                    <a:pt x="909638" y="492442"/>
                  </a:lnTo>
                  <a:lnTo>
                    <a:pt x="908685" y="499110"/>
                  </a:lnTo>
                  <a:lnTo>
                    <a:pt x="908685" y="502920"/>
                  </a:lnTo>
                  <a:lnTo>
                    <a:pt x="909638" y="505778"/>
                  </a:lnTo>
                  <a:lnTo>
                    <a:pt x="916305" y="522922"/>
                  </a:lnTo>
                  <a:lnTo>
                    <a:pt x="917258" y="527685"/>
                  </a:lnTo>
                  <a:lnTo>
                    <a:pt x="917258" y="532447"/>
                  </a:lnTo>
                  <a:lnTo>
                    <a:pt x="916305" y="535305"/>
                  </a:lnTo>
                  <a:lnTo>
                    <a:pt x="912495" y="544830"/>
                  </a:lnTo>
                  <a:lnTo>
                    <a:pt x="911543" y="551497"/>
                  </a:lnTo>
                  <a:lnTo>
                    <a:pt x="913448" y="554355"/>
                  </a:lnTo>
                  <a:lnTo>
                    <a:pt x="915353" y="557213"/>
                  </a:lnTo>
                  <a:lnTo>
                    <a:pt x="921068" y="561975"/>
                  </a:lnTo>
                  <a:lnTo>
                    <a:pt x="927735" y="564832"/>
                  </a:lnTo>
                  <a:lnTo>
                    <a:pt x="935355" y="566738"/>
                  </a:lnTo>
                  <a:lnTo>
                    <a:pt x="938213" y="567690"/>
                  </a:lnTo>
                  <a:lnTo>
                    <a:pt x="940118" y="570547"/>
                  </a:lnTo>
                  <a:lnTo>
                    <a:pt x="941070" y="578167"/>
                  </a:lnTo>
                  <a:lnTo>
                    <a:pt x="940118" y="583882"/>
                  </a:lnTo>
                  <a:lnTo>
                    <a:pt x="937260" y="590550"/>
                  </a:lnTo>
                  <a:lnTo>
                    <a:pt x="935355" y="597217"/>
                  </a:lnTo>
                  <a:lnTo>
                    <a:pt x="934403" y="607695"/>
                  </a:lnTo>
                  <a:lnTo>
                    <a:pt x="934403" y="613410"/>
                  </a:lnTo>
                  <a:lnTo>
                    <a:pt x="934403" y="619125"/>
                  </a:lnTo>
                  <a:lnTo>
                    <a:pt x="935355" y="622935"/>
                  </a:lnTo>
                  <a:lnTo>
                    <a:pt x="938213" y="626745"/>
                  </a:lnTo>
                  <a:lnTo>
                    <a:pt x="945833" y="631507"/>
                  </a:lnTo>
                  <a:lnTo>
                    <a:pt x="949643" y="634365"/>
                  </a:lnTo>
                  <a:lnTo>
                    <a:pt x="954405" y="635317"/>
                  </a:lnTo>
                  <a:lnTo>
                    <a:pt x="957263" y="635317"/>
                  </a:lnTo>
                  <a:lnTo>
                    <a:pt x="960120" y="636270"/>
                  </a:lnTo>
                  <a:lnTo>
                    <a:pt x="966788" y="640080"/>
                  </a:lnTo>
                  <a:lnTo>
                    <a:pt x="969645" y="641032"/>
                  </a:lnTo>
                  <a:lnTo>
                    <a:pt x="972503" y="641032"/>
                  </a:lnTo>
                  <a:lnTo>
                    <a:pt x="977265" y="637222"/>
                  </a:lnTo>
                  <a:lnTo>
                    <a:pt x="980123" y="633413"/>
                  </a:lnTo>
                  <a:lnTo>
                    <a:pt x="982028" y="631507"/>
                  </a:lnTo>
                  <a:lnTo>
                    <a:pt x="984885" y="632460"/>
                  </a:lnTo>
                  <a:lnTo>
                    <a:pt x="988695" y="636270"/>
                  </a:lnTo>
                  <a:lnTo>
                    <a:pt x="994410" y="646747"/>
                  </a:lnTo>
                  <a:lnTo>
                    <a:pt x="997268" y="652463"/>
                  </a:lnTo>
                  <a:lnTo>
                    <a:pt x="999173" y="661988"/>
                  </a:lnTo>
                  <a:lnTo>
                    <a:pt x="1001078" y="664845"/>
                  </a:lnTo>
                  <a:lnTo>
                    <a:pt x="1004888" y="668655"/>
                  </a:lnTo>
                  <a:lnTo>
                    <a:pt x="1015365" y="677228"/>
                  </a:lnTo>
                  <a:lnTo>
                    <a:pt x="1021080" y="684847"/>
                  </a:lnTo>
                  <a:lnTo>
                    <a:pt x="1027748" y="700088"/>
                  </a:lnTo>
                  <a:lnTo>
                    <a:pt x="1029653" y="703897"/>
                  </a:lnTo>
                  <a:lnTo>
                    <a:pt x="1028700" y="707707"/>
                  </a:lnTo>
                  <a:lnTo>
                    <a:pt x="1026795" y="713422"/>
                  </a:lnTo>
                  <a:lnTo>
                    <a:pt x="1022985" y="717232"/>
                  </a:lnTo>
                  <a:lnTo>
                    <a:pt x="1019175" y="719138"/>
                  </a:lnTo>
                  <a:lnTo>
                    <a:pt x="995363" y="722947"/>
                  </a:lnTo>
                  <a:lnTo>
                    <a:pt x="992505" y="724853"/>
                  </a:lnTo>
                  <a:lnTo>
                    <a:pt x="990600" y="726757"/>
                  </a:lnTo>
                  <a:lnTo>
                    <a:pt x="990600" y="731520"/>
                  </a:lnTo>
                  <a:lnTo>
                    <a:pt x="992505" y="737235"/>
                  </a:lnTo>
                  <a:lnTo>
                    <a:pt x="995363" y="746760"/>
                  </a:lnTo>
                  <a:lnTo>
                    <a:pt x="998220" y="757238"/>
                  </a:lnTo>
                  <a:lnTo>
                    <a:pt x="1000125" y="760095"/>
                  </a:lnTo>
                  <a:lnTo>
                    <a:pt x="1002983" y="762953"/>
                  </a:lnTo>
                  <a:lnTo>
                    <a:pt x="1009650" y="765810"/>
                  </a:lnTo>
                  <a:lnTo>
                    <a:pt x="1018223" y="767715"/>
                  </a:lnTo>
                  <a:lnTo>
                    <a:pt x="1070610" y="762000"/>
                  </a:lnTo>
                  <a:lnTo>
                    <a:pt x="1073468" y="762953"/>
                  </a:lnTo>
                  <a:lnTo>
                    <a:pt x="1075373" y="765810"/>
                  </a:lnTo>
                  <a:lnTo>
                    <a:pt x="1079183" y="772478"/>
                  </a:lnTo>
                  <a:lnTo>
                    <a:pt x="1081088" y="780097"/>
                  </a:lnTo>
                  <a:lnTo>
                    <a:pt x="1082993" y="787717"/>
                  </a:lnTo>
                  <a:lnTo>
                    <a:pt x="1084898" y="795338"/>
                  </a:lnTo>
                  <a:lnTo>
                    <a:pt x="1093471" y="814388"/>
                  </a:lnTo>
                  <a:lnTo>
                    <a:pt x="1095375" y="819150"/>
                  </a:lnTo>
                  <a:lnTo>
                    <a:pt x="1094423" y="822007"/>
                  </a:lnTo>
                  <a:lnTo>
                    <a:pt x="1093471" y="828675"/>
                  </a:lnTo>
                  <a:lnTo>
                    <a:pt x="1091565" y="838200"/>
                  </a:lnTo>
                  <a:lnTo>
                    <a:pt x="1093471" y="841057"/>
                  </a:lnTo>
                  <a:lnTo>
                    <a:pt x="1096328" y="844867"/>
                  </a:lnTo>
                  <a:lnTo>
                    <a:pt x="1106805" y="851535"/>
                  </a:lnTo>
                  <a:lnTo>
                    <a:pt x="1173480" y="877253"/>
                  </a:lnTo>
                  <a:lnTo>
                    <a:pt x="1203960" y="895350"/>
                  </a:lnTo>
                  <a:lnTo>
                    <a:pt x="1205865" y="897255"/>
                  </a:lnTo>
                  <a:lnTo>
                    <a:pt x="1207771" y="901065"/>
                  </a:lnTo>
                  <a:lnTo>
                    <a:pt x="1208723" y="908685"/>
                  </a:lnTo>
                  <a:lnTo>
                    <a:pt x="1207771" y="912495"/>
                  </a:lnTo>
                  <a:lnTo>
                    <a:pt x="1206818" y="916305"/>
                  </a:lnTo>
                  <a:lnTo>
                    <a:pt x="1202055" y="922972"/>
                  </a:lnTo>
                  <a:lnTo>
                    <a:pt x="1198246" y="931545"/>
                  </a:lnTo>
                  <a:lnTo>
                    <a:pt x="1196340" y="938213"/>
                  </a:lnTo>
                  <a:lnTo>
                    <a:pt x="1199198" y="942975"/>
                  </a:lnTo>
                  <a:lnTo>
                    <a:pt x="1204913" y="948690"/>
                  </a:lnTo>
                  <a:lnTo>
                    <a:pt x="1218248" y="961072"/>
                  </a:lnTo>
                  <a:lnTo>
                    <a:pt x="1224915" y="964882"/>
                  </a:lnTo>
                  <a:lnTo>
                    <a:pt x="1229678" y="966788"/>
                  </a:lnTo>
                  <a:lnTo>
                    <a:pt x="1266825" y="965835"/>
                  </a:lnTo>
                  <a:lnTo>
                    <a:pt x="1316355" y="977265"/>
                  </a:lnTo>
                  <a:lnTo>
                    <a:pt x="1318260" y="982028"/>
                  </a:lnTo>
                  <a:lnTo>
                    <a:pt x="1320165" y="989647"/>
                  </a:lnTo>
                  <a:lnTo>
                    <a:pt x="1318260" y="1015365"/>
                  </a:lnTo>
                  <a:lnTo>
                    <a:pt x="1318260" y="1022032"/>
                  </a:lnTo>
                  <a:lnTo>
                    <a:pt x="1321118" y="1027747"/>
                  </a:lnTo>
                  <a:lnTo>
                    <a:pt x="1323023" y="1031557"/>
                  </a:lnTo>
                  <a:lnTo>
                    <a:pt x="1325880" y="1033463"/>
                  </a:lnTo>
                  <a:lnTo>
                    <a:pt x="1330643" y="1036320"/>
                  </a:lnTo>
                  <a:lnTo>
                    <a:pt x="1331596" y="1047750"/>
                  </a:lnTo>
                  <a:lnTo>
                    <a:pt x="1322071" y="1088707"/>
                  </a:lnTo>
                  <a:lnTo>
                    <a:pt x="1321118" y="109537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1" name="Полилиния: фигура 23">
              <a:extLst>
                <a:ext uri="{FF2B5EF4-FFF2-40B4-BE49-F238E27FC236}">
                  <a16:creationId xmlns:a16="http://schemas.microsoft.com/office/drawing/2014/main" id="{06E502F9-39F7-3C8E-911E-E7A5D15DEFAD}"/>
                </a:ext>
              </a:extLst>
            </p:cNvPr>
            <p:cNvSpPr/>
            <p:nvPr/>
          </p:nvSpPr>
          <p:spPr>
            <a:xfrm>
              <a:off x="8044815" y="1885950"/>
              <a:ext cx="1704975" cy="1543050"/>
            </a:xfrm>
            <a:custGeom>
              <a:avLst/>
              <a:gdLst>
                <a:gd name="connsiteX0" fmla="*/ 1677353 w 1704975"/>
                <a:gd name="connsiteY0" fmla="*/ 430530 h 1543050"/>
                <a:gd name="connsiteX1" fmla="*/ 1678305 w 1704975"/>
                <a:gd name="connsiteY1" fmla="*/ 435292 h 1543050"/>
                <a:gd name="connsiteX2" fmla="*/ 1680210 w 1704975"/>
                <a:gd name="connsiteY2" fmla="*/ 442913 h 1543050"/>
                <a:gd name="connsiteX3" fmla="*/ 1688783 w 1704975"/>
                <a:gd name="connsiteY3" fmla="*/ 462915 h 1543050"/>
                <a:gd name="connsiteX4" fmla="*/ 1692593 w 1704975"/>
                <a:gd name="connsiteY4" fmla="*/ 469583 h 1543050"/>
                <a:gd name="connsiteX5" fmla="*/ 1696403 w 1704975"/>
                <a:gd name="connsiteY5" fmla="*/ 473392 h 1543050"/>
                <a:gd name="connsiteX6" fmla="*/ 1706880 w 1704975"/>
                <a:gd name="connsiteY6" fmla="*/ 480060 h 1543050"/>
                <a:gd name="connsiteX7" fmla="*/ 1707833 w 1704975"/>
                <a:gd name="connsiteY7" fmla="*/ 481965 h 1543050"/>
                <a:gd name="connsiteX8" fmla="*/ 1707833 w 1704975"/>
                <a:gd name="connsiteY8" fmla="*/ 484822 h 1543050"/>
                <a:gd name="connsiteX9" fmla="*/ 1704975 w 1704975"/>
                <a:gd name="connsiteY9" fmla="*/ 487680 h 1543050"/>
                <a:gd name="connsiteX10" fmla="*/ 1702118 w 1704975"/>
                <a:gd name="connsiteY10" fmla="*/ 488633 h 1543050"/>
                <a:gd name="connsiteX11" fmla="*/ 1699260 w 1704975"/>
                <a:gd name="connsiteY11" fmla="*/ 489585 h 1543050"/>
                <a:gd name="connsiteX12" fmla="*/ 1687830 w 1704975"/>
                <a:gd name="connsiteY12" fmla="*/ 490538 h 1543050"/>
                <a:gd name="connsiteX13" fmla="*/ 1677353 w 1704975"/>
                <a:gd name="connsiteY13" fmla="*/ 493395 h 1543050"/>
                <a:gd name="connsiteX14" fmla="*/ 1667828 w 1704975"/>
                <a:gd name="connsiteY14" fmla="*/ 498158 h 1543050"/>
                <a:gd name="connsiteX15" fmla="*/ 1664971 w 1704975"/>
                <a:gd name="connsiteY15" fmla="*/ 501967 h 1543050"/>
                <a:gd name="connsiteX16" fmla="*/ 1664018 w 1704975"/>
                <a:gd name="connsiteY16" fmla="*/ 505778 h 1543050"/>
                <a:gd name="connsiteX17" fmla="*/ 1665923 w 1704975"/>
                <a:gd name="connsiteY17" fmla="*/ 510540 h 1543050"/>
                <a:gd name="connsiteX18" fmla="*/ 1688783 w 1704975"/>
                <a:gd name="connsiteY18" fmla="*/ 527685 h 1543050"/>
                <a:gd name="connsiteX19" fmla="*/ 1689735 w 1704975"/>
                <a:gd name="connsiteY19" fmla="*/ 529590 h 1543050"/>
                <a:gd name="connsiteX20" fmla="*/ 1688783 w 1704975"/>
                <a:gd name="connsiteY20" fmla="*/ 532447 h 1543050"/>
                <a:gd name="connsiteX21" fmla="*/ 1686878 w 1704975"/>
                <a:gd name="connsiteY21" fmla="*/ 535305 h 1543050"/>
                <a:gd name="connsiteX22" fmla="*/ 1684973 w 1704975"/>
                <a:gd name="connsiteY22" fmla="*/ 537210 h 1543050"/>
                <a:gd name="connsiteX23" fmla="*/ 1677353 w 1704975"/>
                <a:gd name="connsiteY23" fmla="*/ 541020 h 1543050"/>
                <a:gd name="connsiteX24" fmla="*/ 1674496 w 1704975"/>
                <a:gd name="connsiteY24" fmla="*/ 545783 h 1543050"/>
                <a:gd name="connsiteX25" fmla="*/ 1672590 w 1704975"/>
                <a:gd name="connsiteY25" fmla="*/ 547688 h 1543050"/>
                <a:gd name="connsiteX26" fmla="*/ 1667828 w 1704975"/>
                <a:gd name="connsiteY26" fmla="*/ 560070 h 1543050"/>
                <a:gd name="connsiteX27" fmla="*/ 1664018 w 1704975"/>
                <a:gd name="connsiteY27" fmla="*/ 561022 h 1543050"/>
                <a:gd name="connsiteX28" fmla="*/ 1651635 w 1704975"/>
                <a:gd name="connsiteY28" fmla="*/ 558165 h 1543050"/>
                <a:gd name="connsiteX29" fmla="*/ 1648778 w 1704975"/>
                <a:gd name="connsiteY29" fmla="*/ 559118 h 1543050"/>
                <a:gd name="connsiteX30" fmla="*/ 1646873 w 1704975"/>
                <a:gd name="connsiteY30" fmla="*/ 560070 h 1543050"/>
                <a:gd name="connsiteX31" fmla="*/ 1641158 w 1704975"/>
                <a:gd name="connsiteY31" fmla="*/ 566738 h 1543050"/>
                <a:gd name="connsiteX32" fmla="*/ 1634490 w 1704975"/>
                <a:gd name="connsiteY32" fmla="*/ 577215 h 1543050"/>
                <a:gd name="connsiteX33" fmla="*/ 1633538 w 1704975"/>
                <a:gd name="connsiteY33" fmla="*/ 580072 h 1543050"/>
                <a:gd name="connsiteX34" fmla="*/ 1633538 w 1704975"/>
                <a:gd name="connsiteY34" fmla="*/ 582930 h 1543050"/>
                <a:gd name="connsiteX35" fmla="*/ 1634490 w 1704975"/>
                <a:gd name="connsiteY35" fmla="*/ 587693 h 1543050"/>
                <a:gd name="connsiteX36" fmla="*/ 1637348 w 1704975"/>
                <a:gd name="connsiteY36" fmla="*/ 589597 h 1543050"/>
                <a:gd name="connsiteX37" fmla="*/ 1639253 w 1704975"/>
                <a:gd name="connsiteY37" fmla="*/ 589597 h 1543050"/>
                <a:gd name="connsiteX38" fmla="*/ 1653540 w 1704975"/>
                <a:gd name="connsiteY38" fmla="*/ 583883 h 1543050"/>
                <a:gd name="connsiteX39" fmla="*/ 1656398 w 1704975"/>
                <a:gd name="connsiteY39" fmla="*/ 583883 h 1543050"/>
                <a:gd name="connsiteX40" fmla="*/ 1659255 w 1704975"/>
                <a:gd name="connsiteY40" fmla="*/ 583883 h 1543050"/>
                <a:gd name="connsiteX41" fmla="*/ 1661160 w 1704975"/>
                <a:gd name="connsiteY41" fmla="*/ 584835 h 1543050"/>
                <a:gd name="connsiteX42" fmla="*/ 1664971 w 1704975"/>
                <a:gd name="connsiteY42" fmla="*/ 588645 h 1543050"/>
                <a:gd name="connsiteX43" fmla="*/ 1665923 w 1704975"/>
                <a:gd name="connsiteY43" fmla="*/ 591503 h 1543050"/>
                <a:gd name="connsiteX44" fmla="*/ 1665923 w 1704975"/>
                <a:gd name="connsiteY44" fmla="*/ 594360 h 1543050"/>
                <a:gd name="connsiteX45" fmla="*/ 1664971 w 1704975"/>
                <a:gd name="connsiteY45" fmla="*/ 617220 h 1543050"/>
                <a:gd name="connsiteX46" fmla="*/ 1664971 w 1704975"/>
                <a:gd name="connsiteY46" fmla="*/ 627697 h 1543050"/>
                <a:gd name="connsiteX47" fmla="*/ 1665923 w 1704975"/>
                <a:gd name="connsiteY47" fmla="*/ 631508 h 1543050"/>
                <a:gd name="connsiteX48" fmla="*/ 1665923 w 1704975"/>
                <a:gd name="connsiteY48" fmla="*/ 637222 h 1543050"/>
                <a:gd name="connsiteX49" fmla="*/ 1664971 w 1704975"/>
                <a:gd name="connsiteY49" fmla="*/ 641033 h 1543050"/>
                <a:gd name="connsiteX50" fmla="*/ 1661160 w 1704975"/>
                <a:gd name="connsiteY50" fmla="*/ 645795 h 1543050"/>
                <a:gd name="connsiteX51" fmla="*/ 1655446 w 1704975"/>
                <a:gd name="connsiteY51" fmla="*/ 653415 h 1543050"/>
                <a:gd name="connsiteX52" fmla="*/ 1653540 w 1704975"/>
                <a:gd name="connsiteY52" fmla="*/ 657225 h 1543050"/>
                <a:gd name="connsiteX53" fmla="*/ 1648778 w 1704975"/>
                <a:gd name="connsiteY53" fmla="*/ 671513 h 1543050"/>
                <a:gd name="connsiteX54" fmla="*/ 1645921 w 1704975"/>
                <a:gd name="connsiteY54" fmla="*/ 675322 h 1543050"/>
                <a:gd name="connsiteX55" fmla="*/ 1644015 w 1704975"/>
                <a:gd name="connsiteY55" fmla="*/ 678180 h 1543050"/>
                <a:gd name="connsiteX56" fmla="*/ 1639253 w 1704975"/>
                <a:gd name="connsiteY56" fmla="*/ 680085 h 1543050"/>
                <a:gd name="connsiteX57" fmla="*/ 1637348 w 1704975"/>
                <a:gd name="connsiteY57" fmla="*/ 681990 h 1543050"/>
                <a:gd name="connsiteX58" fmla="*/ 1636396 w 1704975"/>
                <a:gd name="connsiteY58" fmla="*/ 685800 h 1543050"/>
                <a:gd name="connsiteX59" fmla="*/ 1636396 w 1704975"/>
                <a:gd name="connsiteY59" fmla="*/ 690563 h 1543050"/>
                <a:gd name="connsiteX60" fmla="*/ 1640205 w 1704975"/>
                <a:gd name="connsiteY60" fmla="*/ 701993 h 1543050"/>
                <a:gd name="connsiteX61" fmla="*/ 1641158 w 1704975"/>
                <a:gd name="connsiteY61" fmla="*/ 703897 h 1543050"/>
                <a:gd name="connsiteX62" fmla="*/ 1645921 w 1704975"/>
                <a:gd name="connsiteY62" fmla="*/ 710565 h 1543050"/>
                <a:gd name="connsiteX63" fmla="*/ 1645921 w 1704975"/>
                <a:gd name="connsiteY63" fmla="*/ 712470 h 1543050"/>
                <a:gd name="connsiteX64" fmla="*/ 1645921 w 1704975"/>
                <a:gd name="connsiteY64" fmla="*/ 715328 h 1543050"/>
                <a:gd name="connsiteX65" fmla="*/ 1640205 w 1704975"/>
                <a:gd name="connsiteY65" fmla="*/ 719138 h 1543050"/>
                <a:gd name="connsiteX66" fmla="*/ 1640205 w 1704975"/>
                <a:gd name="connsiteY66" fmla="*/ 722947 h 1543050"/>
                <a:gd name="connsiteX67" fmla="*/ 1645921 w 1704975"/>
                <a:gd name="connsiteY67" fmla="*/ 739140 h 1543050"/>
                <a:gd name="connsiteX68" fmla="*/ 1646873 w 1704975"/>
                <a:gd name="connsiteY68" fmla="*/ 744855 h 1543050"/>
                <a:gd name="connsiteX69" fmla="*/ 1645921 w 1704975"/>
                <a:gd name="connsiteY69" fmla="*/ 747713 h 1543050"/>
                <a:gd name="connsiteX70" fmla="*/ 1643063 w 1704975"/>
                <a:gd name="connsiteY70" fmla="*/ 752475 h 1543050"/>
                <a:gd name="connsiteX71" fmla="*/ 1641158 w 1704975"/>
                <a:gd name="connsiteY71" fmla="*/ 755333 h 1543050"/>
                <a:gd name="connsiteX72" fmla="*/ 1629728 w 1704975"/>
                <a:gd name="connsiteY72" fmla="*/ 762953 h 1543050"/>
                <a:gd name="connsiteX73" fmla="*/ 1627823 w 1704975"/>
                <a:gd name="connsiteY73" fmla="*/ 764858 h 1543050"/>
                <a:gd name="connsiteX74" fmla="*/ 1625918 w 1704975"/>
                <a:gd name="connsiteY74" fmla="*/ 767715 h 1543050"/>
                <a:gd name="connsiteX75" fmla="*/ 1623060 w 1704975"/>
                <a:gd name="connsiteY75" fmla="*/ 780097 h 1543050"/>
                <a:gd name="connsiteX76" fmla="*/ 1621155 w 1704975"/>
                <a:gd name="connsiteY76" fmla="*/ 793432 h 1543050"/>
                <a:gd name="connsiteX77" fmla="*/ 1618298 w 1704975"/>
                <a:gd name="connsiteY77" fmla="*/ 801053 h 1543050"/>
                <a:gd name="connsiteX78" fmla="*/ 1615440 w 1704975"/>
                <a:gd name="connsiteY78" fmla="*/ 804863 h 1543050"/>
                <a:gd name="connsiteX79" fmla="*/ 1612583 w 1704975"/>
                <a:gd name="connsiteY79" fmla="*/ 806768 h 1543050"/>
                <a:gd name="connsiteX80" fmla="*/ 1604010 w 1704975"/>
                <a:gd name="connsiteY80" fmla="*/ 808672 h 1543050"/>
                <a:gd name="connsiteX81" fmla="*/ 1600200 w 1704975"/>
                <a:gd name="connsiteY81" fmla="*/ 811530 h 1543050"/>
                <a:gd name="connsiteX82" fmla="*/ 1593533 w 1704975"/>
                <a:gd name="connsiteY82" fmla="*/ 821055 h 1543050"/>
                <a:gd name="connsiteX83" fmla="*/ 1592580 w 1704975"/>
                <a:gd name="connsiteY83" fmla="*/ 823913 h 1543050"/>
                <a:gd name="connsiteX84" fmla="*/ 1591628 w 1704975"/>
                <a:gd name="connsiteY84" fmla="*/ 826770 h 1543050"/>
                <a:gd name="connsiteX85" fmla="*/ 1593533 w 1704975"/>
                <a:gd name="connsiteY85" fmla="*/ 831532 h 1543050"/>
                <a:gd name="connsiteX86" fmla="*/ 1595438 w 1704975"/>
                <a:gd name="connsiteY86" fmla="*/ 834390 h 1543050"/>
                <a:gd name="connsiteX87" fmla="*/ 1601153 w 1704975"/>
                <a:gd name="connsiteY87" fmla="*/ 841057 h 1543050"/>
                <a:gd name="connsiteX88" fmla="*/ 1602105 w 1704975"/>
                <a:gd name="connsiteY88" fmla="*/ 842963 h 1543050"/>
                <a:gd name="connsiteX89" fmla="*/ 1604010 w 1704975"/>
                <a:gd name="connsiteY89" fmla="*/ 848678 h 1543050"/>
                <a:gd name="connsiteX90" fmla="*/ 1604963 w 1704975"/>
                <a:gd name="connsiteY90" fmla="*/ 853440 h 1543050"/>
                <a:gd name="connsiteX91" fmla="*/ 1605915 w 1704975"/>
                <a:gd name="connsiteY91" fmla="*/ 859155 h 1543050"/>
                <a:gd name="connsiteX92" fmla="*/ 1603058 w 1704975"/>
                <a:gd name="connsiteY92" fmla="*/ 900113 h 1543050"/>
                <a:gd name="connsiteX93" fmla="*/ 1603058 w 1704975"/>
                <a:gd name="connsiteY93" fmla="*/ 909638 h 1543050"/>
                <a:gd name="connsiteX94" fmla="*/ 1604963 w 1704975"/>
                <a:gd name="connsiteY94" fmla="*/ 916305 h 1543050"/>
                <a:gd name="connsiteX95" fmla="*/ 1607821 w 1704975"/>
                <a:gd name="connsiteY95" fmla="*/ 917257 h 1543050"/>
                <a:gd name="connsiteX96" fmla="*/ 1616393 w 1704975"/>
                <a:gd name="connsiteY96" fmla="*/ 918210 h 1543050"/>
                <a:gd name="connsiteX97" fmla="*/ 1622108 w 1704975"/>
                <a:gd name="connsiteY97" fmla="*/ 921068 h 1543050"/>
                <a:gd name="connsiteX98" fmla="*/ 1624965 w 1704975"/>
                <a:gd name="connsiteY98" fmla="*/ 922972 h 1543050"/>
                <a:gd name="connsiteX99" fmla="*/ 1627823 w 1704975"/>
                <a:gd name="connsiteY99" fmla="*/ 926782 h 1543050"/>
                <a:gd name="connsiteX100" fmla="*/ 1627823 w 1704975"/>
                <a:gd name="connsiteY100" fmla="*/ 929640 h 1543050"/>
                <a:gd name="connsiteX101" fmla="*/ 1627823 w 1704975"/>
                <a:gd name="connsiteY101" fmla="*/ 934403 h 1543050"/>
                <a:gd name="connsiteX102" fmla="*/ 1626871 w 1704975"/>
                <a:gd name="connsiteY102" fmla="*/ 940118 h 1543050"/>
                <a:gd name="connsiteX103" fmla="*/ 1618298 w 1704975"/>
                <a:gd name="connsiteY103" fmla="*/ 952500 h 1543050"/>
                <a:gd name="connsiteX104" fmla="*/ 1611630 w 1704975"/>
                <a:gd name="connsiteY104" fmla="*/ 960120 h 1543050"/>
                <a:gd name="connsiteX105" fmla="*/ 1597343 w 1704975"/>
                <a:gd name="connsiteY105" fmla="*/ 970597 h 1543050"/>
                <a:gd name="connsiteX106" fmla="*/ 1584960 w 1704975"/>
                <a:gd name="connsiteY106" fmla="*/ 982028 h 1543050"/>
                <a:gd name="connsiteX107" fmla="*/ 1583055 w 1704975"/>
                <a:gd name="connsiteY107" fmla="*/ 989647 h 1543050"/>
                <a:gd name="connsiteX108" fmla="*/ 1582103 w 1704975"/>
                <a:gd name="connsiteY108" fmla="*/ 996315 h 1543050"/>
                <a:gd name="connsiteX109" fmla="*/ 1580198 w 1704975"/>
                <a:gd name="connsiteY109" fmla="*/ 999172 h 1543050"/>
                <a:gd name="connsiteX110" fmla="*/ 1577340 w 1704975"/>
                <a:gd name="connsiteY110" fmla="*/ 1001078 h 1543050"/>
                <a:gd name="connsiteX111" fmla="*/ 1568768 w 1704975"/>
                <a:gd name="connsiteY111" fmla="*/ 1002982 h 1543050"/>
                <a:gd name="connsiteX112" fmla="*/ 1544955 w 1704975"/>
                <a:gd name="connsiteY112" fmla="*/ 1003935 h 1543050"/>
                <a:gd name="connsiteX113" fmla="*/ 1477328 w 1704975"/>
                <a:gd name="connsiteY113" fmla="*/ 984885 h 1543050"/>
                <a:gd name="connsiteX114" fmla="*/ 1426846 w 1704975"/>
                <a:gd name="connsiteY114" fmla="*/ 985838 h 1543050"/>
                <a:gd name="connsiteX115" fmla="*/ 1423035 w 1704975"/>
                <a:gd name="connsiteY115" fmla="*/ 986790 h 1543050"/>
                <a:gd name="connsiteX116" fmla="*/ 1420178 w 1704975"/>
                <a:gd name="connsiteY116" fmla="*/ 990600 h 1543050"/>
                <a:gd name="connsiteX117" fmla="*/ 1403985 w 1704975"/>
                <a:gd name="connsiteY117" fmla="*/ 1018222 h 1543050"/>
                <a:gd name="connsiteX118" fmla="*/ 1403985 w 1704975"/>
                <a:gd name="connsiteY118" fmla="*/ 1020128 h 1543050"/>
                <a:gd name="connsiteX119" fmla="*/ 1405890 w 1704975"/>
                <a:gd name="connsiteY119" fmla="*/ 1022032 h 1543050"/>
                <a:gd name="connsiteX120" fmla="*/ 1408748 w 1704975"/>
                <a:gd name="connsiteY120" fmla="*/ 1022985 h 1543050"/>
                <a:gd name="connsiteX121" fmla="*/ 1415415 w 1704975"/>
                <a:gd name="connsiteY121" fmla="*/ 1024890 h 1543050"/>
                <a:gd name="connsiteX122" fmla="*/ 1435418 w 1704975"/>
                <a:gd name="connsiteY122" fmla="*/ 1027747 h 1543050"/>
                <a:gd name="connsiteX123" fmla="*/ 1446848 w 1704975"/>
                <a:gd name="connsiteY123" fmla="*/ 1026795 h 1543050"/>
                <a:gd name="connsiteX124" fmla="*/ 1449705 w 1704975"/>
                <a:gd name="connsiteY124" fmla="*/ 1027747 h 1543050"/>
                <a:gd name="connsiteX125" fmla="*/ 1452563 w 1704975"/>
                <a:gd name="connsiteY125" fmla="*/ 1030605 h 1543050"/>
                <a:gd name="connsiteX126" fmla="*/ 1460183 w 1704975"/>
                <a:gd name="connsiteY126" fmla="*/ 1042035 h 1543050"/>
                <a:gd name="connsiteX127" fmla="*/ 1461135 w 1704975"/>
                <a:gd name="connsiteY127" fmla="*/ 1043940 h 1543050"/>
                <a:gd name="connsiteX128" fmla="*/ 1459230 w 1704975"/>
                <a:gd name="connsiteY128" fmla="*/ 1047750 h 1543050"/>
                <a:gd name="connsiteX129" fmla="*/ 1455421 w 1704975"/>
                <a:gd name="connsiteY129" fmla="*/ 1052513 h 1543050"/>
                <a:gd name="connsiteX130" fmla="*/ 1335405 w 1704975"/>
                <a:gd name="connsiteY130" fmla="*/ 1126807 h 1543050"/>
                <a:gd name="connsiteX131" fmla="*/ 1329690 w 1704975"/>
                <a:gd name="connsiteY131" fmla="*/ 1132523 h 1543050"/>
                <a:gd name="connsiteX132" fmla="*/ 1325880 w 1704975"/>
                <a:gd name="connsiteY132" fmla="*/ 1141095 h 1543050"/>
                <a:gd name="connsiteX133" fmla="*/ 1324928 w 1704975"/>
                <a:gd name="connsiteY133" fmla="*/ 1145857 h 1543050"/>
                <a:gd name="connsiteX134" fmla="*/ 1323975 w 1704975"/>
                <a:gd name="connsiteY134" fmla="*/ 1152525 h 1543050"/>
                <a:gd name="connsiteX135" fmla="*/ 1322071 w 1704975"/>
                <a:gd name="connsiteY135" fmla="*/ 1156335 h 1543050"/>
                <a:gd name="connsiteX136" fmla="*/ 1319213 w 1704975"/>
                <a:gd name="connsiteY136" fmla="*/ 1159193 h 1543050"/>
                <a:gd name="connsiteX137" fmla="*/ 1306830 w 1704975"/>
                <a:gd name="connsiteY137" fmla="*/ 1163955 h 1543050"/>
                <a:gd name="connsiteX138" fmla="*/ 1303973 w 1704975"/>
                <a:gd name="connsiteY138" fmla="*/ 1165860 h 1543050"/>
                <a:gd name="connsiteX139" fmla="*/ 1301115 w 1704975"/>
                <a:gd name="connsiteY139" fmla="*/ 1169670 h 1543050"/>
                <a:gd name="connsiteX140" fmla="*/ 1291590 w 1704975"/>
                <a:gd name="connsiteY140" fmla="*/ 1184910 h 1543050"/>
                <a:gd name="connsiteX141" fmla="*/ 1291590 w 1704975"/>
                <a:gd name="connsiteY141" fmla="*/ 1187768 h 1543050"/>
                <a:gd name="connsiteX142" fmla="*/ 1291590 w 1704975"/>
                <a:gd name="connsiteY142" fmla="*/ 1190625 h 1543050"/>
                <a:gd name="connsiteX143" fmla="*/ 1293496 w 1704975"/>
                <a:gd name="connsiteY143" fmla="*/ 1192530 h 1543050"/>
                <a:gd name="connsiteX144" fmla="*/ 1298258 w 1704975"/>
                <a:gd name="connsiteY144" fmla="*/ 1195388 h 1543050"/>
                <a:gd name="connsiteX145" fmla="*/ 1299210 w 1704975"/>
                <a:gd name="connsiteY145" fmla="*/ 1198245 h 1543050"/>
                <a:gd name="connsiteX146" fmla="*/ 1299210 w 1704975"/>
                <a:gd name="connsiteY146" fmla="*/ 1201103 h 1543050"/>
                <a:gd name="connsiteX147" fmla="*/ 1298258 w 1704975"/>
                <a:gd name="connsiteY147" fmla="*/ 1206818 h 1543050"/>
                <a:gd name="connsiteX148" fmla="*/ 1298258 w 1704975"/>
                <a:gd name="connsiteY148" fmla="*/ 1210628 h 1543050"/>
                <a:gd name="connsiteX149" fmla="*/ 1298258 w 1704975"/>
                <a:gd name="connsiteY149" fmla="*/ 1213485 h 1543050"/>
                <a:gd name="connsiteX150" fmla="*/ 1302068 w 1704975"/>
                <a:gd name="connsiteY150" fmla="*/ 1220153 h 1543050"/>
                <a:gd name="connsiteX151" fmla="*/ 1303973 w 1704975"/>
                <a:gd name="connsiteY151" fmla="*/ 1224915 h 1543050"/>
                <a:gd name="connsiteX152" fmla="*/ 1303973 w 1704975"/>
                <a:gd name="connsiteY152" fmla="*/ 1227773 h 1543050"/>
                <a:gd name="connsiteX153" fmla="*/ 1302068 w 1704975"/>
                <a:gd name="connsiteY153" fmla="*/ 1230630 h 1543050"/>
                <a:gd name="connsiteX154" fmla="*/ 1299210 w 1704975"/>
                <a:gd name="connsiteY154" fmla="*/ 1232535 h 1543050"/>
                <a:gd name="connsiteX155" fmla="*/ 1292543 w 1704975"/>
                <a:gd name="connsiteY155" fmla="*/ 1234440 h 1543050"/>
                <a:gd name="connsiteX156" fmla="*/ 1278255 w 1704975"/>
                <a:gd name="connsiteY156" fmla="*/ 1234440 h 1543050"/>
                <a:gd name="connsiteX157" fmla="*/ 1274446 w 1704975"/>
                <a:gd name="connsiteY157" fmla="*/ 1236345 h 1543050"/>
                <a:gd name="connsiteX158" fmla="*/ 1254443 w 1704975"/>
                <a:gd name="connsiteY158" fmla="*/ 1250632 h 1543050"/>
                <a:gd name="connsiteX159" fmla="*/ 1252538 w 1704975"/>
                <a:gd name="connsiteY159" fmla="*/ 1253490 h 1543050"/>
                <a:gd name="connsiteX160" fmla="*/ 1249680 w 1704975"/>
                <a:gd name="connsiteY160" fmla="*/ 1261110 h 1543050"/>
                <a:gd name="connsiteX161" fmla="*/ 1246823 w 1704975"/>
                <a:gd name="connsiteY161" fmla="*/ 1267778 h 1543050"/>
                <a:gd name="connsiteX162" fmla="*/ 1245871 w 1704975"/>
                <a:gd name="connsiteY162" fmla="*/ 1270635 h 1543050"/>
                <a:gd name="connsiteX163" fmla="*/ 1243013 w 1704975"/>
                <a:gd name="connsiteY163" fmla="*/ 1272540 h 1543050"/>
                <a:gd name="connsiteX164" fmla="*/ 1239203 w 1704975"/>
                <a:gd name="connsiteY164" fmla="*/ 1273493 h 1543050"/>
                <a:gd name="connsiteX165" fmla="*/ 1236346 w 1704975"/>
                <a:gd name="connsiteY165" fmla="*/ 1275398 h 1543050"/>
                <a:gd name="connsiteX166" fmla="*/ 1233488 w 1704975"/>
                <a:gd name="connsiteY166" fmla="*/ 1280160 h 1543050"/>
                <a:gd name="connsiteX167" fmla="*/ 1232535 w 1704975"/>
                <a:gd name="connsiteY167" fmla="*/ 1283970 h 1543050"/>
                <a:gd name="connsiteX168" fmla="*/ 1231583 w 1704975"/>
                <a:gd name="connsiteY168" fmla="*/ 1286828 h 1543050"/>
                <a:gd name="connsiteX169" fmla="*/ 1233488 w 1704975"/>
                <a:gd name="connsiteY169" fmla="*/ 1301115 h 1543050"/>
                <a:gd name="connsiteX170" fmla="*/ 1233488 w 1704975"/>
                <a:gd name="connsiteY170" fmla="*/ 1303973 h 1543050"/>
                <a:gd name="connsiteX171" fmla="*/ 1231583 w 1704975"/>
                <a:gd name="connsiteY171" fmla="*/ 1306830 h 1543050"/>
                <a:gd name="connsiteX172" fmla="*/ 1227773 w 1704975"/>
                <a:gd name="connsiteY172" fmla="*/ 1308735 h 1543050"/>
                <a:gd name="connsiteX173" fmla="*/ 1216343 w 1704975"/>
                <a:gd name="connsiteY173" fmla="*/ 1311593 h 1543050"/>
                <a:gd name="connsiteX174" fmla="*/ 1211580 w 1704975"/>
                <a:gd name="connsiteY174" fmla="*/ 1311593 h 1543050"/>
                <a:gd name="connsiteX175" fmla="*/ 1205865 w 1704975"/>
                <a:gd name="connsiteY175" fmla="*/ 1310640 h 1543050"/>
                <a:gd name="connsiteX176" fmla="*/ 1203960 w 1704975"/>
                <a:gd name="connsiteY176" fmla="*/ 1308735 h 1543050"/>
                <a:gd name="connsiteX177" fmla="*/ 1200150 w 1704975"/>
                <a:gd name="connsiteY177" fmla="*/ 1304925 h 1543050"/>
                <a:gd name="connsiteX178" fmla="*/ 1195388 w 1704975"/>
                <a:gd name="connsiteY178" fmla="*/ 1298257 h 1543050"/>
                <a:gd name="connsiteX179" fmla="*/ 1193483 w 1704975"/>
                <a:gd name="connsiteY179" fmla="*/ 1296353 h 1543050"/>
                <a:gd name="connsiteX180" fmla="*/ 1190625 w 1704975"/>
                <a:gd name="connsiteY180" fmla="*/ 1295400 h 1543050"/>
                <a:gd name="connsiteX181" fmla="*/ 1187768 w 1704975"/>
                <a:gd name="connsiteY181" fmla="*/ 1295400 h 1543050"/>
                <a:gd name="connsiteX182" fmla="*/ 1182053 w 1704975"/>
                <a:gd name="connsiteY182" fmla="*/ 1295400 h 1543050"/>
                <a:gd name="connsiteX183" fmla="*/ 1179196 w 1704975"/>
                <a:gd name="connsiteY183" fmla="*/ 1297305 h 1543050"/>
                <a:gd name="connsiteX184" fmla="*/ 1177290 w 1704975"/>
                <a:gd name="connsiteY184" fmla="*/ 1300163 h 1543050"/>
                <a:gd name="connsiteX185" fmla="*/ 1175385 w 1704975"/>
                <a:gd name="connsiteY185" fmla="*/ 1305878 h 1543050"/>
                <a:gd name="connsiteX186" fmla="*/ 1173480 w 1704975"/>
                <a:gd name="connsiteY186" fmla="*/ 1317307 h 1543050"/>
                <a:gd name="connsiteX187" fmla="*/ 1171575 w 1704975"/>
                <a:gd name="connsiteY187" fmla="*/ 1320165 h 1543050"/>
                <a:gd name="connsiteX188" fmla="*/ 1168718 w 1704975"/>
                <a:gd name="connsiteY188" fmla="*/ 1321118 h 1543050"/>
                <a:gd name="connsiteX189" fmla="*/ 1163003 w 1704975"/>
                <a:gd name="connsiteY189" fmla="*/ 1321118 h 1543050"/>
                <a:gd name="connsiteX190" fmla="*/ 1159193 w 1704975"/>
                <a:gd name="connsiteY190" fmla="*/ 1320165 h 1543050"/>
                <a:gd name="connsiteX191" fmla="*/ 1153478 w 1704975"/>
                <a:gd name="connsiteY191" fmla="*/ 1317307 h 1543050"/>
                <a:gd name="connsiteX192" fmla="*/ 1150621 w 1704975"/>
                <a:gd name="connsiteY192" fmla="*/ 1317307 h 1543050"/>
                <a:gd name="connsiteX193" fmla="*/ 1147763 w 1704975"/>
                <a:gd name="connsiteY193" fmla="*/ 1318260 h 1543050"/>
                <a:gd name="connsiteX194" fmla="*/ 1144905 w 1704975"/>
                <a:gd name="connsiteY194" fmla="*/ 1321118 h 1543050"/>
                <a:gd name="connsiteX195" fmla="*/ 1138238 w 1704975"/>
                <a:gd name="connsiteY195" fmla="*/ 1330643 h 1543050"/>
                <a:gd name="connsiteX196" fmla="*/ 1137285 w 1704975"/>
                <a:gd name="connsiteY196" fmla="*/ 1333500 h 1543050"/>
                <a:gd name="connsiteX197" fmla="*/ 1137285 w 1704975"/>
                <a:gd name="connsiteY197" fmla="*/ 1338263 h 1543050"/>
                <a:gd name="connsiteX198" fmla="*/ 1138238 w 1704975"/>
                <a:gd name="connsiteY198" fmla="*/ 1340168 h 1543050"/>
                <a:gd name="connsiteX199" fmla="*/ 1141096 w 1704975"/>
                <a:gd name="connsiteY199" fmla="*/ 1343025 h 1543050"/>
                <a:gd name="connsiteX200" fmla="*/ 1152525 w 1704975"/>
                <a:gd name="connsiteY200" fmla="*/ 1347788 h 1543050"/>
                <a:gd name="connsiteX201" fmla="*/ 1154430 w 1704975"/>
                <a:gd name="connsiteY201" fmla="*/ 1349693 h 1543050"/>
                <a:gd name="connsiteX202" fmla="*/ 1155383 w 1704975"/>
                <a:gd name="connsiteY202" fmla="*/ 1351598 h 1543050"/>
                <a:gd name="connsiteX203" fmla="*/ 1155383 w 1704975"/>
                <a:gd name="connsiteY203" fmla="*/ 1354455 h 1543050"/>
                <a:gd name="connsiteX204" fmla="*/ 1155383 w 1704975"/>
                <a:gd name="connsiteY204" fmla="*/ 1358265 h 1543050"/>
                <a:gd name="connsiteX205" fmla="*/ 1153478 w 1704975"/>
                <a:gd name="connsiteY205" fmla="*/ 1360170 h 1543050"/>
                <a:gd name="connsiteX206" fmla="*/ 1150621 w 1704975"/>
                <a:gd name="connsiteY206" fmla="*/ 1362075 h 1543050"/>
                <a:gd name="connsiteX207" fmla="*/ 1145858 w 1704975"/>
                <a:gd name="connsiteY207" fmla="*/ 1361123 h 1543050"/>
                <a:gd name="connsiteX208" fmla="*/ 1143000 w 1704975"/>
                <a:gd name="connsiteY208" fmla="*/ 1360170 h 1543050"/>
                <a:gd name="connsiteX209" fmla="*/ 1137285 w 1704975"/>
                <a:gd name="connsiteY209" fmla="*/ 1355407 h 1543050"/>
                <a:gd name="connsiteX210" fmla="*/ 1086803 w 1704975"/>
                <a:gd name="connsiteY210" fmla="*/ 1329690 h 1543050"/>
                <a:gd name="connsiteX211" fmla="*/ 1080135 w 1704975"/>
                <a:gd name="connsiteY211" fmla="*/ 1328738 h 1543050"/>
                <a:gd name="connsiteX212" fmla="*/ 1077278 w 1704975"/>
                <a:gd name="connsiteY212" fmla="*/ 1328738 h 1543050"/>
                <a:gd name="connsiteX213" fmla="*/ 1072515 w 1704975"/>
                <a:gd name="connsiteY213" fmla="*/ 1329690 h 1543050"/>
                <a:gd name="connsiteX214" fmla="*/ 1066800 w 1704975"/>
                <a:gd name="connsiteY214" fmla="*/ 1331595 h 1543050"/>
                <a:gd name="connsiteX215" fmla="*/ 1064896 w 1704975"/>
                <a:gd name="connsiteY215" fmla="*/ 1332548 h 1543050"/>
                <a:gd name="connsiteX216" fmla="*/ 1057275 w 1704975"/>
                <a:gd name="connsiteY216" fmla="*/ 1339215 h 1543050"/>
                <a:gd name="connsiteX217" fmla="*/ 1051560 w 1704975"/>
                <a:gd name="connsiteY217" fmla="*/ 1344930 h 1543050"/>
                <a:gd name="connsiteX218" fmla="*/ 1045845 w 1704975"/>
                <a:gd name="connsiteY218" fmla="*/ 1350645 h 1543050"/>
                <a:gd name="connsiteX219" fmla="*/ 1042988 w 1704975"/>
                <a:gd name="connsiteY219" fmla="*/ 1351598 h 1543050"/>
                <a:gd name="connsiteX220" fmla="*/ 1018223 w 1704975"/>
                <a:gd name="connsiteY220" fmla="*/ 1349693 h 1543050"/>
                <a:gd name="connsiteX221" fmla="*/ 1011555 w 1704975"/>
                <a:gd name="connsiteY221" fmla="*/ 1347788 h 1543050"/>
                <a:gd name="connsiteX222" fmla="*/ 996315 w 1704975"/>
                <a:gd name="connsiteY222" fmla="*/ 1339215 h 1543050"/>
                <a:gd name="connsiteX223" fmla="*/ 989648 w 1704975"/>
                <a:gd name="connsiteY223" fmla="*/ 1337310 h 1543050"/>
                <a:gd name="connsiteX224" fmla="*/ 983933 w 1704975"/>
                <a:gd name="connsiteY224" fmla="*/ 1337310 h 1543050"/>
                <a:gd name="connsiteX225" fmla="*/ 981075 w 1704975"/>
                <a:gd name="connsiteY225" fmla="*/ 1338263 h 1543050"/>
                <a:gd name="connsiteX226" fmla="*/ 978218 w 1704975"/>
                <a:gd name="connsiteY226" fmla="*/ 1340168 h 1543050"/>
                <a:gd name="connsiteX227" fmla="*/ 976313 w 1704975"/>
                <a:gd name="connsiteY227" fmla="*/ 1343978 h 1543050"/>
                <a:gd name="connsiteX228" fmla="*/ 974408 w 1704975"/>
                <a:gd name="connsiteY228" fmla="*/ 1346835 h 1543050"/>
                <a:gd name="connsiteX229" fmla="*/ 974408 w 1704975"/>
                <a:gd name="connsiteY229" fmla="*/ 1353503 h 1543050"/>
                <a:gd name="connsiteX230" fmla="*/ 976313 w 1704975"/>
                <a:gd name="connsiteY230" fmla="*/ 1362075 h 1543050"/>
                <a:gd name="connsiteX231" fmla="*/ 984885 w 1704975"/>
                <a:gd name="connsiteY231" fmla="*/ 1397318 h 1543050"/>
                <a:gd name="connsiteX232" fmla="*/ 984885 w 1704975"/>
                <a:gd name="connsiteY232" fmla="*/ 1403985 h 1543050"/>
                <a:gd name="connsiteX233" fmla="*/ 985838 w 1704975"/>
                <a:gd name="connsiteY233" fmla="*/ 1418273 h 1543050"/>
                <a:gd name="connsiteX234" fmla="*/ 983933 w 1704975"/>
                <a:gd name="connsiteY234" fmla="*/ 1440180 h 1543050"/>
                <a:gd name="connsiteX235" fmla="*/ 985838 w 1704975"/>
                <a:gd name="connsiteY235" fmla="*/ 1449705 h 1543050"/>
                <a:gd name="connsiteX236" fmla="*/ 993458 w 1704975"/>
                <a:gd name="connsiteY236" fmla="*/ 1468755 h 1543050"/>
                <a:gd name="connsiteX237" fmla="*/ 962978 w 1704975"/>
                <a:gd name="connsiteY237" fmla="*/ 1472565 h 1543050"/>
                <a:gd name="connsiteX238" fmla="*/ 952500 w 1704975"/>
                <a:gd name="connsiteY238" fmla="*/ 1479232 h 1543050"/>
                <a:gd name="connsiteX239" fmla="*/ 948690 w 1704975"/>
                <a:gd name="connsiteY239" fmla="*/ 1483995 h 1543050"/>
                <a:gd name="connsiteX240" fmla="*/ 943928 w 1704975"/>
                <a:gd name="connsiteY240" fmla="*/ 1485900 h 1543050"/>
                <a:gd name="connsiteX241" fmla="*/ 924878 w 1704975"/>
                <a:gd name="connsiteY241" fmla="*/ 1487805 h 1543050"/>
                <a:gd name="connsiteX242" fmla="*/ 918210 w 1704975"/>
                <a:gd name="connsiteY242" fmla="*/ 1486853 h 1543050"/>
                <a:gd name="connsiteX243" fmla="*/ 914400 w 1704975"/>
                <a:gd name="connsiteY243" fmla="*/ 1484948 h 1543050"/>
                <a:gd name="connsiteX244" fmla="*/ 912495 w 1704975"/>
                <a:gd name="connsiteY244" fmla="*/ 1483043 h 1543050"/>
                <a:gd name="connsiteX245" fmla="*/ 909638 w 1704975"/>
                <a:gd name="connsiteY245" fmla="*/ 1478280 h 1543050"/>
                <a:gd name="connsiteX246" fmla="*/ 906780 w 1704975"/>
                <a:gd name="connsiteY246" fmla="*/ 1474470 h 1543050"/>
                <a:gd name="connsiteX247" fmla="*/ 898208 w 1704975"/>
                <a:gd name="connsiteY247" fmla="*/ 1467803 h 1543050"/>
                <a:gd name="connsiteX248" fmla="*/ 875348 w 1704975"/>
                <a:gd name="connsiteY248" fmla="*/ 1454468 h 1543050"/>
                <a:gd name="connsiteX249" fmla="*/ 866775 w 1704975"/>
                <a:gd name="connsiteY249" fmla="*/ 1451610 h 1543050"/>
                <a:gd name="connsiteX250" fmla="*/ 862013 w 1704975"/>
                <a:gd name="connsiteY250" fmla="*/ 1451610 h 1543050"/>
                <a:gd name="connsiteX251" fmla="*/ 859155 w 1704975"/>
                <a:gd name="connsiteY251" fmla="*/ 1452563 h 1543050"/>
                <a:gd name="connsiteX252" fmla="*/ 850583 w 1704975"/>
                <a:gd name="connsiteY252" fmla="*/ 1458278 h 1543050"/>
                <a:gd name="connsiteX253" fmla="*/ 812483 w 1704975"/>
                <a:gd name="connsiteY253" fmla="*/ 1504950 h 1543050"/>
                <a:gd name="connsiteX254" fmla="*/ 803910 w 1704975"/>
                <a:gd name="connsiteY254" fmla="*/ 1519238 h 1543050"/>
                <a:gd name="connsiteX255" fmla="*/ 802958 w 1704975"/>
                <a:gd name="connsiteY255" fmla="*/ 1522095 h 1543050"/>
                <a:gd name="connsiteX256" fmla="*/ 803910 w 1704975"/>
                <a:gd name="connsiteY256" fmla="*/ 1524953 h 1543050"/>
                <a:gd name="connsiteX257" fmla="*/ 804863 w 1704975"/>
                <a:gd name="connsiteY257" fmla="*/ 1525905 h 1543050"/>
                <a:gd name="connsiteX258" fmla="*/ 809625 w 1704975"/>
                <a:gd name="connsiteY258" fmla="*/ 1529715 h 1543050"/>
                <a:gd name="connsiteX259" fmla="*/ 809625 w 1704975"/>
                <a:gd name="connsiteY259" fmla="*/ 1532573 h 1543050"/>
                <a:gd name="connsiteX260" fmla="*/ 808673 w 1704975"/>
                <a:gd name="connsiteY260" fmla="*/ 1535430 h 1543050"/>
                <a:gd name="connsiteX261" fmla="*/ 799148 w 1704975"/>
                <a:gd name="connsiteY261" fmla="*/ 1542098 h 1543050"/>
                <a:gd name="connsiteX262" fmla="*/ 795338 w 1704975"/>
                <a:gd name="connsiteY262" fmla="*/ 1544003 h 1543050"/>
                <a:gd name="connsiteX263" fmla="*/ 791528 w 1704975"/>
                <a:gd name="connsiteY263" fmla="*/ 1544003 h 1543050"/>
                <a:gd name="connsiteX264" fmla="*/ 788670 w 1704975"/>
                <a:gd name="connsiteY264" fmla="*/ 1542098 h 1543050"/>
                <a:gd name="connsiteX265" fmla="*/ 784860 w 1704975"/>
                <a:gd name="connsiteY265" fmla="*/ 1538288 h 1543050"/>
                <a:gd name="connsiteX266" fmla="*/ 779145 w 1704975"/>
                <a:gd name="connsiteY266" fmla="*/ 1535430 h 1543050"/>
                <a:gd name="connsiteX267" fmla="*/ 777240 w 1704975"/>
                <a:gd name="connsiteY267" fmla="*/ 1536382 h 1543050"/>
                <a:gd name="connsiteX268" fmla="*/ 775335 w 1704975"/>
                <a:gd name="connsiteY268" fmla="*/ 1538288 h 1543050"/>
                <a:gd name="connsiteX269" fmla="*/ 770573 w 1704975"/>
                <a:gd name="connsiteY269" fmla="*/ 1543050 h 1543050"/>
                <a:gd name="connsiteX270" fmla="*/ 765810 w 1704975"/>
                <a:gd name="connsiteY270" fmla="*/ 1546860 h 1543050"/>
                <a:gd name="connsiteX271" fmla="*/ 762953 w 1704975"/>
                <a:gd name="connsiteY271" fmla="*/ 1546860 h 1543050"/>
                <a:gd name="connsiteX272" fmla="*/ 761048 w 1704975"/>
                <a:gd name="connsiteY272" fmla="*/ 1545907 h 1543050"/>
                <a:gd name="connsiteX273" fmla="*/ 755333 w 1704975"/>
                <a:gd name="connsiteY273" fmla="*/ 1540193 h 1543050"/>
                <a:gd name="connsiteX274" fmla="*/ 754380 w 1704975"/>
                <a:gd name="connsiteY274" fmla="*/ 1538288 h 1543050"/>
                <a:gd name="connsiteX275" fmla="*/ 756285 w 1704975"/>
                <a:gd name="connsiteY275" fmla="*/ 1533525 h 1543050"/>
                <a:gd name="connsiteX276" fmla="*/ 770573 w 1704975"/>
                <a:gd name="connsiteY276" fmla="*/ 1517332 h 1543050"/>
                <a:gd name="connsiteX277" fmla="*/ 772478 w 1704975"/>
                <a:gd name="connsiteY277" fmla="*/ 1512570 h 1543050"/>
                <a:gd name="connsiteX278" fmla="*/ 770573 w 1704975"/>
                <a:gd name="connsiteY278" fmla="*/ 1508760 h 1543050"/>
                <a:gd name="connsiteX279" fmla="*/ 762000 w 1704975"/>
                <a:gd name="connsiteY279" fmla="*/ 1499235 h 1543050"/>
                <a:gd name="connsiteX280" fmla="*/ 753428 w 1704975"/>
                <a:gd name="connsiteY280" fmla="*/ 1492568 h 1543050"/>
                <a:gd name="connsiteX281" fmla="*/ 751523 w 1704975"/>
                <a:gd name="connsiteY281" fmla="*/ 1490663 h 1543050"/>
                <a:gd name="connsiteX282" fmla="*/ 751523 w 1704975"/>
                <a:gd name="connsiteY282" fmla="*/ 1487805 h 1543050"/>
                <a:gd name="connsiteX283" fmla="*/ 753428 w 1704975"/>
                <a:gd name="connsiteY283" fmla="*/ 1483043 h 1543050"/>
                <a:gd name="connsiteX284" fmla="*/ 760095 w 1704975"/>
                <a:gd name="connsiteY284" fmla="*/ 1469707 h 1543050"/>
                <a:gd name="connsiteX285" fmla="*/ 762000 w 1704975"/>
                <a:gd name="connsiteY285" fmla="*/ 1463993 h 1543050"/>
                <a:gd name="connsiteX286" fmla="*/ 760095 w 1704975"/>
                <a:gd name="connsiteY286" fmla="*/ 1459230 h 1543050"/>
                <a:gd name="connsiteX287" fmla="*/ 753428 w 1704975"/>
                <a:gd name="connsiteY287" fmla="*/ 1451610 h 1543050"/>
                <a:gd name="connsiteX288" fmla="*/ 716280 w 1704975"/>
                <a:gd name="connsiteY288" fmla="*/ 1420178 h 1543050"/>
                <a:gd name="connsiteX289" fmla="*/ 702945 w 1704975"/>
                <a:gd name="connsiteY289" fmla="*/ 1406843 h 1543050"/>
                <a:gd name="connsiteX290" fmla="*/ 682943 w 1704975"/>
                <a:gd name="connsiteY290" fmla="*/ 1392555 h 1543050"/>
                <a:gd name="connsiteX291" fmla="*/ 681038 w 1704975"/>
                <a:gd name="connsiteY291" fmla="*/ 1390650 h 1543050"/>
                <a:gd name="connsiteX292" fmla="*/ 680085 w 1704975"/>
                <a:gd name="connsiteY292" fmla="*/ 1387793 h 1543050"/>
                <a:gd name="connsiteX293" fmla="*/ 681038 w 1704975"/>
                <a:gd name="connsiteY293" fmla="*/ 1384935 h 1543050"/>
                <a:gd name="connsiteX294" fmla="*/ 682943 w 1704975"/>
                <a:gd name="connsiteY294" fmla="*/ 1379220 h 1543050"/>
                <a:gd name="connsiteX295" fmla="*/ 684848 w 1704975"/>
                <a:gd name="connsiteY295" fmla="*/ 1377315 h 1543050"/>
                <a:gd name="connsiteX296" fmla="*/ 695325 w 1704975"/>
                <a:gd name="connsiteY296" fmla="*/ 1369695 h 1543050"/>
                <a:gd name="connsiteX297" fmla="*/ 698183 w 1704975"/>
                <a:gd name="connsiteY297" fmla="*/ 1366838 h 1543050"/>
                <a:gd name="connsiteX298" fmla="*/ 701040 w 1704975"/>
                <a:gd name="connsiteY298" fmla="*/ 1363028 h 1543050"/>
                <a:gd name="connsiteX299" fmla="*/ 700088 w 1704975"/>
                <a:gd name="connsiteY299" fmla="*/ 1359218 h 1543050"/>
                <a:gd name="connsiteX300" fmla="*/ 697230 w 1704975"/>
                <a:gd name="connsiteY300" fmla="*/ 1355407 h 1543050"/>
                <a:gd name="connsiteX301" fmla="*/ 682943 w 1704975"/>
                <a:gd name="connsiteY301" fmla="*/ 1344930 h 1543050"/>
                <a:gd name="connsiteX302" fmla="*/ 680085 w 1704975"/>
                <a:gd name="connsiteY302" fmla="*/ 1342073 h 1543050"/>
                <a:gd name="connsiteX303" fmla="*/ 677228 w 1704975"/>
                <a:gd name="connsiteY303" fmla="*/ 1335405 h 1543050"/>
                <a:gd name="connsiteX304" fmla="*/ 673418 w 1704975"/>
                <a:gd name="connsiteY304" fmla="*/ 1331595 h 1543050"/>
                <a:gd name="connsiteX305" fmla="*/ 668655 w 1704975"/>
                <a:gd name="connsiteY305" fmla="*/ 1327785 h 1543050"/>
                <a:gd name="connsiteX306" fmla="*/ 657225 w 1704975"/>
                <a:gd name="connsiteY306" fmla="*/ 1321118 h 1543050"/>
                <a:gd name="connsiteX307" fmla="*/ 652463 w 1704975"/>
                <a:gd name="connsiteY307" fmla="*/ 1317307 h 1543050"/>
                <a:gd name="connsiteX308" fmla="*/ 650558 w 1704975"/>
                <a:gd name="connsiteY308" fmla="*/ 1313498 h 1543050"/>
                <a:gd name="connsiteX309" fmla="*/ 650558 w 1704975"/>
                <a:gd name="connsiteY309" fmla="*/ 1309688 h 1543050"/>
                <a:gd name="connsiteX310" fmla="*/ 648653 w 1704975"/>
                <a:gd name="connsiteY310" fmla="*/ 1305878 h 1543050"/>
                <a:gd name="connsiteX311" fmla="*/ 643890 w 1704975"/>
                <a:gd name="connsiteY311" fmla="*/ 1303020 h 1543050"/>
                <a:gd name="connsiteX312" fmla="*/ 630555 w 1704975"/>
                <a:gd name="connsiteY312" fmla="*/ 1299210 h 1543050"/>
                <a:gd name="connsiteX313" fmla="*/ 625793 w 1704975"/>
                <a:gd name="connsiteY313" fmla="*/ 1296353 h 1543050"/>
                <a:gd name="connsiteX314" fmla="*/ 617220 w 1704975"/>
                <a:gd name="connsiteY314" fmla="*/ 1288732 h 1543050"/>
                <a:gd name="connsiteX315" fmla="*/ 613410 w 1704975"/>
                <a:gd name="connsiteY315" fmla="*/ 1285875 h 1543050"/>
                <a:gd name="connsiteX316" fmla="*/ 610553 w 1704975"/>
                <a:gd name="connsiteY316" fmla="*/ 1285875 h 1543050"/>
                <a:gd name="connsiteX317" fmla="*/ 593408 w 1704975"/>
                <a:gd name="connsiteY317" fmla="*/ 1286828 h 1543050"/>
                <a:gd name="connsiteX318" fmla="*/ 590550 w 1704975"/>
                <a:gd name="connsiteY318" fmla="*/ 1284923 h 1543050"/>
                <a:gd name="connsiteX319" fmla="*/ 590550 w 1704975"/>
                <a:gd name="connsiteY319" fmla="*/ 1283018 h 1543050"/>
                <a:gd name="connsiteX320" fmla="*/ 591503 w 1704975"/>
                <a:gd name="connsiteY320" fmla="*/ 1281113 h 1543050"/>
                <a:gd name="connsiteX321" fmla="*/ 597218 w 1704975"/>
                <a:gd name="connsiteY321" fmla="*/ 1275398 h 1543050"/>
                <a:gd name="connsiteX322" fmla="*/ 610553 w 1704975"/>
                <a:gd name="connsiteY322" fmla="*/ 1267778 h 1543050"/>
                <a:gd name="connsiteX323" fmla="*/ 614363 w 1704975"/>
                <a:gd name="connsiteY323" fmla="*/ 1263968 h 1543050"/>
                <a:gd name="connsiteX324" fmla="*/ 620078 w 1704975"/>
                <a:gd name="connsiteY324" fmla="*/ 1253490 h 1543050"/>
                <a:gd name="connsiteX325" fmla="*/ 621983 w 1704975"/>
                <a:gd name="connsiteY325" fmla="*/ 1248728 h 1543050"/>
                <a:gd name="connsiteX326" fmla="*/ 620078 w 1704975"/>
                <a:gd name="connsiteY326" fmla="*/ 1244918 h 1543050"/>
                <a:gd name="connsiteX327" fmla="*/ 610553 w 1704975"/>
                <a:gd name="connsiteY327" fmla="*/ 1233488 h 1543050"/>
                <a:gd name="connsiteX328" fmla="*/ 606743 w 1704975"/>
                <a:gd name="connsiteY328" fmla="*/ 1228725 h 1543050"/>
                <a:gd name="connsiteX329" fmla="*/ 606743 w 1704975"/>
                <a:gd name="connsiteY329" fmla="*/ 1225868 h 1543050"/>
                <a:gd name="connsiteX330" fmla="*/ 606743 w 1704975"/>
                <a:gd name="connsiteY330" fmla="*/ 1219200 h 1543050"/>
                <a:gd name="connsiteX331" fmla="*/ 604838 w 1704975"/>
                <a:gd name="connsiteY331" fmla="*/ 1213485 h 1543050"/>
                <a:gd name="connsiteX332" fmla="*/ 600075 w 1704975"/>
                <a:gd name="connsiteY332" fmla="*/ 1206818 h 1543050"/>
                <a:gd name="connsiteX333" fmla="*/ 585788 w 1704975"/>
                <a:gd name="connsiteY333" fmla="*/ 1193482 h 1543050"/>
                <a:gd name="connsiteX334" fmla="*/ 579120 w 1704975"/>
                <a:gd name="connsiteY334" fmla="*/ 1188720 h 1543050"/>
                <a:gd name="connsiteX335" fmla="*/ 574358 w 1704975"/>
                <a:gd name="connsiteY335" fmla="*/ 1187768 h 1543050"/>
                <a:gd name="connsiteX336" fmla="*/ 567690 w 1704975"/>
                <a:gd name="connsiteY336" fmla="*/ 1191578 h 1543050"/>
                <a:gd name="connsiteX337" fmla="*/ 542925 w 1704975"/>
                <a:gd name="connsiteY337" fmla="*/ 1201103 h 1543050"/>
                <a:gd name="connsiteX338" fmla="*/ 533400 w 1704975"/>
                <a:gd name="connsiteY338" fmla="*/ 1205865 h 1543050"/>
                <a:gd name="connsiteX339" fmla="*/ 524828 w 1704975"/>
                <a:gd name="connsiteY339" fmla="*/ 1212532 h 1543050"/>
                <a:gd name="connsiteX340" fmla="*/ 522923 w 1704975"/>
                <a:gd name="connsiteY340" fmla="*/ 1213485 h 1543050"/>
                <a:gd name="connsiteX341" fmla="*/ 518160 w 1704975"/>
                <a:gd name="connsiteY341" fmla="*/ 1215390 h 1543050"/>
                <a:gd name="connsiteX342" fmla="*/ 515303 w 1704975"/>
                <a:gd name="connsiteY342" fmla="*/ 1215390 h 1543050"/>
                <a:gd name="connsiteX343" fmla="*/ 510540 w 1704975"/>
                <a:gd name="connsiteY343" fmla="*/ 1217295 h 1543050"/>
                <a:gd name="connsiteX344" fmla="*/ 505778 w 1704975"/>
                <a:gd name="connsiteY344" fmla="*/ 1221105 h 1543050"/>
                <a:gd name="connsiteX345" fmla="*/ 501968 w 1704975"/>
                <a:gd name="connsiteY345" fmla="*/ 1221105 h 1543050"/>
                <a:gd name="connsiteX346" fmla="*/ 496253 w 1704975"/>
                <a:gd name="connsiteY346" fmla="*/ 1221105 h 1543050"/>
                <a:gd name="connsiteX347" fmla="*/ 491490 w 1704975"/>
                <a:gd name="connsiteY347" fmla="*/ 1217295 h 1543050"/>
                <a:gd name="connsiteX348" fmla="*/ 480060 w 1704975"/>
                <a:gd name="connsiteY348" fmla="*/ 1212532 h 1543050"/>
                <a:gd name="connsiteX349" fmla="*/ 458153 w 1704975"/>
                <a:gd name="connsiteY349" fmla="*/ 1205865 h 1543050"/>
                <a:gd name="connsiteX350" fmla="*/ 454343 w 1704975"/>
                <a:gd name="connsiteY350" fmla="*/ 1205865 h 1543050"/>
                <a:gd name="connsiteX351" fmla="*/ 449580 w 1704975"/>
                <a:gd name="connsiteY351" fmla="*/ 1208723 h 1543050"/>
                <a:gd name="connsiteX352" fmla="*/ 446723 w 1704975"/>
                <a:gd name="connsiteY352" fmla="*/ 1210628 h 1543050"/>
                <a:gd name="connsiteX353" fmla="*/ 441960 w 1704975"/>
                <a:gd name="connsiteY353" fmla="*/ 1210628 h 1543050"/>
                <a:gd name="connsiteX354" fmla="*/ 438150 w 1704975"/>
                <a:gd name="connsiteY354" fmla="*/ 1208723 h 1543050"/>
                <a:gd name="connsiteX355" fmla="*/ 433388 w 1704975"/>
                <a:gd name="connsiteY355" fmla="*/ 1203960 h 1543050"/>
                <a:gd name="connsiteX356" fmla="*/ 429578 w 1704975"/>
                <a:gd name="connsiteY356" fmla="*/ 1202055 h 1543050"/>
                <a:gd name="connsiteX357" fmla="*/ 425768 w 1704975"/>
                <a:gd name="connsiteY357" fmla="*/ 1201103 h 1543050"/>
                <a:gd name="connsiteX358" fmla="*/ 409575 w 1704975"/>
                <a:gd name="connsiteY358" fmla="*/ 1202055 h 1543050"/>
                <a:gd name="connsiteX359" fmla="*/ 406718 w 1704975"/>
                <a:gd name="connsiteY359" fmla="*/ 1201103 h 1543050"/>
                <a:gd name="connsiteX360" fmla="*/ 403860 w 1704975"/>
                <a:gd name="connsiteY360" fmla="*/ 1199198 h 1543050"/>
                <a:gd name="connsiteX361" fmla="*/ 401003 w 1704975"/>
                <a:gd name="connsiteY361" fmla="*/ 1196340 h 1543050"/>
                <a:gd name="connsiteX362" fmla="*/ 392430 w 1704975"/>
                <a:gd name="connsiteY362" fmla="*/ 1188720 h 1543050"/>
                <a:gd name="connsiteX363" fmla="*/ 388620 w 1704975"/>
                <a:gd name="connsiteY363" fmla="*/ 1187768 h 1543050"/>
                <a:gd name="connsiteX364" fmla="*/ 385763 w 1704975"/>
                <a:gd name="connsiteY364" fmla="*/ 1188720 h 1543050"/>
                <a:gd name="connsiteX365" fmla="*/ 381000 w 1704975"/>
                <a:gd name="connsiteY365" fmla="*/ 1190625 h 1543050"/>
                <a:gd name="connsiteX366" fmla="*/ 378143 w 1704975"/>
                <a:gd name="connsiteY366" fmla="*/ 1191578 h 1543050"/>
                <a:gd name="connsiteX367" fmla="*/ 351473 w 1704975"/>
                <a:gd name="connsiteY367" fmla="*/ 1186815 h 1543050"/>
                <a:gd name="connsiteX368" fmla="*/ 348615 w 1704975"/>
                <a:gd name="connsiteY368" fmla="*/ 1186815 h 1543050"/>
                <a:gd name="connsiteX369" fmla="*/ 338138 w 1704975"/>
                <a:gd name="connsiteY369" fmla="*/ 1189673 h 1543050"/>
                <a:gd name="connsiteX370" fmla="*/ 331470 w 1704975"/>
                <a:gd name="connsiteY370" fmla="*/ 1189673 h 1543050"/>
                <a:gd name="connsiteX371" fmla="*/ 327660 w 1704975"/>
                <a:gd name="connsiteY371" fmla="*/ 1188720 h 1543050"/>
                <a:gd name="connsiteX372" fmla="*/ 323850 w 1704975"/>
                <a:gd name="connsiteY372" fmla="*/ 1187768 h 1543050"/>
                <a:gd name="connsiteX373" fmla="*/ 313373 w 1704975"/>
                <a:gd name="connsiteY373" fmla="*/ 1175385 h 1543050"/>
                <a:gd name="connsiteX374" fmla="*/ 304800 w 1704975"/>
                <a:gd name="connsiteY374" fmla="*/ 1168718 h 1543050"/>
                <a:gd name="connsiteX375" fmla="*/ 274320 w 1704975"/>
                <a:gd name="connsiteY375" fmla="*/ 1150620 h 1543050"/>
                <a:gd name="connsiteX376" fmla="*/ 266700 w 1704975"/>
                <a:gd name="connsiteY376" fmla="*/ 1143000 h 1543050"/>
                <a:gd name="connsiteX377" fmla="*/ 257175 w 1704975"/>
                <a:gd name="connsiteY377" fmla="*/ 1130618 h 1543050"/>
                <a:gd name="connsiteX378" fmla="*/ 255270 w 1704975"/>
                <a:gd name="connsiteY378" fmla="*/ 1127760 h 1543050"/>
                <a:gd name="connsiteX379" fmla="*/ 240983 w 1704975"/>
                <a:gd name="connsiteY379" fmla="*/ 1118235 h 1543050"/>
                <a:gd name="connsiteX380" fmla="*/ 238125 w 1704975"/>
                <a:gd name="connsiteY380" fmla="*/ 1115378 h 1543050"/>
                <a:gd name="connsiteX381" fmla="*/ 236220 w 1704975"/>
                <a:gd name="connsiteY381" fmla="*/ 1111568 h 1543050"/>
                <a:gd name="connsiteX382" fmla="*/ 233363 w 1704975"/>
                <a:gd name="connsiteY382" fmla="*/ 1106805 h 1543050"/>
                <a:gd name="connsiteX383" fmla="*/ 199073 w 1704975"/>
                <a:gd name="connsiteY383" fmla="*/ 1079182 h 1543050"/>
                <a:gd name="connsiteX384" fmla="*/ 197168 w 1704975"/>
                <a:gd name="connsiteY384" fmla="*/ 1076325 h 1543050"/>
                <a:gd name="connsiteX385" fmla="*/ 195263 w 1704975"/>
                <a:gd name="connsiteY385" fmla="*/ 1068705 h 1543050"/>
                <a:gd name="connsiteX386" fmla="*/ 192405 w 1704975"/>
                <a:gd name="connsiteY386" fmla="*/ 1064895 h 1543050"/>
                <a:gd name="connsiteX387" fmla="*/ 188595 w 1704975"/>
                <a:gd name="connsiteY387" fmla="*/ 1061085 h 1543050"/>
                <a:gd name="connsiteX388" fmla="*/ 173355 w 1704975"/>
                <a:gd name="connsiteY388" fmla="*/ 1049655 h 1543050"/>
                <a:gd name="connsiteX389" fmla="*/ 163830 w 1704975"/>
                <a:gd name="connsiteY389" fmla="*/ 1045845 h 1543050"/>
                <a:gd name="connsiteX390" fmla="*/ 160973 w 1704975"/>
                <a:gd name="connsiteY390" fmla="*/ 1044893 h 1543050"/>
                <a:gd name="connsiteX391" fmla="*/ 151448 w 1704975"/>
                <a:gd name="connsiteY391" fmla="*/ 1044893 h 1543050"/>
                <a:gd name="connsiteX392" fmla="*/ 138113 w 1704975"/>
                <a:gd name="connsiteY392" fmla="*/ 1042035 h 1543050"/>
                <a:gd name="connsiteX393" fmla="*/ 134303 w 1704975"/>
                <a:gd name="connsiteY393" fmla="*/ 1042035 h 1543050"/>
                <a:gd name="connsiteX394" fmla="*/ 122873 w 1704975"/>
                <a:gd name="connsiteY394" fmla="*/ 1044893 h 1543050"/>
                <a:gd name="connsiteX395" fmla="*/ 117158 w 1704975"/>
                <a:gd name="connsiteY395" fmla="*/ 1043940 h 1543050"/>
                <a:gd name="connsiteX396" fmla="*/ 113348 w 1704975"/>
                <a:gd name="connsiteY396" fmla="*/ 1042035 h 1543050"/>
                <a:gd name="connsiteX397" fmla="*/ 108585 w 1704975"/>
                <a:gd name="connsiteY397" fmla="*/ 1038225 h 1543050"/>
                <a:gd name="connsiteX398" fmla="*/ 104775 w 1704975"/>
                <a:gd name="connsiteY398" fmla="*/ 1037272 h 1543050"/>
                <a:gd name="connsiteX399" fmla="*/ 101918 w 1704975"/>
                <a:gd name="connsiteY399" fmla="*/ 1037272 h 1543050"/>
                <a:gd name="connsiteX400" fmla="*/ 100013 w 1704975"/>
                <a:gd name="connsiteY400" fmla="*/ 1038225 h 1543050"/>
                <a:gd name="connsiteX401" fmla="*/ 93345 w 1704975"/>
                <a:gd name="connsiteY401" fmla="*/ 1040130 h 1543050"/>
                <a:gd name="connsiteX402" fmla="*/ 75248 w 1704975"/>
                <a:gd name="connsiteY402" fmla="*/ 1036320 h 1543050"/>
                <a:gd name="connsiteX403" fmla="*/ 77153 w 1704975"/>
                <a:gd name="connsiteY403" fmla="*/ 1031557 h 1543050"/>
                <a:gd name="connsiteX404" fmla="*/ 78105 w 1704975"/>
                <a:gd name="connsiteY404" fmla="*/ 1025843 h 1543050"/>
                <a:gd name="connsiteX405" fmla="*/ 77153 w 1704975"/>
                <a:gd name="connsiteY405" fmla="*/ 1016318 h 1543050"/>
                <a:gd name="connsiteX406" fmla="*/ 74295 w 1704975"/>
                <a:gd name="connsiteY406" fmla="*/ 1006793 h 1543050"/>
                <a:gd name="connsiteX407" fmla="*/ 72390 w 1704975"/>
                <a:gd name="connsiteY407" fmla="*/ 998220 h 1543050"/>
                <a:gd name="connsiteX408" fmla="*/ 70485 w 1704975"/>
                <a:gd name="connsiteY408" fmla="*/ 993457 h 1543050"/>
                <a:gd name="connsiteX409" fmla="*/ 60008 w 1704975"/>
                <a:gd name="connsiteY409" fmla="*/ 975360 h 1543050"/>
                <a:gd name="connsiteX410" fmla="*/ 59055 w 1704975"/>
                <a:gd name="connsiteY410" fmla="*/ 972503 h 1543050"/>
                <a:gd name="connsiteX411" fmla="*/ 59055 w 1704975"/>
                <a:gd name="connsiteY411" fmla="*/ 969645 h 1543050"/>
                <a:gd name="connsiteX412" fmla="*/ 59055 w 1704975"/>
                <a:gd name="connsiteY412" fmla="*/ 964882 h 1543050"/>
                <a:gd name="connsiteX413" fmla="*/ 60960 w 1704975"/>
                <a:gd name="connsiteY413" fmla="*/ 957263 h 1543050"/>
                <a:gd name="connsiteX414" fmla="*/ 64770 w 1704975"/>
                <a:gd name="connsiteY414" fmla="*/ 949643 h 1543050"/>
                <a:gd name="connsiteX415" fmla="*/ 69533 w 1704975"/>
                <a:gd name="connsiteY415" fmla="*/ 942022 h 1543050"/>
                <a:gd name="connsiteX416" fmla="*/ 96203 w 1704975"/>
                <a:gd name="connsiteY416" fmla="*/ 912495 h 1543050"/>
                <a:gd name="connsiteX417" fmla="*/ 100965 w 1704975"/>
                <a:gd name="connsiteY417" fmla="*/ 910590 h 1543050"/>
                <a:gd name="connsiteX418" fmla="*/ 103823 w 1704975"/>
                <a:gd name="connsiteY418" fmla="*/ 909638 h 1543050"/>
                <a:gd name="connsiteX419" fmla="*/ 106680 w 1704975"/>
                <a:gd name="connsiteY419" fmla="*/ 910590 h 1543050"/>
                <a:gd name="connsiteX420" fmla="*/ 111443 w 1704975"/>
                <a:gd name="connsiteY420" fmla="*/ 913447 h 1543050"/>
                <a:gd name="connsiteX421" fmla="*/ 116205 w 1704975"/>
                <a:gd name="connsiteY421" fmla="*/ 920115 h 1543050"/>
                <a:gd name="connsiteX422" fmla="*/ 121920 w 1704975"/>
                <a:gd name="connsiteY422" fmla="*/ 924878 h 1543050"/>
                <a:gd name="connsiteX423" fmla="*/ 127635 w 1704975"/>
                <a:gd name="connsiteY423" fmla="*/ 927735 h 1543050"/>
                <a:gd name="connsiteX424" fmla="*/ 131445 w 1704975"/>
                <a:gd name="connsiteY424" fmla="*/ 928688 h 1543050"/>
                <a:gd name="connsiteX425" fmla="*/ 182880 w 1704975"/>
                <a:gd name="connsiteY425" fmla="*/ 933450 h 1543050"/>
                <a:gd name="connsiteX426" fmla="*/ 194310 w 1704975"/>
                <a:gd name="connsiteY426" fmla="*/ 931545 h 1543050"/>
                <a:gd name="connsiteX427" fmla="*/ 221933 w 1704975"/>
                <a:gd name="connsiteY427" fmla="*/ 917257 h 1543050"/>
                <a:gd name="connsiteX428" fmla="*/ 230505 w 1704975"/>
                <a:gd name="connsiteY428" fmla="*/ 910590 h 1543050"/>
                <a:gd name="connsiteX429" fmla="*/ 246698 w 1704975"/>
                <a:gd name="connsiteY429" fmla="*/ 892493 h 1543050"/>
                <a:gd name="connsiteX430" fmla="*/ 260033 w 1704975"/>
                <a:gd name="connsiteY430" fmla="*/ 870585 h 1543050"/>
                <a:gd name="connsiteX431" fmla="*/ 273368 w 1704975"/>
                <a:gd name="connsiteY431" fmla="*/ 852488 h 1543050"/>
                <a:gd name="connsiteX432" fmla="*/ 274320 w 1704975"/>
                <a:gd name="connsiteY432" fmla="*/ 848678 h 1543050"/>
                <a:gd name="connsiteX433" fmla="*/ 273368 w 1704975"/>
                <a:gd name="connsiteY433" fmla="*/ 844868 h 1543050"/>
                <a:gd name="connsiteX434" fmla="*/ 267653 w 1704975"/>
                <a:gd name="connsiteY434" fmla="*/ 837247 h 1543050"/>
                <a:gd name="connsiteX435" fmla="*/ 267653 w 1704975"/>
                <a:gd name="connsiteY435" fmla="*/ 833438 h 1543050"/>
                <a:gd name="connsiteX436" fmla="*/ 269558 w 1704975"/>
                <a:gd name="connsiteY436" fmla="*/ 829628 h 1543050"/>
                <a:gd name="connsiteX437" fmla="*/ 269558 w 1704975"/>
                <a:gd name="connsiteY437" fmla="*/ 826770 h 1543050"/>
                <a:gd name="connsiteX438" fmla="*/ 268605 w 1704975"/>
                <a:gd name="connsiteY438" fmla="*/ 823913 h 1543050"/>
                <a:gd name="connsiteX439" fmla="*/ 264795 w 1704975"/>
                <a:gd name="connsiteY439" fmla="*/ 821055 h 1543050"/>
                <a:gd name="connsiteX440" fmla="*/ 258128 w 1704975"/>
                <a:gd name="connsiteY440" fmla="*/ 817245 h 1543050"/>
                <a:gd name="connsiteX441" fmla="*/ 255270 w 1704975"/>
                <a:gd name="connsiteY441" fmla="*/ 814388 h 1543050"/>
                <a:gd name="connsiteX442" fmla="*/ 254318 w 1704975"/>
                <a:gd name="connsiteY442" fmla="*/ 808672 h 1543050"/>
                <a:gd name="connsiteX443" fmla="*/ 250508 w 1704975"/>
                <a:gd name="connsiteY443" fmla="*/ 801053 h 1543050"/>
                <a:gd name="connsiteX444" fmla="*/ 248603 w 1704975"/>
                <a:gd name="connsiteY444" fmla="*/ 796290 h 1543050"/>
                <a:gd name="connsiteX445" fmla="*/ 248603 w 1704975"/>
                <a:gd name="connsiteY445" fmla="*/ 790575 h 1543050"/>
                <a:gd name="connsiteX446" fmla="*/ 249555 w 1704975"/>
                <a:gd name="connsiteY446" fmla="*/ 786765 h 1543050"/>
                <a:gd name="connsiteX447" fmla="*/ 252413 w 1704975"/>
                <a:gd name="connsiteY447" fmla="*/ 780097 h 1543050"/>
                <a:gd name="connsiteX448" fmla="*/ 253365 w 1704975"/>
                <a:gd name="connsiteY448" fmla="*/ 778193 h 1543050"/>
                <a:gd name="connsiteX449" fmla="*/ 255270 w 1704975"/>
                <a:gd name="connsiteY449" fmla="*/ 776288 h 1543050"/>
                <a:gd name="connsiteX450" fmla="*/ 263843 w 1704975"/>
                <a:gd name="connsiteY450" fmla="*/ 774383 h 1543050"/>
                <a:gd name="connsiteX451" fmla="*/ 268605 w 1704975"/>
                <a:gd name="connsiteY451" fmla="*/ 772478 h 1543050"/>
                <a:gd name="connsiteX452" fmla="*/ 271463 w 1704975"/>
                <a:gd name="connsiteY452" fmla="*/ 771525 h 1543050"/>
                <a:gd name="connsiteX453" fmla="*/ 274320 w 1704975"/>
                <a:gd name="connsiteY453" fmla="*/ 772478 h 1543050"/>
                <a:gd name="connsiteX454" fmla="*/ 304800 w 1704975"/>
                <a:gd name="connsiteY454" fmla="*/ 780097 h 1543050"/>
                <a:gd name="connsiteX455" fmla="*/ 307658 w 1704975"/>
                <a:gd name="connsiteY455" fmla="*/ 780097 h 1543050"/>
                <a:gd name="connsiteX456" fmla="*/ 309563 w 1704975"/>
                <a:gd name="connsiteY456" fmla="*/ 778193 h 1543050"/>
                <a:gd name="connsiteX457" fmla="*/ 312420 w 1704975"/>
                <a:gd name="connsiteY457" fmla="*/ 773430 h 1543050"/>
                <a:gd name="connsiteX458" fmla="*/ 314325 w 1704975"/>
                <a:gd name="connsiteY458" fmla="*/ 771525 h 1543050"/>
                <a:gd name="connsiteX459" fmla="*/ 317183 w 1704975"/>
                <a:gd name="connsiteY459" fmla="*/ 770572 h 1543050"/>
                <a:gd name="connsiteX460" fmla="*/ 325755 w 1704975"/>
                <a:gd name="connsiteY460" fmla="*/ 769620 h 1543050"/>
                <a:gd name="connsiteX461" fmla="*/ 328613 w 1704975"/>
                <a:gd name="connsiteY461" fmla="*/ 768668 h 1543050"/>
                <a:gd name="connsiteX462" fmla="*/ 329565 w 1704975"/>
                <a:gd name="connsiteY462" fmla="*/ 767715 h 1543050"/>
                <a:gd name="connsiteX463" fmla="*/ 330518 w 1704975"/>
                <a:gd name="connsiteY463" fmla="*/ 763905 h 1543050"/>
                <a:gd name="connsiteX464" fmla="*/ 328613 w 1704975"/>
                <a:gd name="connsiteY464" fmla="*/ 759143 h 1543050"/>
                <a:gd name="connsiteX465" fmla="*/ 322898 w 1704975"/>
                <a:gd name="connsiteY465" fmla="*/ 753428 h 1543050"/>
                <a:gd name="connsiteX466" fmla="*/ 311468 w 1704975"/>
                <a:gd name="connsiteY466" fmla="*/ 746760 h 1543050"/>
                <a:gd name="connsiteX467" fmla="*/ 302895 w 1704975"/>
                <a:gd name="connsiteY467" fmla="*/ 737235 h 1543050"/>
                <a:gd name="connsiteX468" fmla="*/ 292418 w 1704975"/>
                <a:gd name="connsiteY468" fmla="*/ 731520 h 1543050"/>
                <a:gd name="connsiteX469" fmla="*/ 290513 w 1704975"/>
                <a:gd name="connsiteY469" fmla="*/ 728663 h 1543050"/>
                <a:gd name="connsiteX470" fmla="*/ 289560 w 1704975"/>
                <a:gd name="connsiteY470" fmla="*/ 722947 h 1543050"/>
                <a:gd name="connsiteX471" fmla="*/ 290513 w 1704975"/>
                <a:gd name="connsiteY471" fmla="*/ 721043 h 1543050"/>
                <a:gd name="connsiteX472" fmla="*/ 293370 w 1704975"/>
                <a:gd name="connsiteY472" fmla="*/ 720090 h 1543050"/>
                <a:gd name="connsiteX473" fmla="*/ 318135 w 1704975"/>
                <a:gd name="connsiteY473" fmla="*/ 720090 h 1543050"/>
                <a:gd name="connsiteX474" fmla="*/ 329565 w 1704975"/>
                <a:gd name="connsiteY474" fmla="*/ 718185 h 1543050"/>
                <a:gd name="connsiteX475" fmla="*/ 334328 w 1704975"/>
                <a:gd name="connsiteY475" fmla="*/ 715328 h 1543050"/>
                <a:gd name="connsiteX476" fmla="*/ 332423 w 1704975"/>
                <a:gd name="connsiteY476" fmla="*/ 708660 h 1543050"/>
                <a:gd name="connsiteX477" fmla="*/ 328613 w 1704975"/>
                <a:gd name="connsiteY477" fmla="*/ 697230 h 1543050"/>
                <a:gd name="connsiteX478" fmla="*/ 304800 w 1704975"/>
                <a:gd name="connsiteY478" fmla="*/ 652463 h 1543050"/>
                <a:gd name="connsiteX479" fmla="*/ 302895 w 1704975"/>
                <a:gd name="connsiteY479" fmla="*/ 647700 h 1543050"/>
                <a:gd name="connsiteX480" fmla="*/ 300990 w 1704975"/>
                <a:gd name="connsiteY480" fmla="*/ 641985 h 1543050"/>
                <a:gd name="connsiteX481" fmla="*/ 301943 w 1704975"/>
                <a:gd name="connsiteY481" fmla="*/ 637222 h 1543050"/>
                <a:gd name="connsiteX482" fmla="*/ 302895 w 1704975"/>
                <a:gd name="connsiteY482" fmla="*/ 635318 h 1543050"/>
                <a:gd name="connsiteX483" fmla="*/ 307658 w 1704975"/>
                <a:gd name="connsiteY483" fmla="*/ 632460 h 1543050"/>
                <a:gd name="connsiteX484" fmla="*/ 309563 w 1704975"/>
                <a:gd name="connsiteY484" fmla="*/ 631508 h 1543050"/>
                <a:gd name="connsiteX485" fmla="*/ 309563 w 1704975"/>
                <a:gd name="connsiteY485" fmla="*/ 628650 h 1543050"/>
                <a:gd name="connsiteX486" fmla="*/ 307658 w 1704975"/>
                <a:gd name="connsiteY486" fmla="*/ 617220 h 1543050"/>
                <a:gd name="connsiteX487" fmla="*/ 306705 w 1704975"/>
                <a:gd name="connsiteY487" fmla="*/ 615315 h 1543050"/>
                <a:gd name="connsiteX488" fmla="*/ 304800 w 1704975"/>
                <a:gd name="connsiteY488" fmla="*/ 612458 h 1543050"/>
                <a:gd name="connsiteX489" fmla="*/ 300990 w 1704975"/>
                <a:gd name="connsiteY489" fmla="*/ 611505 h 1543050"/>
                <a:gd name="connsiteX490" fmla="*/ 284798 w 1704975"/>
                <a:gd name="connsiteY490" fmla="*/ 611505 h 1543050"/>
                <a:gd name="connsiteX491" fmla="*/ 281940 w 1704975"/>
                <a:gd name="connsiteY491" fmla="*/ 612458 h 1543050"/>
                <a:gd name="connsiteX492" fmla="*/ 280035 w 1704975"/>
                <a:gd name="connsiteY492" fmla="*/ 614363 h 1543050"/>
                <a:gd name="connsiteX493" fmla="*/ 278130 w 1704975"/>
                <a:gd name="connsiteY493" fmla="*/ 616268 h 1543050"/>
                <a:gd name="connsiteX494" fmla="*/ 276225 w 1704975"/>
                <a:gd name="connsiteY494" fmla="*/ 622935 h 1543050"/>
                <a:gd name="connsiteX495" fmla="*/ 275273 w 1704975"/>
                <a:gd name="connsiteY495" fmla="*/ 625793 h 1543050"/>
                <a:gd name="connsiteX496" fmla="*/ 273368 w 1704975"/>
                <a:gd name="connsiteY496" fmla="*/ 627697 h 1543050"/>
                <a:gd name="connsiteX497" fmla="*/ 270510 w 1704975"/>
                <a:gd name="connsiteY497" fmla="*/ 627697 h 1543050"/>
                <a:gd name="connsiteX498" fmla="*/ 263843 w 1704975"/>
                <a:gd name="connsiteY498" fmla="*/ 626745 h 1543050"/>
                <a:gd name="connsiteX499" fmla="*/ 237173 w 1704975"/>
                <a:gd name="connsiteY499" fmla="*/ 618172 h 1543050"/>
                <a:gd name="connsiteX500" fmla="*/ 234315 w 1704975"/>
                <a:gd name="connsiteY500" fmla="*/ 617220 h 1543050"/>
                <a:gd name="connsiteX501" fmla="*/ 232410 w 1704975"/>
                <a:gd name="connsiteY501" fmla="*/ 614363 h 1543050"/>
                <a:gd name="connsiteX502" fmla="*/ 232410 w 1704975"/>
                <a:gd name="connsiteY502" fmla="*/ 610553 h 1543050"/>
                <a:gd name="connsiteX503" fmla="*/ 231458 w 1704975"/>
                <a:gd name="connsiteY503" fmla="*/ 607695 h 1543050"/>
                <a:gd name="connsiteX504" fmla="*/ 229553 w 1704975"/>
                <a:gd name="connsiteY504" fmla="*/ 604838 h 1543050"/>
                <a:gd name="connsiteX505" fmla="*/ 215265 w 1704975"/>
                <a:gd name="connsiteY505" fmla="*/ 601980 h 1543050"/>
                <a:gd name="connsiteX506" fmla="*/ 211455 w 1704975"/>
                <a:gd name="connsiteY506" fmla="*/ 601028 h 1543050"/>
                <a:gd name="connsiteX507" fmla="*/ 209550 w 1704975"/>
                <a:gd name="connsiteY507" fmla="*/ 598170 h 1543050"/>
                <a:gd name="connsiteX508" fmla="*/ 208598 w 1704975"/>
                <a:gd name="connsiteY508" fmla="*/ 592455 h 1543050"/>
                <a:gd name="connsiteX509" fmla="*/ 207645 w 1704975"/>
                <a:gd name="connsiteY509" fmla="*/ 581978 h 1543050"/>
                <a:gd name="connsiteX510" fmla="*/ 206693 w 1704975"/>
                <a:gd name="connsiteY510" fmla="*/ 579120 h 1543050"/>
                <a:gd name="connsiteX511" fmla="*/ 204788 w 1704975"/>
                <a:gd name="connsiteY511" fmla="*/ 576263 h 1543050"/>
                <a:gd name="connsiteX512" fmla="*/ 194310 w 1704975"/>
                <a:gd name="connsiteY512" fmla="*/ 568643 h 1543050"/>
                <a:gd name="connsiteX513" fmla="*/ 192405 w 1704975"/>
                <a:gd name="connsiteY513" fmla="*/ 566738 h 1543050"/>
                <a:gd name="connsiteX514" fmla="*/ 190500 w 1704975"/>
                <a:gd name="connsiteY514" fmla="*/ 562928 h 1543050"/>
                <a:gd name="connsiteX515" fmla="*/ 187643 w 1704975"/>
                <a:gd name="connsiteY515" fmla="*/ 558165 h 1543050"/>
                <a:gd name="connsiteX516" fmla="*/ 184785 w 1704975"/>
                <a:gd name="connsiteY516" fmla="*/ 544830 h 1543050"/>
                <a:gd name="connsiteX517" fmla="*/ 183833 w 1704975"/>
                <a:gd name="connsiteY517" fmla="*/ 541020 h 1543050"/>
                <a:gd name="connsiteX518" fmla="*/ 183833 w 1704975"/>
                <a:gd name="connsiteY518" fmla="*/ 528638 h 1543050"/>
                <a:gd name="connsiteX519" fmla="*/ 185738 w 1704975"/>
                <a:gd name="connsiteY519" fmla="*/ 505778 h 1543050"/>
                <a:gd name="connsiteX520" fmla="*/ 184785 w 1704975"/>
                <a:gd name="connsiteY520" fmla="*/ 499110 h 1543050"/>
                <a:gd name="connsiteX521" fmla="*/ 183833 w 1704975"/>
                <a:gd name="connsiteY521" fmla="*/ 493395 h 1543050"/>
                <a:gd name="connsiteX522" fmla="*/ 180023 w 1704975"/>
                <a:gd name="connsiteY522" fmla="*/ 486728 h 1543050"/>
                <a:gd name="connsiteX523" fmla="*/ 171450 w 1704975"/>
                <a:gd name="connsiteY523" fmla="*/ 478155 h 1543050"/>
                <a:gd name="connsiteX524" fmla="*/ 167640 w 1704975"/>
                <a:gd name="connsiteY524" fmla="*/ 476250 h 1543050"/>
                <a:gd name="connsiteX525" fmla="*/ 164783 w 1704975"/>
                <a:gd name="connsiteY525" fmla="*/ 475297 h 1543050"/>
                <a:gd name="connsiteX526" fmla="*/ 161925 w 1704975"/>
                <a:gd name="connsiteY526" fmla="*/ 474345 h 1543050"/>
                <a:gd name="connsiteX527" fmla="*/ 156210 w 1704975"/>
                <a:gd name="connsiteY527" fmla="*/ 476250 h 1543050"/>
                <a:gd name="connsiteX528" fmla="*/ 149543 w 1704975"/>
                <a:gd name="connsiteY528" fmla="*/ 481013 h 1543050"/>
                <a:gd name="connsiteX529" fmla="*/ 143828 w 1704975"/>
                <a:gd name="connsiteY529" fmla="*/ 481965 h 1543050"/>
                <a:gd name="connsiteX530" fmla="*/ 138113 w 1704975"/>
                <a:gd name="connsiteY530" fmla="*/ 481013 h 1543050"/>
                <a:gd name="connsiteX531" fmla="*/ 104775 w 1704975"/>
                <a:gd name="connsiteY531" fmla="*/ 464820 h 1543050"/>
                <a:gd name="connsiteX532" fmla="*/ 101918 w 1704975"/>
                <a:gd name="connsiteY532" fmla="*/ 461963 h 1543050"/>
                <a:gd name="connsiteX533" fmla="*/ 95250 w 1704975"/>
                <a:gd name="connsiteY533" fmla="*/ 451485 h 1543050"/>
                <a:gd name="connsiteX534" fmla="*/ 91440 w 1704975"/>
                <a:gd name="connsiteY534" fmla="*/ 449580 h 1543050"/>
                <a:gd name="connsiteX535" fmla="*/ 87630 w 1704975"/>
                <a:gd name="connsiteY535" fmla="*/ 447675 h 1543050"/>
                <a:gd name="connsiteX536" fmla="*/ 65723 w 1704975"/>
                <a:gd name="connsiteY536" fmla="*/ 447675 h 1543050"/>
                <a:gd name="connsiteX537" fmla="*/ 59055 w 1704975"/>
                <a:gd name="connsiteY537" fmla="*/ 446722 h 1543050"/>
                <a:gd name="connsiteX538" fmla="*/ 53340 w 1704975"/>
                <a:gd name="connsiteY538" fmla="*/ 443865 h 1543050"/>
                <a:gd name="connsiteX539" fmla="*/ 49530 w 1704975"/>
                <a:gd name="connsiteY539" fmla="*/ 440055 h 1543050"/>
                <a:gd name="connsiteX540" fmla="*/ 44768 w 1704975"/>
                <a:gd name="connsiteY540" fmla="*/ 434340 h 1543050"/>
                <a:gd name="connsiteX541" fmla="*/ 40005 w 1704975"/>
                <a:gd name="connsiteY541" fmla="*/ 430530 h 1543050"/>
                <a:gd name="connsiteX542" fmla="*/ 29528 w 1704975"/>
                <a:gd name="connsiteY542" fmla="*/ 427672 h 1543050"/>
                <a:gd name="connsiteX543" fmla="*/ 26670 w 1704975"/>
                <a:gd name="connsiteY543" fmla="*/ 426720 h 1543050"/>
                <a:gd name="connsiteX544" fmla="*/ 24765 w 1704975"/>
                <a:gd name="connsiteY544" fmla="*/ 423863 h 1543050"/>
                <a:gd name="connsiteX545" fmla="*/ 19050 w 1704975"/>
                <a:gd name="connsiteY545" fmla="*/ 413385 h 1543050"/>
                <a:gd name="connsiteX546" fmla="*/ 17145 w 1704975"/>
                <a:gd name="connsiteY546" fmla="*/ 411480 h 1543050"/>
                <a:gd name="connsiteX547" fmla="*/ 14288 w 1704975"/>
                <a:gd name="connsiteY547" fmla="*/ 408622 h 1543050"/>
                <a:gd name="connsiteX548" fmla="*/ 11430 w 1704975"/>
                <a:gd name="connsiteY548" fmla="*/ 403860 h 1543050"/>
                <a:gd name="connsiteX549" fmla="*/ 8573 w 1704975"/>
                <a:gd name="connsiteY549" fmla="*/ 381000 h 1543050"/>
                <a:gd name="connsiteX550" fmla="*/ 7620 w 1704975"/>
                <a:gd name="connsiteY550" fmla="*/ 378142 h 1543050"/>
                <a:gd name="connsiteX551" fmla="*/ 0 w 1704975"/>
                <a:gd name="connsiteY551" fmla="*/ 356235 h 1543050"/>
                <a:gd name="connsiteX552" fmla="*/ 0 w 1704975"/>
                <a:gd name="connsiteY552" fmla="*/ 354330 h 1543050"/>
                <a:gd name="connsiteX553" fmla="*/ 5715 w 1704975"/>
                <a:gd name="connsiteY553" fmla="*/ 345758 h 1543050"/>
                <a:gd name="connsiteX554" fmla="*/ 10478 w 1704975"/>
                <a:gd name="connsiteY554" fmla="*/ 338138 h 1543050"/>
                <a:gd name="connsiteX555" fmla="*/ 34290 w 1704975"/>
                <a:gd name="connsiteY555" fmla="*/ 315278 h 1543050"/>
                <a:gd name="connsiteX556" fmla="*/ 38100 w 1704975"/>
                <a:gd name="connsiteY556" fmla="*/ 310515 h 1543050"/>
                <a:gd name="connsiteX557" fmla="*/ 39053 w 1704975"/>
                <a:gd name="connsiteY557" fmla="*/ 303847 h 1543050"/>
                <a:gd name="connsiteX558" fmla="*/ 40005 w 1704975"/>
                <a:gd name="connsiteY558" fmla="*/ 292417 h 1543050"/>
                <a:gd name="connsiteX559" fmla="*/ 40005 w 1704975"/>
                <a:gd name="connsiteY559" fmla="*/ 247650 h 1543050"/>
                <a:gd name="connsiteX560" fmla="*/ 35243 w 1704975"/>
                <a:gd name="connsiteY560" fmla="*/ 236220 h 1543050"/>
                <a:gd name="connsiteX561" fmla="*/ 54293 w 1704975"/>
                <a:gd name="connsiteY561" fmla="*/ 225742 h 1543050"/>
                <a:gd name="connsiteX562" fmla="*/ 60960 w 1704975"/>
                <a:gd name="connsiteY562" fmla="*/ 219075 h 1543050"/>
                <a:gd name="connsiteX563" fmla="*/ 62865 w 1704975"/>
                <a:gd name="connsiteY563" fmla="*/ 211455 h 1543050"/>
                <a:gd name="connsiteX564" fmla="*/ 67628 w 1704975"/>
                <a:gd name="connsiteY564" fmla="*/ 200025 h 1543050"/>
                <a:gd name="connsiteX565" fmla="*/ 70485 w 1704975"/>
                <a:gd name="connsiteY565" fmla="*/ 198120 h 1543050"/>
                <a:gd name="connsiteX566" fmla="*/ 72390 w 1704975"/>
                <a:gd name="connsiteY566" fmla="*/ 198120 h 1543050"/>
                <a:gd name="connsiteX567" fmla="*/ 75248 w 1704975"/>
                <a:gd name="connsiteY567" fmla="*/ 201930 h 1543050"/>
                <a:gd name="connsiteX568" fmla="*/ 79058 w 1704975"/>
                <a:gd name="connsiteY568" fmla="*/ 205740 h 1543050"/>
                <a:gd name="connsiteX569" fmla="*/ 85725 w 1704975"/>
                <a:gd name="connsiteY569" fmla="*/ 211455 h 1543050"/>
                <a:gd name="connsiteX570" fmla="*/ 91440 w 1704975"/>
                <a:gd name="connsiteY570" fmla="*/ 214313 h 1543050"/>
                <a:gd name="connsiteX571" fmla="*/ 96203 w 1704975"/>
                <a:gd name="connsiteY571" fmla="*/ 216217 h 1543050"/>
                <a:gd name="connsiteX572" fmla="*/ 99060 w 1704975"/>
                <a:gd name="connsiteY572" fmla="*/ 215265 h 1543050"/>
                <a:gd name="connsiteX573" fmla="*/ 100965 w 1704975"/>
                <a:gd name="connsiteY573" fmla="*/ 212408 h 1543050"/>
                <a:gd name="connsiteX574" fmla="*/ 102870 w 1704975"/>
                <a:gd name="connsiteY574" fmla="*/ 206692 h 1543050"/>
                <a:gd name="connsiteX575" fmla="*/ 101918 w 1704975"/>
                <a:gd name="connsiteY575" fmla="*/ 201930 h 1543050"/>
                <a:gd name="connsiteX576" fmla="*/ 101918 w 1704975"/>
                <a:gd name="connsiteY576" fmla="*/ 198120 h 1543050"/>
                <a:gd name="connsiteX577" fmla="*/ 102870 w 1704975"/>
                <a:gd name="connsiteY577" fmla="*/ 193358 h 1543050"/>
                <a:gd name="connsiteX578" fmla="*/ 110490 w 1704975"/>
                <a:gd name="connsiteY578" fmla="*/ 183833 h 1543050"/>
                <a:gd name="connsiteX579" fmla="*/ 115253 w 1704975"/>
                <a:gd name="connsiteY579" fmla="*/ 180022 h 1543050"/>
                <a:gd name="connsiteX580" fmla="*/ 119063 w 1704975"/>
                <a:gd name="connsiteY580" fmla="*/ 179070 h 1543050"/>
                <a:gd name="connsiteX581" fmla="*/ 126683 w 1704975"/>
                <a:gd name="connsiteY581" fmla="*/ 184785 h 1543050"/>
                <a:gd name="connsiteX582" fmla="*/ 130493 w 1704975"/>
                <a:gd name="connsiteY582" fmla="*/ 185738 h 1543050"/>
                <a:gd name="connsiteX583" fmla="*/ 132398 w 1704975"/>
                <a:gd name="connsiteY583" fmla="*/ 184785 h 1543050"/>
                <a:gd name="connsiteX584" fmla="*/ 134303 w 1704975"/>
                <a:gd name="connsiteY584" fmla="*/ 182880 h 1543050"/>
                <a:gd name="connsiteX585" fmla="*/ 136208 w 1704975"/>
                <a:gd name="connsiteY585" fmla="*/ 175260 h 1543050"/>
                <a:gd name="connsiteX586" fmla="*/ 138113 w 1704975"/>
                <a:gd name="connsiteY586" fmla="*/ 171450 h 1543050"/>
                <a:gd name="connsiteX587" fmla="*/ 140970 w 1704975"/>
                <a:gd name="connsiteY587" fmla="*/ 166688 h 1543050"/>
                <a:gd name="connsiteX588" fmla="*/ 146685 w 1704975"/>
                <a:gd name="connsiteY588" fmla="*/ 159067 h 1543050"/>
                <a:gd name="connsiteX589" fmla="*/ 150495 w 1704975"/>
                <a:gd name="connsiteY589" fmla="*/ 156210 h 1543050"/>
                <a:gd name="connsiteX590" fmla="*/ 155258 w 1704975"/>
                <a:gd name="connsiteY590" fmla="*/ 154305 h 1543050"/>
                <a:gd name="connsiteX591" fmla="*/ 161925 w 1704975"/>
                <a:gd name="connsiteY591" fmla="*/ 155258 h 1543050"/>
                <a:gd name="connsiteX592" fmla="*/ 168593 w 1704975"/>
                <a:gd name="connsiteY592" fmla="*/ 156210 h 1543050"/>
                <a:gd name="connsiteX593" fmla="*/ 179070 w 1704975"/>
                <a:gd name="connsiteY593" fmla="*/ 161925 h 1543050"/>
                <a:gd name="connsiteX594" fmla="*/ 181928 w 1704975"/>
                <a:gd name="connsiteY594" fmla="*/ 163830 h 1543050"/>
                <a:gd name="connsiteX595" fmla="*/ 185738 w 1704975"/>
                <a:gd name="connsiteY595" fmla="*/ 164783 h 1543050"/>
                <a:gd name="connsiteX596" fmla="*/ 192405 w 1704975"/>
                <a:gd name="connsiteY596" fmla="*/ 165735 h 1543050"/>
                <a:gd name="connsiteX597" fmla="*/ 210503 w 1704975"/>
                <a:gd name="connsiteY597" fmla="*/ 161925 h 1543050"/>
                <a:gd name="connsiteX598" fmla="*/ 215265 w 1704975"/>
                <a:gd name="connsiteY598" fmla="*/ 160020 h 1543050"/>
                <a:gd name="connsiteX599" fmla="*/ 217170 w 1704975"/>
                <a:gd name="connsiteY599" fmla="*/ 158115 h 1543050"/>
                <a:gd name="connsiteX600" fmla="*/ 218123 w 1704975"/>
                <a:gd name="connsiteY600" fmla="*/ 155258 h 1543050"/>
                <a:gd name="connsiteX601" fmla="*/ 217170 w 1704975"/>
                <a:gd name="connsiteY601" fmla="*/ 149542 h 1543050"/>
                <a:gd name="connsiteX602" fmla="*/ 214313 w 1704975"/>
                <a:gd name="connsiteY602" fmla="*/ 141922 h 1543050"/>
                <a:gd name="connsiteX603" fmla="*/ 215265 w 1704975"/>
                <a:gd name="connsiteY603" fmla="*/ 138113 h 1543050"/>
                <a:gd name="connsiteX604" fmla="*/ 216218 w 1704975"/>
                <a:gd name="connsiteY604" fmla="*/ 135255 h 1543050"/>
                <a:gd name="connsiteX605" fmla="*/ 220028 w 1704975"/>
                <a:gd name="connsiteY605" fmla="*/ 129540 h 1543050"/>
                <a:gd name="connsiteX606" fmla="*/ 222885 w 1704975"/>
                <a:gd name="connsiteY606" fmla="*/ 127635 h 1543050"/>
                <a:gd name="connsiteX607" fmla="*/ 224790 w 1704975"/>
                <a:gd name="connsiteY607" fmla="*/ 126683 h 1543050"/>
                <a:gd name="connsiteX608" fmla="*/ 240983 w 1704975"/>
                <a:gd name="connsiteY608" fmla="*/ 130492 h 1543050"/>
                <a:gd name="connsiteX609" fmla="*/ 243840 w 1704975"/>
                <a:gd name="connsiteY609" fmla="*/ 130492 h 1543050"/>
                <a:gd name="connsiteX610" fmla="*/ 246698 w 1704975"/>
                <a:gd name="connsiteY610" fmla="*/ 128588 h 1543050"/>
                <a:gd name="connsiteX611" fmla="*/ 247650 w 1704975"/>
                <a:gd name="connsiteY611" fmla="*/ 126683 h 1543050"/>
                <a:gd name="connsiteX612" fmla="*/ 247650 w 1704975"/>
                <a:gd name="connsiteY612" fmla="*/ 124778 h 1543050"/>
                <a:gd name="connsiteX613" fmla="*/ 244793 w 1704975"/>
                <a:gd name="connsiteY613" fmla="*/ 120967 h 1543050"/>
                <a:gd name="connsiteX614" fmla="*/ 244793 w 1704975"/>
                <a:gd name="connsiteY614" fmla="*/ 118110 h 1543050"/>
                <a:gd name="connsiteX615" fmla="*/ 245745 w 1704975"/>
                <a:gd name="connsiteY615" fmla="*/ 114300 h 1543050"/>
                <a:gd name="connsiteX616" fmla="*/ 252413 w 1704975"/>
                <a:gd name="connsiteY616" fmla="*/ 107633 h 1543050"/>
                <a:gd name="connsiteX617" fmla="*/ 257175 w 1704975"/>
                <a:gd name="connsiteY617" fmla="*/ 105728 h 1543050"/>
                <a:gd name="connsiteX618" fmla="*/ 260985 w 1704975"/>
                <a:gd name="connsiteY618" fmla="*/ 104775 h 1543050"/>
                <a:gd name="connsiteX619" fmla="*/ 263843 w 1704975"/>
                <a:gd name="connsiteY619" fmla="*/ 105728 h 1543050"/>
                <a:gd name="connsiteX620" fmla="*/ 276225 w 1704975"/>
                <a:gd name="connsiteY620" fmla="*/ 113347 h 1543050"/>
                <a:gd name="connsiteX621" fmla="*/ 280035 w 1704975"/>
                <a:gd name="connsiteY621" fmla="*/ 115253 h 1543050"/>
                <a:gd name="connsiteX622" fmla="*/ 283845 w 1704975"/>
                <a:gd name="connsiteY622" fmla="*/ 115253 h 1543050"/>
                <a:gd name="connsiteX623" fmla="*/ 286703 w 1704975"/>
                <a:gd name="connsiteY623" fmla="*/ 114300 h 1543050"/>
                <a:gd name="connsiteX624" fmla="*/ 288608 w 1704975"/>
                <a:gd name="connsiteY624" fmla="*/ 112395 h 1543050"/>
                <a:gd name="connsiteX625" fmla="*/ 289560 w 1704975"/>
                <a:gd name="connsiteY625" fmla="*/ 109538 h 1543050"/>
                <a:gd name="connsiteX626" fmla="*/ 289560 w 1704975"/>
                <a:gd name="connsiteY626" fmla="*/ 105728 h 1543050"/>
                <a:gd name="connsiteX627" fmla="*/ 289560 w 1704975"/>
                <a:gd name="connsiteY627" fmla="*/ 93345 h 1543050"/>
                <a:gd name="connsiteX628" fmla="*/ 289560 w 1704975"/>
                <a:gd name="connsiteY628" fmla="*/ 89535 h 1543050"/>
                <a:gd name="connsiteX629" fmla="*/ 290513 w 1704975"/>
                <a:gd name="connsiteY629" fmla="*/ 84772 h 1543050"/>
                <a:gd name="connsiteX630" fmla="*/ 293370 w 1704975"/>
                <a:gd name="connsiteY630" fmla="*/ 82867 h 1543050"/>
                <a:gd name="connsiteX631" fmla="*/ 296228 w 1704975"/>
                <a:gd name="connsiteY631" fmla="*/ 80963 h 1543050"/>
                <a:gd name="connsiteX632" fmla="*/ 299085 w 1704975"/>
                <a:gd name="connsiteY632" fmla="*/ 80963 h 1543050"/>
                <a:gd name="connsiteX633" fmla="*/ 301943 w 1704975"/>
                <a:gd name="connsiteY633" fmla="*/ 81915 h 1543050"/>
                <a:gd name="connsiteX634" fmla="*/ 307658 w 1704975"/>
                <a:gd name="connsiteY634" fmla="*/ 84772 h 1543050"/>
                <a:gd name="connsiteX635" fmla="*/ 343853 w 1704975"/>
                <a:gd name="connsiteY635" fmla="*/ 107633 h 1543050"/>
                <a:gd name="connsiteX636" fmla="*/ 348615 w 1704975"/>
                <a:gd name="connsiteY636" fmla="*/ 108585 h 1543050"/>
                <a:gd name="connsiteX637" fmla="*/ 350520 w 1704975"/>
                <a:gd name="connsiteY637" fmla="*/ 107633 h 1543050"/>
                <a:gd name="connsiteX638" fmla="*/ 351473 w 1704975"/>
                <a:gd name="connsiteY638" fmla="*/ 105728 h 1543050"/>
                <a:gd name="connsiteX639" fmla="*/ 349568 w 1704975"/>
                <a:gd name="connsiteY639" fmla="*/ 103822 h 1543050"/>
                <a:gd name="connsiteX640" fmla="*/ 345758 w 1704975"/>
                <a:gd name="connsiteY640" fmla="*/ 99060 h 1543050"/>
                <a:gd name="connsiteX641" fmla="*/ 344805 w 1704975"/>
                <a:gd name="connsiteY641" fmla="*/ 97155 h 1543050"/>
                <a:gd name="connsiteX642" fmla="*/ 344805 w 1704975"/>
                <a:gd name="connsiteY642" fmla="*/ 93345 h 1543050"/>
                <a:gd name="connsiteX643" fmla="*/ 347663 w 1704975"/>
                <a:gd name="connsiteY643" fmla="*/ 91440 h 1543050"/>
                <a:gd name="connsiteX644" fmla="*/ 363855 w 1704975"/>
                <a:gd name="connsiteY644" fmla="*/ 95250 h 1543050"/>
                <a:gd name="connsiteX645" fmla="*/ 380048 w 1704975"/>
                <a:gd name="connsiteY645" fmla="*/ 93345 h 1543050"/>
                <a:gd name="connsiteX646" fmla="*/ 387668 w 1704975"/>
                <a:gd name="connsiteY646" fmla="*/ 89535 h 1543050"/>
                <a:gd name="connsiteX647" fmla="*/ 393383 w 1704975"/>
                <a:gd name="connsiteY647" fmla="*/ 88583 h 1543050"/>
                <a:gd name="connsiteX648" fmla="*/ 397193 w 1704975"/>
                <a:gd name="connsiteY648" fmla="*/ 87630 h 1543050"/>
                <a:gd name="connsiteX649" fmla="*/ 414338 w 1704975"/>
                <a:gd name="connsiteY649" fmla="*/ 92392 h 1543050"/>
                <a:gd name="connsiteX650" fmla="*/ 423863 w 1704975"/>
                <a:gd name="connsiteY650" fmla="*/ 94297 h 1543050"/>
                <a:gd name="connsiteX651" fmla="*/ 432435 w 1704975"/>
                <a:gd name="connsiteY651" fmla="*/ 93345 h 1543050"/>
                <a:gd name="connsiteX652" fmla="*/ 437198 w 1704975"/>
                <a:gd name="connsiteY652" fmla="*/ 92392 h 1543050"/>
                <a:gd name="connsiteX653" fmla="*/ 441008 w 1704975"/>
                <a:gd name="connsiteY653" fmla="*/ 91440 h 1543050"/>
                <a:gd name="connsiteX654" fmla="*/ 442913 w 1704975"/>
                <a:gd name="connsiteY654" fmla="*/ 89535 h 1543050"/>
                <a:gd name="connsiteX655" fmla="*/ 445770 w 1704975"/>
                <a:gd name="connsiteY655" fmla="*/ 83820 h 1543050"/>
                <a:gd name="connsiteX656" fmla="*/ 447675 w 1704975"/>
                <a:gd name="connsiteY656" fmla="*/ 77153 h 1543050"/>
                <a:gd name="connsiteX657" fmla="*/ 448628 w 1704975"/>
                <a:gd name="connsiteY657" fmla="*/ 72390 h 1543050"/>
                <a:gd name="connsiteX658" fmla="*/ 450533 w 1704975"/>
                <a:gd name="connsiteY658" fmla="*/ 71438 h 1543050"/>
                <a:gd name="connsiteX659" fmla="*/ 458153 w 1704975"/>
                <a:gd name="connsiteY659" fmla="*/ 62865 h 1543050"/>
                <a:gd name="connsiteX660" fmla="*/ 463868 w 1704975"/>
                <a:gd name="connsiteY660" fmla="*/ 52388 h 1543050"/>
                <a:gd name="connsiteX661" fmla="*/ 472440 w 1704975"/>
                <a:gd name="connsiteY661" fmla="*/ 41910 h 1543050"/>
                <a:gd name="connsiteX662" fmla="*/ 477203 w 1704975"/>
                <a:gd name="connsiteY662" fmla="*/ 40005 h 1543050"/>
                <a:gd name="connsiteX663" fmla="*/ 486728 w 1704975"/>
                <a:gd name="connsiteY663" fmla="*/ 39053 h 1543050"/>
                <a:gd name="connsiteX664" fmla="*/ 491490 w 1704975"/>
                <a:gd name="connsiteY664" fmla="*/ 37147 h 1543050"/>
                <a:gd name="connsiteX665" fmla="*/ 497205 w 1704975"/>
                <a:gd name="connsiteY665" fmla="*/ 31433 h 1543050"/>
                <a:gd name="connsiteX666" fmla="*/ 507683 w 1704975"/>
                <a:gd name="connsiteY666" fmla="*/ 16192 h 1543050"/>
                <a:gd name="connsiteX667" fmla="*/ 515303 w 1704975"/>
                <a:gd name="connsiteY667" fmla="*/ 10478 h 1543050"/>
                <a:gd name="connsiteX668" fmla="*/ 524828 w 1704975"/>
                <a:gd name="connsiteY668" fmla="*/ 7620 h 1543050"/>
                <a:gd name="connsiteX669" fmla="*/ 574358 w 1704975"/>
                <a:gd name="connsiteY669" fmla="*/ 1905 h 1543050"/>
                <a:gd name="connsiteX670" fmla="*/ 666750 w 1704975"/>
                <a:gd name="connsiteY670" fmla="*/ 9525 h 1543050"/>
                <a:gd name="connsiteX671" fmla="*/ 681038 w 1704975"/>
                <a:gd name="connsiteY671" fmla="*/ 17145 h 1543050"/>
                <a:gd name="connsiteX672" fmla="*/ 684848 w 1704975"/>
                <a:gd name="connsiteY672" fmla="*/ 32385 h 1543050"/>
                <a:gd name="connsiteX673" fmla="*/ 700088 w 1704975"/>
                <a:gd name="connsiteY673" fmla="*/ 40005 h 1543050"/>
                <a:gd name="connsiteX674" fmla="*/ 752475 w 1704975"/>
                <a:gd name="connsiteY674" fmla="*/ 124778 h 1543050"/>
                <a:gd name="connsiteX675" fmla="*/ 764858 w 1704975"/>
                <a:gd name="connsiteY675" fmla="*/ 130492 h 1543050"/>
                <a:gd name="connsiteX676" fmla="*/ 777240 w 1704975"/>
                <a:gd name="connsiteY676" fmla="*/ 129540 h 1543050"/>
                <a:gd name="connsiteX677" fmla="*/ 789623 w 1704975"/>
                <a:gd name="connsiteY677" fmla="*/ 124778 h 1543050"/>
                <a:gd name="connsiteX678" fmla="*/ 801053 w 1704975"/>
                <a:gd name="connsiteY678" fmla="*/ 116205 h 1543050"/>
                <a:gd name="connsiteX679" fmla="*/ 811530 w 1704975"/>
                <a:gd name="connsiteY679" fmla="*/ 105728 h 1543050"/>
                <a:gd name="connsiteX680" fmla="*/ 815340 w 1704975"/>
                <a:gd name="connsiteY680" fmla="*/ 103822 h 1543050"/>
                <a:gd name="connsiteX681" fmla="*/ 822008 w 1704975"/>
                <a:gd name="connsiteY681" fmla="*/ 103822 h 1543050"/>
                <a:gd name="connsiteX682" fmla="*/ 826770 w 1704975"/>
                <a:gd name="connsiteY682" fmla="*/ 105728 h 1543050"/>
                <a:gd name="connsiteX683" fmla="*/ 838200 w 1704975"/>
                <a:gd name="connsiteY683" fmla="*/ 111442 h 1543050"/>
                <a:gd name="connsiteX684" fmla="*/ 849630 w 1704975"/>
                <a:gd name="connsiteY684" fmla="*/ 114300 h 1543050"/>
                <a:gd name="connsiteX685" fmla="*/ 863918 w 1704975"/>
                <a:gd name="connsiteY685" fmla="*/ 124778 h 1543050"/>
                <a:gd name="connsiteX686" fmla="*/ 881063 w 1704975"/>
                <a:gd name="connsiteY686" fmla="*/ 128588 h 1543050"/>
                <a:gd name="connsiteX687" fmla="*/ 885825 w 1704975"/>
                <a:gd name="connsiteY687" fmla="*/ 130492 h 1543050"/>
                <a:gd name="connsiteX688" fmla="*/ 893445 w 1704975"/>
                <a:gd name="connsiteY688" fmla="*/ 136208 h 1543050"/>
                <a:gd name="connsiteX689" fmla="*/ 895350 w 1704975"/>
                <a:gd name="connsiteY689" fmla="*/ 138113 h 1543050"/>
                <a:gd name="connsiteX690" fmla="*/ 893445 w 1704975"/>
                <a:gd name="connsiteY690" fmla="*/ 141922 h 1543050"/>
                <a:gd name="connsiteX691" fmla="*/ 892493 w 1704975"/>
                <a:gd name="connsiteY691" fmla="*/ 160020 h 1543050"/>
                <a:gd name="connsiteX692" fmla="*/ 891540 w 1704975"/>
                <a:gd name="connsiteY692" fmla="*/ 167640 h 1543050"/>
                <a:gd name="connsiteX693" fmla="*/ 892493 w 1704975"/>
                <a:gd name="connsiteY693" fmla="*/ 175260 h 1543050"/>
                <a:gd name="connsiteX694" fmla="*/ 900113 w 1704975"/>
                <a:gd name="connsiteY694" fmla="*/ 181928 h 1543050"/>
                <a:gd name="connsiteX695" fmla="*/ 911543 w 1704975"/>
                <a:gd name="connsiteY695" fmla="*/ 185738 h 1543050"/>
                <a:gd name="connsiteX696" fmla="*/ 923925 w 1704975"/>
                <a:gd name="connsiteY696" fmla="*/ 187642 h 1543050"/>
                <a:gd name="connsiteX697" fmla="*/ 936308 w 1704975"/>
                <a:gd name="connsiteY697" fmla="*/ 186690 h 1543050"/>
                <a:gd name="connsiteX698" fmla="*/ 945833 w 1704975"/>
                <a:gd name="connsiteY698" fmla="*/ 180022 h 1543050"/>
                <a:gd name="connsiteX699" fmla="*/ 950595 w 1704975"/>
                <a:gd name="connsiteY699" fmla="*/ 173355 h 1543050"/>
                <a:gd name="connsiteX700" fmla="*/ 959168 w 1704975"/>
                <a:gd name="connsiteY700" fmla="*/ 155258 h 1543050"/>
                <a:gd name="connsiteX701" fmla="*/ 963930 w 1704975"/>
                <a:gd name="connsiteY701" fmla="*/ 147638 h 1543050"/>
                <a:gd name="connsiteX702" fmla="*/ 970598 w 1704975"/>
                <a:gd name="connsiteY702" fmla="*/ 141922 h 1543050"/>
                <a:gd name="connsiteX703" fmla="*/ 1058228 w 1704975"/>
                <a:gd name="connsiteY703" fmla="*/ 89535 h 1543050"/>
                <a:gd name="connsiteX704" fmla="*/ 1092518 w 1704975"/>
                <a:gd name="connsiteY704" fmla="*/ 77153 h 1543050"/>
                <a:gd name="connsiteX705" fmla="*/ 1127760 w 1704975"/>
                <a:gd name="connsiteY705" fmla="*/ 74295 h 1543050"/>
                <a:gd name="connsiteX706" fmla="*/ 1164908 w 1704975"/>
                <a:gd name="connsiteY706" fmla="*/ 80010 h 1543050"/>
                <a:gd name="connsiteX707" fmla="*/ 1242060 w 1704975"/>
                <a:gd name="connsiteY707" fmla="*/ 58103 h 1543050"/>
                <a:gd name="connsiteX708" fmla="*/ 1257300 w 1704975"/>
                <a:gd name="connsiteY708" fmla="*/ 45720 h 1543050"/>
                <a:gd name="connsiteX709" fmla="*/ 1288733 w 1704975"/>
                <a:gd name="connsiteY709" fmla="*/ 14288 h 1543050"/>
                <a:gd name="connsiteX710" fmla="*/ 1303973 w 1704975"/>
                <a:gd name="connsiteY710" fmla="*/ 7620 h 1543050"/>
                <a:gd name="connsiteX711" fmla="*/ 1357313 w 1704975"/>
                <a:gd name="connsiteY711" fmla="*/ 0 h 1543050"/>
                <a:gd name="connsiteX712" fmla="*/ 1367790 w 1704975"/>
                <a:gd name="connsiteY712" fmla="*/ 5715 h 1543050"/>
                <a:gd name="connsiteX713" fmla="*/ 1375410 w 1704975"/>
                <a:gd name="connsiteY713" fmla="*/ 27622 h 1543050"/>
                <a:gd name="connsiteX714" fmla="*/ 1383030 w 1704975"/>
                <a:gd name="connsiteY714" fmla="*/ 54292 h 1543050"/>
                <a:gd name="connsiteX715" fmla="*/ 1391603 w 1704975"/>
                <a:gd name="connsiteY715" fmla="*/ 76200 h 1543050"/>
                <a:gd name="connsiteX716" fmla="*/ 1437323 w 1704975"/>
                <a:gd name="connsiteY716" fmla="*/ 99060 h 1543050"/>
                <a:gd name="connsiteX717" fmla="*/ 1454468 w 1704975"/>
                <a:gd name="connsiteY717" fmla="*/ 117158 h 1543050"/>
                <a:gd name="connsiteX718" fmla="*/ 1455421 w 1704975"/>
                <a:gd name="connsiteY718" fmla="*/ 151447 h 1543050"/>
                <a:gd name="connsiteX719" fmla="*/ 1449705 w 1704975"/>
                <a:gd name="connsiteY719" fmla="*/ 170497 h 1543050"/>
                <a:gd name="connsiteX720" fmla="*/ 1448753 w 1704975"/>
                <a:gd name="connsiteY720" fmla="*/ 180022 h 1543050"/>
                <a:gd name="connsiteX721" fmla="*/ 1449705 w 1704975"/>
                <a:gd name="connsiteY721" fmla="*/ 188595 h 1543050"/>
                <a:gd name="connsiteX722" fmla="*/ 1452563 w 1704975"/>
                <a:gd name="connsiteY722" fmla="*/ 194310 h 1543050"/>
                <a:gd name="connsiteX723" fmla="*/ 1471613 w 1704975"/>
                <a:gd name="connsiteY723" fmla="*/ 213360 h 1543050"/>
                <a:gd name="connsiteX724" fmla="*/ 1522096 w 1704975"/>
                <a:gd name="connsiteY724" fmla="*/ 291465 h 1543050"/>
                <a:gd name="connsiteX725" fmla="*/ 1540193 w 1704975"/>
                <a:gd name="connsiteY725" fmla="*/ 304800 h 1543050"/>
                <a:gd name="connsiteX726" fmla="*/ 1582103 w 1704975"/>
                <a:gd name="connsiteY726" fmla="*/ 323850 h 1543050"/>
                <a:gd name="connsiteX727" fmla="*/ 1603058 w 1704975"/>
                <a:gd name="connsiteY727" fmla="*/ 337185 h 1543050"/>
                <a:gd name="connsiteX728" fmla="*/ 1621155 w 1704975"/>
                <a:gd name="connsiteY728" fmla="*/ 353378 h 1543050"/>
                <a:gd name="connsiteX729" fmla="*/ 1637348 w 1704975"/>
                <a:gd name="connsiteY729" fmla="*/ 374333 h 1543050"/>
                <a:gd name="connsiteX730" fmla="*/ 1654493 w 1704975"/>
                <a:gd name="connsiteY730" fmla="*/ 403860 h 1543050"/>
                <a:gd name="connsiteX731" fmla="*/ 1654493 w 1704975"/>
                <a:gd name="connsiteY731" fmla="*/ 405765 h 1543050"/>
                <a:gd name="connsiteX732" fmla="*/ 1663065 w 1704975"/>
                <a:gd name="connsiteY732" fmla="*/ 421005 h 1543050"/>
                <a:gd name="connsiteX733" fmla="*/ 1663065 w 1704975"/>
                <a:gd name="connsiteY733" fmla="*/ 433388 h 1543050"/>
                <a:gd name="connsiteX734" fmla="*/ 1665923 w 1704975"/>
                <a:gd name="connsiteY734" fmla="*/ 438150 h 1543050"/>
                <a:gd name="connsiteX735" fmla="*/ 1677353 w 1704975"/>
                <a:gd name="connsiteY735" fmla="*/ 430530 h 154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</a:cxnLst>
              <a:rect l="l" t="t" r="r" b="b"/>
              <a:pathLst>
                <a:path w="1704975" h="1543050">
                  <a:moveTo>
                    <a:pt x="1677353" y="430530"/>
                  </a:moveTo>
                  <a:lnTo>
                    <a:pt x="1678305" y="435292"/>
                  </a:lnTo>
                  <a:lnTo>
                    <a:pt x="1680210" y="442913"/>
                  </a:lnTo>
                  <a:lnTo>
                    <a:pt x="1688783" y="462915"/>
                  </a:lnTo>
                  <a:lnTo>
                    <a:pt x="1692593" y="469583"/>
                  </a:lnTo>
                  <a:lnTo>
                    <a:pt x="1696403" y="473392"/>
                  </a:lnTo>
                  <a:lnTo>
                    <a:pt x="1706880" y="480060"/>
                  </a:lnTo>
                  <a:lnTo>
                    <a:pt x="1707833" y="481965"/>
                  </a:lnTo>
                  <a:lnTo>
                    <a:pt x="1707833" y="484822"/>
                  </a:lnTo>
                  <a:lnTo>
                    <a:pt x="1704975" y="487680"/>
                  </a:lnTo>
                  <a:lnTo>
                    <a:pt x="1702118" y="488633"/>
                  </a:lnTo>
                  <a:lnTo>
                    <a:pt x="1699260" y="489585"/>
                  </a:lnTo>
                  <a:lnTo>
                    <a:pt x="1687830" y="490538"/>
                  </a:lnTo>
                  <a:lnTo>
                    <a:pt x="1677353" y="493395"/>
                  </a:lnTo>
                  <a:lnTo>
                    <a:pt x="1667828" y="498158"/>
                  </a:lnTo>
                  <a:lnTo>
                    <a:pt x="1664971" y="501967"/>
                  </a:lnTo>
                  <a:lnTo>
                    <a:pt x="1664018" y="505778"/>
                  </a:lnTo>
                  <a:lnTo>
                    <a:pt x="1665923" y="510540"/>
                  </a:lnTo>
                  <a:lnTo>
                    <a:pt x="1688783" y="527685"/>
                  </a:lnTo>
                  <a:lnTo>
                    <a:pt x="1689735" y="529590"/>
                  </a:lnTo>
                  <a:lnTo>
                    <a:pt x="1688783" y="532447"/>
                  </a:lnTo>
                  <a:lnTo>
                    <a:pt x="1686878" y="535305"/>
                  </a:lnTo>
                  <a:lnTo>
                    <a:pt x="1684973" y="537210"/>
                  </a:lnTo>
                  <a:lnTo>
                    <a:pt x="1677353" y="541020"/>
                  </a:lnTo>
                  <a:lnTo>
                    <a:pt x="1674496" y="545783"/>
                  </a:lnTo>
                  <a:lnTo>
                    <a:pt x="1672590" y="547688"/>
                  </a:lnTo>
                  <a:lnTo>
                    <a:pt x="1667828" y="560070"/>
                  </a:lnTo>
                  <a:lnTo>
                    <a:pt x="1664018" y="561022"/>
                  </a:lnTo>
                  <a:lnTo>
                    <a:pt x="1651635" y="558165"/>
                  </a:lnTo>
                  <a:lnTo>
                    <a:pt x="1648778" y="559118"/>
                  </a:lnTo>
                  <a:lnTo>
                    <a:pt x="1646873" y="560070"/>
                  </a:lnTo>
                  <a:lnTo>
                    <a:pt x="1641158" y="566738"/>
                  </a:lnTo>
                  <a:lnTo>
                    <a:pt x="1634490" y="577215"/>
                  </a:lnTo>
                  <a:lnTo>
                    <a:pt x="1633538" y="580072"/>
                  </a:lnTo>
                  <a:lnTo>
                    <a:pt x="1633538" y="582930"/>
                  </a:lnTo>
                  <a:lnTo>
                    <a:pt x="1634490" y="587693"/>
                  </a:lnTo>
                  <a:lnTo>
                    <a:pt x="1637348" y="589597"/>
                  </a:lnTo>
                  <a:lnTo>
                    <a:pt x="1639253" y="589597"/>
                  </a:lnTo>
                  <a:lnTo>
                    <a:pt x="1653540" y="583883"/>
                  </a:lnTo>
                  <a:lnTo>
                    <a:pt x="1656398" y="583883"/>
                  </a:lnTo>
                  <a:lnTo>
                    <a:pt x="1659255" y="583883"/>
                  </a:lnTo>
                  <a:lnTo>
                    <a:pt x="1661160" y="584835"/>
                  </a:lnTo>
                  <a:lnTo>
                    <a:pt x="1664971" y="588645"/>
                  </a:lnTo>
                  <a:lnTo>
                    <a:pt x="1665923" y="591503"/>
                  </a:lnTo>
                  <a:lnTo>
                    <a:pt x="1665923" y="594360"/>
                  </a:lnTo>
                  <a:lnTo>
                    <a:pt x="1664971" y="617220"/>
                  </a:lnTo>
                  <a:lnTo>
                    <a:pt x="1664971" y="627697"/>
                  </a:lnTo>
                  <a:lnTo>
                    <a:pt x="1665923" y="631508"/>
                  </a:lnTo>
                  <a:lnTo>
                    <a:pt x="1665923" y="637222"/>
                  </a:lnTo>
                  <a:lnTo>
                    <a:pt x="1664971" y="641033"/>
                  </a:lnTo>
                  <a:lnTo>
                    <a:pt x="1661160" y="645795"/>
                  </a:lnTo>
                  <a:lnTo>
                    <a:pt x="1655446" y="653415"/>
                  </a:lnTo>
                  <a:lnTo>
                    <a:pt x="1653540" y="657225"/>
                  </a:lnTo>
                  <a:lnTo>
                    <a:pt x="1648778" y="671513"/>
                  </a:lnTo>
                  <a:lnTo>
                    <a:pt x="1645921" y="675322"/>
                  </a:lnTo>
                  <a:lnTo>
                    <a:pt x="1644015" y="678180"/>
                  </a:lnTo>
                  <a:lnTo>
                    <a:pt x="1639253" y="680085"/>
                  </a:lnTo>
                  <a:lnTo>
                    <a:pt x="1637348" y="681990"/>
                  </a:lnTo>
                  <a:lnTo>
                    <a:pt x="1636396" y="685800"/>
                  </a:lnTo>
                  <a:lnTo>
                    <a:pt x="1636396" y="690563"/>
                  </a:lnTo>
                  <a:lnTo>
                    <a:pt x="1640205" y="701993"/>
                  </a:lnTo>
                  <a:lnTo>
                    <a:pt x="1641158" y="703897"/>
                  </a:lnTo>
                  <a:lnTo>
                    <a:pt x="1645921" y="710565"/>
                  </a:lnTo>
                  <a:lnTo>
                    <a:pt x="1645921" y="712470"/>
                  </a:lnTo>
                  <a:lnTo>
                    <a:pt x="1645921" y="715328"/>
                  </a:lnTo>
                  <a:lnTo>
                    <a:pt x="1640205" y="719138"/>
                  </a:lnTo>
                  <a:lnTo>
                    <a:pt x="1640205" y="722947"/>
                  </a:lnTo>
                  <a:lnTo>
                    <a:pt x="1645921" y="739140"/>
                  </a:lnTo>
                  <a:lnTo>
                    <a:pt x="1646873" y="744855"/>
                  </a:lnTo>
                  <a:lnTo>
                    <a:pt x="1645921" y="747713"/>
                  </a:lnTo>
                  <a:lnTo>
                    <a:pt x="1643063" y="752475"/>
                  </a:lnTo>
                  <a:lnTo>
                    <a:pt x="1641158" y="755333"/>
                  </a:lnTo>
                  <a:lnTo>
                    <a:pt x="1629728" y="762953"/>
                  </a:lnTo>
                  <a:lnTo>
                    <a:pt x="1627823" y="764858"/>
                  </a:lnTo>
                  <a:lnTo>
                    <a:pt x="1625918" y="767715"/>
                  </a:lnTo>
                  <a:lnTo>
                    <a:pt x="1623060" y="780097"/>
                  </a:lnTo>
                  <a:lnTo>
                    <a:pt x="1621155" y="793432"/>
                  </a:lnTo>
                  <a:lnTo>
                    <a:pt x="1618298" y="801053"/>
                  </a:lnTo>
                  <a:lnTo>
                    <a:pt x="1615440" y="804863"/>
                  </a:lnTo>
                  <a:lnTo>
                    <a:pt x="1612583" y="806768"/>
                  </a:lnTo>
                  <a:lnTo>
                    <a:pt x="1604010" y="808672"/>
                  </a:lnTo>
                  <a:lnTo>
                    <a:pt x="1600200" y="811530"/>
                  </a:lnTo>
                  <a:lnTo>
                    <a:pt x="1593533" y="821055"/>
                  </a:lnTo>
                  <a:lnTo>
                    <a:pt x="1592580" y="823913"/>
                  </a:lnTo>
                  <a:lnTo>
                    <a:pt x="1591628" y="826770"/>
                  </a:lnTo>
                  <a:lnTo>
                    <a:pt x="1593533" y="831532"/>
                  </a:lnTo>
                  <a:lnTo>
                    <a:pt x="1595438" y="834390"/>
                  </a:lnTo>
                  <a:lnTo>
                    <a:pt x="1601153" y="841057"/>
                  </a:lnTo>
                  <a:lnTo>
                    <a:pt x="1602105" y="842963"/>
                  </a:lnTo>
                  <a:lnTo>
                    <a:pt x="1604010" y="848678"/>
                  </a:lnTo>
                  <a:lnTo>
                    <a:pt x="1604963" y="853440"/>
                  </a:lnTo>
                  <a:lnTo>
                    <a:pt x="1605915" y="859155"/>
                  </a:lnTo>
                  <a:lnTo>
                    <a:pt x="1603058" y="900113"/>
                  </a:lnTo>
                  <a:lnTo>
                    <a:pt x="1603058" y="909638"/>
                  </a:lnTo>
                  <a:lnTo>
                    <a:pt x="1604963" y="916305"/>
                  </a:lnTo>
                  <a:lnTo>
                    <a:pt x="1607821" y="917257"/>
                  </a:lnTo>
                  <a:lnTo>
                    <a:pt x="1616393" y="918210"/>
                  </a:lnTo>
                  <a:lnTo>
                    <a:pt x="1622108" y="921068"/>
                  </a:lnTo>
                  <a:lnTo>
                    <a:pt x="1624965" y="922972"/>
                  </a:lnTo>
                  <a:lnTo>
                    <a:pt x="1627823" y="926782"/>
                  </a:lnTo>
                  <a:lnTo>
                    <a:pt x="1627823" y="929640"/>
                  </a:lnTo>
                  <a:lnTo>
                    <a:pt x="1627823" y="934403"/>
                  </a:lnTo>
                  <a:lnTo>
                    <a:pt x="1626871" y="940118"/>
                  </a:lnTo>
                  <a:lnTo>
                    <a:pt x="1618298" y="952500"/>
                  </a:lnTo>
                  <a:lnTo>
                    <a:pt x="1611630" y="960120"/>
                  </a:lnTo>
                  <a:lnTo>
                    <a:pt x="1597343" y="970597"/>
                  </a:lnTo>
                  <a:lnTo>
                    <a:pt x="1584960" y="982028"/>
                  </a:lnTo>
                  <a:lnTo>
                    <a:pt x="1583055" y="989647"/>
                  </a:lnTo>
                  <a:lnTo>
                    <a:pt x="1582103" y="996315"/>
                  </a:lnTo>
                  <a:lnTo>
                    <a:pt x="1580198" y="999172"/>
                  </a:lnTo>
                  <a:lnTo>
                    <a:pt x="1577340" y="1001078"/>
                  </a:lnTo>
                  <a:lnTo>
                    <a:pt x="1568768" y="1002982"/>
                  </a:lnTo>
                  <a:lnTo>
                    <a:pt x="1544955" y="1003935"/>
                  </a:lnTo>
                  <a:lnTo>
                    <a:pt x="1477328" y="984885"/>
                  </a:lnTo>
                  <a:lnTo>
                    <a:pt x="1426846" y="985838"/>
                  </a:lnTo>
                  <a:lnTo>
                    <a:pt x="1423035" y="986790"/>
                  </a:lnTo>
                  <a:lnTo>
                    <a:pt x="1420178" y="990600"/>
                  </a:lnTo>
                  <a:lnTo>
                    <a:pt x="1403985" y="1018222"/>
                  </a:lnTo>
                  <a:lnTo>
                    <a:pt x="1403985" y="1020128"/>
                  </a:lnTo>
                  <a:lnTo>
                    <a:pt x="1405890" y="1022032"/>
                  </a:lnTo>
                  <a:lnTo>
                    <a:pt x="1408748" y="1022985"/>
                  </a:lnTo>
                  <a:lnTo>
                    <a:pt x="1415415" y="1024890"/>
                  </a:lnTo>
                  <a:lnTo>
                    <a:pt x="1435418" y="1027747"/>
                  </a:lnTo>
                  <a:lnTo>
                    <a:pt x="1446848" y="1026795"/>
                  </a:lnTo>
                  <a:lnTo>
                    <a:pt x="1449705" y="1027747"/>
                  </a:lnTo>
                  <a:lnTo>
                    <a:pt x="1452563" y="1030605"/>
                  </a:lnTo>
                  <a:lnTo>
                    <a:pt x="1460183" y="1042035"/>
                  </a:lnTo>
                  <a:lnTo>
                    <a:pt x="1461135" y="1043940"/>
                  </a:lnTo>
                  <a:lnTo>
                    <a:pt x="1459230" y="1047750"/>
                  </a:lnTo>
                  <a:lnTo>
                    <a:pt x="1455421" y="1052513"/>
                  </a:lnTo>
                  <a:lnTo>
                    <a:pt x="1335405" y="1126807"/>
                  </a:lnTo>
                  <a:lnTo>
                    <a:pt x="1329690" y="1132523"/>
                  </a:lnTo>
                  <a:lnTo>
                    <a:pt x="1325880" y="1141095"/>
                  </a:lnTo>
                  <a:lnTo>
                    <a:pt x="1324928" y="1145857"/>
                  </a:lnTo>
                  <a:lnTo>
                    <a:pt x="1323975" y="1152525"/>
                  </a:lnTo>
                  <a:lnTo>
                    <a:pt x="1322071" y="1156335"/>
                  </a:lnTo>
                  <a:lnTo>
                    <a:pt x="1319213" y="1159193"/>
                  </a:lnTo>
                  <a:lnTo>
                    <a:pt x="1306830" y="1163955"/>
                  </a:lnTo>
                  <a:lnTo>
                    <a:pt x="1303973" y="1165860"/>
                  </a:lnTo>
                  <a:lnTo>
                    <a:pt x="1301115" y="1169670"/>
                  </a:lnTo>
                  <a:lnTo>
                    <a:pt x="1291590" y="1184910"/>
                  </a:lnTo>
                  <a:lnTo>
                    <a:pt x="1291590" y="1187768"/>
                  </a:lnTo>
                  <a:lnTo>
                    <a:pt x="1291590" y="1190625"/>
                  </a:lnTo>
                  <a:lnTo>
                    <a:pt x="1293496" y="1192530"/>
                  </a:lnTo>
                  <a:lnTo>
                    <a:pt x="1298258" y="1195388"/>
                  </a:lnTo>
                  <a:lnTo>
                    <a:pt x="1299210" y="1198245"/>
                  </a:lnTo>
                  <a:lnTo>
                    <a:pt x="1299210" y="1201103"/>
                  </a:lnTo>
                  <a:lnTo>
                    <a:pt x="1298258" y="1206818"/>
                  </a:lnTo>
                  <a:lnTo>
                    <a:pt x="1298258" y="1210628"/>
                  </a:lnTo>
                  <a:lnTo>
                    <a:pt x="1298258" y="1213485"/>
                  </a:lnTo>
                  <a:lnTo>
                    <a:pt x="1302068" y="1220153"/>
                  </a:lnTo>
                  <a:lnTo>
                    <a:pt x="1303973" y="1224915"/>
                  </a:lnTo>
                  <a:lnTo>
                    <a:pt x="1303973" y="1227773"/>
                  </a:lnTo>
                  <a:lnTo>
                    <a:pt x="1302068" y="1230630"/>
                  </a:lnTo>
                  <a:lnTo>
                    <a:pt x="1299210" y="1232535"/>
                  </a:lnTo>
                  <a:lnTo>
                    <a:pt x="1292543" y="1234440"/>
                  </a:lnTo>
                  <a:lnTo>
                    <a:pt x="1278255" y="1234440"/>
                  </a:lnTo>
                  <a:lnTo>
                    <a:pt x="1274446" y="1236345"/>
                  </a:lnTo>
                  <a:lnTo>
                    <a:pt x="1254443" y="1250632"/>
                  </a:lnTo>
                  <a:lnTo>
                    <a:pt x="1252538" y="1253490"/>
                  </a:lnTo>
                  <a:lnTo>
                    <a:pt x="1249680" y="1261110"/>
                  </a:lnTo>
                  <a:lnTo>
                    <a:pt x="1246823" y="1267778"/>
                  </a:lnTo>
                  <a:lnTo>
                    <a:pt x="1245871" y="1270635"/>
                  </a:lnTo>
                  <a:lnTo>
                    <a:pt x="1243013" y="1272540"/>
                  </a:lnTo>
                  <a:lnTo>
                    <a:pt x="1239203" y="1273493"/>
                  </a:lnTo>
                  <a:lnTo>
                    <a:pt x="1236346" y="1275398"/>
                  </a:lnTo>
                  <a:lnTo>
                    <a:pt x="1233488" y="1280160"/>
                  </a:lnTo>
                  <a:lnTo>
                    <a:pt x="1232535" y="1283970"/>
                  </a:lnTo>
                  <a:lnTo>
                    <a:pt x="1231583" y="1286828"/>
                  </a:lnTo>
                  <a:lnTo>
                    <a:pt x="1233488" y="1301115"/>
                  </a:lnTo>
                  <a:lnTo>
                    <a:pt x="1233488" y="1303973"/>
                  </a:lnTo>
                  <a:lnTo>
                    <a:pt x="1231583" y="1306830"/>
                  </a:lnTo>
                  <a:lnTo>
                    <a:pt x="1227773" y="1308735"/>
                  </a:lnTo>
                  <a:lnTo>
                    <a:pt x="1216343" y="1311593"/>
                  </a:lnTo>
                  <a:lnTo>
                    <a:pt x="1211580" y="1311593"/>
                  </a:lnTo>
                  <a:lnTo>
                    <a:pt x="1205865" y="1310640"/>
                  </a:lnTo>
                  <a:lnTo>
                    <a:pt x="1203960" y="1308735"/>
                  </a:lnTo>
                  <a:lnTo>
                    <a:pt x="1200150" y="1304925"/>
                  </a:lnTo>
                  <a:lnTo>
                    <a:pt x="1195388" y="1298257"/>
                  </a:lnTo>
                  <a:lnTo>
                    <a:pt x="1193483" y="1296353"/>
                  </a:lnTo>
                  <a:lnTo>
                    <a:pt x="1190625" y="1295400"/>
                  </a:lnTo>
                  <a:lnTo>
                    <a:pt x="1187768" y="1295400"/>
                  </a:lnTo>
                  <a:lnTo>
                    <a:pt x="1182053" y="1295400"/>
                  </a:lnTo>
                  <a:lnTo>
                    <a:pt x="1179196" y="1297305"/>
                  </a:lnTo>
                  <a:lnTo>
                    <a:pt x="1177290" y="1300163"/>
                  </a:lnTo>
                  <a:lnTo>
                    <a:pt x="1175385" y="1305878"/>
                  </a:lnTo>
                  <a:lnTo>
                    <a:pt x="1173480" y="1317307"/>
                  </a:lnTo>
                  <a:lnTo>
                    <a:pt x="1171575" y="1320165"/>
                  </a:lnTo>
                  <a:lnTo>
                    <a:pt x="1168718" y="1321118"/>
                  </a:lnTo>
                  <a:lnTo>
                    <a:pt x="1163003" y="1321118"/>
                  </a:lnTo>
                  <a:lnTo>
                    <a:pt x="1159193" y="1320165"/>
                  </a:lnTo>
                  <a:lnTo>
                    <a:pt x="1153478" y="1317307"/>
                  </a:lnTo>
                  <a:lnTo>
                    <a:pt x="1150621" y="1317307"/>
                  </a:lnTo>
                  <a:lnTo>
                    <a:pt x="1147763" y="1318260"/>
                  </a:lnTo>
                  <a:lnTo>
                    <a:pt x="1144905" y="1321118"/>
                  </a:lnTo>
                  <a:lnTo>
                    <a:pt x="1138238" y="1330643"/>
                  </a:lnTo>
                  <a:lnTo>
                    <a:pt x="1137285" y="1333500"/>
                  </a:lnTo>
                  <a:lnTo>
                    <a:pt x="1137285" y="1338263"/>
                  </a:lnTo>
                  <a:lnTo>
                    <a:pt x="1138238" y="1340168"/>
                  </a:lnTo>
                  <a:lnTo>
                    <a:pt x="1141096" y="1343025"/>
                  </a:lnTo>
                  <a:lnTo>
                    <a:pt x="1152525" y="1347788"/>
                  </a:lnTo>
                  <a:lnTo>
                    <a:pt x="1154430" y="1349693"/>
                  </a:lnTo>
                  <a:lnTo>
                    <a:pt x="1155383" y="1351598"/>
                  </a:lnTo>
                  <a:lnTo>
                    <a:pt x="1155383" y="1354455"/>
                  </a:lnTo>
                  <a:lnTo>
                    <a:pt x="1155383" y="1358265"/>
                  </a:lnTo>
                  <a:lnTo>
                    <a:pt x="1153478" y="1360170"/>
                  </a:lnTo>
                  <a:lnTo>
                    <a:pt x="1150621" y="1362075"/>
                  </a:lnTo>
                  <a:lnTo>
                    <a:pt x="1145858" y="1361123"/>
                  </a:lnTo>
                  <a:lnTo>
                    <a:pt x="1143000" y="1360170"/>
                  </a:lnTo>
                  <a:lnTo>
                    <a:pt x="1137285" y="1355407"/>
                  </a:lnTo>
                  <a:lnTo>
                    <a:pt x="1086803" y="1329690"/>
                  </a:lnTo>
                  <a:lnTo>
                    <a:pt x="1080135" y="1328738"/>
                  </a:lnTo>
                  <a:lnTo>
                    <a:pt x="1077278" y="1328738"/>
                  </a:lnTo>
                  <a:lnTo>
                    <a:pt x="1072515" y="1329690"/>
                  </a:lnTo>
                  <a:lnTo>
                    <a:pt x="1066800" y="1331595"/>
                  </a:lnTo>
                  <a:lnTo>
                    <a:pt x="1064896" y="1332548"/>
                  </a:lnTo>
                  <a:lnTo>
                    <a:pt x="1057275" y="1339215"/>
                  </a:lnTo>
                  <a:lnTo>
                    <a:pt x="1051560" y="1344930"/>
                  </a:lnTo>
                  <a:lnTo>
                    <a:pt x="1045845" y="1350645"/>
                  </a:lnTo>
                  <a:lnTo>
                    <a:pt x="1042988" y="1351598"/>
                  </a:lnTo>
                  <a:lnTo>
                    <a:pt x="1018223" y="1349693"/>
                  </a:lnTo>
                  <a:lnTo>
                    <a:pt x="1011555" y="1347788"/>
                  </a:lnTo>
                  <a:lnTo>
                    <a:pt x="996315" y="1339215"/>
                  </a:lnTo>
                  <a:lnTo>
                    <a:pt x="989648" y="1337310"/>
                  </a:lnTo>
                  <a:lnTo>
                    <a:pt x="983933" y="1337310"/>
                  </a:lnTo>
                  <a:lnTo>
                    <a:pt x="981075" y="1338263"/>
                  </a:lnTo>
                  <a:lnTo>
                    <a:pt x="978218" y="1340168"/>
                  </a:lnTo>
                  <a:lnTo>
                    <a:pt x="976313" y="1343978"/>
                  </a:lnTo>
                  <a:lnTo>
                    <a:pt x="974408" y="1346835"/>
                  </a:lnTo>
                  <a:lnTo>
                    <a:pt x="974408" y="1353503"/>
                  </a:lnTo>
                  <a:lnTo>
                    <a:pt x="976313" y="1362075"/>
                  </a:lnTo>
                  <a:lnTo>
                    <a:pt x="984885" y="1397318"/>
                  </a:lnTo>
                  <a:lnTo>
                    <a:pt x="984885" y="1403985"/>
                  </a:lnTo>
                  <a:lnTo>
                    <a:pt x="985838" y="1418273"/>
                  </a:lnTo>
                  <a:lnTo>
                    <a:pt x="983933" y="1440180"/>
                  </a:lnTo>
                  <a:lnTo>
                    <a:pt x="985838" y="1449705"/>
                  </a:lnTo>
                  <a:lnTo>
                    <a:pt x="993458" y="1468755"/>
                  </a:lnTo>
                  <a:lnTo>
                    <a:pt x="962978" y="1472565"/>
                  </a:lnTo>
                  <a:lnTo>
                    <a:pt x="952500" y="1479232"/>
                  </a:lnTo>
                  <a:lnTo>
                    <a:pt x="948690" y="1483995"/>
                  </a:lnTo>
                  <a:lnTo>
                    <a:pt x="943928" y="1485900"/>
                  </a:lnTo>
                  <a:lnTo>
                    <a:pt x="924878" y="1487805"/>
                  </a:lnTo>
                  <a:lnTo>
                    <a:pt x="918210" y="1486853"/>
                  </a:lnTo>
                  <a:lnTo>
                    <a:pt x="914400" y="1484948"/>
                  </a:lnTo>
                  <a:lnTo>
                    <a:pt x="912495" y="1483043"/>
                  </a:lnTo>
                  <a:lnTo>
                    <a:pt x="909638" y="1478280"/>
                  </a:lnTo>
                  <a:lnTo>
                    <a:pt x="906780" y="1474470"/>
                  </a:lnTo>
                  <a:lnTo>
                    <a:pt x="898208" y="1467803"/>
                  </a:lnTo>
                  <a:lnTo>
                    <a:pt x="875348" y="1454468"/>
                  </a:lnTo>
                  <a:lnTo>
                    <a:pt x="866775" y="1451610"/>
                  </a:lnTo>
                  <a:lnTo>
                    <a:pt x="862013" y="1451610"/>
                  </a:lnTo>
                  <a:lnTo>
                    <a:pt x="859155" y="1452563"/>
                  </a:lnTo>
                  <a:lnTo>
                    <a:pt x="850583" y="1458278"/>
                  </a:lnTo>
                  <a:lnTo>
                    <a:pt x="812483" y="1504950"/>
                  </a:lnTo>
                  <a:lnTo>
                    <a:pt x="803910" y="1519238"/>
                  </a:lnTo>
                  <a:lnTo>
                    <a:pt x="802958" y="1522095"/>
                  </a:lnTo>
                  <a:lnTo>
                    <a:pt x="803910" y="1524953"/>
                  </a:lnTo>
                  <a:lnTo>
                    <a:pt x="804863" y="1525905"/>
                  </a:lnTo>
                  <a:lnTo>
                    <a:pt x="809625" y="1529715"/>
                  </a:lnTo>
                  <a:lnTo>
                    <a:pt x="809625" y="1532573"/>
                  </a:lnTo>
                  <a:lnTo>
                    <a:pt x="808673" y="1535430"/>
                  </a:lnTo>
                  <a:lnTo>
                    <a:pt x="799148" y="1542098"/>
                  </a:lnTo>
                  <a:lnTo>
                    <a:pt x="795338" y="1544003"/>
                  </a:lnTo>
                  <a:lnTo>
                    <a:pt x="791528" y="1544003"/>
                  </a:lnTo>
                  <a:lnTo>
                    <a:pt x="788670" y="1542098"/>
                  </a:lnTo>
                  <a:lnTo>
                    <a:pt x="784860" y="1538288"/>
                  </a:lnTo>
                  <a:lnTo>
                    <a:pt x="779145" y="1535430"/>
                  </a:lnTo>
                  <a:lnTo>
                    <a:pt x="777240" y="1536382"/>
                  </a:lnTo>
                  <a:lnTo>
                    <a:pt x="775335" y="1538288"/>
                  </a:lnTo>
                  <a:lnTo>
                    <a:pt x="770573" y="1543050"/>
                  </a:lnTo>
                  <a:lnTo>
                    <a:pt x="765810" y="1546860"/>
                  </a:lnTo>
                  <a:lnTo>
                    <a:pt x="762953" y="1546860"/>
                  </a:lnTo>
                  <a:lnTo>
                    <a:pt x="761048" y="1545907"/>
                  </a:lnTo>
                  <a:lnTo>
                    <a:pt x="755333" y="1540193"/>
                  </a:lnTo>
                  <a:lnTo>
                    <a:pt x="754380" y="1538288"/>
                  </a:lnTo>
                  <a:lnTo>
                    <a:pt x="756285" y="1533525"/>
                  </a:lnTo>
                  <a:lnTo>
                    <a:pt x="770573" y="1517332"/>
                  </a:lnTo>
                  <a:lnTo>
                    <a:pt x="772478" y="1512570"/>
                  </a:lnTo>
                  <a:lnTo>
                    <a:pt x="770573" y="1508760"/>
                  </a:lnTo>
                  <a:lnTo>
                    <a:pt x="762000" y="1499235"/>
                  </a:lnTo>
                  <a:lnTo>
                    <a:pt x="753428" y="1492568"/>
                  </a:lnTo>
                  <a:lnTo>
                    <a:pt x="751523" y="1490663"/>
                  </a:lnTo>
                  <a:lnTo>
                    <a:pt x="751523" y="1487805"/>
                  </a:lnTo>
                  <a:lnTo>
                    <a:pt x="753428" y="1483043"/>
                  </a:lnTo>
                  <a:lnTo>
                    <a:pt x="760095" y="1469707"/>
                  </a:lnTo>
                  <a:lnTo>
                    <a:pt x="762000" y="1463993"/>
                  </a:lnTo>
                  <a:lnTo>
                    <a:pt x="760095" y="1459230"/>
                  </a:lnTo>
                  <a:lnTo>
                    <a:pt x="753428" y="1451610"/>
                  </a:lnTo>
                  <a:lnTo>
                    <a:pt x="716280" y="1420178"/>
                  </a:lnTo>
                  <a:lnTo>
                    <a:pt x="702945" y="1406843"/>
                  </a:lnTo>
                  <a:lnTo>
                    <a:pt x="682943" y="1392555"/>
                  </a:lnTo>
                  <a:lnTo>
                    <a:pt x="681038" y="1390650"/>
                  </a:lnTo>
                  <a:lnTo>
                    <a:pt x="680085" y="1387793"/>
                  </a:lnTo>
                  <a:lnTo>
                    <a:pt x="681038" y="1384935"/>
                  </a:lnTo>
                  <a:lnTo>
                    <a:pt x="682943" y="1379220"/>
                  </a:lnTo>
                  <a:lnTo>
                    <a:pt x="684848" y="1377315"/>
                  </a:lnTo>
                  <a:lnTo>
                    <a:pt x="695325" y="1369695"/>
                  </a:lnTo>
                  <a:lnTo>
                    <a:pt x="698183" y="1366838"/>
                  </a:lnTo>
                  <a:lnTo>
                    <a:pt x="701040" y="1363028"/>
                  </a:lnTo>
                  <a:lnTo>
                    <a:pt x="700088" y="1359218"/>
                  </a:lnTo>
                  <a:lnTo>
                    <a:pt x="697230" y="1355407"/>
                  </a:lnTo>
                  <a:lnTo>
                    <a:pt x="682943" y="1344930"/>
                  </a:lnTo>
                  <a:lnTo>
                    <a:pt x="680085" y="1342073"/>
                  </a:lnTo>
                  <a:lnTo>
                    <a:pt x="677228" y="1335405"/>
                  </a:lnTo>
                  <a:lnTo>
                    <a:pt x="673418" y="1331595"/>
                  </a:lnTo>
                  <a:lnTo>
                    <a:pt x="668655" y="1327785"/>
                  </a:lnTo>
                  <a:lnTo>
                    <a:pt x="657225" y="1321118"/>
                  </a:lnTo>
                  <a:lnTo>
                    <a:pt x="652463" y="1317307"/>
                  </a:lnTo>
                  <a:lnTo>
                    <a:pt x="650558" y="1313498"/>
                  </a:lnTo>
                  <a:lnTo>
                    <a:pt x="650558" y="1309688"/>
                  </a:lnTo>
                  <a:lnTo>
                    <a:pt x="648653" y="1305878"/>
                  </a:lnTo>
                  <a:lnTo>
                    <a:pt x="643890" y="1303020"/>
                  </a:lnTo>
                  <a:lnTo>
                    <a:pt x="630555" y="1299210"/>
                  </a:lnTo>
                  <a:lnTo>
                    <a:pt x="625793" y="1296353"/>
                  </a:lnTo>
                  <a:lnTo>
                    <a:pt x="617220" y="1288732"/>
                  </a:lnTo>
                  <a:lnTo>
                    <a:pt x="613410" y="1285875"/>
                  </a:lnTo>
                  <a:lnTo>
                    <a:pt x="610553" y="1285875"/>
                  </a:lnTo>
                  <a:lnTo>
                    <a:pt x="593408" y="1286828"/>
                  </a:lnTo>
                  <a:lnTo>
                    <a:pt x="590550" y="1284923"/>
                  </a:lnTo>
                  <a:lnTo>
                    <a:pt x="590550" y="1283018"/>
                  </a:lnTo>
                  <a:lnTo>
                    <a:pt x="591503" y="1281113"/>
                  </a:lnTo>
                  <a:lnTo>
                    <a:pt x="597218" y="1275398"/>
                  </a:lnTo>
                  <a:lnTo>
                    <a:pt x="610553" y="1267778"/>
                  </a:lnTo>
                  <a:lnTo>
                    <a:pt x="614363" y="1263968"/>
                  </a:lnTo>
                  <a:lnTo>
                    <a:pt x="620078" y="1253490"/>
                  </a:lnTo>
                  <a:lnTo>
                    <a:pt x="621983" y="1248728"/>
                  </a:lnTo>
                  <a:lnTo>
                    <a:pt x="620078" y="1244918"/>
                  </a:lnTo>
                  <a:lnTo>
                    <a:pt x="610553" y="1233488"/>
                  </a:lnTo>
                  <a:lnTo>
                    <a:pt x="606743" y="1228725"/>
                  </a:lnTo>
                  <a:lnTo>
                    <a:pt x="606743" y="1225868"/>
                  </a:lnTo>
                  <a:lnTo>
                    <a:pt x="606743" y="1219200"/>
                  </a:lnTo>
                  <a:lnTo>
                    <a:pt x="604838" y="1213485"/>
                  </a:lnTo>
                  <a:lnTo>
                    <a:pt x="600075" y="1206818"/>
                  </a:lnTo>
                  <a:lnTo>
                    <a:pt x="585788" y="1193482"/>
                  </a:lnTo>
                  <a:lnTo>
                    <a:pt x="579120" y="1188720"/>
                  </a:lnTo>
                  <a:lnTo>
                    <a:pt x="574358" y="1187768"/>
                  </a:lnTo>
                  <a:lnTo>
                    <a:pt x="567690" y="1191578"/>
                  </a:lnTo>
                  <a:lnTo>
                    <a:pt x="542925" y="1201103"/>
                  </a:lnTo>
                  <a:lnTo>
                    <a:pt x="533400" y="1205865"/>
                  </a:lnTo>
                  <a:lnTo>
                    <a:pt x="524828" y="1212532"/>
                  </a:lnTo>
                  <a:lnTo>
                    <a:pt x="522923" y="1213485"/>
                  </a:lnTo>
                  <a:lnTo>
                    <a:pt x="518160" y="1215390"/>
                  </a:lnTo>
                  <a:lnTo>
                    <a:pt x="515303" y="1215390"/>
                  </a:lnTo>
                  <a:lnTo>
                    <a:pt x="510540" y="1217295"/>
                  </a:lnTo>
                  <a:lnTo>
                    <a:pt x="505778" y="1221105"/>
                  </a:lnTo>
                  <a:lnTo>
                    <a:pt x="501968" y="1221105"/>
                  </a:lnTo>
                  <a:lnTo>
                    <a:pt x="496253" y="1221105"/>
                  </a:lnTo>
                  <a:lnTo>
                    <a:pt x="491490" y="1217295"/>
                  </a:lnTo>
                  <a:lnTo>
                    <a:pt x="480060" y="1212532"/>
                  </a:lnTo>
                  <a:lnTo>
                    <a:pt x="458153" y="1205865"/>
                  </a:lnTo>
                  <a:lnTo>
                    <a:pt x="454343" y="1205865"/>
                  </a:lnTo>
                  <a:lnTo>
                    <a:pt x="449580" y="1208723"/>
                  </a:lnTo>
                  <a:lnTo>
                    <a:pt x="446723" y="1210628"/>
                  </a:lnTo>
                  <a:lnTo>
                    <a:pt x="441960" y="1210628"/>
                  </a:lnTo>
                  <a:lnTo>
                    <a:pt x="438150" y="1208723"/>
                  </a:lnTo>
                  <a:lnTo>
                    <a:pt x="433388" y="1203960"/>
                  </a:lnTo>
                  <a:lnTo>
                    <a:pt x="429578" y="1202055"/>
                  </a:lnTo>
                  <a:lnTo>
                    <a:pt x="425768" y="1201103"/>
                  </a:lnTo>
                  <a:lnTo>
                    <a:pt x="409575" y="1202055"/>
                  </a:lnTo>
                  <a:lnTo>
                    <a:pt x="406718" y="1201103"/>
                  </a:lnTo>
                  <a:lnTo>
                    <a:pt x="403860" y="1199198"/>
                  </a:lnTo>
                  <a:lnTo>
                    <a:pt x="401003" y="1196340"/>
                  </a:lnTo>
                  <a:lnTo>
                    <a:pt x="392430" y="1188720"/>
                  </a:lnTo>
                  <a:lnTo>
                    <a:pt x="388620" y="1187768"/>
                  </a:lnTo>
                  <a:lnTo>
                    <a:pt x="385763" y="1188720"/>
                  </a:lnTo>
                  <a:lnTo>
                    <a:pt x="381000" y="1190625"/>
                  </a:lnTo>
                  <a:lnTo>
                    <a:pt x="378143" y="1191578"/>
                  </a:lnTo>
                  <a:lnTo>
                    <a:pt x="351473" y="1186815"/>
                  </a:lnTo>
                  <a:lnTo>
                    <a:pt x="348615" y="1186815"/>
                  </a:lnTo>
                  <a:lnTo>
                    <a:pt x="338138" y="1189673"/>
                  </a:lnTo>
                  <a:lnTo>
                    <a:pt x="331470" y="1189673"/>
                  </a:lnTo>
                  <a:lnTo>
                    <a:pt x="327660" y="1188720"/>
                  </a:lnTo>
                  <a:lnTo>
                    <a:pt x="323850" y="1187768"/>
                  </a:lnTo>
                  <a:lnTo>
                    <a:pt x="313373" y="1175385"/>
                  </a:lnTo>
                  <a:lnTo>
                    <a:pt x="304800" y="1168718"/>
                  </a:lnTo>
                  <a:lnTo>
                    <a:pt x="274320" y="1150620"/>
                  </a:lnTo>
                  <a:lnTo>
                    <a:pt x="266700" y="1143000"/>
                  </a:lnTo>
                  <a:lnTo>
                    <a:pt x="257175" y="1130618"/>
                  </a:lnTo>
                  <a:lnTo>
                    <a:pt x="255270" y="1127760"/>
                  </a:lnTo>
                  <a:lnTo>
                    <a:pt x="240983" y="1118235"/>
                  </a:lnTo>
                  <a:lnTo>
                    <a:pt x="238125" y="1115378"/>
                  </a:lnTo>
                  <a:lnTo>
                    <a:pt x="236220" y="1111568"/>
                  </a:lnTo>
                  <a:lnTo>
                    <a:pt x="233363" y="1106805"/>
                  </a:lnTo>
                  <a:lnTo>
                    <a:pt x="199073" y="1079182"/>
                  </a:lnTo>
                  <a:lnTo>
                    <a:pt x="197168" y="1076325"/>
                  </a:lnTo>
                  <a:lnTo>
                    <a:pt x="195263" y="1068705"/>
                  </a:lnTo>
                  <a:lnTo>
                    <a:pt x="192405" y="1064895"/>
                  </a:lnTo>
                  <a:lnTo>
                    <a:pt x="188595" y="1061085"/>
                  </a:lnTo>
                  <a:lnTo>
                    <a:pt x="173355" y="1049655"/>
                  </a:lnTo>
                  <a:lnTo>
                    <a:pt x="163830" y="1045845"/>
                  </a:lnTo>
                  <a:lnTo>
                    <a:pt x="160973" y="1044893"/>
                  </a:lnTo>
                  <a:lnTo>
                    <a:pt x="151448" y="1044893"/>
                  </a:lnTo>
                  <a:lnTo>
                    <a:pt x="138113" y="1042035"/>
                  </a:lnTo>
                  <a:lnTo>
                    <a:pt x="134303" y="1042035"/>
                  </a:lnTo>
                  <a:lnTo>
                    <a:pt x="122873" y="1044893"/>
                  </a:lnTo>
                  <a:lnTo>
                    <a:pt x="117158" y="1043940"/>
                  </a:lnTo>
                  <a:lnTo>
                    <a:pt x="113348" y="1042035"/>
                  </a:lnTo>
                  <a:lnTo>
                    <a:pt x="108585" y="1038225"/>
                  </a:lnTo>
                  <a:lnTo>
                    <a:pt x="104775" y="1037272"/>
                  </a:lnTo>
                  <a:lnTo>
                    <a:pt x="101918" y="1037272"/>
                  </a:lnTo>
                  <a:lnTo>
                    <a:pt x="100013" y="1038225"/>
                  </a:lnTo>
                  <a:lnTo>
                    <a:pt x="93345" y="1040130"/>
                  </a:lnTo>
                  <a:lnTo>
                    <a:pt x="75248" y="1036320"/>
                  </a:lnTo>
                  <a:lnTo>
                    <a:pt x="77153" y="1031557"/>
                  </a:lnTo>
                  <a:lnTo>
                    <a:pt x="78105" y="1025843"/>
                  </a:lnTo>
                  <a:lnTo>
                    <a:pt x="77153" y="1016318"/>
                  </a:lnTo>
                  <a:lnTo>
                    <a:pt x="74295" y="1006793"/>
                  </a:lnTo>
                  <a:lnTo>
                    <a:pt x="72390" y="998220"/>
                  </a:lnTo>
                  <a:lnTo>
                    <a:pt x="70485" y="993457"/>
                  </a:lnTo>
                  <a:lnTo>
                    <a:pt x="60008" y="975360"/>
                  </a:lnTo>
                  <a:lnTo>
                    <a:pt x="59055" y="972503"/>
                  </a:lnTo>
                  <a:lnTo>
                    <a:pt x="59055" y="969645"/>
                  </a:lnTo>
                  <a:lnTo>
                    <a:pt x="59055" y="964882"/>
                  </a:lnTo>
                  <a:lnTo>
                    <a:pt x="60960" y="957263"/>
                  </a:lnTo>
                  <a:lnTo>
                    <a:pt x="64770" y="949643"/>
                  </a:lnTo>
                  <a:lnTo>
                    <a:pt x="69533" y="942022"/>
                  </a:lnTo>
                  <a:lnTo>
                    <a:pt x="96203" y="912495"/>
                  </a:lnTo>
                  <a:lnTo>
                    <a:pt x="100965" y="910590"/>
                  </a:lnTo>
                  <a:lnTo>
                    <a:pt x="103823" y="909638"/>
                  </a:lnTo>
                  <a:lnTo>
                    <a:pt x="106680" y="910590"/>
                  </a:lnTo>
                  <a:lnTo>
                    <a:pt x="111443" y="913447"/>
                  </a:lnTo>
                  <a:lnTo>
                    <a:pt x="116205" y="920115"/>
                  </a:lnTo>
                  <a:lnTo>
                    <a:pt x="121920" y="924878"/>
                  </a:lnTo>
                  <a:lnTo>
                    <a:pt x="127635" y="927735"/>
                  </a:lnTo>
                  <a:lnTo>
                    <a:pt x="131445" y="928688"/>
                  </a:lnTo>
                  <a:lnTo>
                    <a:pt x="182880" y="933450"/>
                  </a:lnTo>
                  <a:lnTo>
                    <a:pt x="194310" y="931545"/>
                  </a:lnTo>
                  <a:lnTo>
                    <a:pt x="221933" y="917257"/>
                  </a:lnTo>
                  <a:lnTo>
                    <a:pt x="230505" y="910590"/>
                  </a:lnTo>
                  <a:lnTo>
                    <a:pt x="246698" y="892493"/>
                  </a:lnTo>
                  <a:lnTo>
                    <a:pt x="260033" y="870585"/>
                  </a:lnTo>
                  <a:lnTo>
                    <a:pt x="273368" y="852488"/>
                  </a:lnTo>
                  <a:lnTo>
                    <a:pt x="274320" y="848678"/>
                  </a:lnTo>
                  <a:lnTo>
                    <a:pt x="273368" y="844868"/>
                  </a:lnTo>
                  <a:lnTo>
                    <a:pt x="267653" y="837247"/>
                  </a:lnTo>
                  <a:lnTo>
                    <a:pt x="267653" y="833438"/>
                  </a:lnTo>
                  <a:lnTo>
                    <a:pt x="269558" y="829628"/>
                  </a:lnTo>
                  <a:lnTo>
                    <a:pt x="269558" y="826770"/>
                  </a:lnTo>
                  <a:lnTo>
                    <a:pt x="268605" y="823913"/>
                  </a:lnTo>
                  <a:lnTo>
                    <a:pt x="264795" y="821055"/>
                  </a:lnTo>
                  <a:lnTo>
                    <a:pt x="258128" y="817245"/>
                  </a:lnTo>
                  <a:lnTo>
                    <a:pt x="255270" y="814388"/>
                  </a:lnTo>
                  <a:lnTo>
                    <a:pt x="254318" y="808672"/>
                  </a:lnTo>
                  <a:lnTo>
                    <a:pt x="250508" y="801053"/>
                  </a:lnTo>
                  <a:lnTo>
                    <a:pt x="248603" y="796290"/>
                  </a:lnTo>
                  <a:lnTo>
                    <a:pt x="248603" y="790575"/>
                  </a:lnTo>
                  <a:lnTo>
                    <a:pt x="249555" y="786765"/>
                  </a:lnTo>
                  <a:lnTo>
                    <a:pt x="252413" y="780097"/>
                  </a:lnTo>
                  <a:lnTo>
                    <a:pt x="253365" y="778193"/>
                  </a:lnTo>
                  <a:lnTo>
                    <a:pt x="255270" y="776288"/>
                  </a:lnTo>
                  <a:lnTo>
                    <a:pt x="263843" y="774383"/>
                  </a:lnTo>
                  <a:lnTo>
                    <a:pt x="268605" y="772478"/>
                  </a:lnTo>
                  <a:lnTo>
                    <a:pt x="271463" y="771525"/>
                  </a:lnTo>
                  <a:lnTo>
                    <a:pt x="274320" y="772478"/>
                  </a:lnTo>
                  <a:lnTo>
                    <a:pt x="304800" y="780097"/>
                  </a:lnTo>
                  <a:lnTo>
                    <a:pt x="307658" y="780097"/>
                  </a:lnTo>
                  <a:lnTo>
                    <a:pt x="309563" y="778193"/>
                  </a:lnTo>
                  <a:lnTo>
                    <a:pt x="312420" y="773430"/>
                  </a:lnTo>
                  <a:lnTo>
                    <a:pt x="314325" y="771525"/>
                  </a:lnTo>
                  <a:lnTo>
                    <a:pt x="317183" y="770572"/>
                  </a:lnTo>
                  <a:lnTo>
                    <a:pt x="325755" y="769620"/>
                  </a:lnTo>
                  <a:lnTo>
                    <a:pt x="328613" y="768668"/>
                  </a:lnTo>
                  <a:lnTo>
                    <a:pt x="329565" y="767715"/>
                  </a:lnTo>
                  <a:lnTo>
                    <a:pt x="330518" y="763905"/>
                  </a:lnTo>
                  <a:lnTo>
                    <a:pt x="328613" y="759143"/>
                  </a:lnTo>
                  <a:lnTo>
                    <a:pt x="322898" y="753428"/>
                  </a:lnTo>
                  <a:lnTo>
                    <a:pt x="311468" y="746760"/>
                  </a:lnTo>
                  <a:lnTo>
                    <a:pt x="302895" y="737235"/>
                  </a:lnTo>
                  <a:lnTo>
                    <a:pt x="292418" y="731520"/>
                  </a:lnTo>
                  <a:lnTo>
                    <a:pt x="290513" y="728663"/>
                  </a:lnTo>
                  <a:lnTo>
                    <a:pt x="289560" y="722947"/>
                  </a:lnTo>
                  <a:lnTo>
                    <a:pt x="290513" y="721043"/>
                  </a:lnTo>
                  <a:lnTo>
                    <a:pt x="293370" y="720090"/>
                  </a:lnTo>
                  <a:lnTo>
                    <a:pt x="318135" y="720090"/>
                  </a:lnTo>
                  <a:lnTo>
                    <a:pt x="329565" y="718185"/>
                  </a:lnTo>
                  <a:lnTo>
                    <a:pt x="334328" y="715328"/>
                  </a:lnTo>
                  <a:lnTo>
                    <a:pt x="332423" y="708660"/>
                  </a:lnTo>
                  <a:lnTo>
                    <a:pt x="328613" y="697230"/>
                  </a:lnTo>
                  <a:lnTo>
                    <a:pt x="304800" y="652463"/>
                  </a:lnTo>
                  <a:lnTo>
                    <a:pt x="302895" y="647700"/>
                  </a:lnTo>
                  <a:lnTo>
                    <a:pt x="300990" y="641985"/>
                  </a:lnTo>
                  <a:lnTo>
                    <a:pt x="301943" y="637222"/>
                  </a:lnTo>
                  <a:lnTo>
                    <a:pt x="302895" y="635318"/>
                  </a:lnTo>
                  <a:lnTo>
                    <a:pt x="307658" y="632460"/>
                  </a:lnTo>
                  <a:lnTo>
                    <a:pt x="309563" y="631508"/>
                  </a:lnTo>
                  <a:lnTo>
                    <a:pt x="309563" y="628650"/>
                  </a:lnTo>
                  <a:lnTo>
                    <a:pt x="307658" y="617220"/>
                  </a:lnTo>
                  <a:lnTo>
                    <a:pt x="306705" y="615315"/>
                  </a:lnTo>
                  <a:lnTo>
                    <a:pt x="304800" y="612458"/>
                  </a:lnTo>
                  <a:lnTo>
                    <a:pt x="300990" y="611505"/>
                  </a:lnTo>
                  <a:lnTo>
                    <a:pt x="284798" y="611505"/>
                  </a:lnTo>
                  <a:lnTo>
                    <a:pt x="281940" y="612458"/>
                  </a:lnTo>
                  <a:lnTo>
                    <a:pt x="280035" y="614363"/>
                  </a:lnTo>
                  <a:lnTo>
                    <a:pt x="278130" y="616268"/>
                  </a:lnTo>
                  <a:lnTo>
                    <a:pt x="276225" y="622935"/>
                  </a:lnTo>
                  <a:lnTo>
                    <a:pt x="275273" y="625793"/>
                  </a:lnTo>
                  <a:lnTo>
                    <a:pt x="273368" y="627697"/>
                  </a:lnTo>
                  <a:lnTo>
                    <a:pt x="270510" y="627697"/>
                  </a:lnTo>
                  <a:lnTo>
                    <a:pt x="263843" y="626745"/>
                  </a:lnTo>
                  <a:lnTo>
                    <a:pt x="237173" y="618172"/>
                  </a:lnTo>
                  <a:lnTo>
                    <a:pt x="234315" y="617220"/>
                  </a:lnTo>
                  <a:lnTo>
                    <a:pt x="232410" y="614363"/>
                  </a:lnTo>
                  <a:lnTo>
                    <a:pt x="232410" y="610553"/>
                  </a:lnTo>
                  <a:lnTo>
                    <a:pt x="231458" y="607695"/>
                  </a:lnTo>
                  <a:lnTo>
                    <a:pt x="229553" y="604838"/>
                  </a:lnTo>
                  <a:lnTo>
                    <a:pt x="215265" y="601980"/>
                  </a:lnTo>
                  <a:lnTo>
                    <a:pt x="211455" y="601028"/>
                  </a:lnTo>
                  <a:lnTo>
                    <a:pt x="209550" y="598170"/>
                  </a:lnTo>
                  <a:lnTo>
                    <a:pt x="208598" y="592455"/>
                  </a:lnTo>
                  <a:lnTo>
                    <a:pt x="207645" y="581978"/>
                  </a:lnTo>
                  <a:lnTo>
                    <a:pt x="206693" y="579120"/>
                  </a:lnTo>
                  <a:lnTo>
                    <a:pt x="204788" y="576263"/>
                  </a:lnTo>
                  <a:lnTo>
                    <a:pt x="194310" y="568643"/>
                  </a:lnTo>
                  <a:lnTo>
                    <a:pt x="192405" y="566738"/>
                  </a:lnTo>
                  <a:lnTo>
                    <a:pt x="190500" y="562928"/>
                  </a:lnTo>
                  <a:lnTo>
                    <a:pt x="187643" y="558165"/>
                  </a:lnTo>
                  <a:lnTo>
                    <a:pt x="184785" y="544830"/>
                  </a:lnTo>
                  <a:lnTo>
                    <a:pt x="183833" y="541020"/>
                  </a:lnTo>
                  <a:lnTo>
                    <a:pt x="183833" y="528638"/>
                  </a:lnTo>
                  <a:lnTo>
                    <a:pt x="185738" y="505778"/>
                  </a:lnTo>
                  <a:lnTo>
                    <a:pt x="184785" y="499110"/>
                  </a:lnTo>
                  <a:lnTo>
                    <a:pt x="183833" y="493395"/>
                  </a:lnTo>
                  <a:lnTo>
                    <a:pt x="180023" y="486728"/>
                  </a:lnTo>
                  <a:lnTo>
                    <a:pt x="171450" y="478155"/>
                  </a:lnTo>
                  <a:lnTo>
                    <a:pt x="167640" y="476250"/>
                  </a:lnTo>
                  <a:lnTo>
                    <a:pt x="164783" y="475297"/>
                  </a:lnTo>
                  <a:lnTo>
                    <a:pt x="161925" y="474345"/>
                  </a:lnTo>
                  <a:lnTo>
                    <a:pt x="156210" y="476250"/>
                  </a:lnTo>
                  <a:lnTo>
                    <a:pt x="149543" y="481013"/>
                  </a:lnTo>
                  <a:lnTo>
                    <a:pt x="143828" y="481965"/>
                  </a:lnTo>
                  <a:lnTo>
                    <a:pt x="138113" y="481013"/>
                  </a:lnTo>
                  <a:lnTo>
                    <a:pt x="104775" y="464820"/>
                  </a:lnTo>
                  <a:lnTo>
                    <a:pt x="101918" y="461963"/>
                  </a:lnTo>
                  <a:lnTo>
                    <a:pt x="95250" y="451485"/>
                  </a:lnTo>
                  <a:lnTo>
                    <a:pt x="91440" y="449580"/>
                  </a:lnTo>
                  <a:lnTo>
                    <a:pt x="87630" y="447675"/>
                  </a:lnTo>
                  <a:lnTo>
                    <a:pt x="65723" y="447675"/>
                  </a:lnTo>
                  <a:lnTo>
                    <a:pt x="59055" y="446722"/>
                  </a:lnTo>
                  <a:lnTo>
                    <a:pt x="53340" y="443865"/>
                  </a:lnTo>
                  <a:lnTo>
                    <a:pt x="49530" y="440055"/>
                  </a:lnTo>
                  <a:lnTo>
                    <a:pt x="44768" y="434340"/>
                  </a:lnTo>
                  <a:lnTo>
                    <a:pt x="40005" y="430530"/>
                  </a:lnTo>
                  <a:lnTo>
                    <a:pt x="29528" y="427672"/>
                  </a:lnTo>
                  <a:lnTo>
                    <a:pt x="26670" y="426720"/>
                  </a:lnTo>
                  <a:lnTo>
                    <a:pt x="24765" y="423863"/>
                  </a:lnTo>
                  <a:lnTo>
                    <a:pt x="19050" y="413385"/>
                  </a:lnTo>
                  <a:lnTo>
                    <a:pt x="17145" y="411480"/>
                  </a:lnTo>
                  <a:lnTo>
                    <a:pt x="14288" y="408622"/>
                  </a:lnTo>
                  <a:lnTo>
                    <a:pt x="11430" y="403860"/>
                  </a:lnTo>
                  <a:lnTo>
                    <a:pt x="8573" y="381000"/>
                  </a:lnTo>
                  <a:lnTo>
                    <a:pt x="7620" y="378142"/>
                  </a:lnTo>
                  <a:lnTo>
                    <a:pt x="0" y="356235"/>
                  </a:lnTo>
                  <a:lnTo>
                    <a:pt x="0" y="354330"/>
                  </a:lnTo>
                  <a:lnTo>
                    <a:pt x="5715" y="345758"/>
                  </a:lnTo>
                  <a:lnTo>
                    <a:pt x="10478" y="338138"/>
                  </a:lnTo>
                  <a:lnTo>
                    <a:pt x="34290" y="315278"/>
                  </a:lnTo>
                  <a:lnTo>
                    <a:pt x="38100" y="310515"/>
                  </a:lnTo>
                  <a:lnTo>
                    <a:pt x="39053" y="303847"/>
                  </a:lnTo>
                  <a:lnTo>
                    <a:pt x="40005" y="292417"/>
                  </a:lnTo>
                  <a:lnTo>
                    <a:pt x="40005" y="247650"/>
                  </a:lnTo>
                  <a:lnTo>
                    <a:pt x="35243" y="236220"/>
                  </a:lnTo>
                  <a:lnTo>
                    <a:pt x="54293" y="225742"/>
                  </a:lnTo>
                  <a:lnTo>
                    <a:pt x="60960" y="219075"/>
                  </a:lnTo>
                  <a:lnTo>
                    <a:pt x="62865" y="211455"/>
                  </a:lnTo>
                  <a:lnTo>
                    <a:pt x="67628" y="200025"/>
                  </a:lnTo>
                  <a:lnTo>
                    <a:pt x="70485" y="198120"/>
                  </a:lnTo>
                  <a:lnTo>
                    <a:pt x="72390" y="198120"/>
                  </a:lnTo>
                  <a:lnTo>
                    <a:pt x="75248" y="201930"/>
                  </a:lnTo>
                  <a:lnTo>
                    <a:pt x="79058" y="205740"/>
                  </a:lnTo>
                  <a:lnTo>
                    <a:pt x="85725" y="211455"/>
                  </a:lnTo>
                  <a:lnTo>
                    <a:pt x="91440" y="214313"/>
                  </a:lnTo>
                  <a:lnTo>
                    <a:pt x="96203" y="216217"/>
                  </a:lnTo>
                  <a:lnTo>
                    <a:pt x="99060" y="215265"/>
                  </a:lnTo>
                  <a:lnTo>
                    <a:pt x="100965" y="212408"/>
                  </a:lnTo>
                  <a:lnTo>
                    <a:pt x="102870" y="206692"/>
                  </a:lnTo>
                  <a:lnTo>
                    <a:pt x="101918" y="201930"/>
                  </a:lnTo>
                  <a:lnTo>
                    <a:pt x="101918" y="198120"/>
                  </a:lnTo>
                  <a:lnTo>
                    <a:pt x="102870" y="193358"/>
                  </a:lnTo>
                  <a:lnTo>
                    <a:pt x="110490" y="183833"/>
                  </a:lnTo>
                  <a:lnTo>
                    <a:pt x="115253" y="180022"/>
                  </a:lnTo>
                  <a:lnTo>
                    <a:pt x="119063" y="179070"/>
                  </a:lnTo>
                  <a:lnTo>
                    <a:pt x="126683" y="184785"/>
                  </a:lnTo>
                  <a:lnTo>
                    <a:pt x="130493" y="185738"/>
                  </a:lnTo>
                  <a:lnTo>
                    <a:pt x="132398" y="184785"/>
                  </a:lnTo>
                  <a:lnTo>
                    <a:pt x="134303" y="182880"/>
                  </a:lnTo>
                  <a:lnTo>
                    <a:pt x="136208" y="175260"/>
                  </a:lnTo>
                  <a:lnTo>
                    <a:pt x="138113" y="171450"/>
                  </a:lnTo>
                  <a:lnTo>
                    <a:pt x="140970" y="166688"/>
                  </a:lnTo>
                  <a:lnTo>
                    <a:pt x="146685" y="159067"/>
                  </a:lnTo>
                  <a:lnTo>
                    <a:pt x="150495" y="156210"/>
                  </a:lnTo>
                  <a:lnTo>
                    <a:pt x="155258" y="154305"/>
                  </a:lnTo>
                  <a:lnTo>
                    <a:pt x="161925" y="155258"/>
                  </a:lnTo>
                  <a:lnTo>
                    <a:pt x="168593" y="156210"/>
                  </a:lnTo>
                  <a:lnTo>
                    <a:pt x="179070" y="161925"/>
                  </a:lnTo>
                  <a:lnTo>
                    <a:pt x="181928" y="163830"/>
                  </a:lnTo>
                  <a:lnTo>
                    <a:pt x="185738" y="164783"/>
                  </a:lnTo>
                  <a:lnTo>
                    <a:pt x="192405" y="165735"/>
                  </a:lnTo>
                  <a:lnTo>
                    <a:pt x="210503" y="161925"/>
                  </a:lnTo>
                  <a:lnTo>
                    <a:pt x="215265" y="160020"/>
                  </a:lnTo>
                  <a:lnTo>
                    <a:pt x="217170" y="158115"/>
                  </a:lnTo>
                  <a:lnTo>
                    <a:pt x="218123" y="155258"/>
                  </a:lnTo>
                  <a:lnTo>
                    <a:pt x="217170" y="149542"/>
                  </a:lnTo>
                  <a:lnTo>
                    <a:pt x="214313" y="141922"/>
                  </a:lnTo>
                  <a:lnTo>
                    <a:pt x="215265" y="138113"/>
                  </a:lnTo>
                  <a:lnTo>
                    <a:pt x="216218" y="135255"/>
                  </a:lnTo>
                  <a:lnTo>
                    <a:pt x="220028" y="129540"/>
                  </a:lnTo>
                  <a:lnTo>
                    <a:pt x="222885" y="127635"/>
                  </a:lnTo>
                  <a:lnTo>
                    <a:pt x="224790" y="126683"/>
                  </a:lnTo>
                  <a:lnTo>
                    <a:pt x="240983" y="130492"/>
                  </a:lnTo>
                  <a:lnTo>
                    <a:pt x="243840" y="130492"/>
                  </a:lnTo>
                  <a:lnTo>
                    <a:pt x="246698" y="128588"/>
                  </a:lnTo>
                  <a:lnTo>
                    <a:pt x="247650" y="126683"/>
                  </a:lnTo>
                  <a:lnTo>
                    <a:pt x="247650" y="124778"/>
                  </a:lnTo>
                  <a:lnTo>
                    <a:pt x="244793" y="120967"/>
                  </a:lnTo>
                  <a:lnTo>
                    <a:pt x="244793" y="118110"/>
                  </a:lnTo>
                  <a:lnTo>
                    <a:pt x="245745" y="114300"/>
                  </a:lnTo>
                  <a:lnTo>
                    <a:pt x="252413" y="107633"/>
                  </a:lnTo>
                  <a:lnTo>
                    <a:pt x="257175" y="105728"/>
                  </a:lnTo>
                  <a:lnTo>
                    <a:pt x="260985" y="104775"/>
                  </a:lnTo>
                  <a:lnTo>
                    <a:pt x="263843" y="105728"/>
                  </a:lnTo>
                  <a:lnTo>
                    <a:pt x="276225" y="113347"/>
                  </a:lnTo>
                  <a:lnTo>
                    <a:pt x="280035" y="115253"/>
                  </a:lnTo>
                  <a:lnTo>
                    <a:pt x="283845" y="115253"/>
                  </a:lnTo>
                  <a:lnTo>
                    <a:pt x="286703" y="114300"/>
                  </a:lnTo>
                  <a:lnTo>
                    <a:pt x="288608" y="112395"/>
                  </a:lnTo>
                  <a:lnTo>
                    <a:pt x="289560" y="109538"/>
                  </a:lnTo>
                  <a:lnTo>
                    <a:pt x="289560" y="105728"/>
                  </a:lnTo>
                  <a:lnTo>
                    <a:pt x="289560" y="93345"/>
                  </a:lnTo>
                  <a:lnTo>
                    <a:pt x="289560" y="89535"/>
                  </a:lnTo>
                  <a:lnTo>
                    <a:pt x="290513" y="84772"/>
                  </a:lnTo>
                  <a:lnTo>
                    <a:pt x="293370" y="82867"/>
                  </a:lnTo>
                  <a:lnTo>
                    <a:pt x="296228" y="80963"/>
                  </a:lnTo>
                  <a:lnTo>
                    <a:pt x="299085" y="80963"/>
                  </a:lnTo>
                  <a:lnTo>
                    <a:pt x="301943" y="81915"/>
                  </a:lnTo>
                  <a:lnTo>
                    <a:pt x="307658" y="84772"/>
                  </a:lnTo>
                  <a:lnTo>
                    <a:pt x="343853" y="107633"/>
                  </a:lnTo>
                  <a:lnTo>
                    <a:pt x="348615" y="108585"/>
                  </a:lnTo>
                  <a:lnTo>
                    <a:pt x="350520" y="107633"/>
                  </a:lnTo>
                  <a:lnTo>
                    <a:pt x="351473" y="105728"/>
                  </a:lnTo>
                  <a:lnTo>
                    <a:pt x="349568" y="103822"/>
                  </a:lnTo>
                  <a:lnTo>
                    <a:pt x="345758" y="99060"/>
                  </a:lnTo>
                  <a:lnTo>
                    <a:pt x="344805" y="97155"/>
                  </a:lnTo>
                  <a:lnTo>
                    <a:pt x="344805" y="93345"/>
                  </a:lnTo>
                  <a:lnTo>
                    <a:pt x="347663" y="91440"/>
                  </a:lnTo>
                  <a:lnTo>
                    <a:pt x="363855" y="95250"/>
                  </a:lnTo>
                  <a:lnTo>
                    <a:pt x="380048" y="93345"/>
                  </a:lnTo>
                  <a:lnTo>
                    <a:pt x="387668" y="89535"/>
                  </a:lnTo>
                  <a:lnTo>
                    <a:pt x="393383" y="88583"/>
                  </a:lnTo>
                  <a:lnTo>
                    <a:pt x="397193" y="87630"/>
                  </a:lnTo>
                  <a:lnTo>
                    <a:pt x="414338" y="92392"/>
                  </a:lnTo>
                  <a:lnTo>
                    <a:pt x="423863" y="94297"/>
                  </a:lnTo>
                  <a:lnTo>
                    <a:pt x="432435" y="93345"/>
                  </a:lnTo>
                  <a:lnTo>
                    <a:pt x="437198" y="92392"/>
                  </a:lnTo>
                  <a:lnTo>
                    <a:pt x="441008" y="91440"/>
                  </a:lnTo>
                  <a:lnTo>
                    <a:pt x="442913" y="89535"/>
                  </a:lnTo>
                  <a:lnTo>
                    <a:pt x="445770" y="83820"/>
                  </a:lnTo>
                  <a:lnTo>
                    <a:pt x="447675" y="77153"/>
                  </a:lnTo>
                  <a:lnTo>
                    <a:pt x="448628" y="72390"/>
                  </a:lnTo>
                  <a:lnTo>
                    <a:pt x="450533" y="71438"/>
                  </a:lnTo>
                  <a:lnTo>
                    <a:pt x="458153" y="62865"/>
                  </a:lnTo>
                  <a:lnTo>
                    <a:pt x="463868" y="52388"/>
                  </a:lnTo>
                  <a:lnTo>
                    <a:pt x="472440" y="41910"/>
                  </a:lnTo>
                  <a:lnTo>
                    <a:pt x="477203" y="40005"/>
                  </a:lnTo>
                  <a:lnTo>
                    <a:pt x="486728" y="39053"/>
                  </a:lnTo>
                  <a:lnTo>
                    <a:pt x="491490" y="37147"/>
                  </a:lnTo>
                  <a:lnTo>
                    <a:pt x="497205" y="31433"/>
                  </a:lnTo>
                  <a:lnTo>
                    <a:pt x="507683" y="16192"/>
                  </a:lnTo>
                  <a:lnTo>
                    <a:pt x="515303" y="10478"/>
                  </a:lnTo>
                  <a:lnTo>
                    <a:pt x="524828" y="7620"/>
                  </a:lnTo>
                  <a:lnTo>
                    <a:pt x="574358" y="1905"/>
                  </a:lnTo>
                  <a:lnTo>
                    <a:pt x="666750" y="9525"/>
                  </a:lnTo>
                  <a:lnTo>
                    <a:pt x="681038" y="17145"/>
                  </a:lnTo>
                  <a:lnTo>
                    <a:pt x="684848" y="32385"/>
                  </a:lnTo>
                  <a:lnTo>
                    <a:pt x="700088" y="40005"/>
                  </a:lnTo>
                  <a:lnTo>
                    <a:pt x="752475" y="124778"/>
                  </a:lnTo>
                  <a:lnTo>
                    <a:pt x="764858" y="130492"/>
                  </a:lnTo>
                  <a:lnTo>
                    <a:pt x="777240" y="129540"/>
                  </a:lnTo>
                  <a:lnTo>
                    <a:pt x="789623" y="124778"/>
                  </a:lnTo>
                  <a:lnTo>
                    <a:pt x="801053" y="116205"/>
                  </a:lnTo>
                  <a:lnTo>
                    <a:pt x="811530" y="105728"/>
                  </a:lnTo>
                  <a:lnTo>
                    <a:pt x="815340" y="103822"/>
                  </a:lnTo>
                  <a:lnTo>
                    <a:pt x="822008" y="103822"/>
                  </a:lnTo>
                  <a:lnTo>
                    <a:pt x="826770" y="105728"/>
                  </a:lnTo>
                  <a:lnTo>
                    <a:pt x="838200" y="111442"/>
                  </a:lnTo>
                  <a:lnTo>
                    <a:pt x="849630" y="114300"/>
                  </a:lnTo>
                  <a:lnTo>
                    <a:pt x="863918" y="124778"/>
                  </a:lnTo>
                  <a:lnTo>
                    <a:pt x="881063" y="128588"/>
                  </a:lnTo>
                  <a:lnTo>
                    <a:pt x="885825" y="130492"/>
                  </a:lnTo>
                  <a:lnTo>
                    <a:pt x="893445" y="136208"/>
                  </a:lnTo>
                  <a:lnTo>
                    <a:pt x="895350" y="138113"/>
                  </a:lnTo>
                  <a:lnTo>
                    <a:pt x="893445" y="141922"/>
                  </a:lnTo>
                  <a:lnTo>
                    <a:pt x="892493" y="160020"/>
                  </a:lnTo>
                  <a:lnTo>
                    <a:pt x="891540" y="167640"/>
                  </a:lnTo>
                  <a:lnTo>
                    <a:pt x="892493" y="175260"/>
                  </a:lnTo>
                  <a:lnTo>
                    <a:pt x="900113" y="181928"/>
                  </a:lnTo>
                  <a:lnTo>
                    <a:pt x="911543" y="185738"/>
                  </a:lnTo>
                  <a:lnTo>
                    <a:pt x="923925" y="187642"/>
                  </a:lnTo>
                  <a:lnTo>
                    <a:pt x="936308" y="186690"/>
                  </a:lnTo>
                  <a:lnTo>
                    <a:pt x="945833" y="180022"/>
                  </a:lnTo>
                  <a:lnTo>
                    <a:pt x="950595" y="173355"/>
                  </a:lnTo>
                  <a:lnTo>
                    <a:pt x="959168" y="155258"/>
                  </a:lnTo>
                  <a:lnTo>
                    <a:pt x="963930" y="147638"/>
                  </a:lnTo>
                  <a:lnTo>
                    <a:pt x="970598" y="141922"/>
                  </a:lnTo>
                  <a:lnTo>
                    <a:pt x="1058228" y="89535"/>
                  </a:lnTo>
                  <a:lnTo>
                    <a:pt x="1092518" y="77153"/>
                  </a:lnTo>
                  <a:lnTo>
                    <a:pt x="1127760" y="74295"/>
                  </a:lnTo>
                  <a:lnTo>
                    <a:pt x="1164908" y="80010"/>
                  </a:lnTo>
                  <a:lnTo>
                    <a:pt x="1242060" y="58103"/>
                  </a:lnTo>
                  <a:lnTo>
                    <a:pt x="1257300" y="45720"/>
                  </a:lnTo>
                  <a:lnTo>
                    <a:pt x="1288733" y="14288"/>
                  </a:lnTo>
                  <a:lnTo>
                    <a:pt x="1303973" y="7620"/>
                  </a:lnTo>
                  <a:lnTo>
                    <a:pt x="1357313" y="0"/>
                  </a:lnTo>
                  <a:lnTo>
                    <a:pt x="1367790" y="5715"/>
                  </a:lnTo>
                  <a:lnTo>
                    <a:pt x="1375410" y="27622"/>
                  </a:lnTo>
                  <a:lnTo>
                    <a:pt x="1383030" y="54292"/>
                  </a:lnTo>
                  <a:lnTo>
                    <a:pt x="1391603" y="76200"/>
                  </a:lnTo>
                  <a:lnTo>
                    <a:pt x="1437323" y="99060"/>
                  </a:lnTo>
                  <a:lnTo>
                    <a:pt x="1454468" y="117158"/>
                  </a:lnTo>
                  <a:lnTo>
                    <a:pt x="1455421" y="151447"/>
                  </a:lnTo>
                  <a:lnTo>
                    <a:pt x="1449705" y="170497"/>
                  </a:lnTo>
                  <a:lnTo>
                    <a:pt x="1448753" y="180022"/>
                  </a:lnTo>
                  <a:lnTo>
                    <a:pt x="1449705" y="188595"/>
                  </a:lnTo>
                  <a:lnTo>
                    <a:pt x="1452563" y="194310"/>
                  </a:lnTo>
                  <a:lnTo>
                    <a:pt x="1471613" y="213360"/>
                  </a:lnTo>
                  <a:lnTo>
                    <a:pt x="1522096" y="291465"/>
                  </a:lnTo>
                  <a:lnTo>
                    <a:pt x="1540193" y="304800"/>
                  </a:lnTo>
                  <a:lnTo>
                    <a:pt x="1582103" y="323850"/>
                  </a:lnTo>
                  <a:lnTo>
                    <a:pt x="1603058" y="337185"/>
                  </a:lnTo>
                  <a:lnTo>
                    <a:pt x="1621155" y="353378"/>
                  </a:lnTo>
                  <a:lnTo>
                    <a:pt x="1637348" y="374333"/>
                  </a:lnTo>
                  <a:lnTo>
                    <a:pt x="1654493" y="403860"/>
                  </a:lnTo>
                  <a:lnTo>
                    <a:pt x="1654493" y="405765"/>
                  </a:lnTo>
                  <a:lnTo>
                    <a:pt x="1663065" y="421005"/>
                  </a:lnTo>
                  <a:lnTo>
                    <a:pt x="1663065" y="433388"/>
                  </a:lnTo>
                  <a:lnTo>
                    <a:pt x="1665923" y="438150"/>
                  </a:lnTo>
                  <a:lnTo>
                    <a:pt x="1677353" y="43053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2" name="Полилиния: фигура 24">
              <a:extLst>
                <a:ext uri="{FF2B5EF4-FFF2-40B4-BE49-F238E27FC236}">
                  <a16:creationId xmlns:a16="http://schemas.microsoft.com/office/drawing/2014/main" id="{C31F9531-C569-696F-9C2C-2B2C8D66E6E8}"/>
                </a:ext>
              </a:extLst>
            </p:cNvPr>
            <p:cNvSpPr/>
            <p:nvPr/>
          </p:nvSpPr>
          <p:spPr>
            <a:xfrm>
              <a:off x="9629775" y="2190750"/>
              <a:ext cx="1219200" cy="1800225"/>
            </a:xfrm>
            <a:custGeom>
              <a:avLst/>
              <a:gdLst>
                <a:gd name="connsiteX0" fmla="*/ 626745 w 1219200"/>
                <a:gd name="connsiteY0" fmla="*/ 1772603 h 1800225"/>
                <a:gd name="connsiteX1" fmla="*/ 627698 w 1219200"/>
                <a:gd name="connsiteY1" fmla="*/ 1765935 h 1800225"/>
                <a:gd name="connsiteX2" fmla="*/ 637223 w 1219200"/>
                <a:gd name="connsiteY2" fmla="*/ 1724978 h 1800225"/>
                <a:gd name="connsiteX3" fmla="*/ 636270 w 1219200"/>
                <a:gd name="connsiteY3" fmla="*/ 1713548 h 1800225"/>
                <a:gd name="connsiteX4" fmla="*/ 631507 w 1219200"/>
                <a:gd name="connsiteY4" fmla="*/ 1710690 h 1800225"/>
                <a:gd name="connsiteX5" fmla="*/ 628650 w 1219200"/>
                <a:gd name="connsiteY5" fmla="*/ 1708785 h 1800225"/>
                <a:gd name="connsiteX6" fmla="*/ 626745 w 1219200"/>
                <a:gd name="connsiteY6" fmla="*/ 1704975 h 1800225"/>
                <a:gd name="connsiteX7" fmla="*/ 623888 w 1219200"/>
                <a:gd name="connsiteY7" fmla="*/ 1699260 h 1800225"/>
                <a:gd name="connsiteX8" fmla="*/ 623888 w 1219200"/>
                <a:gd name="connsiteY8" fmla="*/ 1692593 h 1800225"/>
                <a:gd name="connsiteX9" fmla="*/ 625793 w 1219200"/>
                <a:gd name="connsiteY9" fmla="*/ 1666875 h 1800225"/>
                <a:gd name="connsiteX10" fmla="*/ 623888 w 1219200"/>
                <a:gd name="connsiteY10" fmla="*/ 1659255 h 1800225"/>
                <a:gd name="connsiteX11" fmla="*/ 621982 w 1219200"/>
                <a:gd name="connsiteY11" fmla="*/ 1654493 h 1800225"/>
                <a:gd name="connsiteX12" fmla="*/ 572452 w 1219200"/>
                <a:gd name="connsiteY12" fmla="*/ 1643063 h 1800225"/>
                <a:gd name="connsiteX13" fmla="*/ 535305 w 1219200"/>
                <a:gd name="connsiteY13" fmla="*/ 1644015 h 1800225"/>
                <a:gd name="connsiteX14" fmla="*/ 530543 w 1219200"/>
                <a:gd name="connsiteY14" fmla="*/ 1642110 h 1800225"/>
                <a:gd name="connsiteX15" fmla="*/ 523875 w 1219200"/>
                <a:gd name="connsiteY15" fmla="*/ 1638300 h 1800225"/>
                <a:gd name="connsiteX16" fmla="*/ 510540 w 1219200"/>
                <a:gd name="connsiteY16" fmla="*/ 1625918 h 1800225"/>
                <a:gd name="connsiteX17" fmla="*/ 504825 w 1219200"/>
                <a:gd name="connsiteY17" fmla="*/ 1620203 h 1800225"/>
                <a:gd name="connsiteX18" fmla="*/ 501968 w 1219200"/>
                <a:gd name="connsiteY18" fmla="*/ 1615440 h 1800225"/>
                <a:gd name="connsiteX19" fmla="*/ 503873 w 1219200"/>
                <a:gd name="connsiteY19" fmla="*/ 1608773 h 1800225"/>
                <a:gd name="connsiteX20" fmla="*/ 507682 w 1219200"/>
                <a:gd name="connsiteY20" fmla="*/ 1600200 h 1800225"/>
                <a:gd name="connsiteX21" fmla="*/ 512445 w 1219200"/>
                <a:gd name="connsiteY21" fmla="*/ 1593532 h 1800225"/>
                <a:gd name="connsiteX22" fmla="*/ 513398 w 1219200"/>
                <a:gd name="connsiteY22" fmla="*/ 1589723 h 1800225"/>
                <a:gd name="connsiteX23" fmla="*/ 514350 w 1219200"/>
                <a:gd name="connsiteY23" fmla="*/ 1585913 h 1800225"/>
                <a:gd name="connsiteX24" fmla="*/ 513398 w 1219200"/>
                <a:gd name="connsiteY24" fmla="*/ 1578293 h 1800225"/>
                <a:gd name="connsiteX25" fmla="*/ 511493 w 1219200"/>
                <a:gd name="connsiteY25" fmla="*/ 1574482 h 1800225"/>
                <a:gd name="connsiteX26" fmla="*/ 509588 w 1219200"/>
                <a:gd name="connsiteY26" fmla="*/ 1572578 h 1800225"/>
                <a:gd name="connsiteX27" fmla="*/ 479107 w 1219200"/>
                <a:gd name="connsiteY27" fmla="*/ 1554480 h 1800225"/>
                <a:gd name="connsiteX28" fmla="*/ 412432 w 1219200"/>
                <a:gd name="connsiteY28" fmla="*/ 1528763 h 1800225"/>
                <a:gd name="connsiteX29" fmla="*/ 401955 w 1219200"/>
                <a:gd name="connsiteY29" fmla="*/ 1522095 h 1800225"/>
                <a:gd name="connsiteX30" fmla="*/ 399098 w 1219200"/>
                <a:gd name="connsiteY30" fmla="*/ 1518285 h 1800225"/>
                <a:gd name="connsiteX31" fmla="*/ 397193 w 1219200"/>
                <a:gd name="connsiteY31" fmla="*/ 1515428 h 1800225"/>
                <a:gd name="connsiteX32" fmla="*/ 399098 w 1219200"/>
                <a:gd name="connsiteY32" fmla="*/ 1505903 h 1800225"/>
                <a:gd name="connsiteX33" fmla="*/ 400050 w 1219200"/>
                <a:gd name="connsiteY33" fmla="*/ 1499235 h 1800225"/>
                <a:gd name="connsiteX34" fmla="*/ 401002 w 1219200"/>
                <a:gd name="connsiteY34" fmla="*/ 1496378 h 1800225"/>
                <a:gd name="connsiteX35" fmla="*/ 399098 w 1219200"/>
                <a:gd name="connsiteY35" fmla="*/ 1491615 h 1800225"/>
                <a:gd name="connsiteX36" fmla="*/ 390525 w 1219200"/>
                <a:gd name="connsiteY36" fmla="*/ 1472565 h 1800225"/>
                <a:gd name="connsiteX37" fmla="*/ 388620 w 1219200"/>
                <a:gd name="connsiteY37" fmla="*/ 1464945 h 1800225"/>
                <a:gd name="connsiteX38" fmla="*/ 386715 w 1219200"/>
                <a:gd name="connsiteY38" fmla="*/ 1457325 h 1800225"/>
                <a:gd name="connsiteX39" fmla="*/ 384810 w 1219200"/>
                <a:gd name="connsiteY39" fmla="*/ 1449705 h 1800225"/>
                <a:gd name="connsiteX40" fmla="*/ 381000 w 1219200"/>
                <a:gd name="connsiteY40" fmla="*/ 1443038 h 1800225"/>
                <a:gd name="connsiteX41" fmla="*/ 379095 w 1219200"/>
                <a:gd name="connsiteY41" fmla="*/ 1440180 h 1800225"/>
                <a:gd name="connsiteX42" fmla="*/ 376238 w 1219200"/>
                <a:gd name="connsiteY42" fmla="*/ 1439228 h 1800225"/>
                <a:gd name="connsiteX43" fmla="*/ 323850 w 1219200"/>
                <a:gd name="connsiteY43" fmla="*/ 1444943 h 1800225"/>
                <a:gd name="connsiteX44" fmla="*/ 315277 w 1219200"/>
                <a:gd name="connsiteY44" fmla="*/ 1443038 h 1800225"/>
                <a:gd name="connsiteX45" fmla="*/ 308610 w 1219200"/>
                <a:gd name="connsiteY45" fmla="*/ 1440180 h 1800225"/>
                <a:gd name="connsiteX46" fmla="*/ 305752 w 1219200"/>
                <a:gd name="connsiteY46" fmla="*/ 1437323 h 1800225"/>
                <a:gd name="connsiteX47" fmla="*/ 303848 w 1219200"/>
                <a:gd name="connsiteY47" fmla="*/ 1434465 h 1800225"/>
                <a:gd name="connsiteX48" fmla="*/ 300990 w 1219200"/>
                <a:gd name="connsiteY48" fmla="*/ 1423988 h 1800225"/>
                <a:gd name="connsiteX49" fmla="*/ 298132 w 1219200"/>
                <a:gd name="connsiteY49" fmla="*/ 1414463 h 1800225"/>
                <a:gd name="connsiteX50" fmla="*/ 296227 w 1219200"/>
                <a:gd name="connsiteY50" fmla="*/ 1408748 h 1800225"/>
                <a:gd name="connsiteX51" fmla="*/ 296227 w 1219200"/>
                <a:gd name="connsiteY51" fmla="*/ 1403985 h 1800225"/>
                <a:gd name="connsiteX52" fmla="*/ 298132 w 1219200"/>
                <a:gd name="connsiteY52" fmla="*/ 1402080 h 1800225"/>
                <a:gd name="connsiteX53" fmla="*/ 300990 w 1219200"/>
                <a:gd name="connsiteY53" fmla="*/ 1400175 h 1800225"/>
                <a:gd name="connsiteX54" fmla="*/ 324802 w 1219200"/>
                <a:gd name="connsiteY54" fmla="*/ 1396365 h 1800225"/>
                <a:gd name="connsiteX55" fmla="*/ 328613 w 1219200"/>
                <a:gd name="connsiteY55" fmla="*/ 1394460 h 1800225"/>
                <a:gd name="connsiteX56" fmla="*/ 332423 w 1219200"/>
                <a:gd name="connsiteY56" fmla="*/ 1390650 h 1800225"/>
                <a:gd name="connsiteX57" fmla="*/ 334327 w 1219200"/>
                <a:gd name="connsiteY57" fmla="*/ 1384935 h 1800225"/>
                <a:gd name="connsiteX58" fmla="*/ 335280 w 1219200"/>
                <a:gd name="connsiteY58" fmla="*/ 1381125 h 1800225"/>
                <a:gd name="connsiteX59" fmla="*/ 333375 w 1219200"/>
                <a:gd name="connsiteY59" fmla="*/ 1377315 h 1800225"/>
                <a:gd name="connsiteX60" fmla="*/ 326707 w 1219200"/>
                <a:gd name="connsiteY60" fmla="*/ 1362075 h 1800225"/>
                <a:gd name="connsiteX61" fmla="*/ 320993 w 1219200"/>
                <a:gd name="connsiteY61" fmla="*/ 1354455 h 1800225"/>
                <a:gd name="connsiteX62" fmla="*/ 310515 w 1219200"/>
                <a:gd name="connsiteY62" fmla="*/ 1345882 h 1800225"/>
                <a:gd name="connsiteX63" fmla="*/ 306705 w 1219200"/>
                <a:gd name="connsiteY63" fmla="*/ 1342073 h 1800225"/>
                <a:gd name="connsiteX64" fmla="*/ 304800 w 1219200"/>
                <a:gd name="connsiteY64" fmla="*/ 1339215 h 1800225"/>
                <a:gd name="connsiteX65" fmla="*/ 302895 w 1219200"/>
                <a:gd name="connsiteY65" fmla="*/ 1329690 h 1800225"/>
                <a:gd name="connsiteX66" fmla="*/ 300038 w 1219200"/>
                <a:gd name="connsiteY66" fmla="*/ 1323975 h 1800225"/>
                <a:gd name="connsiteX67" fmla="*/ 294323 w 1219200"/>
                <a:gd name="connsiteY67" fmla="*/ 1313498 h 1800225"/>
                <a:gd name="connsiteX68" fmla="*/ 290513 w 1219200"/>
                <a:gd name="connsiteY68" fmla="*/ 1309688 h 1800225"/>
                <a:gd name="connsiteX69" fmla="*/ 287655 w 1219200"/>
                <a:gd name="connsiteY69" fmla="*/ 1308735 h 1800225"/>
                <a:gd name="connsiteX70" fmla="*/ 285750 w 1219200"/>
                <a:gd name="connsiteY70" fmla="*/ 1310640 h 1800225"/>
                <a:gd name="connsiteX71" fmla="*/ 282893 w 1219200"/>
                <a:gd name="connsiteY71" fmla="*/ 1314450 h 1800225"/>
                <a:gd name="connsiteX72" fmla="*/ 278130 w 1219200"/>
                <a:gd name="connsiteY72" fmla="*/ 1318260 h 1800225"/>
                <a:gd name="connsiteX73" fmla="*/ 275273 w 1219200"/>
                <a:gd name="connsiteY73" fmla="*/ 1318260 h 1800225"/>
                <a:gd name="connsiteX74" fmla="*/ 272415 w 1219200"/>
                <a:gd name="connsiteY74" fmla="*/ 1317307 h 1800225"/>
                <a:gd name="connsiteX75" fmla="*/ 265748 w 1219200"/>
                <a:gd name="connsiteY75" fmla="*/ 1313498 h 1800225"/>
                <a:gd name="connsiteX76" fmla="*/ 262890 w 1219200"/>
                <a:gd name="connsiteY76" fmla="*/ 1312545 h 1800225"/>
                <a:gd name="connsiteX77" fmla="*/ 260032 w 1219200"/>
                <a:gd name="connsiteY77" fmla="*/ 1312545 h 1800225"/>
                <a:gd name="connsiteX78" fmla="*/ 255270 w 1219200"/>
                <a:gd name="connsiteY78" fmla="*/ 1311593 h 1800225"/>
                <a:gd name="connsiteX79" fmla="*/ 251460 w 1219200"/>
                <a:gd name="connsiteY79" fmla="*/ 1308735 h 1800225"/>
                <a:gd name="connsiteX80" fmla="*/ 243840 w 1219200"/>
                <a:gd name="connsiteY80" fmla="*/ 1303973 h 1800225"/>
                <a:gd name="connsiteX81" fmla="*/ 240982 w 1219200"/>
                <a:gd name="connsiteY81" fmla="*/ 1300163 h 1800225"/>
                <a:gd name="connsiteX82" fmla="*/ 240030 w 1219200"/>
                <a:gd name="connsiteY82" fmla="*/ 1296353 h 1800225"/>
                <a:gd name="connsiteX83" fmla="*/ 240030 w 1219200"/>
                <a:gd name="connsiteY83" fmla="*/ 1290638 h 1800225"/>
                <a:gd name="connsiteX84" fmla="*/ 240030 w 1219200"/>
                <a:gd name="connsiteY84" fmla="*/ 1284923 h 1800225"/>
                <a:gd name="connsiteX85" fmla="*/ 240982 w 1219200"/>
                <a:gd name="connsiteY85" fmla="*/ 1274445 h 1800225"/>
                <a:gd name="connsiteX86" fmla="*/ 242888 w 1219200"/>
                <a:gd name="connsiteY86" fmla="*/ 1267778 h 1800225"/>
                <a:gd name="connsiteX87" fmla="*/ 245745 w 1219200"/>
                <a:gd name="connsiteY87" fmla="*/ 1261110 h 1800225"/>
                <a:gd name="connsiteX88" fmla="*/ 246698 w 1219200"/>
                <a:gd name="connsiteY88" fmla="*/ 1255395 h 1800225"/>
                <a:gd name="connsiteX89" fmla="*/ 245745 w 1219200"/>
                <a:gd name="connsiteY89" fmla="*/ 1247775 h 1800225"/>
                <a:gd name="connsiteX90" fmla="*/ 243840 w 1219200"/>
                <a:gd name="connsiteY90" fmla="*/ 1244918 h 1800225"/>
                <a:gd name="connsiteX91" fmla="*/ 240982 w 1219200"/>
                <a:gd name="connsiteY91" fmla="*/ 1243965 h 1800225"/>
                <a:gd name="connsiteX92" fmla="*/ 233363 w 1219200"/>
                <a:gd name="connsiteY92" fmla="*/ 1242060 h 1800225"/>
                <a:gd name="connsiteX93" fmla="*/ 226695 w 1219200"/>
                <a:gd name="connsiteY93" fmla="*/ 1239203 h 1800225"/>
                <a:gd name="connsiteX94" fmla="*/ 220980 w 1219200"/>
                <a:gd name="connsiteY94" fmla="*/ 1234440 h 1800225"/>
                <a:gd name="connsiteX95" fmla="*/ 219075 w 1219200"/>
                <a:gd name="connsiteY95" fmla="*/ 1231582 h 1800225"/>
                <a:gd name="connsiteX96" fmla="*/ 217170 w 1219200"/>
                <a:gd name="connsiteY96" fmla="*/ 1228725 h 1800225"/>
                <a:gd name="connsiteX97" fmla="*/ 218123 w 1219200"/>
                <a:gd name="connsiteY97" fmla="*/ 1222057 h 1800225"/>
                <a:gd name="connsiteX98" fmla="*/ 221932 w 1219200"/>
                <a:gd name="connsiteY98" fmla="*/ 1212532 h 1800225"/>
                <a:gd name="connsiteX99" fmla="*/ 222885 w 1219200"/>
                <a:gd name="connsiteY99" fmla="*/ 1209675 h 1800225"/>
                <a:gd name="connsiteX100" fmla="*/ 222885 w 1219200"/>
                <a:gd name="connsiteY100" fmla="*/ 1204913 h 1800225"/>
                <a:gd name="connsiteX101" fmla="*/ 221932 w 1219200"/>
                <a:gd name="connsiteY101" fmla="*/ 1200150 h 1800225"/>
                <a:gd name="connsiteX102" fmla="*/ 215265 w 1219200"/>
                <a:gd name="connsiteY102" fmla="*/ 1183005 h 1800225"/>
                <a:gd name="connsiteX103" fmla="*/ 214313 w 1219200"/>
                <a:gd name="connsiteY103" fmla="*/ 1180148 h 1800225"/>
                <a:gd name="connsiteX104" fmla="*/ 214313 w 1219200"/>
                <a:gd name="connsiteY104" fmla="*/ 1176338 h 1800225"/>
                <a:gd name="connsiteX105" fmla="*/ 215265 w 1219200"/>
                <a:gd name="connsiteY105" fmla="*/ 1169670 h 1800225"/>
                <a:gd name="connsiteX106" fmla="*/ 215265 w 1219200"/>
                <a:gd name="connsiteY106" fmla="*/ 1165860 h 1800225"/>
                <a:gd name="connsiteX107" fmla="*/ 213360 w 1219200"/>
                <a:gd name="connsiteY107" fmla="*/ 1153478 h 1800225"/>
                <a:gd name="connsiteX108" fmla="*/ 211455 w 1219200"/>
                <a:gd name="connsiteY108" fmla="*/ 1133475 h 1800225"/>
                <a:gd name="connsiteX109" fmla="*/ 211455 w 1219200"/>
                <a:gd name="connsiteY109" fmla="*/ 1130618 h 1800225"/>
                <a:gd name="connsiteX110" fmla="*/ 213360 w 1219200"/>
                <a:gd name="connsiteY110" fmla="*/ 1124903 h 1800225"/>
                <a:gd name="connsiteX111" fmla="*/ 215265 w 1219200"/>
                <a:gd name="connsiteY111" fmla="*/ 1121093 h 1800225"/>
                <a:gd name="connsiteX112" fmla="*/ 218123 w 1219200"/>
                <a:gd name="connsiteY112" fmla="*/ 1117282 h 1800225"/>
                <a:gd name="connsiteX113" fmla="*/ 230505 w 1219200"/>
                <a:gd name="connsiteY113" fmla="*/ 1106805 h 1800225"/>
                <a:gd name="connsiteX114" fmla="*/ 239077 w 1219200"/>
                <a:gd name="connsiteY114" fmla="*/ 1095375 h 1800225"/>
                <a:gd name="connsiteX115" fmla="*/ 240982 w 1219200"/>
                <a:gd name="connsiteY115" fmla="*/ 1088707 h 1800225"/>
                <a:gd name="connsiteX116" fmla="*/ 241935 w 1219200"/>
                <a:gd name="connsiteY116" fmla="*/ 1083945 h 1800225"/>
                <a:gd name="connsiteX117" fmla="*/ 240982 w 1219200"/>
                <a:gd name="connsiteY117" fmla="*/ 1081088 h 1800225"/>
                <a:gd name="connsiteX118" fmla="*/ 238125 w 1219200"/>
                <a:gd name="connsiteY118" fmla="*/ 1080135 h 1800225"/>
                <a:gd name="connsiteX119" fmla="*/ 235268 w 1219200"/>
                <a:gd name="connsiteY119" fmla="*/ 1080135 h 1800225"/>
                <a:gd name="connsiteX120" fmla="*/ 224790 w 1219200"/>
                <a:gd name="connsiteY120" fmla="*/ 1082993 h 1800225"/>
                <a:gd name="connsiteX121" fmla="*/ 222885 w 1219200"/>
                <a:gd name="connsiteY121" fmla="*/ 1082040 h 1800225"/>
                <a:gd name="connsiteX122" fmla="*/ 220980 w 1219200"/>
                <a:gd name="connsiteY122" fmla="*/ 1078230 h 1800225"/>
                <a:gd name="connsiteX123" fmla="*/ 220980 w 1219200"/>
                <a:gd name="connsiteY123" fmla="*/ 1071563 h 1800225"/>
                <a:gd name="connsiteX124" fmla="*/ 222885 w 1219200"/>
                <a:gd name="connsiteY124" fmla="*/ 1064895 h 1800225"/>
                <a:gd name="connsiteX125" fmla="*/ 223838 w 1219200"/>
                <a:gd name="connsiteY125" fmla="*/ 1062990 h 1800225"/>
                <a:gd name="connsiteX126" fmla="*/ 230505 w 1219200"/>
                <a:gd name="connsiteY126" fmla="*/ 1053465 h 1800225"/>
                <a:gd name="connsiteX127" fmla="*/ 233363 w 1219200"/>
                <a:gd name="connsiteY127" fmla="*/ 1047750 h 1800225"/>
                <a:gd name="connsiteX128" fmla="*/ 236220 w 1219200"/>
                <a:gd name="connsiteY128" fmla="*/ 1042035 h 1800225"/>
                <a:gd name="connsiteX129" fmla="*/ 237173 w 1219200"/>
                <a:gd name="connsiteY129" fmla="*/ 1038225 h 1800225"/>
                <a:gd name="connsiteX130" fmla="*/ 236220 w 1219200"/>
                <a:gd name="connsiteY130" fmla="*/ 1032510 h 1800225"/>
                <a:gd name="connsiteX131" fmla="*/ 234315 w 1219200"/>
                <a:gd name="connsiteY131" fmla="*/ 1023938 h 1800225"/>
                <a:gd name="connsiteX132" fmla="*/ 229552 w 1219200"/>
                <a:gd name="connsiteY132" fmla="*/ 1015365 h 1800225"/>
                <a:gd name="connsiteX133" fmla="*/ 227648 w 1219200"/>
                <a:gd name="connsiteY133" fmla="*/ 1009650 h 1800225"/>
                <a:gd name="connsiteX134" fmla="*/ 227648 w 1219200"/>
                <a:gd name="connsiteY134" fmla="*/ 1004888 h 1800225"/>
                <a:gd name="connsiteX135" fmla="*/ 228600 w 1219200"/>
                <a:gd name="connsiteY135" fmla="*/ 1001078 h 1800225"/>
                <a:gd name="connsiteX136" fmla="*/ 228600 w 1219200"/>
                <a:gd name="connsiteY136" fmla="*/ 996315 h 1800225"/>
                <a:gd name="connsiteX137" fmla="*/ 227648 w 1219200"/>
                <a:gd name="connsiteY137" fmla="*/ 992505 h 1800225"/>
                <a:gd name="connsiteX138" fmla="*/ 225743 w 1219200"/>
                <a:gd name="connsiteY138" fmla="*/ 990600 h 1800225"/>
                <a:gd name="connsiteX139" fmla="*/ 219075 w 1219200"/>
                <a:gd name="connsiteY139" fmla="*/ 989647 h 1800225"/>
                <a:gd name="connsiteX140" fmla="*/ 216218 w 1219200"/>
                <a:gd name="connsiteY140" fmla="*/ 988695 h 1800225"/>
                <a:gd name="connsiteX141" fmla="*/ 208598 w 1219200"/>
                <a:gd name="connsiteY141" fmla="*/ 986790 h 1800225"/>
                <a:gd name="connsiteX142" fmla="*/ 203835 w 1219200"/>
                <a:gd name="connsiteY142" fmla="*/ 983932 h 1800225"/>
                <a:gd name="connsiteX143" fmla="*/ 201930 w 1219200"/>
                <a:gd name="connsiteY143" fmla="*/ 981075 h 1800225"/>
                <a:gd name="connsiteX144" fmla="*/ 201930 w 1219200"/>
                <a:gd name="connsiteY144" fmla="*/ 977265 h 1800225"/>
                <a:gd name="connsiteX145" fmla="*/ 201930 w 1219200"/>
                <a:gd name="connsiteY145" fmla="*/ 965835 h 1800225"/>
                <a:gd name="connsiteX146" fmla="*/ 200977 w 1219200"/>
                <a:gd name="connsiteY146" fmla="*/ 960120 h 1800225"/>
                <a:gd name="connsiteX147" fmla="*/ 199073 w 1219200"/>
                <a:gd name="connsiteY147" fmla="*/ 952500 h 1800225"/>
                <a:gd name="connsiteX148" fmla="*/ 193357 w 1219200"/>
                <a:gd name="connsiteY148" fmla="*/ 933450 h 1800225"/>
                <a:gd name="connsiteX149" fmla="*/ 191452 w 1219200"/>
                <a:gd name="connsiteY149" fmla="*/ 924878 h 1800225"/>
                <a:gd name="connsiteX150" fmla="*/ 170498 w 1219200"/>
                <a:gd name="connsiteY150" fmla="*/ 918210 h 1800225"/>
                <a:gd name="connsiteX151" fmla="*/ 110490 w 1219200"/>
                <a:gd name="connsiteY151" fmla="*/ 914400 h 1800225"/>
                <a:gd name="connsiteX152" fmla="*/ 107632 w 1219200"/>
                <a:gd name="connsiteY152" fmla="*/ 913447 h 1800225"/>
                <a:gd name="connsiteX153" fmla="*/ 103823 w 1219200"/>
                <a:gd name="connsiteY153" fmla="*/ 911543 h 1800225"/>
                <a:gd name="connsiteX154" fmla="*/ 99060 w 1219200"/>
                <a:gd name="connsiteY154" fmla="*/ 905828 h 1800225"/>
                <a:gd name="connsiteX155" fmla="*/ 95250 w 1219200"/>
                <a:gd name="connsiteY155" fmla="*/ 903922 h 1800225"/>
                <a:gd name="connsiteX156" fmla="*/ 88582 w 1219200"/>
                <a:gd name="connsiteY156" fmla="*/ 902018 h 1800225"/>
                <a:gd name="connsiteX157" fmla="*/ 85725 w 1219200"/>
                <a:gd name="connsiteY157" fmla="*/ 900113 h 1800225"/>
                <a:gd name="connsiteX158" fmla="*/ 84773 w 1219200"/>
                <a:gd name="connsiteY158" fmla="*/ 898207 h 1800225"/>
                <a:gd name="connsiteX159" fmla="*/ 84773 w 1219200"/>
                <a:gd name="connsiteY159" fmla="*/ 895350 h 1800225"/>
                <a:gd name="connsiteX160" fmla="*/ 87630 w 1219200"/>
                <a:gd name="connsiteY160" fmla="*/ 888682 h 1800225"/>
                <a:gd name="connsiteX161" fmla="*/ 88582 w 1219200"/>
                <a:gd name="connsiteY161" fmla="*/ 886778 h 1800225"/>
                <a:gd name="connsiteX162" fmla="*/ 90488 w 1219200"/>
                <a:gd name="connsiteY162" fmla="*/ 884872 h 1800225"/>
                <a:gd name="connsiteX163" fmla="*/ 93345 w 1219200"/>
                <a:gd name="connsiteY163" fmla="*/ 883920 h 1800225"/>
                <a:gd name="connsiteX164" fmla="*/ 100013 w 1219200"/>
                <a:gd name="connsiteY164" fmla="*/ 884872 h 1800225"/>
                <a:gd name="connsiteX165" fmla="*/ 101918 w 1219200"/>
                <a:gd name="connsiteY165" fmla="*/ 883920 h 1800225"/>
                <a:gd name="connsiteX166" fmla="*/ 102870 w 1219200"/>
                <a:gd name="connsiteY166" fmla="*/ 881063 h 1800225"/>
                <a:gd name="connsiteX167" fmla="*/ 102870 w 1219200"/>
                <a:gd name="connsiteY167" fmla="*/ 876300 h 1800225"/>
                <a:gd name="connsiteX168" fmla="*/ 103823 w 1219200"/>
                <a:gd name="connsiteY168" fmla="*/ 873443 h 1800225"/>
                <a:gd name="connsiteX169" fmla="*/ 106680 w 1219200"/>
                <a:gd name="connsiteY169" fmla="*/ 873443 h 1800225"/>
                <a:gd name="connsiteX170" fmla="*/ 115252 w 1219200"/>
                <a:gd name="connsiteY170" fmla="*/ 872490 h 1800225"/>
                <a:gd name="connsiteX171" fmla="*/ 117157 w 1219200"/>
                <a:gd name="connsiteY171" fmla="*/ 871538 h 1800225"/>
                <a:gd name="connsiteX172" fmla="*/ 119063 w 1219200"/>
                <a:gd name="connsiteY172" fmla="*/ 869632 h 1800225"/>
                <a:gd name="connsiteX173" fmla="*/ 120968 w 1219200"/>
                <a:gd name="connsiteY173" fmla="*/ 867728 h 1800225"/>
                <a:gd name="connsiteX174" fmla="*/ 120968 w 1219200"/>
                <a:gd name="connsiteY174" fmla="*/ 863918 h 1800225"/>
                <a:gd name="connsiteX175" fmla="*/ 120968 w 1219200"/>
                <a:gd name="connsiteY175" fmla="*/ 861060 h 1800225"/>
                <a:gd name="connsiteX176" fmla="*/ 105727 w 1219200"/>
                <a:gd name="connsiteY176" fmla="*/ 823913 h 1800225"/>
                <a:gd name="connsiteX177" fmla="*/ 102870 w 1219200"/>
                <a:gd name="connsiteY177" fmla="*/ 814388 h 1800225"/>
                <a:gd name="connsiteX178" fmla="*/ 101918 w 1219200"/>
                <a:gd name="connsiteY178" fmla="*/ 807720 h 1800225"/>
                <a:gd name="connsiteX179" fmla="*/ 103823 w 1219200"/>
                <a:gd name="connsiteY179" fmla="*/ 804863 h 1800225"/>
                <a:gd name="connsiteX180" fmla="*/ 109538 w 1219200"/>
                <a:gd name="connsiteY180" fmla="*/ 799147 h 1800225"/>
                <a:gd name="connsiteX181" fmla="*/ 112395 w 1219200"/>
                <a:gd name="connsiteY181" fmla="*/ 794385 h 1800225"/>
                <a:gd name="connsiteX182" fmla="*/ 113348 w 1219200"/>
                <a:gd name="connsiteY182" fmla="*/ 787718 h 1800225"/>
                <a:gd name="connsiteX183" fmla="*/ 113348 w 1219200"/>
                <a:gd name="connsiteY183" fmla="*/ 776288 h 1800225"/>
                <a:gd name="connsiteX184" fmla="*/ 113348 w 1219200"/>
                <a:gd name="connsiteY184" fmla="*/ 769620 h 1800225"/>
                <a:gd name="connsiteX185" fmla="*/ 117157 w 1219200"/>
                <a:gd name="connsiteY185" fmla="*/ 748665 h 1800225"/>
                <a:gd name="connsiteX186" fmla="*/ 117157 w 1219200"/>
                <a:gd name="connsiteY186" fmla="*/ 744855 h 1800225"/>
                <a:gd name="connsiteX187" fmla="*/ 115252 w 1219200"/>
                <a:gd name="connsiteY187" fmla="*/ 742950 h 1800225"/>
                <a:gd name="connsiteX188" fmla="*/ 113348 w 1219200"/>
                <a:gd name="connsiteY188" fmla="*/ 741997 h 1800225"/>
                <a:gd name="connsiteX189" fmla="*/ 91440 w 1219200"/>
                <a:gd name="connsiteY189" fmla="*/ 741045 h 1800225"/>
                <a:gd name="connsiteX190" fmla="*/ 88582 w 1219200"/>
                <a:gd name="connsiteY190" fmla="*/ 741997 h 1800225"/>
                <a:gd name="connsiteX191" fmla="*/ 86677 w 1219200"/>
                <a:gd name="connsiteY191" fmla="*/ 742950 h 1800225"/>
                <a:gd name="connsiteX192" fmla="*/ 72390 w 1219200"/>
                <a:gd name="connsiteY192" fmla="*/ 756285 h 1800225"/>
                <a:gd name="connsiteX193" fmla="*/ 70485 w 1219200"/>
                <a:gd name="connsiteY193" fmla="*/ 757238 h 1800225"/>
                <a:gd name="connsiteX194" fmla="*/ 67627 w 1219200"/>
                <a:gd name="connsiteY194" fmla="*/ 758190 h 1800225"/>
                <a:gd name="connsiteX195" fmla="*/ 62865 w 1219200"/>
                <a:gd name="connsiteY195" fmla="*/ 757238 h 1800225"/>
                <a:gd name="connsiteX196" fmla="*/ 48577 w 1219200"/>
                <a:gd name="connsiteY196" fmla="*/ 747713 h 1800225"/>
                <a:gd name="connsiteX197" fmla="*/ 24765 w 1219200"/>
                <a:gd name="connsiteY197" fmla="*/ 738188 h 1800225"/>
                <a:gd name="connsiteX198" fmla="*/ 20955 w 1219200"/>
                <a:gd name="connsiteY198" fmla="*/ 734378 h 1800225"/>
                <a:gd name="connsiteX199" fmla="*/ 19050 w 1219200"/>
                <a:gd name="connsiteY199" fmla="*/ 731520 h 1800225"/>
                <a:gd name="connsiteX200" fmla="*/ 19050 w 1219200"/>
                <a:gd name="connsiteY200" fmla="*/ 727710 h 1800225"/>
                <a:gd name="connsiteX201" fmla="*/ 21907 w 1219200"/>
                <a:gd name="connsiteY201" fmla="*/ 718185 h 1800225"/>
                <a:gd name="connsiteX202" fmla="*/ 24765 w 1219200"/>
                <a:gd name="connsiteY202" fmla="*/ 712470 h 1800225"/>
                <a:gd name="connsiteX203" fmla="*/ 26670 w 1219200"/>
                <a:gd name="connsiteY203" fmla="*/ 711518 h 1800225"/>
                <a:gd name="connsiteX204" fmla="*/ 40957 w 1219200"/>
                <a:gd name="connsiteY204" fmla="*/ 710565 h 1800225"/>
                <a:gd name="connsiteX205" fmla="*/ 43815 w 1219200"/>
                <a:gd name="connsiteY205" fmla="*/ 709613 h 1800225"/>
                <a:gd name="connsiteX206" fmla="*/ 45720 w 1219200"/>
                <a:gd name="connsiteY206" fmla="*/ 707707 h 1800225"/>
                <a:gd name="connsiteX207" fmla="*/ 45720 w 1219200"/>
                <a:gd name="connsiteY207" fmla="*/ 702945 h 1800225"/>
                <a:gd name="connsiteX208" fmla="*/ 42863 w 1219200"/>
                <a:gd name="connsiteY208" fmla="*/ 701040 h 1800225"/>
                <a:gd name="connsiteX209" fmla="*/ 40005 w 1219200"/>
                <a:gd name="connsiteY209" fmla="*/ 699135 h 1800225"/>
                <a:gd name="connsiteX210" fmla="*/ 30480 w 1219200"/>
                <a:gd name="connsiteY210" fmla="*/ 698182 h 1800225"/>
                <a:gd name="connsiteX211" fmla="*/ 27623 w 1219200"/>
                <a:gd name="connsiteY211" fmla="*/ 697230 h 1800225"/>
                <a:gd name="connsiteX212" fmla="*/ 24765 w 1219200"/>
                <a:gd name="connsiteY212" fmla="*/ 696278 h 1800225"/>
                <a:gd name="connsiteX213" fmla="*/ 20002 w 1219200"/>
                <a:gd name="connsiteY213" fmla="*/ 689610 h 1800225"/>
                <a:gd name="connsiteX214" fmla="*/ 17145 w 1219200"/>
                <a:gd name="connsiteY214" fmla="*/ 685800 h 1800225"/>
                <a:gd name="connsiteX215" fmla="*/ 10477 w 1219200"/>
                <a:gd name="connsiteY215" fmla="*/ 680085 h 1800225"/>
                <a:gd name="connsiteX216" fmla="*/ 5715 w 1219200"/>
                <a:gd name="connsiteY216" fmla="*/ 677228 h 1800225"/>
                <a:gd name="connsiteX217" fmla="*/ 0 w 1219200"/>
                <a:gd name="connsiteY217" fmla="*/ 677228 h 1800225"/>
                <a:gd name="connsiteX218" fmla="*/ 12382 w 1219200"/>
                <a:gd name="connsiteY218" fmla="*/ 665797 h 1800225"/>
                <a:gd name="connsiteX219" fmla="*/ 26670 w 1219200"/>
                <a:gd name="connsiteY219" fmla="*/ 655320 h 1800225"/>
                <a:gd name="connsiteX220" fmla="*/ 33338 w 1219200"/>
                <a:gd name="connsiteY220" fmla="*/ 647700 h 1800225"/>
                <a:gd name="connsiteX221" fmla="*/ 41910 w 1219200"/>
                <a:gd name="connsiteY221" fmla="*/ 635318 h 1800225"/>
                <a:gd name="connsiteX222" fmla="*/ 42863 w 1219200"/>
                <a:gd name="connsiteY222" fmla="*/ 629603 h 1800225"/>
                <a:gd name="connsiteX223" fmla="*/ 42863 w 1219200"/>
                <a:gd name="connsiteY223" fmla="*/ 624840 h 1800225"/>
                <a:gd name="connsiteX224" fmla="*/ 42863 w 1219200"/>
                <a:gd name="connsiteY224" fmla="*/ 621982 h 1800225"/>
                <a:gd name="connsiteX225" fmla="*/ 40005 w 1219200"/>
                <a:gd name="connsiteY225" fmla="*/ 618172 h 1800225"/>
                <a:gd name="connsiteX226" fmla="*/ 37148 w 1219200"/>
                <a:gd name="connsiteY226" fmla="*/ 616268 h 1800225"/>
                <a:gd name="connsiteX227" fmla="*/ 31432 w 1219200"/>
                <a:gd name="connsiteY227" fmla="*/ 613410 h 1800225"/>
                <a:gd name="connsiteX228" fmla="*/ 22860 w 1219200"/>
                <a:gd name="connsiteY228" fmla="*/ 612457 h 1800225"/>
                <a:gd name="connsiteX229" fmla="*/ 20002 w 1219200"/>
                <a:gd name="connsiteY229" fmla="*/ 611505 h 1800225"/>
                <a:gd name="connsiteX230" fmla="*/ 18098 w 1219200"/>
                <a:gd name="connsiteY230" fmla="*/ 604838 h 1800225"/>
                <a:gd name="connsiteX231" fmla="*/ 18098 w 1219200"/>
                <a:gd name="connsiteY231" fmla="*/ 595313 h 1800225"/>
                <a:gd name="connsiteX232" fmla="*/ 20955 w 1219200"/>
                <a:gd name="connsiteY232" fmla="*/ 554355 h 1800225"/>
                <a:gd name="connsiteX233" fmla="*/ 20002 w 1219200"/>
                <a:gd name="connsiteY233" fmla="*/ 548640 h 1800225"/>
                <a:gd name="connsiteX234" fmla="*/ 19050 w 1219200"/>
                <a:gd name="connsiteY234" fmla="*/ 543878 h 1800225"/>
                <a:gd name="connsiteX235" fmla="*/ 17145 w 1219200"/>
                <a:gd name="connsiteY235" fmla="*/ 538163 h 1800225"/>
                <a:gd name="connsiteX236" fmla="*/ 16193 w 1219200"/>
                <a:gd name="connsiteY236" fmla="*/ 536257 h 1800225"/>
                <a:gd name="connsiteX237" fmla="*/ 10477 w 1219200"/>
                <a:gd name="connsiteY237" fmla="*/ 529590 h 1800225"/>
                <a:gd name="connsiteX238" fmla="*/ 8573 w 1219200"/>
                <a:gd name="connsiteY238" fmla="*/ 526732 h 1800225"/>
                <a:gd name="connsiteX239" fmla="*/ 6668 w 1219200"/>
                <a:gd name="connsiteY239" fmla="*/ 521970 h 1800225"/>
                <a:gd name="connsiteX240" fmla="*/ 7620 w 1219200"/>
                <a:gd name="connsiteY240" fmla="*/ 519113 h 1800225"/>
                <a:gd name="connsiteX241" fmla="*/ 8573 w 1219200"/>
                <a:gd name="connsiteY241" fmla="*/ 516255 h 1800225"/>
                <a:gd name="connsiteX242" fmla="*/ 15240 w 1219200"/>
                <a:gd name="connsiteY242" fmla="*/ 506730 h 1800225"/>
                <a:gd name="connsiteX243" fmla="*/ 19050 w 1219200"/>
                <a:gd name="connsiteY243" fmla="*/ 503872 h 1800225"/>
                <a:gd name="connsiteX244" fmla="*/ 27623 w 1219200"/>
                <a:gd name="connsiteY244" fmla="*/ 501968 h 1800225"/>
                <a:gd name="connsiteX245" fmla="*/ 30480 w 1219200"/>
                <a:gd name="connsiteY245" fmla="*/ 500063 h 1800225"/>
                <a:gd name="connsiteX246" fmla="*/ 33338 w 1219200"/>
                <a:gd name="connsiteY246" fmla="*/ 496253 h 1800225"/>
                <a:gd name="connsiteX247" fmla="*/ 36195 w 1219200"/>
                <a:gd name="connsiteY247" fmla="*/ 488632 h 1800225"/>
                <a:gd name="connsiteX248" fmla="*/ 38100 w 1219200"/>
                <a:gd name="connsiteY248" fmla="*/ 475297 h 1800225"/>
                <a:gd name="connsiteX249" fmla="*/ 40957 w 1219200"/>
                <a:gd name="connsiteY249" fmla="*/ 462915 h 1800225"/>
                <a:gd name="connsiteX250" fmla="*/ 42863 w 1219200"/>
                <a:gd name="connsiteY250" fmla="*/ 460058 h 1800225"/>
                <a:gd name="connsiteX251" fmla="*/ 44768 w 1219200"/>
                <a:gd name="connsiteY251" fmla="*/ 458153 h 1800225"/>
                <a:gd name="connsiteX252" fmla="*/ 56198 w 1219200"/>
                <a:gd name="connsiteY252" fmla="*/ 450533 h 1800225"/>
                <a:gd name="connsiteX253" fmla="*/ 58102 w 1219200"/>
                <a:gd name="connsiteY253" fmla="*/ 447675 h 1800225"/>
                <a:gd name="connsiteX254" fmla="*/ 60960 w 1219200"/>
                <a:gd name="connsiteY254" fmla="*/ 442913 h 1800225"/>
                <a:gd name="connsiteX255" fmla="*/ 61913 w 1219200"/>
                <a:gd name="connsiteY255" fmla="*/ 440055 h 1800225"/>
                <a:gd name="connsiteX256" fmla="*/ 60960 w 1219200"/>
                <a:gd name="connsiteY256" fmla="*/ 434340 h 1800225"/>
                <a:gd name="connsiteX257" fmla="*/ 55245 w 1219200"/>
                <a:gd name="connsiteY257" fmla="*/ 418147 h 1800225"/>
                <a:gd name="connsiteX258" fmla="*/ 55245 w 1219200"/>
                <a:gd name="connsiteY258" fmla="*/ 414338 h 1800225"/>
                <a:gd name="connsiteX259" fmla="*/ 60960 w 1219200"/>
                <a:gd name="connsiteY259" fmla="*/ 410528 h 1800225"/>
                <a:gd name="connsiteX260" fmla="*/ 60960 w 1219200"/>
                <a:gd name="connsiteY260" fmla="*/ 407670 h 1800225"/>
                <a:gd name="connsiteX261" fmla="*/ 60960 w 1219200"/>
                <a:gd name="connsiteY261" fmla="*/ 405765 h 1800225"/>
                <a:gd name="connsiteX262" fmla="*/ 56198 w 1219200"/>
                <a:gd name="connsiteY262" fmla="*/ 399097 h 1800225"/>
                <a:gd name="connsiteX263" fmla="*/ 55245 w 1219200"/>
                <a:gd name="connsiteY263" fmla="*/ 397192 h 1800225"/>
                <a:gd name="connsiteX264" fmla="*/ 51435 w 1219200"/>
                <a:gd name="connsiteY264" fmla="*/ 385763 h 1800225"/>
                <a:gd name="connsiteX265" fmla="*/ 51435 w 1219200"/>
                <a:gd name="connsiteY265" fmla="*/ 381000 h 1800225"/>
                <a:gd name="connsiteX266" fmla="*/ 52388 w 1219200"/>
                <a:gd name="connsiteY266" fmla="*/ 377190 h 1800225"/>
                <a:gd name="connsiteX267" fmla="*/ 54293 w 1219200"/>
                <a:gd name="connsiteY267" fmla="*/ 375285 h 1800225"/>
                <a:gd name="connsiteX268" fmla="*/ 59055 w 1219200"/>
                <a:gd name="connsiteY268" fmla="*/ 373380 h 1800225"/>
                <a:gd name="connsiteX269" fmla="*/ 60960 w 1219200"/>
                <a:gd name="connsiteY269" fmla="*/ 370522 h 1800225"/>
                <a:gd name="connsiteX270" fmla="*/ 63818 w 1219200"/>
                <a:gd name="connsiteY270" fmla="*/ 366713 h 1800225"/>
                <a:gd name="connsiteX271" fmla="*/ 68580 w 1219200"/>
                <a:gd name="connsiteY271" fmla="*/ 352425 h 1800225"/>
                <a:gd name="connsiteX272" fmla="*/ 70485 w 1219200"/>
                <a:gd name="connsiteY272" fmla="*/ 348615 h 1800225"/>
                <a:gd name="connsiteX273" fmla="*/ 76200 w 1219200"/>
                <a:gd name="connsiteY273" fmla="*/ 340995 h 1800225"/>
                <a:gd name="connsiteX274" fmla="*/ 80010 w 1219200"/>
                <a:gd name="connsiteY274" fmla="*/ 336233 h 1800225"/>
                <a:gd name="connsiteX275" fmla="*/ 80963 w 1219200"/>
                <a:gd name="connsiteY275" fmla="*/ 332422 h 1800225"/>
                <a:gd name="connsiteX276" fmla="*/ 80963 w 1219200"/>
                <a:gd name="connsiteY276" fmla="*/ 326708 h 1800225"/>
                <a:gd name="connsiteX277" fmla="*/ 80010 w 1219200"/>
                <a:gd name="connsiteY277" fmla="*/ 322897 h 1800225"/>
                <a:gd name="connsiteX278" fmla="*/ 80010 w 1219200"/>
                <a:gd name="connsiteY278" fmla="*/ 312420 h 1800225"/>
                <a:gd name="connsiteX279" fmla="*/ 80963 w 1219200"/>
                <a:gd name="connsiteY279" fmla="*/ 289560 h 1800225"/>
                <a:gd name="connsiteX280" fmla="*/ 80963 w 1219200"/>
                <a:gd name="connsiteY280" fmla="*/ 286703 h 1800225"/>
                <a:gd name="connsiteX281" fmla="*/ 80010 w 1219200"/>
                <a:gd name="connsiteY281" fmla="*/ 283845 h 1800225"/>
                <a:gd name="connsiteX282" fmla="*/ 76200 w 1219200"/>
                <a:gd name="connsiteY282" fmla="*/ 280035 h 1800225"/>
                <a:gd name="connsiteX283" fmla="*/ 74295 w 1219200"/>
                <a:gd name="connsiteY283" fmla="*/ 279083 h 1800225"/>
                <a:gd name="connsiteX284" fmla="*/ 71438 w 1219200"/>
                <a:gd name="connsiteY284" fmla="*/ 279083 h 1800225"/>
                <a:gd name="connsiteX285" fmla="*/ 68580 w 1219200"/>
                <a:gd name="connsiteY285" fmla="*/ 279083 h 1800225"/>
                <a:gd name="connsiteX286" fmla="*/ 54293 w 1219200"/>
                <a:gd name="connsiteY286" fmla="*/ 284797 h 1800225"/>
                <a:gd name="connsiteX287" fmla="*/ 52388 w 1219200"/>
                <a:gd name="connsiteY287" fmla="*/ 284797 h 1800225"/>
                <a:gd name="connsiteX288" fmla="*/ 49530 w 1219200"/>
                <a:gd name="connsiteY288" fmla="*/ 282892 h 1800225"/>
                <a:gd name="connsiteX289" fmla="*/ 48577 w 1219200"/>
                <a:gd name="connsiteY289" fmla="*/ 278130 h 1800225"/>
                <a:gd name="connsiteX290" fmla="*/ 48577 w 1219200"/>
                <a:gd name="connsiteY290" fmla="*/ 275272 h 1800225"/>
                <a:gd name="connsiteX291" fmla="*/ 49530 w 1219200"/>
                <a:gd name="connsiteY291" fmla="*/ 272415 h 1800225"/>
                <a:gd name="connsiteX292" fmla="*/ 56198 w 1219200"/>
                <a:gd name="connsiteY292" fmla="*/ 261938 h 1800225"/>
                <a:gd name="connsiteX293" fmla="*/ 61913 w 1219200"/>
                <a:gd name="connsiteY293" fmla="*/ 255270 h 1800225"/>
                <a:gd name="connsiteX294" fmla="*/ 63818 w 1219200"/>
                <a:gd name="connsiteY294" fmla="*/ 254317 h 1800225"/>
                <a:gd name="connsiteX295" fmla="*/ 66675 w 1219200"/>
                <a:gd name="connsiteY295" fmla="*/ 253365 h 1800225"/>
                <a:gd name="connsiteX296" fmla="*/ 79057 w 1219200"/>
                <a:gd name="connsiteY296" fmla="*/ 256222 h 1800225"/>
                <a:gd name="connsiteX297" fmla="*/ 82868 w 1219200"/>
                <a:gd name="connsiteY297" fmla="*/ 255270 h 1800225"/>
                <a:gd name="connsiteX298" fmla="*/ 87630 w 1219200"/>
                <a:gd name="connsiteY298" fmla="*/ 242888 h 1800225"/>
                <a:gd name="connsiteX299" fmla="*/ 89535 w 1219200"/>
                <a:gd name="connsiteY299" fmla="*/ 240983 h 1800225"/>
                <a:gd name="connsiteX300" fmla="*/ 92393 w 1219200"/>
                <a:gd name="connsiteY300" fmla="*/ 236220 h 1800225"/>
                <a:gd name="connsiteX301" fmla="*/ 100013 w 1219200"/>
                <a:gd name="connsiteY301" fmla="*/ 232410 h 1800225"/>
                <a:gd name="connsiteX302" fmla="*/ 101918 w 1219200"/>
                <a:gd name="connsiteY302" fmla="*/ 230505 h 1800225"/>
                <a:gd name="connsiteX303" fmla="*/ 103823 w 1219200"/>
                <a:gd name="connsiteY303" fmla="*/ 227647 h 1800225"/>
                <a:gd name="connsiteX304" fmla="*/ 104775 w 1219200"/>
                <a:gd name="connsiteY304" fmla="*/ 224790 h 1800225"/>
                <a:gd name="connsiteX305" fmla="*/ 103823 w 1219200"/>
                <a:gd name="connsiteY305" fmla="*/ 222885 h 1800225"/>
                <a:gd name="connsiteX306" fmla="*/ 80963 w 1219200"/>
                <a:gd name="connsiteY306" fmla="*/ 205740 h 1800225"/>
                <a:gd name="connsiteX307" fmla="*/ 79057 w 1219200"/>
                <a:gd name="connsiteY307" fmla="*/ 200978 h 1800225"/>
                <a:gd name="connsiteX308" fmla="*/ 80010 w 1219200"/>
                <a:gd name="connsiteY308" fmla="*/ 197167 h 1800225"/>
                <a:gd name="connsiteX309" fmla="*/ 82868 w 1219200"/>
                <a:gd name="connsiteY309" fmla="*/ 193358 h 1800225"/>
                <a:gd name="connsiteX310" fmla="*/ 92393 w 1219200"/>
                <a:gd name="connsiteY310" fmla="*/ 188595 h 1800225"/>
                <a:gd name="connsiteX311" fmla="*/ 102870 w 1219200"/>
                <a:gd name="connsiteY311" fmla="*/ 185738 h 1800225"/>
                <a:gd name="connsiteX312" fmla="*/ 114300 w 1219200"/>
                <a:gd name="connsiteY312" fmla="*/ 184785 h 1800225"/>
                <a:gd name="connsiteX313" fmla="*/ 117157 w 1219200"/>
                <a:gd name="connsiteY313" fmla="*/ 183833 h 1800225"/>
                <a:gd name="connsiteX314" fmla="*/ 120015 w 1219200"/>
                <a:gd name="connsiteY314" fmla="*/ 182880 h 1800225"/>
                <a:gd name="connsiteX315" fmla="*/ 122873 w 1219200"/>
                <a:gd name="connsiteY315" fmla="*/ 180022 h 1800225"/>
                <a:gd name="connsiteX316" fmla="*/ 122873 w 1219200"/>
                <a:gd name="connsiteY316" fmla="*/ 177165 h 1800225"/>
                <a:gd name="connsiteX317" fmla="*/ 121920 w 1219200"/>
                <a:gd name="connsiteY317" fmla="*/ 175260 h 1800225"/>
                <a:gd name="connsiteX318" fmla="*/ 111443 w 1219200"/>
                <a:gd name="connsiteY318" fmla="*/ 168592 h 1800225"/>
                <a:gd name="connsiteX319" fmla="*/ 107632 w 1219200"/>
                <a:gd name="connsiteY319" fmla="*/ 164783 h 1800225"/>
                <a:gd name="connsiteX320" fmla="*/ 103823 w 1219200"/>
                <a:gd name="connsiteY320" fmla="*/ 158115 h 1800225"/>
                <a:gd name="connsiteX321" fmla="*/ 95250 w 1219200"/>
                <a:gd name="connsiteY321" fmla="*/ 138113 h 1800225"/>
                <a:gd name="connsiteX322" fmla="*/ 93345 w 1219200"/>
                <a:gd name="connsiteY322" fmla="*/ 130492 h 1800225"/>
                <a:gd name="connsiteX323" fmla="*/ 92393 w 1219200"/>
                <a:gd name="connsiteY323" fmla="*/ 125730 h 1800225"/>
                <a:gd name="connsiteX324" fmla="*/ 115252 w 1219200"/>
                <a:gd name="connsiteY324" fmla="*/ 111442 h 1800225"/>
                <a:gd name="connsiteX325" fmla="*/ 121920 w 1219200"/>
                <a:gd name="connsiteY325" fmla="*/ 108585 h 1800225"/>
                <a:gd name="connsiteX326" fmla="*/ 127635 w 1219200"/>
                <a:gd name="connsiteY326" fmla="*/ 110490 h 1800225"/>
                <a:gd name="connsiteX327" fmla="*/ 137160 w 1219200"/>
                <a:gd name="connsiteY327" fmla="*/ 116205 h 1800225"/>
                <a:gd name="connsiteX328" fmla="*/ 142875 w 1219200"/>
                <a:gd name="connsiteY328" fmla="*/ 118110 h 1800225"/>
                <a:gd name="connsiteX329" fmla="*/ 167640 w 1219200"/>
                <a:gd name="connsiteY329" fmla="*/ 100013 h 1800225"/>
                <a:gd name="connsiteX330" fmla="*/ 170498 w 1219200"/>
                <a:gd name="connsiteY330" fmla="*/ 64770 h 1800225"/>
                <a:gd name="connsiteX331" fmla="*/ 166688 w 1219200"/>
                <a:gd name="connsiteY331" fmla="*/ 26670 h 1800225"/>
                <a:gd name="connsiteX332" fmla="*/ 172402 w 1219200"/>
                <a:gd name="connsiteY332" fmla="*/ 1905 h 1800225"/>
                <a:gd name="connsiteX333" fmla="*/ 180975 w 1219200"/>
                <a:gd name="connsiteY333" fmla="*/ 0 h 1800225"/>
                <a:gd name="connsiteX334" fmla="*/ 214313 w 1219200"/>
                <a:gd name="connsiteY334" fmla="*/ 2858 h 1800225"/>
                <a:gd name="connsiteX335" fmla="*/ 228600 w 1219200"/>
                <a:gd name="connsiteY335" fmla="*/ 0 h 1800225"/>
                <a:gd name="connsiteX336" fmla="*/ 238125 w 1219200"/>
                <a:gd name="connsiteY336" fmla="*/ 1905 h 1800225"/>
                <a:gd name="connsiteX337" fmla="*/ 245745 w 1219200"/>
                <a:gd name="connsiteY337" fmla="*/ 10478 h 1800225"/>
                <a:gd name="connsiteX338" fmla="*/ 261938 w 1219200"/>
                <a:gd name="connsiteY338" fmla="*/ 58103 h 1800225"/>
                <a:gd name="connsiteX339" fmla="*/ 268605 w 1219200"/>
                <a:gd name="connsiteY339" fmla="*/ 67628 h 1800225"/>
                <a:gd name="connsiteX340" fmla="*/ 279082 w 1219200"/>
                <a:gd name="connsiteY340" fmla="*/ 72390 h 1800225"/>
                <a:gd name="connsiteX341" fmla="*/ 301943 w 1219200"/>
                <a:gd name="connsiteY341" fmla="*/ 74295 h 1800225"/>
                <a:gd name="connsiteX342" fmla="*/ 311468 w 1219200"/>
                <a:gd name="connsiteY342" fmla="*/ 78105 h 1800225"/>
                <a:gd name="connsiteX343" fmla="*/ 323850 w 1219200"/>
                <a:gd name="connsiteY343" fmla="*/ 86678 h 1800225"/>
                <a:gd name="connsiteX344" fmla="*/ 342900 w 1219200"/>
                <a:gd name="connsiteY344" fmla="*/ 94297 h 1800225"/>
                <a:gd name="connsiteX345" fmla="*/ 381000 w 1219200"/>
                <a:gd name="connsiteY345" fmla="*/ 86678 h 1800225"/>
                <a:gd name="connsiteX346" fmla="*/ 406718 w 1219200"/>
                <a:gd name="connsiteY346" fmla="*/ 91440 h 1800225"/>
                <a:gd name="connsiteX347" fmla="*/ 412432 w 1219200"/>
                <a:gd name="connsiteY347" fmla="*/ 89535 h 1800225"/>
                <a:gd name="connsiteX348" fmla="*/ 417195 w 1219200"/>
                <a:gd name="connsiteY348" fmla="*/ 86678 h 1800225"/>
                <a:gd name="connsiteX349" fmla="*/ 429577 w 1219200"/>
                <a:gd name="connsiteY349" fmla="*/ 81915 h 1800225"/>
                <a:gd name="connsiteX350" fmla="*/ 430530 w 1219200"/>
                <a:gd name="connsiteY350" fmla="*/ 81915 h 1800225"/>
                <a:gd name="connsiteX351" fmla="*/ 435293 w 1219200"/>
                <a:gd name="connsiteY351" fmla="*/ 98108 h 1800225"/>
                <a:gd name="connsiteX352" fmla="*/ 436245 w 1219200"/>
                <a:gd name="connsiteY352" fmla="*/ 111442 h 1800225"/>
                <a:gd name="connsiteX353" fmla="*/ 439102 w 1219200"/>
                <a:gd name="connsiteY353" fmla="*/ 118110 h 1800225"/>
                <a:gd name="connsiteX354" fmla="*/ 442913 w 1219200"/>
                <a:gd name="connsiteY354" fmla="*/ 121920 h 1800225"/>
                <a:gd name="connsiteX355" fmla="*/ 474345 w 1219200"/>
                <a:gd name="connsiteY355" fmla="*/ 145733 h 1800225"/>
                <a:gd name="connsiteX356" fmla="*/ 529590 w 1219200"/>
                <a:gd name="connsiteY356" fmla="*/ 160972 h 1800225"/>
                <a:gd name="connsiteX357" fmla="*/ 547688 w 1219200"/>
                <a:gd name="connsiteY357" fmla="*/ 178117 h 1800225"/>
                <a:gd name="connsiteX358" fmla="*/ 561023 w 1219200"/>
                <a:gd name="connsiteY358" fmla="*/ 198120 h 1800225"/>
                <a:gd name="connsiteX359" fmla="*/ 574357 w 1219200"/>
                <a:gd name="connsiteY359" fmla="*/ 212408 h 1800225"/>
                <a:gd name="connsiteX360" fmla="*/ 624840 w 1219200"/>
                <a:gd name="connsiteY360" fmla="*/ 209550 h 1800225"/>
                <a:gd name="connsiteX361" fmla="*/ 633413 w 1219200"/>
                <a:gd name="connsiteY361" fmla="*/ 206692 h 1800225"/>
                <a:gd name="connsiteX362" fmla="*/ 643890 w 1219200"/>
                <a:gd name="connsiteY362" fmla="*/ 198120 h 1800225"/>
                <a:gd name="connsiteX363" fmla="*/ 660082 w 1219200"/>
                <a:gd name="connsiteY363" fmla="*/ 173355 h 1800225"/>
                <a:gd name="connsiteX364" fmla="*/ 669607 w 1219200"/>
                <a:gd name="connsiteY364" fmla="*/ 162878 h 1800225"/>
                <a:gd name="connsiteX365" fmla="*/ 689610 w 1219200"/>
                <a:gd name="connsiteY365" fmla="*/ 155258 h 1800225"/>
                <a:gd name="connsiteX366" fmla="*/ 703898 w 1219200"/>
                <a:gd name="connsiteY366" fmla="*/ 167640 h 1800225"/>
                <a:gd name="connsiteX367" fmla="*/ 733425 w 1219200"/>
                <a:gd name="connsiteY367" fmla="*/ 243840 h 1800225"/>
                <a:gd name="connsiteX368" fmla="*/ 744855 w 1219200"/>
                <a:gd name="connsiteY368" fmla="*/ 260985 h 1800225"/>
                <a:gd name="connsiteX369" fmla="*/ 761048 w 1219200"/>
                <a:gd name="connsiteY369" fmla="*/ 270510 h 1800225"/>
                <a:gd name="connsiteX370" fmla="*/ 780098 w 1219200"/>
                <a:gd name="connsiteY370" fmla="*/ 275272 h 1800225"/>
                <a:gd name="connsiteX371" fmla="*/ 801052 w 1219200"/>
                <a:gd name="connsiteY371" fmla="*/ 270510 h 1800225"/>
                <a:gd name="connsiteX372" fmla="*/ 822007 w 1219200"/>
                <a:gd name="connsiteY372" fmla="*/ 260985 h 1800225"/>
                <a:gd name="connsiteX373" fmla="*/ 842010 w 1219200"/>
                <a:gd name="connsiteY373" fmla="*/ 256222 h 1800225"/>
                <a:gd name="connsiteX374" fmla="*/ 861060 w 1219200"/>
                <a:gd name="connsiteY374" fmla="*/ 269558 h 1800225"/>
                <a:gd name="connsiteX375" fmla="*/ 870585 w 1219200"/>
                <a:gd name="connsiteY375" fmla="*/ 274320 h 1800225"/>
                <a:gd name="connsiteX376" fmla="*/ 902018 w 1219200"/>
                <a:gd name="connsiteY376" fmla="*/ 277178 h 1800225"/>
                <a:gd name="connsiteX377" fmla="*/ 908685 w 1219200"/>
                <a:gd name="connsiteY377" fmla="*/ 285750 h 1800225"/>
                <a:gd name="connsiteX378" fmla="*/ 914400 w 1219200"/>
                <a:gd name="connsiteY378" fmla="*/ 304800 h 1800225"/>
                <a:gd name="connsiteX379" fmla="*/ 922973 w 1219200"/>
                <a:gd name="connsiteY379" fmla="*/ 339090 h 1800225"/>
                <a:gd name="connsiteX380" fmla="*/ 936307 w 1219200"/>
                <a:gd name="connsiteY380" fmla="*/ 367665 h 1800225"/>
                <a:gd name="connsiteX381" fmla="*/ 952500 w 1219200"/>
                <a:gd name="connsiteY381" fmla="*/ 378142 h 1800225"/>
                <a:gd name="connsiteX382" fmla="*/ 970598 w 1219200"/>
                <a:gd name="connsiteY382" fmla="*/ 383858 h 1800225"/>
                <a:gd name="connsiteX383" fmla="*/ 992505 w 1219200"/>
                <a:gd name="connsiteY383" fmla="*/ 394335 h 1800225"/>
                <a:gd name="connsiteX384" fmla="*/ 1019175 w 1219200"/>
                <a:gd name="connsiteY384" fmla="*/ 420053 h 1800225"/>
                <a:gd name="connsiteX385" fmla="*/ 1030605 w 1219200"/>
                <a:gd name="connsiteY385" fmla="*/ 425767 h 1800225"/>
                <a:gd name="connsiteX386" fmla="*/ 1044893 w 1219200"/>
                <a:gd name="connsiteY386" fmla="*/ 425767 h 1800225"/>
                <a:gd name="connsiteX387" fmla="*/ 1061085 w 1219200"/>
                <a:gd name="connsiteY387" fmla="*/ 422910 h 1800225"/>
                <a:gd name="connsiteX388" fmla="*/ 1076325 w 1219200"/>
                <a:gd name="connsiteY388" fmla="*/ 416242 h 1800225"/>
                <a:gd name="connsiteX389" fmla="*/ 1089660 w 1219200"/>
                <a:gd name="connsiteY389" fmla="*/ 408622 h 1800225"/>
                <a:gd name="connsiteX390" fmla="*/ 1121093 w 1219200"/>
                <a:gd name="connsiteY390" fmla="*/ 376238 h 1800225"/>
                <a:gd name="connsiteX391" fmla="*/ 1134427 w 1219200"/>
                <a:gd name="connsiteY391" fmla="*/ 371475 h 1800225"/>
                <a:gd name="connsiteX392" fmla="*/ 1143952 w 1219200"/>
                <a:gd name="connsiteY392" fmla="*/ 372428 h 1800225"/>
                <a:gd name="connsiteX393" fmla="*/ 1196340 w 1219200"/>
                <a:gd name="connsiteY393" fmla="*/ 385763 h 1800225"/>
                <a:gd name="connsiteX394" fmla="*/ 1203960 w 1219200"/>
                <a:gd name="connsiteY394" fmla="*/ 394335 h 1800225"/>
                <a:gd name="connsiteX395" fmla="*/ 1201102 w 1219200"/>
                <a:gd name="connsiteY395" fmla="*/ 411480 h 1800225"/>
                <a:gd name="connsiteX396" fmla="*/ 1193482 w 1219200"/>
                <a:gd name="connsiteY396" fmla="*/ 422910 h 1800225"/>
                <a:gd name="connsiteX397" fmla="*/ 1173480 w 1219200"/>
                <a:gd name="connsiteY397" fmla="*/ 434340 h 1800225"/>
                <a:gd name="connsiteX398" fmla="*/ 1163955 w 1219200"/>
                <a:gd name="connsiteY398" fmla="*/ 443865 h 1800225"/>
                <a:gd name="connsiteX399" fmla="*/ 1153477 w 1219200"/>
                <a:gd name="connsiteY399" fmla="*/ 470535 h 1800225"/>
                <a:gd name="connsiteX400" fmla="*/ 1156335 w 1219200"/>
                <a:gd name="connsiteY400" fmla="*/ 496253 h 1800225"/>
                <a:gd name="connsiteX401" fmla="*/ 1167765 w 1219200"/>
                <a:gd name="connsiteY401" fmla="*/ 520065 h 1800225"/>
                <a:gd name="connsiteX402" fmla="*/ 1188720 w 1219200"/>
                <a:gd name="connsiteY402" fmla="*/ 552450 h 1800225"/>
                <a:gd name="connsiteX403" fmla="*/ 1213485 w 1219200"/>
                <a:gd name="connsiteY403" fmla="*/ 581978 h 1800225"/>
                <a:gd name="connsiteX404" fmla="*/ 1219200 w 1219200"/>
                <a:gd name="connsiteY404" fmla="*/ 594360 h 1800225"/>
                <a:gd name="connsiteX405" fmla="*/ 1218248 w 1219200"/>
                <a:gd name="connsiteY405" fmla="*/ 608647 h 1800225"/>
                <a:gd name="connsiteX406" fmla="*/ 1210627 w 1219200"/>
                <a:gd name="connsiteY406" fmla="*/ 636270 h 1800225"/>
                <a:gd name="connsiteX407" fmla="*/ 1209675 w 1219200"/>
                <a:gd name="connsiteY407" fmla="*/ 665797 h 1800225"/>
                <a:gd name="connsiteX408" fmla="*/ 1205865 w 1219200"/>
                <a:gd name="connsiteY408" fmla="*/ 673418 h 1800225"/>
                <a:gd name="connsiteX409" fmla="*/ 1193482 w 1219200"/>
                <a:gd name="connsiteY409" fmla="*/ 680085 h 1800225"/>
                <a:gd name="connsiteX410" fmla="*/ 1183005 w 1219200"/>
                <a:gd name="connsiteY410" fmla="*/ 688657 h 1800225"/>
                <a:gd name="connsiteX411" fmla="*/ 1165860 w 1219200"/>
                <a:gd name="connsiteY411" fmla="*/ 716280 h 1800225"/>
                <a:gd name="connsiteX412" fmla="*/ 1155382 w 1219200"/>
                <a:gd name="connsiteY412" fmla="*/ 727710 h 1800225"/>
                <a:gd name="connsiteX413" fmla="*/ 1123950 w 1219200"/>
                <a:gd name="connsiteY413" fmla="*/ 749618 h 1800225"/>
                <a:gd name="connsiteX414" fmla="*/ 1109663 w 1219200"/>
                <a:gd name="connsiteY414" fmla="*/ 763905 h 1800225"/>
                <a:gd name="connsiteX415" fmla="*/ 1098232 w 1219200"/>
                <a:gd name="connsiteY415" fmla="*/ 782955 h 1800225"/>
                <a:gd name="connsiteX416" fmla="*/ 1096327 w 1219200"/>
                <a:gd name="connsiteY416" fmla="*/ 794385 h 1800225"/>
                <a:gd name="connsiteX417" fmla="*/ 1094423 w 1219200"/>
                <a:gd name="connsiteY417" fmla="*/ 817245 h 1800225"/>
                <a:gd name="connsiteX418" fmla="*/ 1092518 w 1219200"/>
                <a:gd name="connsiteY418" fmla="*/ 825818 h 1800225"/>
                <a:gd name="connsiteX419" fmla="*/ 1085850 w 1219200"/>
                <a:gd name="connsiteY419" fmla="*/ 829628 h 1800225"/>
                <a:gd name="connsiteX420" fmla="*/ 1078230 w 1219200"/>
                <a:gd name="connsiteY420" fmla="*/ 830580 h 1800225"/>
                <a:gd name="connsiteX421" fmla="*/ 1062038 w 1219200"/>
                <a:gd name="connsiteY421" fmla="*/ 827722 h 1800225"/>
                <a:gd name="connsiteX422" fmla="*/ 1045845 w 1219200"/>
                <a:gd name="connsiteY422" fmla="*/ 827722 h 1800225"/>
                <a:gd name="connsiteX423" fmla="*/ 1002982 w 1219200"/>
                <a:gd name="connsiteY423" fmla="*/ 842963 h 1800225"/>
                <a:gd name="connsiteX424" fmla="*/ 976313 w 1219200"/>
                <a:gd name="connsiteY424" fmla="*/ 841057 h 1800225"/>
                <a:gd name="connsiteX425" fmla="*/ 966788 w 1219200"/>
                <a:gd name="connsiteY425" fmla="*/ 847725 h 1800225"/>
                <a:gd name="connsiteX426" fmla="*/ 962977 w 1219200"/>
                <a:gd name="connsiteY426" fmla="*/ 887730 h 1800225"/>
                <a:gd name="connsiteX427" fmla="*/ 970598 w 1219200"/>
                <a:gd name="connsiteY427" fmla="*/ 898207 h 1800225"/>
                <a:gd name="connsiteX428" fmla="*/ 981075 w 1219200"/>
                <a:gd name="connsiteY428" fmla="*/ 904875 h 1800225"/>
                <a:gd name="connsiteX429" fmla="*/ 990600 w 1219200"/>
                <a:gd name="connsiteY429" fmla="*/ 914400 h 1800225"/>
                <a:gd name="connsiteX430" fmla="*/ 997268 w 1219200"/>
                <a:gd name="connsiteY430" fmla="*/ 928688 h 1800225"/>
                <a:gd name="connsiteX431" fmla="*/ 1002030 w 1219200"/>
                <a:gd name="connsiteY431" fmla="*/ 940118 h 1800225"/>
                <a:gd name="connsiteX432" fmla="*/ 1007745 w 1219200"/>
                <a:gd name="connsiteY432" fmla="*/ 947738 h 1800225"/>
                <a:gd name="connsiteX433" fmla="*/ 1020127 w 1219200"/>
                <a:gd name="connsiteY433" fmla="*/ 953453 h 1800225"/>
                <a:gd name="connsiteX434" fmla="*/ 1062038 w 1219200"/>
                <a:gd name="connsiteY434" fmla="*/ 962978 h 1800225"/>
                <a:gd name="connsiteX435" fmla="*/ 1080135 w 1219200"/>
                <a:gd name="connsiteY435" fmla="*/ 960120 h 1800225"/>
                <a:gd name="connsiteX436" fmla="*/ 1086802 w 1219200"/>
                <a:gd name="connsiteY436" fmla="*/ 961072 h 1800225"/>
                <a:gd name="connsiteX437" fmla="*/ 1092518 w 1219200"/>
                <a:gd name="connsiteY437" fmla="*/ 965835 h 1800225"/>
                <a:gd name="connsiteX438" fmla="*/ 1102043 w 1219200"/>
                <a:gd name="connsiteY438" fmla="*/ 979170 h 1800225"/>
                <a:gd name="connsiteX439" fmla="*/ 1108710 w 1219200"/>
                <a:gd name="connsiteY439" fmla="*/ 982028 h 1800225"/>
                <a:gd name="connsiteX440" fmla="*/ 1120140 w 1219200"/>
                <a:gd name="connsiteY440" fmla="*/ 976313 h 1800225"/>
                <a:gd name="connsiteX441" fmla="*/ 1129665 w 1219200"/>
                <a:gd name="connsiteY441" fmla="*/ 963930 h 1800225"/>
                <a:gd name="connsiteX442" fmla="*/ 1140143 w 1219200"/>
                <a:gd name="connsiteY442" fmla="*/ 954405 h 1800225"/>
                <a:gd name="connsiteX443" fmla="*/ 1153477 w 1219200"/>
                <a:gd name="connsiteY443" fmla="*/ 955357 h 1800225"/>
                <a:gd name="connsiteX444" fmla="*/ 1163002 w 1219200"/>
                <a:gd name="connsiteY444" fmla="*/ 968693 h 1800225"/>
                <a:gd name="connsiteX445" fmla="*/ 1163002 w 1219200"/>
                <a:gd name="connsiteY445" fmla="*/ 984885 h 1800225"/>
                <a:gd name="connsiteX446" fmla="*/ 1155382 w 1219200"/>
                <a:gd name="connsiteY446" fmla="*/ 1000125 h 1800225"/>
                <a:gd name="connsiteX447" fmla="*/ 1145857 w 1219200"/>
                <a:gd name="connsiteY447" fmla="*/ 1013460 h 1800225"/>
                <a:gd name="connsiteX448" fmla="*/ 1122045 w 1219200"/>
                <a:gd name="connsiteY448" fmla="*/ 1032510 h 1800225"/>
                <a:gd name="connsiteX449" fmla="*/ 1101090 w 1219200"/>
                <a:gd name="connsiteY449" fmla="*/ 1035368 h 1800225"/>
                <a:gd name="connsiteX450" fmla="*/ 1042035 w 1219200"/>
                <a:gd name="connsiteY450" fmla="*/ 1011555 h 1800225"/>
                <a:gd name="connsiteX451" fmla="*/ 1030605 w 1219200"/>
                <a:gd name="connsiteY451" fmla="*/ 1012507 h 1800225"/>
                <a:gd name="connsiteX452" fmla="*/ 1019175 w 1219200"/>
                <a:gd name="connsiteY452" fmla="*/ 1018222 h 1800225"/>
                <a:gd name="connsiteX453" fmla="*/ 1007745 w 1219200"/>
                <a:gd name="connsiteY453" fmla="*/ 1029653 h 1800225"/>
                <a:gd name="connsiteX454" fmla="*/ 1003935 w 1219200"/>
                <a:gd name="connsiteY454" fmla="*/ 1039178 h 1800225"/>
                <a:gd name="connsiteX455" fmla="*/ 1000125 w 1219200"/>
                <a:gd name="connsiteY455" fmla="*/ 1047750 h 1800225"/>
                <a:gd name="connsiteX456" fmla="*/ 996315 w 1219200"/>
                <a:gd name="connsiteY456" fmla="*/ 1055370 h 1800225"/>
                <a:gd name="connsiteX457" fmla="*/ 982980 w 1219200"/>
                <a:gd name="connsiteY457" fmla="*/ 1060132 h 1800225"/>
                <a:gd name="connsiteX458" fmla="*/ 978218 w 1219200"/>
                <a:gd name="connsiteY458" fmla="*/ 1066800 h 1800225"/>
                <a:gd name="connsiteX459" fmla="*/ 945832 w 1219200"/>
                <a:gd name="connsiteY459" fmla="*/ 1174432 h 1800225"/>
                <a:gd name="connsiteX460" fmla="*/ 941070 w 1219200"/>
                <a:gd name="connsiteY460" fmla="*/ 1194435 h 1800225"/>
                <a:gd name="connsiteX461" fmla="*/ 961073 w 1219200"/>
                <a:gd name="connsiteY461" fmla="*/ 1193482 h 1800225"/>
                <a:gd name="connsiteX462" fmla="*/ 971550 w 1219200"/>
                <a:gd name="connsiteY462" fmla="*/ 1189673 h 1800225"/>
                <a:gd name="connsiteX463" fmla="*/ 1034415 w 1219200"/>
                <a:gd name="connsiteY463" fmla="*/ 1197293 h 1800225"/>
                <a:gd name="connsiteX464" fmla="*/ 1048702 w 1219200"/>
                <a:gd name="connsiteY464" fmla="*/ 1204913 h 1800225"/>
                <a:gd name="connsiteX465" fmla="*/ 1058227 w 1219200"/>
                <a:gd name="connsiteY465" fmla="*/ 1219200 h 1800225"/>
                <a:gd name="connsiteX466" fmla="*/ 1062990 w 1219200"/>
                <a:gd name="connsiteY466" fmla="*/ 1240155 h 1800225"/>
                <a:gd name="connsiteX467" fmla="*/ 1062990 w 1219200"/>
                <a:gd name="connsiteY467" fmla="*/ 1245870 h 1800225"/>
                <a:gd name="connsiteX468" fmla="*/ 1065848 w 1219200"/>
                <a:gd name="connsiteY468" fmla="*/ 1256348 h 1800225"/>
                <a:gd name="connsiteX469" fmla="*/ 1063943 w 1219200"/>
                <a:gd name="connsiteY469" fmla="*/ 1263015 h 1800225"/>
                <a:gd name="connsiteX470" fmla="*/ 1059180 w 1219200"/>
                <a:gd name="connsiteY470" fmla="*/ 1263968 h 1800225"/>
                <a:gd name="connsiteX471" fmla="*/ 1054418 w 1219200"/>
                <a:gd name="connsiteY471" fmla="*/ 1263968 h 1800225"/>
                <a:gd name="connsiteX472" fmla="*/ 1051560 w 1219200"/>
                <a:gd name="connsiteY472" fmla="*/ 1264920 h 1800225"/>
                <a:gd name="connsiteX473" fmla="*/ 1053465 w 1219200"/>
                <a:gd name="connsiteY473" fmla="*/ 1277303 h 1800225"/>
                <a:gd name="connsiteX474" fmla="*/ 1058227 w 1219200"/>
                <a:gd name="connsiteY474" fmla="*/ 1283018 h 1800225"/>
                <a:gd name="connsiteX475" fmla="*/ 1063943 w 1219200"/>
                <a:gd name="connsiteY475" fmla="*/ 1287780 h 1800225"/>
                <a:gd name="connsiteX476" fmla="*/ 1080135 w 1219200"/>
                <a:gd name="connsiteY476" fmla="*/ 1323975 h 1800225"/>
                <a:gd name="connsiteX477" fmla="*/ 1085850 w 1219200"/>
                <a:gd name="connsiteY477" fmla="*/ 1344930 h 1800225"/>
                <a:gd name="connsiteX478" fmla="*/ 1089660 w 1219200"/>
                <a:gd name="connsiteY478" fmla="*/ 1355407 h 1800225"/>
                <a:gd name="connsiteX479" fmla="*/ 1095375 w 1219200"/>
                <a:gd name="connsiteY479" fmla="*/ 1362075 h 1800225"/>
                <a:gd name="connsiteX480" fmla="*/ 1082993 w 1219200"/>
                <a:gd name="connsiteY480" fmla="*/ 1374457 h 1800225"/>
                <a:gd name="connsiteX481" fmla="*/ 1074420 w 1219200"/>
                <a:gd name="connsiteY481" fmla="*/ 1385888 h 1800225"/>
                <a:gd name="connsiteX482" fmla="*/ 1038225 w 1219200"/>
                <a:gd name="connsiteY482" fmla="*/ 1416368 h 1800225"/>
                <a:gd name="connsiteX483" fmla="*/ 1074420 w 1219200"/>
                <a:gd name="connsiteY483" fmla="*/ 1439228 h 1800225"/>
                <a:gd name="connsiteX484" fmla="*/ 1084898 w 1219200"/>
                <a:gd name="connsiteY484" fmla="*/ 1438275 h 1800225"/>
                <a:gd name="connsiteX485" fmla="*/ 1112520 w 1219200"/>
                <a:gd name="connsiteY485" fmla="*/ 1427798 h 1800225"/>
                <a:gd name="connsiteX486" fmla="*/ 1123950 w 1219200"/>
                <a:gd name="connsiteY486" fmla="*/ 1430655 h 1800225"/>
                <a:gd name="connsiteX487" fmla="*/ 1131570 w 1219200"/>
                <a:gd name="connsiteY487" fmla="*/ 1443990 h 1800225"/>
                <a:gd name="connsiteX488" fmla="*/ 1130618 w 1219200"/>
                <a:gd name="connsiteY488" fmla="*/ 1459230 h 1800225"/>
                <a:gd name="connsiteX489" fmla="*/ 1122998 w 1219200"/>
                <a:gd name="connsiteY489" fmla="*/ 1473518 h 1800225"/>
                <a:gd name="connsiteX490" fmla="*/ 1114425 w 1219200"/>
                <a:gd name="connsiteY490" fmla="*/ 1484948 h 1800225"/>
                <a:gd name="connsiteX491" fmla="*/ 1088707 w 1219200"/>
                <a:gd name="connsiteY491" fmla="*/ 1503998 h 1800225"/>
                <a:gd name="connsiteX492" fmla="*/ 1079182 w 1219200"/>
                <a:gd name="connsiteY492" fmla="*/ 1515428 h 1800225"/>
                <a:gd name="connsiteX493" fmla="*/ 1052513 w 1219200"/>
                <a:gd name="connsiteY493" fmla="*/ 1565910 h 1800225"/>
                <a:gd name="connsiteX494" fmla="*/ 1045845 w 1219200"/>
                <a:gd name="connsiteY494" fmla="*/ 1581150 h 1800225"/>
                <a:gd name="connsiteX495" fmla="*/ 1044893 w 1219200"/>
                <a:gd name="connsiteY495" fmla="*/ 1599248 h 1800225"/>
                <a:gd name="connsiteX496" fmla="*/ 1052513 w 1219200"/>
                <a:gd name="connsiteY496" fmla="*/ 1624013 h 1800225"/>
                <a:gd name="connsiteX497" fmla="*/ 1052513 w 1219200"/>
                <a:gd name="connsiteY497" fmla="*/ 1631632 h 1800225"/>
                <a:gd name="connsiteX498" fmla="*/ 1050607 w 1219200"/>
                <a:gd name="connsiteY498" fmla="*/ 1632585 h 1800225"/>
                <a:gd name="connsiteX499" fmla="*/ 1047750 w 1219200"/>
                <a:gd name="connsiteY499" fmla="*/ 1631632 h 1800225"/>
                <a:gd name="connsiteX500" fmla="*/ 1018223 w 1219200"/>
                <a:gd name="connsiteY500" fmla="*/ 1637348 h 1800225"/>
                <a:gd name="connsiteX501" fmla="*/ 1012507 w 1219200"/>
                <a:gd name="connsiteY501" fmla="*/ 1641157 h 1800225"/>
                <a:gd name="connsiteX502" fmla="*/ 1008698 w 1219200"/>
                <a:gd name="connsiteY502" fmla="*/ 1647825 h 1800225"/>
                <a:gd name="connsiteX503" fmla="*/ 1009650 w 1219200"/>
                <a:gd name="connsiteY503" fmla="*/ 1652588 h 1800225"/>
                <a:gd name="connsiteX504" fmla="*/ 1013460 w 1219200"/>
                <a:gd name="connsiteY504" fmla="*/ 1656398 h 1800225"/>
                <a:gd name="connsiteX505" fmla="*/ 1019175 w 1219200"/>
                <a:gd name="connsiteY505" fmla="*/ 1665923 h 1800225"/>
                <a:gd name="connsiteX506" fmla="*/ 1026795 w 1219200"/>
                <a:gd name="connsiteY506" fmla="*/ 1683068 h 1800225"/>
                <a:gd name="connsiteX507" fmla="*/ 1027748 w 1219200"/>
                <a:gd name="connsiteY507" fmla="*/ 1690688 h 1800225"/>
                <a:gd name="connsiteX508" fmla="*/ 1026795 w 1219200"/>
                <a:gd name="connsiteY508" fmla="*/ 1703070 h 1800225"/>
                <a:gd name="connsiteX509" fmla="*/ 1024890 w 1219200"/>
                <a:gd name="connsiteY509" fmla="*/ 1708785 h 1800225"/>
                <a:gd name="connsiteX510" fmla="*/ 1019175 w 1219200"/>
                <a:gd name="connsiteY510" fmla="*/ 1721168 h 1800225"/>
                <a:gd name="connsiteX511" fmla="*/ 1017270 w 1219200"/>
                <a:gd name="connsiteY511" fmla="*/ 1727835 h 1800225"/>
                <a:gd name="connsiteX512" fmla="*/ 1018223 w 1219200"/>
                <a:gd name="connsiteY512" fmla="*/ 1733550 h 1800225"/>
                <a:gd name="connsiteX513" fmla="*/ 1020127 w 1219200"/>
                <a:gd name="connsiteY513" fmla="*/ 1744028 h 1800225"/>
                <a:gd name="connsiteX514" fmla="*/ 1020127 w 1219200"/>
                <a:gd name="connsiteY514" fmla="*/ 1749743 h 1800225"/>
                <a:gd name="connsiteX515" fmla="*/ 1016318 w 1219200"/>
                <a:gd name="connsiteY515" fmla="*/ 1771650 h 1800225"/>
                <a:gd name="connsiteX516" fmla="*/ 1007745 w 1219200"/>
                <a:gd name="connsiteY516" fmla="*/ 1791653 h 1800225"/>
                <a:gd name="connsiteX517" fmla="*/ 994410 w 1219200"/>
                <a:gd name="connsiteY517" fmla="*/ 1804988 h 1800225"/>
                <a:gd name="connsiteX518" fmla="*/ 977265 w 1219200"/>
                <a:gd name="connsiteY518" fmla="*/ 1808798 h 1800225"/>
                <a:gd name="connsiteX519" fmla="*/ 924877 w 1219200"/>
                <a:gd name="connsiteY519" fmla="*/ 1794510 h 1800225"/>
                <a:gd name="connsiteX520" fmla="*/ 908685 w 1219200"/>
                <a:gd name="connsiteY520" fmla="*/ 1793557 h 1800225"/>
                <a:gd name="connsiteX521" fmla="*/ 876300 w 1219200"/>
                <a:gd name="connsiteY521" fmla="*/ 1799273 h 1800225"/>
                <a:gd name="connsiteX522" fmla="*/ 861060 w 1219200"/>
                <a:gd name="connsiteY522" fmla="*/ 1797368 h 1800225"/>
                <a:gd name="connsiteX523" fmla="*/ 848677 w 1219200"/>
                <a:gd name="connsiteY523" fmla="*/ 1792605 h 1800225"/>
                <a:gd name="connsiteX524" fmla="*/ 825818 w 1219200"/>
                <a:gd name="connsiteY524" fmla="*/ 1799273 h 1800225"/>
                <a:gd name="connsiteX525" fmla="*/ 814388 w 1219200"/>
                <a:gd name="connsiteY525" fmla="*/ 1799273 h 1800225"/>
                <a:gd name="connsiteX526" fmla="*/ 804863 w 1219200"/>
                <a:gd name="connsiteY526" fmla="*/ 1795463 h 1800225"/>
                <a:gd name="connsiteX527" fmla="*/ 786765 w 1219200"/>
                <a:gd name="connsiteY527" fmla="*/ 1783080 h 1800225"/>
                <a:gd name="connsiteX528" fmla="*/ 776288 w 1219200"/>
                <a:gd name="connsiteY528" fmla="*/ 1781175 h 1800225"/>
                <a:gd name="connsiteX529" fmla="*/ 699135 w 1219200"/>
                <a:gd name="connsiteY529" fmla="*/ 1788795 h 1800225"/>
                <a:gd name="connsiteX530" fmla="*/ 678180 w 1219200"/>
                <a:gd name="connsiteY530" fmla="*/ 1794510 h 1800225"/>
                <a:gd name="connsiteX531" fmla="*/ 667702 w 1219200"/>
                <a:gd name="connsiteY531" fmla="*/ 1795463 h 1800225"/>
                <a:gd name="connsiteX532" fmla="*/ 657225 w 1219200"/>
                <a:gd name="connsiteY532" fmla="*/ 1792605 h 1800225"/>
                <a:gd name="connsiteX533" fmla="*/ 628650 w 1219200"/>
                <a:gd name="connsiteY533" fmla="*/ 1772603 h 1800225"/>
                <a:gd name="connsiteX534" fmla="*/ 626745 w 1219200"/>
                <a:gd name="connsiteY534" fmla="*/ 1772603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</a:cxnLst>
              <a:rect l="l" t="t" r="r" b="b"/>
              <a:pathLst>
                <a:path w="1219200" h="1800225">
                  <a:moveTo>
                    <a:pt x="626745" y="1772603"/>
                  </a:moveTo>
                  <a:lnTo>
                    <a:pt x="627698" y="1765935"/>
                  </a:lnTo>
                  <a:lnTo>
                    <a:pt x="637223" y="1724978"/>
                  </a:lnTo>
                  <a:lnTo>
                    <a:pt x="636270" y="1713548"/>
                  </a:lnTo>
                  <a:lnTo>
                    <a:pt x="631507" y="1710690"/>
                  </a:lnTo>
                  <a:lnTo>
                    <a:pt x="628650" y="1708785"/>
                  </a:lnTo>
                  <a:lnTo>
                    <a:pt x="626745" y="1704975"/>
                  </a:lnTo>
                  <a:lnTo>
                    <a:pt x="623888" y="1699260"/>
                  </a:lnTo>
                  <a:lnTo>
                    <a:pt x="623888" y="1692593"/>
                  </a:lnTo>
                  <a:lnTo>
                    <a:pt x="625793" y="1666875"/>
                  </a:lnTo>
                  <a:lnTo>
                    <a:pt x="623888" y="1659255"/>
                  </a:lnTo>
                  <a:lnTo>
                    <a:pt x="621982" y="1654493"/>
                  </a:lnTo>
                  <a:lnTo>
                    <a:pt x="572452" y="1643063"/>
                  </a:lnTo>
                  <a:lnTo>
                    <a:pt x="535305" y="1644015"/>
                  </a:lnTo>
                  <a:lnTo>
                    <a:pt x="530543" y="1642110"/>
                  </a:lnTo>
                  <a:lnTo>
                    <a:pt x="523875" y="1638300"/>
                  </a:lnTo>
                  <a:lnTo>
                    <a:pt x="510540" y="1625918"/>
                  </a:lnTo>
                  <a:lnTo>
                    <a:pt x="504825" y="1620203"/>
                  </a:lnTo>
                  <a:lnTo>
                    <a:pt x="501968" y="1615440"/>
                  </a:lnTo>
                  <a:lnTo>
                    <a:pt x="503873" y="1608773"/>
                  </a:lnTo>
                  <a:lnTo>
                    <a:pt x="507682" y="1600200"/>
                  </a:lnTo>
                  <a:lnTo>
                    <a:pt x="512445" y="1593532"/>
                  </a:lnTo>
                  <a:lnTo>
                    <a:pt x="513398" y="1589723"/>
                  </a:lnTo>
                  <a:lnTo>
                    <a:pt x="514350" y="1585913"/>
                  </a:lnTo>
                  <a:lnTo>
                    <a:pt x="513398" y="1578293"/>
                  </a:lnTo>
                  <a:lnTo>
                    <a:pt x="511493" y="1574482"/>
                  </a:lnTo>
                  <a:lnTo>
                    <a:pt x="509588" y="1572578"/>
                  </a:lnTo>
                  <a:lnTo>
                    <a:pt x="479107" y="1554480"/>
                  </a:lnTo>
                  <a:lnTo>
                    <a:pt x="412432" y="1528763"/>
                  </a:lnTo>
                  <a:lnTo>
                    <a:pt x="401955" y="1522095"/>
                  </a:lnTo>
                  <a:lnTo>
                    <a:pt x="399098" y="1518285"/>
                  </a:lnTo>
                  <a:lnTo>
                    <a:pt x="397193" y="1515428"/>
                  </a:lnTo>
                  <a:lnTo>
                    <a:pt x="399098" y="1505903"/>
                  </a:lnTo>
                  <a:lnTo>
                    <a:pt x="400050" y="1499235"/>
                  </a:lnTo>
                  <a:lnTo>
                    <a:pt x="401002" y="1496378"/>
                  </a:lnTo>
                  <a:lnTo>
                    <a:pt x="399098" y="1491615"/>
                  </a:lnTo>
                  <a:lnTo>
                    <a:pt x="390525" y="1472565"/>
                  </a:lnTo>
                  <a:lnTo>
                    <a:pt x="388620" y="1464945"/>
                  </a:lnTo>
                  <a:lnTo>
                    <a:pt x="386715" y="1457325"/>
                  </a:lnTo>
                  <a:lnTo>
                    <a:pt x="384810" y="1449705"/>
                  </a:lnTo>
                  <a:lnTo>
                    <a:pt x="381000" y="1443038"/>
                  </a:lnTo>
                  <a:lnTo>
                    <a:pt x="379095" y="1440180"/>
                  </a:lnTo>
                  <a:lnTo>
                    <a:pt x="376238" y="1439228"/>
                  </a:lnTo>
                  <a:lnTo>
                    <a:pt x="323850" y="1444943"/>
                  </a:lnTo>
                  <a:lnTo>
                    <a:pt x="315277" y="1443038"/>
                  </a:lnTo>
                  <a:lnTo>
                    <a:pt x="308610" y="1440180"/>
                  </a:lnTo>
                  <a:lnTo>
                    <a:pt x="305752" y="1437323"/>
                  </a:lnTo>
                  <a:lnTo>
                    <a:pt x="303848" y="1434465"/>
                  </a:lnTo>
                  <a:lnTo>
                    <a:pt x="300990" y="1423988"/>
                  </a:lnTo>
                  <a:lnTo>
                    <a:pt x="298132" y="1414463"/>
                  </a:lnTo>
                  <a:lnTo>
                    <a:pt x="296227" y="1408748"/>
                  </a:lnTo>
                  <a:lnTo>
                    <a:pt x="296227" y="1403985"/>
                  </a:lnTo>
                  <a:lnTo>
                    <a:pt x="298132" y="1402080"/>
                  </a:lnTo>
                  <a:lnTo>
                    <a:pt x="300990" y="1400175"/>
                  </a:lnTo>
                  <a:lnTo>
                    <a:pt x="324802" y="1396365"/>
                  </a:lnTo>
                  <a:lnTo>
                    <a:pt x="328613" y="1394460"/>
                  </a:lnTo>
                  <a:lnTo>
                    <a:pt x="332423" y="1390650"/>
                  </a:lnTo>
                  <a:lnTo>
                    <a:pt x="334327" y="1384935"/>
                  </a:lnTo>
                  <a:lnTo>
                    <a:pt x="335280" y="1381125"/>
                  </a:lnTo>
                  <a:lnTo>
                    <a:pt x="333375" y="1377315"/>
                  </a:lnTo>
                  <a:lnTo>
                    <a:pt x="326707" y="1362075"/>
                  </a:lnTo>
                  <a:lnTo>
                    <a:pt x="320993" y="1354455"/>
                  </a:lnTo>
                  <a:lnTo>
                    <a:pt x="310515" y="1345882"/>
                  </a:lnTo>
                  <a:lnTo>
                    <a:pt x="306705" y="1342073"/>
                  </a:lnTo>
                  <a:lnTo>
                    <a:pt x="304800" y="1339215"/>
                  </a:lnTo>
                  <a:lnTo>
                    <a:pt x="302895" y="1329690"/>
                  </a:lnTo>
                  <a:lnTo>
                    <a:pt x="300038" y="1323975"/>
                  </a:lnTo>
                  <a:lnTo>
                    <a:pt x="294323" y="1313498"/>
                  </a:lnTo>
                  <a:lnTo>
                    <a:pt x="290513" y="1309688"/>
                  </a:lnTo>
                  <a:lnTo>
                    <a:pt x="287655" y="1308735"/>
                  </a:lnTo>
                  <a:lnTo>
                    <a:pt x="285750" y="1310640"/>
                  </a:lnTo>
                  <a:lnTo>
                    <a:pt x="282893" y="1314450"/>
                  </a:lnTo>
                  <a:lnTo>
                    <a:pt x="278130" y="1318260"/>
                  </a:lnTo>
                  <a:lnTo>
                    <a:pt x="275273" y="1318260"/>
                  </a:lnTo>
                  <a:lnTo>
                    <a:pt x="272415" y="1317307"/>
                  </a:lnTo>
                  <a:lnTo>
                    <a:pt x="265748" y="1313498"/>
                  </a:lnTo>
                  <a:lnTo>
                    <a:pt x="262890" y="1312545"/>
                  </a:lnTo>
                  <a:lnTo>
                    <a:pt x="260032" y="1312545"/>
                  </a:lnTo>
                  <a:lnTo>
                    <a:pt x="255270" y="1311593"/>
                  </a:lnTo>
                  <a:lnTo>
                    <a:pt x="251460" y="1308735"/>
                  </a:lnTo>
                  <a:lnTo>
                    <a:pt x="243840" y="1303973"/>
                  </a:lnTo>
                  <a:lnTo>
                    <a:pt x="240982" y="1300163"/>
                  </a:lnTo>
                  <a:lnTo>
                    <a:pt x="240030" y="1296353"/>
                  </a:lnTo>
                  <a:lnTo>
                    <a:pt x="240030" y="1290638"/>
                  </a:lnTo>
                  <a:lnTo>
                    <a:pt x="240030" y="1284923"/>
                  </a:lnTo>
                  <a:lnTo>
                    <a:pt x="240982" y="1274445"/>
                  </a:lnTo>
                  <a:lnTo>
                    <a:pt x="242888" y="1267778"/>
                  </a:lnTo>
                  <a:lnTo>
                    <a:pt x="245745" y="1261110"/>
                  </a:lnTo>
                  <a:lnTo>
                    <a:pt x="246698" y="1255395"/>
                  </a:lnTo>
                  <a:lnTo>
                    <a:pt x="245745" y="1247775"/>
                  </a:lnTo>
                  <a:lnTo>
                    <a:pt x="243840" y="1244918"/>
                  </a:lnTo>
                  <a:lnTo>
                    <a:pt x="240982" y="1243965"/>
                  </a:lnTo>
                  <a:lnTo>
                    <a:pt x="233363" y="1242060"/>
                  </a:lnTo>
                  <a:lnTo>
                    <a:pt x="226695" y="1239203"/>
                  </a:lnTo>
                  <a:lnTo>
                    <a:pt x="220980" y="1234440"/>
                  </a:lnTo>
                  <a:lnTo>
                    <a:pt x="219075" y="1231582"/>
                  </a:lnTo>
                  <a:lnTo>
                    <a:pt x="217170" y="1228725"/>
                  </a:lnTo>
                  <a:lnTo>
                    <a:pt x="218123" y="1222057"/>
                  </a:lnTo>
                  <a:lnTo>
                    <a:pt x="221932" y="1212532"/>
                  </a:lnTo>
                  <a:lnTo>
                    <a:pt x="222885" y="1209675"/>
                  </a:lnTo>
                  <a:lnTo>
                    <a:pt x="222885" y="1204913"/>
                  </a:lnTo>
                  <a:lnTo>
                    <a:pt x="221932" y="1200150"/>
                  </a:lnTo>
                  <a:lnTo>
                    <a:pt x="215265" y="1183005"/>
                  </a:lnTo>
                  <a:lnTo>
                    <a:pt x="214313" y="1180148"/>
                  </a:lnTo>
                  <a:lnTo>
                    <a:pt x="214313" y="1176338"/>
                  </a:lnTo>
                  <a:lnTo>
                    <a:pt x="215265" y="1169670"/>
                  </a:lnTo>
                  <a:lnTo>
                    <a:pt x="215265" y="1165860"/>
                  </a:lnTo>
                  <a:lnTo>
                    <a:pt x="213360" y="1153478"/>
                  </a:lnTo>
                  <a:lnTo>
                    <a:pt x="211455" y="1133475"/>
                  </a:lnTo>
                  <a:lnTo>
                    <a:pt x="211455" y="1130618"/>
                  </a:lnTo>
                  <a:lnTo>
                    <a:pt x="213360" y="1124903"/>
                  </a:lnTo>
                  <a:lnTo>
                    <a:pt x="215265" y="1121093"/>
                  </a:lnTo>
                  <a:lnTo>
                    <a:pt x="218123" y="1117282"/>
                  </a:lnTo>
                  <a:lnTo>
                    <a:pt x="230505" y="1106805"/>
                  </a:lnTo>
                  <a:lnTo>
                    <a:pt x="239077" y="1095375"/>
                  </a:lnTo>
                  <a:lnTo>
                    <a:pt x="240982" y="1088707"/>
                  </a:lnTo>
                  <a:lnTo>
                    <a:pt x="241935" y="1083945"/>
                  </a:lnTo>
                  <a:lnTo>
                    <a:pt x="240982" y="1081088"/>
                  </a:lnTo>
                  <a:lnTo>
                    <a:pt x="238125" y="1080135"/>
                  </a:lnTo>
                  <a:lnTo>
                    <a:pt x="235268" y="1080135"/>
                  </a:lnTo>
                  <a:lnTo>
                    <a:pt x="224790" y="1082993"/>
                  </a:lnTo>
                  <a:lnTo>
                    <a:pt x="222885" y="1082040"/>
                  </a:lnTo>
                  <a:lnTo>
                    <a:pt x="220980" y="1078230"/>
                  </a:lnTo>
                  <a:lnTo>
                    <a:pt x="220980" y="1071563"/>
                  </a:lnTo>
                  <a:lnTo>
                    <a:pt x="222885" y="1064895"/>
                  </a:lnTo>
                  <a:lnTo>
                    <a:pt x="223838" y="1062990"/>
                  </a:lnTo>
                  <a:lnTo>
                    <a:pt x="230505" y="1053465"/>
                  </a:lnTo>
                  <a:lnTo>
                    <a:pt x="233363" y="1047750"/>
                  </a:lnTo>
                  <a:lnTo>
                    <a:pt x="236220" y="1042035"/>
                  </a:lnTo>
                  <a:lnTo>
                    <a:pt x="237173" y="1038225"/>
                  </a:lnTo>
                  <a:lnTo>
                    <a:pt x="236220" y="1032510"/>
                  </a:lnTo>
                  <a:lnTo>
                    <a:pt x="234315" y="1023938"/>
                  </a:lnTo>
                  <a:lnTo>
                    <a:pt x="229552" y="1015365"/>
                  </a:lnTo>
                  <a:lnTo>
                    <a:pt x="227648" y="1009650"/>
                  </a:lnTo>
                  <a:lnTo>
                    <a:pt x="227648" y="1004888"/>
                  </a:lnTo>
                  <a:lnTo>
                    <a:pt x="228600" y="1001078"/>
                  </a:lnTo>
                  <a:lnTo>
                    <a:pt x="228600" y="996315"/>
                  </a:lnTo>
                  <a:lnTo>
                    <a:pt x="227648" y="992505"/>
                  </a:lnTo>
                  <a:lnTo>
                    <a:pt x="225743" y="990600"/>
                  </a:lnTo>
                  <a:lnTo>
                    <a:pt x="219075" y="989647"/>
                  </a:lnTo>
                  <a:lnTo>
                    <a:pt x="216218" y="988695"/>
                  </a:lnTo>
                  <a:lnTo>
                    <a:pt x="208598" y="986790"/>
                  </a:lnTo>
                  <a:lnTo>
                    <a:pt x="203835" y="983932"/>
                  </a:lnTo>
                  <a:lnTo>
                    <a:pt x="201930" y="981075"/>
                  </a:lnTo>
                  <a:lnTo>
                    <a:pt x="201930" y="977265"/>
                  </a:lnTo>
                  <a:lnTo>
                    <a:pt x="201930" y="965835"/>
                  </a:lnTo>
                  <a:lnTo>
                    <a:pt x="200977" y="960120"/>
                  </a:lnTo>
                  <a:lnTo>
                    <a:pt x="199073" y="952500"/>
                  </a:lnTo>
                  <a:lnTo>
                    <a:pt x="193357" y="933450"/>
                  </a:lnTo>
                  <a:lnTo>
                    <a:pt x="191452" y="924878"/>
                  </a:lnTo>
                  <a:lnTo>
                    <a:pt x="170498" y="918210"/>
                  </a:lnTo>
                  <a:lnTo>
                    <a:pt x="110490" y="914400"/>
                  </a:lnTo>
                  <a:lnTo>
                    <a:pt x="107632" y="913447"/>
                  </a:lnTo>
                  <a:lnTo>
                    <a:pt x="103823" y="911543"/>
                  </a:lnTo>
                  <a:lnTo>
                    <a:pt x="99060" y="905828"/>
                  </a:lnTo>
                  <a:lnTo>
                    <a:pt x="95250" y="903922"/>
                  </a:lnTo>
                  <a:lnTo>
                    <a:pt x="88582" y="902018"/>
                  </a:lnTo>
                  <a:lnTo>
                    <a:pt x="85725" y="900113"/>
                  </a:lnTo>
                  <a:lnTo>
                    <a:pt x="84773" y="898207"/>
                  </a:lnTo>
                  <a:lnTo>
                    <a:pt x="84773" y="895350"/>
                  </a:lnTo>
                  <a:lnTo>
                    <a:pt x="87630" y="888682"/>
                  </a:lnTo>
                  <a:lnTo>
                    <a:pt x="88582" y="886778"/>
                  </a:lnTo>
                  <a:lnTo>
                    <a:pt x="90488" y="884872"/>
                  </a:lnTo>
                  <a:lnTo>
                    <a:pt x="93345" y="883920"/>
                  </a:lnTo>
                  <a:lnTo>
                    <a:pt x="100013" y="884872"/>
                  </a:lnTo>
                  <a:lnTo>
                    <a:pt x="101918" y="883920"/>
                  </a:lnTo>
                  <a:lnTo>
                    <a:pt x="102870" y="881063"/>
                  </a:lnTo>
                  <a:lnTo>
                    <a:pt x="102870" y="876300"/>
                  </a:lnTo>
                  <a:lnTo>
                    <a:pt x="103823" y="873443"/>
                  </a:lnTo>
                  <a:lnTo>
                    <a:pt x="106680" y="873443"/>
                  </a:lnTo>
                  <a:lnTo>
                    <a:pt x="115252" y="872490"/>
                  </a:lnTo>
                  <a:lnTo>
                    <a:pt x="117157" y="871538"/>
                  </a:lnTo>
                  <a:lnTo>
                    <a:pt x="119063" y="869632"/>
                  </a:lnTo>
                  <a:lnTo>
                    <a:pt x="120968" y="867728"/>
                  </a:lnTo>
                  <a:lnTo>
                    <a:pt x="120968" y="863918"/>
                  </a:lnTo>
                  <a:lnTo>
                    <a:pt x="120968" y="861060"/>
                  </a:lnTo>
                  <a:lnTo>
                    <a:pt x="105727" y="823913"/>
                  </a:lnTo>
                  <a:lnTo>
                    <a:pt x="102870" y="814388"/>
                  </a:lnTo>
                  <a:lnTo>
                    <a:pt x="101918" y="807720"/>
                  </a:lnTo>
                  <a:lnTo>
                    <a:pt x="103823" y="804863"/>
                  </a:lnTo>
                  <a:lnTo>
                    <a:pt x="109538" y="799147"/>
                  </a:lnTo>
                  <a:lnTo>
                    <a:pt x="112395" y="794385"/>
                  </a:lnTo>
                  <a:lnTo>
                    <a:pt x="113348" y="787718"/>
                  </a:lnTo>
                  <a:lnTo>
                    <a:pt x="113348" y="776288"/>
                  </a:lnTo>
                  <a:lnTo>
                    <a:pt x="113348" y="769620"/>
                  </a:lnTo>
                  <a:lnTo>
                    <a:pt x="117157" y="748665"/>
                  </a:lnTo>
                  <a:lnTo>
                    <a:pt x="117157" y="744855"/>
                  </a:lnTo>
                  <a:lnTo>
                    <a:pt x="115252" y="742950"/>
                  </a:lnTo>
                  <a:lnTo>
                    <a:pt x="113348" y="741997"/>
                  </a:lnTo>
                  <a:lnTo>
                    <a:pt x="91440" y="741045"/>
                  </a:lnTo>
                  <a:lnTo>
                    <a:pt x="88582" y="741997"/>
                  </a:lnTo>
                  <a:lnTo>
                    <a:pt x="86677" y="742950"/>
                  </a:lnTo>
                  <a:lnTo>
                    <a:pt x="72390" y="756285"/>
                  </a:lnTo>
                  <a:lnTo>
                    <a:pt x="70485" y="757238"/>
                  </a:lnTo>
                  <a:lnTo>
                    <a:pt x="67627" y="758190"/>
                  </a:lnTo>
                  <a:lnTo>
                    <a:pt x="62865" y="757238"/>
                  </a:lnTo>
                  <a:lnTo>
                    <a:pt x="48577" y="747713"/>
                  </a:lnTo>
                  <a:lnTo>
                    <a:pt x="24765" y="738188"/>
                  </a:lnTo>
                  <a:lnTo>
                    <a:pt x="20955" y="734378"/>
                  </a:lnTo>
                  <a:lnTo>
                    <a:pt x="19050" y="731520"/>
                  </a:lnTo>
                  <a:lnTo>
                    <a:pt x="19050" y="727710"/>
                  </a:lnTo>
                  <a:lnTo>
                    <a:pt x="21907" y="718185"/>
                  </a:lnTo>
                  <a:lnTo>
                    <a:pt x="24765" y="712470"/>
                  </a:lnTo>
                  <a:lnTo>
                    <a:pt x="26670" y="711518"/>
                  </a:lnTo>
                  <a:lnTo>
                    <a:pt x="40957" y="710565"/>
                  </a:lnTo>
                  <a:lnTo>
                    <a:pt x="43815" y="709613"/>
                  </a:lnTo>
                  <a:lnTo>
                    <a:pt x="45720" y="707707"/>
                  </a:lnTo>
                  <a:lnTo>
                    <a:pt x="45720" y="702945"/>
                  </a:lnTo>
                  <a:lnTo>
                    <a:pt x="42863" y="701040"/>
                  </a:lnTo>
                  <a:lnTo>
                    <a:pt x="40005" y="699135"/>
                  </a:lnTo>
                  <a:lnTo>
                    <a:pt x="30480" y="698182"/>
                  </a:lnTo>
                  <a:lnTo>
                    <a:pt x="27623" y="697230"/>
                  </a:lnTo>
                  <a:lnTo>
                    <a:pt x="24765" y="696278"/>
                  </a:lnTo>
                  <a:lnTo>
                    <a:pt x="20002" y="689610"/>
                  </a:lnTo>
                  <a:lnTo>
                    <a:pt x="17145" y="685800"/>
                  </a:lnTo>
                  <a:lnTo>
                    <a:pt x="10477" y="680085"/>
                  </a:lnTo>
                  <a:lnTo>
                    <a:pt x="5715" y="677228"/>
                  </a:lnTo>
                  <a:lnTo>
                    <a:pt x="0" y="677228"/>
                  </a:lnTo>
                  <a:lnTo>
                    <a:pt x="12382" y="665797"/>
                  </a:lnTo>
                  <a:lnTo>
                    <a:pt x="26670" y="655320"/>
                  </a:lnTo>
                  <a:lnTo>
                    <a:pt x="33338" y="647700"/>
                  </a:lnTo>
                  <a:lnTo>
                    <a:pt x="41910" y="635318"/>
                  </a:lnTo>
                  <a:lnTo>
                    <a:pt x="42863" y="629603"/>
                  </a:lnTo>
                  <a:lnTo>
                    <a:pt x="42863" y="624840"/>
                  </a:lnTo>
                  <a:lnTo>
                    <a:pt x="42863" y="621982"/>
                  </a:lnTo>
                  <a:lnTo>
                    <a:pt x="40005" y="618172"/>
                  </a:lnTo>
                  <a:lnTo>
                    <a:pt x="37148" y="616268"/>
                  </a:lnTo>
                  <a:lnTo>
                    <a:pt x="31432" y="613410"/>
                  </a:lnTo>
                  <a:lnTo>
                    <a:pt x="22860" y="612457"/>
                  </a:lnTo>
                  <a:lnTo>
                    <a:pt x="20002" y="611505"/>
                  </a:lnTo>
                  <a:lnTo>
                    <a:pt x="18098" y="604838"/>
                  </a:lnTo>
                  <a:lnTo>
                    <a:pt x="18098" y="595313"/>
                  </a:lnTo>
                  <a:lnTo>
                    <a:pt x="20955" y="554355"/>
                  </a:lnTo>
                  <a:lnTo>
                    <a:pt x="20002" y="548640"/>
                  </a:lnTo>
                  <a:lnTo>
                    <a:pt x="19050" y="543878"/>
                  </a:lnTo>
                  <a:lnTo>
                    <a:pt x="17145" y="538163"/>
                  </a:lnTo>
                  <a:lnTo>
                    <a:pt x="16193" y="536257"/>
                  </a:lnTo>
                  <a:lnTo>
                    <a:pt x="10477" y="529590"/>
                  </a:lnTo>
                  <a:lnTo>
                    <a:pt x="8573" y="526732"/>
                  </a:lnTo>
                  <a:lnTo>
                    <a:pt x="6668" y="521970"/>
                  </a:lnTo>
                  <a:lnTo>
                    <a:pt x="7620" y="519113"/>
                  </a:lnTo>
                  <a:lnTo>
                    <a:pt x="8573" y="516255"/>
                  </a:lnTo>
                  <a:lnTo>
                    <a:pt x="15240" y="506730"/>
                  </a:lnTo>
                  <a:lnTo>
                    <a:pt x="19050" y="503872"/>
                  </a:lnTo>
                  <a:lnTo>
                    <a:pt x="27623" y="501968"/>
                  </a:lnTo>
                  <a:lnTo>
                    <a:pt x="30480" y="500063"/>
                  </a:lnTo>
                  <a:lnTo>
                    <a:pt x="33338" y="496253"/>
                  </a:lnTo>
                  <a:lnTo>
                    <a:pt x="36195" y="488632"/>
                  </a:lnTo>
                  <a:lnTo>
                    <a:pt x="38100" y="475297"/>
                  </a:lnTo>
                  <a:lnTo>
                    <a:pt x="40957" y="462915"/>
                  </a:lnTo>
                  <a:lnTo>
                    <a:pt x="42863" y="460058"/>
                  </a:lnTo>
                  <a:lnTo>
                    <a:pt x="44768" y="458153"/>
                  </a:lnTo>
                  <a:lnTo>
                    <a:pt x="56198" y="450533"/>
                  </a:lnTo>
                  <a:lnTo>
                    <a:pt x="58102" y="447675"/>
                  </a:lnTo>
                  <a:lnTo>
                    <a:pt x="60960" y="442913"/>
                  </a:lnTo>
                  <a:lnTo>
                    <a:pt x="61913" y="440055"/>
                  </a:lnTo>
                  <a:lnTo>
                    <a:pt x="60960" y="434340"/>
                  </a:lnTo>
                  <a:lnTo>
                    <a:pt x="55245" y="418147"/>
                  </a:lnTo>
                  <a:lnTo>
                    <a:pt x="55245" y="414338"/>
                  </a:lnTo>
                  <a:lnTo>
                    <a:pt x="60960" y="410528"/>
                  </a:lnTo>
                  <a:lnTo>
                    <a:pt x="60960" y="407670"/>
                  </a:lnTo>
                  <a:lnTo>
                    <a:pt x="60960" y="405765"/>
                  </a:lnTo>
                  <a:lnTo>
                    <a:pt x="56198" y="399097"/>
                  </a:lnTo>
                  <a:lnTo>
                    <a:pt x="55245" y="397192"/>
                  </a:lnTo>
                  <a:lnTo>
                    <a:pt x="51435" y="385763"/>
                  </a:lnTo>
                  <a:lnTo>
                    <a:pt x="51435" y="381000"/>
                  </a:lnTo>
                  <a:lnTo>
                    <a:pt x="52388" y="377190"/>
                  </a:lnTo>
                  <a:lnTo>
                    <a:pt x="54293" y="375285"/>
                  </a:lnTo>
                  <a:lnTo>
                    <a:pt x="59055" y="373380"/>
                  </a:lnTo>
                  <a:lnTo>
                    <a:pt x="60960" y="370522"/>
                  </a:lnTo>
                  <a:lnTo>
                    <a:pt x="63818" y="366713"/>
                  </a:lnTo>
                  <a:lnTo>
                    <a:pt x="68580" y="352425"/>
                  </a:lnTo>
                  <a:lnTo>
                    <a:pt x="70485" y="348615"/>
                  </a:lnTo>
                  <a:lnTo>
                    <a:pt x="76200" y="340995"/>
                  </a:lnTo>
                  <a:lnTo>
                    <a:pt x="80010" y="336233"/>
                  </a:lnTo>
                  <a:lnTo>
                    <a:pt x="80963" y="332422"/>
                  </a:lnTo>
                  <a:lnTo>
                    <a:pt x="80963" y="326708"/>
                  </a:lnTo>
                  <a:lnTo>
                    <a:pt x="80010" y="322897"/>
                  </a:lnTo>
                  <a:lnTo>
                    <a:pt x="80010" y="312420"/>
                  </a:lnTo>
                  <a:lnTo>
                    <a:pt x="80963" y="289560"/>
                  </a:lnTo>
                  <a:lnTo>
                    <a:pt x="80963" y="286703"/>
                  </a:lnTo>
                  <a:lnTo>
                    <a:pt x="80010" y="283845"/>
                  </a:lnTo>
                  <a:lnTo>
                    <a:pt x="76200" y="280035"/>
                  </a:lnTo>
                  <a:lnTo>
                    <a:pt x="74295" y="279083"/>
                  </a:lnTo>
                  <a:lnTo>
                    <a:pt x="71438" y="279083"/>
                  </a:lnTo>
                  <a:lnTo>
                    <a:pt x="68580" y="279083"/>
                  </a:lnTo>
                  <a:lnTo>
                    <a:pt x="54293" y="284797"/>
                  </a:lnTo>
                  <a:lnTo>
                    <a:pt x="52388" y="284797"/>
                  </a:lnTo>
                  <a:lnTo>
                    <a:pt x="49530" y="282892"/>
                  </a:lnTo>
                  <a:lnTo>
                    <a:pt x="48577" y="278130"/>
                  </a:lnTo>
                  <a:lnTo>
                    <a:pt x="48577" y="275272"/>
                  </a:lnTo>
                  <a:lnTo>
                    <a:pt x="49530" y="272415"/>
                  </a:lnTo>
                  <a:lnTo>
                    <a:pt x="56198" y="261938"/>
                  </a:lnTo>
                  <a:lnTo>
                    <a:pt x="61913" y="255270"/>
                  </a:lnTo>
                  <a:lnTo>
                    <a:pt x="63818" y="254317"/>
                  </a:lnTo>
                  <a:lnTo>
                    <a:pt x="66675" y="253365"/>
                  </a:lnTo>
                  <a:lnTo>
                    <a:pt x="79057" y="256222"/>
                  </a:lnTo>
                  <a:lnTo>
                    <a:pt x="82868" y="255270"/>
                  </a:lnTo>
                  <a:lnTo>
                    <a:pt x="87630" y="242888"/>
                  </a:lnTo>
                  <a:lnTo>
                    <a:pt x="89535" y="240983"/>
                  </a:lnTo>
                  <a:lnTo>
                    <a:pt x="92393" y="236220"/>
                  </a:lnTo>
                  <a:lnTo>
                    <a:pt x="100013" y="232410"/>
                  </a:lnTo>
                  <a:lnTo>
                    <a:pt x="101918" y="230505"/>
                  </a:lnTo>
                  <a:lnTo>
                    <a:pt x="103823" y="227647"/>
                  </a:lnTo>
                  <a:lnTo>
                    <a:pt x="104775" y="224790"/>
                  </a:lnTo>
                  <a:lnTo>
                    <a:pt x="103823" y="222885"/>
                  </a:lnTo>
                  <a:lnTo>
                    <a:pt x="80963" y="205740"/>
                  </a:lnTo>
                  <a:lnTo>
                    <a:pt x="79057" y="200978"/>
                  </a:lnTo>
                  <a:lnTo>
                    <a:pt x="80010" y="197167"/>
                  </a:lnTo>
                  <a:lnTo>
                    <a:pt x="82868" y="193358"/>
                  </a:lnTo>
                  <a:lnTo>
                    <a:pt x="92393" y="188595"/>
                  </a:lnTo>
                  <a:lnTo>
                    <a:pt x="102870" y="185738"/>
                  </a:lnTo>
                  <a:lnTo>
                    <a:pt x="114300" y="184785"/>
                  </a:lnTo>
                  <a:lnTo>
                    <a:pt x="117157" y="183833"/>
                  </a:lnTo>
                  <a:lnTo>
                    <a:pt x="120015" y="182880"/>
                  </a:lnTo>
                  <a:lnTo>
                    <a:pt x="122873" y="180022"/>
                  </a:lnTo>
                  <a:lnTo>
                    <a:pt x="122873" y="177165"/>
                  </a:lnTo>
                  <a:lnTo>
                    <a:pt x="121920" y="175260"/>
                  </a:lnTo>
                  <a:lnTo>
                    <a:pt x="111443" y="168592"/>
                  </a:lnTo>
                  <a:lnTo>
                    <a:pt x="107632" y="164783"/>
                  </a:lnTo>
                  <a:lnTo>
                    <a:pt x="103823" y="158115"/>
                  </a:lnTo>
                  <a:lnTo>
                    <a:pt x="95250" y="138113"/>
                  </a:lnTo>
                  <a:lnTo>
                    <a:pt x="93345" y="130492"/>
                  </a:lnTo>
                  <a:lnTo>
                    <a:pt x="92393" y="125730"/>
                  </a:lnTo>
                  <a:lnTo>
                    <a:pt x="115252" y="111442"/>
                  </a:lnTo>
                  <a:lnTo>
                    <a:pt x="121920" y="108585"/>
                  </a:lnTo>
                  <a:lnTo>
                    <a:pt x="127635" y="110490"/>
                  </a:lnTo>
                  <a:lnTo>
                    <a:pt x="137160" y="116205"/>
                  </a:lnTo>
                  <a:lnTo>
                    <a:pt x="142875" y="118110"/>
                  </a:lnTo>
                  <a:lnTo>
                    <a:pt x="167640" y="100013"/>
                  </a:lnTo>
                  <a:lnTo>
                    <a:pt x="170498" y="64770"/>
                  </a:lnTo>
                  <a:lnTo>
                    <a:pt x="166688" y="26670"/>
                  </a:lnTo>
                  <a:lnTo>
                    <a:pt x="172402" y="1905"/>
                  </a:lnTo>
                  <a:lnTo>
                    <a:pt x="180975" y="0"/>
                  </a:lnTo>
                  <a:lnTo>
                    <a:pt x="214313" y="2858"/>
                  </a:lnTo>
                  <a:lnTo>
                    <a:pt x="228600" y="0"/>
                  </a:lnTo>
                  <a:lnTo>
                    <a:pt x="238125" y="1905"/>
                  </a:lnTo>
                  <a:lnTo>
                    <a:pt x="245745" y="10478"/>
                  </a:lnTo>
                  <a:lnTo>
                    <a:pt x="261938" y="58103"/>
                  </a:lnTo>
                  <a:lnTo>
                    <a:pt x="268605" y="67628"/>
                  </a:lnTo>
                  <a:lnTo>
                    <a:pt x="279082" y="72390"/>
                  </a:lnTo>
                  <a:lnTo>
                    <a:pt x="301943" y="74295"/>
                  </a:lnTo>
                  <a:lnTo>
                    <a:pt x="311468" y="78105"/>
                  </a:lnTo>
                  <a:lnTo>
                    <a:pt x="323850" y="86678"/>
                  </a:lnTo>
                  <a:lnTo>
                    <a:pt x="342900" y="94297"/>
                  </a:lnTo>
                  <a:lnTo>
                    <a:pt x="381000" y="86678"/>
                  </a:lnTo>
                  <a:lnTo>
                    <a:pt x="406718" y="91440"/>
                  </a:lnTo>
                  <a:lnTo>
                    <a:pt x="412432" y="89535"/>
                  </a:lnTo>
                  <a:lnTo>
                    <a:pt x="417195" y="86678"/>
                  </a:lnTo>
                  <a:lnTo>
                    <a:pt x="429577" y="81915"/>
                  </a:lnTo>
                  <a:lnTo>
                    <a:pt x="430530" y="81915"/>
                  </a:lnTo>
                  <a:lnTo>
                    <a:pt x="435293" y="98108"/>
                  </a:lnTo>
                  <a:lnTo>
                    <a:pt x="436245" y="111442"/>
                  </a:lnTo>
                  <a:lnTo>
                    <a:pt x="439102" y="118110"/>
                  </a:lnTo>
                  <a:lnTo>
                    <a:pt x="442913" y="121920"/>
                  </a:lnTo>
                  <a:lnTo>
                    <a:pt x="474345" y="145733"/>
                  </a:lnTo>
                  <a:lnTo>
                    <a:pt x="529590" y="160972"/>
                  </a:lnTo>
                  <a:lnTo>
                    <a:pt x="547688" y="178117"/>
                  </a:lnTo>
                  <a:lnTo>
                    <a:pt x="561023" y="198120"/>
                  </a:lnTo>
                  <a:lnTo>
                    <a:pt x="574357" y="212408"/>
                  </a:lnTo>
                  <a:lnTo>
                    <a:pt x="624840" y="209550"/>
                  </a:lnTo>
                  <a:lnTo>
                    <a:pt x="633413" y="206692"/>
                  </a:lnTo>
                  <a:lnTo>
                    <a:pt x="643890" y="198120"/>
                  </a:lnTo>
                  <a:lnTo>
                    <a:pt x="660082" y="173355"/>
                  </a:lnTo>
                  <a:lnTo>
                    <a:pt x="669607" y="162878"/>
                  </a:lnTo>
                  <a:lnTo>
                    <a:pt x="689610" y="155258"/>
                  </a:lnTo>
                  <a:lnTo>
                    <a:pt x="703898" y="167640"/>
                  </a:lnTo>
                  <a:lnTo>
                    <a:pt x="733425" y="243840"/>
                  </a:lnTo>
                  <a:lnTo>
                    <a:pt x="744855" y="260985"/>
                  </a:lnTo>
                  <a:lnTo>
                    <a:pt x="761048" y="270510"/>
                  </a:lnTo>
                  <a:lnTo>
                    <a:pt x="780098" y="275272"/>
                  </a:lnTo>
                  <a:lnTo>
                    <a:pt x="801052" y="270510"/>
                  </a:lnTo>
                  <a:lnTo>
                    <a:pt x="822007" y="260985"/>
                  </a:lnTo>
                  <a:lnTo>
                    <a:pt x="842010" y="256222"/>
                  </a:lnTo>
                  <a:lnTo>
                    <a:pt x="861060" y="269558"/>
                  </a:lnTo>
                  <a:lnTo>
                    <a:pt x="870585" y="274320"/>
                  </a:lnTo>
                  <a:lnTo>
                    <a:pt x="902018" y="277178"/>
                  </a:lnTo>
                  <a:lnTo>
                    <a:pt x="908685" y="285750"/>
                  </a:lnTo>
                  <a:lnTo>
                    <a:pt x="914400" y="304800"/>
                  </a:lnTo>
                  <a:lnTo>
                    <a:pt x="922973" y="339090"/>
                  </a:lnTo>
                  <a:lnTo>
                    <a:pt x="936307" y="367665"/>
                  </a:lnTo>
                  <a:lnTo>
                    <a:pt x="952500" y="378142"/>
                  </a:lnTo>
                  <a:lnTo>
                    <a:pt x="970598" y="383858"/>
                  </a:lnTo>
                  <a:lnTo>
                    <a:pt x="992505" y="394335"/>
                  </a:lnTo>
                  <a:lnTo>
                    <a:pt x="1019175" y="420053"/>
                  </a:lnTo>
                  <a:lnTo>
                    <a:pt x="1030605" y="425767"/>
                  </a:lnTo>
                  <a:lnTo>
                    <a:pt x="1044893" y="425767"/>
                  </a:lnTo>
                  <a:lnTo>
                    <a:pt x="1061085" y="422910"/>
                  </a:lnTo>
                  <a:lnTo>
                    <a:pt x="1076325" y="416242"/>
                  </a:lnTo>
                  <a:lnTo>
                    <a:pt x="1089660" y="408622"/>
                  </a:lnTo>
                  <a:lnTo>
                    <a:pt x="1121093" y="376238"/>
                  </a:lnTo>
                  <a:lnTo>
                    <a:pt x="1134427" y="371475"/>
                  </a:lnTo>
                  <a:lnTo>
                    <a:pt x="1143952" y="372428"/>
                  </a:lnTo>
                  <a:lnTo>
                    <a:pt x="1196340" y="385763"/>
                  </a:lnTo>
                  <a:lnTo>
                    <a:pt x="1203960" y="394335"/>
                  </a:lnTo>
                  <a:lnTo>
                    <a:pt x="1201102" y="411480"/>
                  </a:lnTo>
                  <a:lnTo>
                    <a:pt x="1193482" y="422910"/>
                  </a:lnTo>
                  <a:lnTo>
                    <a:pt x="1173480" y="434340"/>
                  </a:lnTo>
                  <a:lnTo>
                    <a:pt x="1163955" y="443865"/>
                  </a:lnTo>
                  <a:lnTo>
                    <a:pt x="1153477" y="470535"/>
                  </a:lnTo>
                  <a:lnTo>
                    <a:pt x="1156335" y="496253"/>
                  </a:lnTo>
                  <a:lnTo>
                    <a:pt x="1167765" y="520065"/>
                  </a:lnTo>
                  <a:lnTo>
                    <a:pt x="1188720" y="552450"/>
                  </a:lnTo>
                  <a:lnTo>
                    <a:pt x="1213485" y="581978"/>
                  </a:lnTo>
                  <a:lnTo>
                    <a:pt x="1219200" y="594360"/>
                  </a:lnTo>
                  <a:lnTo>
                    <a:pt x="1218248" y="608647"/>
                  </a:lnTo>
                  <a:lnTo>
                    <a:pt x="1210627" y="636270"/>
                  </a:lnTo>
                  <a:lnTo>
                    <a:pt x="1209675" y="665797"/>
                  </a:lnTo>
                  <a:lnTo>
                    <a:pt x="1205865" y="673418"/>
                  </a:lnTo>
                  <a:lnTo>
                    <a:pt x="1193482" y="680085"/>
                  </a:lnTo>
                  <a:lnTo>
                    <a:pt x="1183005" y="688657"/>
                  </a:lnTo>
                  <a:lnTo>
                    <a:pt x="1165860" y="716280"/>
                  </a:lnTo>
                  <a:lnTo>
                    <a:pt x="1155382" y="727710"/>
                  </a:lnTo>
                  <a:lnTo>
                    <a:pt x="1123950" y="749618"/>
                  </a:lnTo>
                  <a:lnTo>
                    <a:pt x="1109663" y="763905"/>
                  </a:lnTo>
                  <a:lnTo>
                    <a:pt x="1098232" y="782955"/>
                  </a:lnTo>
                  <a:lnTo>
                    <a:pt x="1096327" y="794385"/>
                  </a:lnTo>
                  <a:lnTo>
                    <a:pt x="1094423" y="817245"/>
                  </a:lnTo>
                  <a:lnTo>
                    <a:pt x="1092518" y="825818"/>
                  </a:lnTo>
                  <a:lnTo>
                    <a:pt x="1085850" y="829628"/>
                  </a:lnTo>
                  <a:lnTo>
                    <a:pt x="1078230" y="830580"/>
                  </a:lnTo>
                  <a:lnTo>
                    <a:pt x="1062038" y="827722"/>
                  </a:lnTo>
                  <a:lnTo>
                    <a:pt x="1045845" y="827722"/>
                  </a:lnTo>
                  <a:lnTo>
                    <a:pt x="1002982" y="842963"/>
                  </a:lnTo>
                  <a:lnTo>
                    <a:pt x="976313" y="841057"/>
                  </a:lnTo>
                  <a:lnTo>
                    <a:pt x="966788" y="847725"/>
                  </a:lnTo>
                  <a:lnTo>
                    <a:pt x="962977" y="887730"/>
                  </a:lnTo>
                  <a:lnTo>
                    <a:pt x="970598" y="898207"/>
                  </a:lnTo>
                  <a:lnTo>
                    <a:pt x="981075" y="904875"/>
                  </a:lnTo>
                  <a:lnTo>
                    <a:pt x="990600" y="914400"/>
                  </a:lnTo>
                  <a:lnTo>
                    <a:pt x="997268" y="928688"/>
                  </a:lnTo>
                  <a:lnTo>
                    <a:pt x="1002030" y="940118"/>
                  </a:lnTo>
                  <a:lnTo>
                    <a:pt x="1007745" y="947738"/>
                  </a:lnTo>
                  <a:lnTo>
                    <a:pt x="1020127" y="953453"/>
                  </a:lnTo>
                  <a:lnTo>
                    <a:pt x="1062038" y="962978"/>
                  </a:lnTo>
                  <a:lnTo>
                    <a:pt x="1080135" y="960120"/>
                  </a:lnTo>
                  <a:lnTo>
                    <a:pt x="1086802" y="961072"/>
                  </a:lnTo>
                  <a:lnTo>
                    <a:pt x="1092518" y="965835"/>
                  </a:lnTo>
                  <a:lnTo>
                    <a:pt x="1102043" y="979170"/>
                  </a:lnTo>
                  <a:lnTo>
                    <a:pt x="1108710" y="982028"/>
                  </a:lnTo>
                  <a:lnTo>
                    <a:pt x="1120140" y="976313"/>
                  </a:lnTo>
                  <a:lnTo>
                    <a:pt x="1129665" y="963930"/>
                  </a:lnTo>
                  <a:lnTo>
                    <a:pt x="1140143" y="954405"/>
                  </a:lnTo>
                  <a:lnTo>
                    <a:pt x="1153477" y="955357"/>
                  </a:lnTo>
                  <a:lnTo>
                    <a:pt x="1163002" y="968693"/>
                  </a:lnTo>
                  <a:lnTo>
                    <a:pt x="1163002" y="984885"/>
                  </a:lnTo>
                  <a:lnTo>
                    <a:pt x="1155382" y="1000125"/>
                  </a:lnTo>
                  <a:lnTo>
                    <a:pt x="1145857" y="1013460"/>
                  </a:lnTo>
                  <a:lnTo>
                    <a:pt x="1122045" y="1032510"/>
                  </a:lnTo>
                  <a:lnTo>
                    <a:pt x="1101090" y="1035368"/>
                  </a:lnTo>
                  <a:lnTo>
                    <a:pt x="1042035" y="1011555"/>
                  </a:lnTo>
                  <a:lnTo>
                    <a:pt x="1030605" y="1012507"/>
                  </a:lnTo>
                  <a:lnTo>
                    <a:pt x="1019175" y="1018222"/>
                  </a:lnTo>
                  <a:lnTo>
                    <a:pt x="1007745" y="1029653"/>
                  </a:lnTo>
                  <a:lnTo>
                    <a:pt x="1003935" y="1039178"/>
                  </a:lnTo>
                  <a:lnTo>
                    <a:pt x="1000125" y="1047750"/>
                  </a:lnTo>
                  <a:lnTo>
                    <a:pt x="996315" y="1055370"/>
                  </a:lnTo>
                  <a:lnTo>
                    <a:pt x="982980" y="1060132"/>
                  </a:lnTo>
                  <a:lnTo>
                    <a:pt x="978218" y="1066800"/>
                  </a:lnTo>
                  <a:lnTo>
                    <a:pt x="945832" y="1174432"/>
                  </a:lnTo>
                  <a:lnTo>
                    <a:pt x="941070" y="1194435"/>
                  </a:lnTo>
                  <a:lnTo>
                    <a:pt x="961073" y="1193482"/>
                  </a:lnTo>
                  <a:lnTo>
                    <a:pt x="971550" y="1189673"/>
                  </a:lnTo>
                  <a:lnTo>
                    <a:pt x="1034415" y="1197293"/>
                  </a:lnTo>
                  <a:lnTo>
                    <a:pt x="1048702" y="1204913"/>
                  </a:lnTo>
                  <a:lnTo>
                    <a:pt x="1058227" y="1219200"/>
                  </a:lnTo>
                  <a:lnTo>
                    <a:pt x="1062990" y="1240155"/>
                  </a:lnTo>
                  <a:lnTo>
                    <a:pt x="1062990" y="1245870"/>
                  </a:lnTo>
                  <a:lnTo>
                    <a:pt x="1065848" y="1256348"/>
                  </a:lnTo>
                  <a:lnTo>
                    <a:pt x="1063943" y="1263015"/>
                  </a:lnTo>
                  <a:lnTo>
                    <a:pt x="1059180" y="1263968"/>
                  </a:lnTo>
                  <a:lnTo>
                    <a:pt x="1054418" y="1263968"/>
                  </a:lnTo>
                  <a:lnTo>
                    <a:pt x="1051560" y="1264920"/>
                  </a:lnTo>
                  <a:lnTo>
                    <a:pt x="1053465" y="1277303"/>
                  </a:lnTo>
                  <a:lnTo>
                    <a:pt x="1058227" y="1283018"/>
                  </a:lnTo>
                  <a:lnTo>
                    <a:pt x="1063943" y="1287780"/>
                  </a:lnTo>
                  <a:lnTo>
                    <a:pt x="1080135" y="1323975"/>
                  </a:lnTo>
                  <a:lnTo>
                    <a:pt x="1085850" y="1344930"/>
                  </a:lnTo>
                  <a:lnTo>
                    <a:pt x="1089660" y="1355407"/>
                  </a:lnTo>
                  <a:lnTo>
                    <a:pt x="1095375" y="1362075"/>
                  </a:lnTo>
                  <a:lnTo>
                    <a:pt x="1082993" y="1374457"/>
                  </a:lnTo>
                  <a:lnTo>
                    <a:pt x="1074420" y="1385888"/>
                  </a:lnTo>
                  <a:lnTo>
                    <a:pt x="1038225" y="1416368"/>
                  </a:lnTo>
                  <a:lnTo>
                    <a:pt x="1074420" y="1439228"/>
                  </a:lnTo>
                  <a:lnTo>
                    <a:pt x="1084898" y="1438275"/>
                  </a:lnTo>
                  <a:lnTo>
                    <a:pt x="1112520" y="1427798"/>
                  </a:lnTo>
                  <a:lnTo>
                    <a:pt x="1123950" y="1430655"/>
                  </a:lnTo>
                  <a:lnTo>
                    <a:pt x="1131570" y="1443990"/>
                  </a:lnTo>
                  <a:lnTo>
                    <a:pt x="1130618" y="1459230"/>
                  </a:lnTo>
                  <a:lnTo>
                    <a:pt x="1122998" y="1473518"/>
                  </a:lnTo>
                  <a:lnTo>
                    <a:pt x="1114425" y="1484948"/>
                  </a:lnTo>
                  <a:lnTo>
                    <a:pt x="1088707" y="1503998"/>
                  </a:lnTo>
                  <a:lnTo>
                    <a:pt x="1079182" y="1515428"/>
                  </a:lnTo>
                  <a:lnTo>
                    <a:pt x="1052513" y="1565910"/>
                  </a:lnTo>
                  <a:lnTo>
                    <a:pt x="1045845" y="1581150"/>
                  </a:lnTo>
                  <a:lnTo>
                    <a:pt x="1044893" y="1599248"/>
                  </a:lnTo>
                  <a:lnTo>
                    <a:pt x="1052513" y="1624013"/>
                  </a:lnTo>
                  <a:lnTo>
                    <a:pt x="1052513" y="1631632"/>
                  </a:lnTo>
                  <a:lnTo>
                    <a:pt x="1050607" y="1632585"/>
                  </a:lnTo>
                  <a:lnTo>
                    <a:pt x="1047750" y="1631632"/>
                  </a:lnTo>
                  <a:lnTo>
                    <a:pt x="1018223" y="1637348"/>
                  </a:lnTo>
                  <a:lnTo>
                    <a:pt x="1012507" y="1641157"/>
                  </a:lnTo>
                  <a:lnTo>
                    <a:pt x="1008698" y="1647825"/>
                  </a:lnTo>
                  <a:lnTo>
                    <a:pt x="1009650" y="1652588"/>
                  </a:lnTo>
                  <a:lnTo>
                    <a:pt x="1013460" y="1656398"/>
                  </a:lnTo>
                  <a:lnTo>
                    <a:pt x="1019175" y="1665923"/>
                  </a:lnTo>
                  <a:lnTo>
                    <a:pt x="1026795" y="1683068"/>
                  </a:lnTo>
                  <a:lnTo>
                    <a:pt x="1027748" y="1690688"/>
                  </a:lnTo>
                  <a:lnTo>
                    <a:pt x="1026795" y="1703070"/>
                  </a:lnTo>
                  <a:lnTo>
                    <a:pt x="1024890" y="1708785"/>
                  </a:lnTo>
                  <a:lnTo>
                    <a:pt x="1019175" y="1721168"/>
                  </a:lnTo>
                  <a:lnTo>
                    <a:pt x="1017270" y="1727835"/>
                  </a:lnTo>
                  <a:lnTo>
                    <a:pt x="1018223" y="1733550"/>
                  </a:lnTo>
                  <a:lnTo>
                    <a:pt x="1020127" y="1744028"/>
                  </a:lnTo>
                  <a:lnTo>
                    <a:pt x="1020127" y="1749743"/>
                  </a:lnTo>
                  <a:lnTo>
                    <a:pt x="1016318" y="1771650"/>
                  </a:lnTo>
                  <a:lnTo>
                    <a:pt x="1007745" y="1791653"/>
                  </a:lnTo>
                  <a:lnTo>
                    <a:pt x="994410" y="1804988"/>
                  </a:lnTo>
                  <a:lnTo>
                    <a:pt x="977265" y="1808798"/>
                  </a:lnTo>
                  <a:lnTo>
                    <a:pt x="924877" y="1794510"/>
                  </a:lnTo>
                  <a:lnTo>
                    <a:pt x="908685" y="1793557"/>
                  </a:lnTo>
                  <a:lnTo>
                    <a:pt x="876300" y="1799273"/>
                  </a:lnTo>
                  <a:lnTo>
                    <a:pt x="861060" y="1797368"/>
                  </a:lnTo>
                  <a:lnTo>
                    <a:pt x="848677" y="1792605"/>
                  </a:lnTo>
                  <a:lnTo>
                    <a:pt x="825818" y="1799273"/>
                  </a:lnTo>
                  <a:lnTo>
                    <a:pt x="814388" y="1799273"/>
                  </a:lnTo>
                  <a:lnTo>
                    <a:pt x="804863" y="1795463"/>
                  </a:lnTo>
                  <a:lnTo>
                    <a:pt x="786765" y="1783080"/>
                  </a:lnTo>
                  <a:lnTo>
                    <a:pt x="776288" y="1781175"/>
                  </a:lnTo>
                  <a:lnTo>
                    <a:pt x="699135" y="1788795"/>
                  </a:lnTo>
                  <a:lnTo>
                    <a:pt x="678180" y="1794510"/>
                  </a:lnTo>
                  <a:lnTo>
                    <a:pt x="667702" y="1795463"/>
                  </a:lnTo>
                  <a:lnTo>
                    <a:pt x="657225" y="1792605"/>
                  </a:lnTo>
                  <a:lnTo>
                    <a:pt x="628650" y="1772603"/>
                  </a:lnTo>
                  <a:lnTo>
                    <a:pt x="626745" y="177260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3" name="Полилиния: фигура 25">
              <a:extLst>
                <a:ext uri="{FF2B5EF4-FFF2-40B4-BE49-F238E27FC236}">
                  <a16:creationId xmlns:a16="http://schemas.microsoft.com/office/drawing/2014/main" id="{6A676033-C9F7-D328-77AB-7A243F0230C1}"/>
                </a:ext>
              </a:extLst>
            </p:cNvPr>
            <p:cNvSpPr/>
            <p:nvPr/>
          </p:nvSpPr>
          <p:spPr>
            <a:xfrm>
              <a:off x="6582727" y="1790700"/>
              <a:ext cx="1790700" cy="1466850"/>
            </a:xfrm>
            <a:custGeom>
              <a:avLst/>
              <a:gdLst>
                <a:gd name="connsiteX0" fmla="*/ 1497330 w 1790700"/>
                <a:gd name="connsiteY0" fmla="*/ 331470 h 1466850"/>
                <a:gd name="connsiteX1" fmla="*/ 1502093 w 1790700"/>
                <a:gd name="connsiteY1" fmla="*/ 342900 h 1466850"/>
                <a:gd name="connsiteX2" fmla="*/ 1502093 w 1790700"/>
                <a:gd name="connsiteY2" fmla="*/ 387667 h 1466850"/>
                <a:gd name="connsiteX3" fmla="*/ 1501140 w 1790700"/>
                <a:gd name="connsiteY3" fmla="*/ 399097 h 1466850"/>
                <a:gd name="connsiteX4" fmla="*/ 1500188 w 1790700"/>
                <a:gd name="connsiteY4" fmla="*/ 405765 h 1466850"/>
                <a:gd name="connsiteX5" fmla="*/ 1496378 w 1790700"/>
                <a:gd name="connsiteY5" fmla="*/ 410528 h 1466850"/>
                <a:gd name="connsiteX6" fmla="*/ 1472565 w 1790700"/>
                <a:gd name="connsiteY6" fmla="*/ 433388 h 1466850"/>
                <a:gd name="connsiteX7" fmla="*/ 1467803 w 1790700"/>
                <a:gd name="connsiteY7" fmla="*/ 441008 h 1466850"/>
                <a:gd name="connsiteX8" fmla="*/ 1462088 w 1790700"/>
                <a:gd name="connsiteY8" fmla="*/ 449580 h 1466850"/>
                <a:gd name="connsiteX9" fmla="*/ 1462088 w 1790700"/>
                <a:gd name="connsiteY9" fmla="*/ 451485 h 1466850"/>
                <a:gd name="connsiteX10" fmla="*/ 1469708 w 1790700"/>
                <a:gd name="connsiteY10" fmla="*/ 473392 h 1466850"/>
                <a:gd name="connsiteX11" fmla="*/ 1470660 w 1790700"/>
                <a:gd name="connsiteY11" fmla="*/ 476250 h 1466850"/>
                <a:gd name="connsiteX12" fmla="*/ 1473518 w 1790700"/>
                <a:gd name="connsiteY12" fmla="*/ 499110 h 1466850"/>
                <a:gd name="connsiteX13" fmla="*/ 1476375 w 1790700"/>
                <a:gd name="connsiteY13" fmla="*/ 503872 h 1466850"/>
                <a:gd name="connsiteX14" fmla="*/ 1479233 w 1790700"/>
                <a:gd name="connsiteY14" fmla="*/ 506730 h 1466850"/>
                <a:gd name="connsiteX15" fmla="*/ 1481138 w 1790700"/>
                <a:gd name="connsiteY15" fmla="*/ 508635 h 1466850"/>
                <a:gd name="connsiteX16" fmla="*/ 1486853 w 1790700"/>
                <a:gd name="connsiteY16" fmla="*/ 519113 h 1466850"/>
                <a:gd name="connsiteX17" fmla="*/ 1488758 w 1790700"/>
                <a:gd name="connsiteY17" fmla="*/ 521970 h 1466850"/>
                <a:gd name="connsiteX18" fmla="*/ 1491615 w 1790700"/>
                <a:gd name="connsiteY18" fmla="*/ 522922 h 1466850"/>
                <a:gd name="connsiteX19" fmla="*/ 1502093 w 1790700"/>
                <a:gd name="connsiteY19" fmla="*/ 525780 h 1466850"/>
                <a:gd name="connsiteX20" fmla="*/ 1506855 w 1790700"/>
                <a:gd name="connsiteY20" fmla="*/ 529590 h 1466850"/>
                <a:gd name="connsiteX21" fmla="*/ 1511618 w 1790700"/>
                <a:gd name="connsiteY21" fmla="*/ 535305 h 1466850"/>
                <a:gd name="connsiteX22" fmla="*/ 1515428 w 1790700"/>
                <a:gd name="connsiteY22" fmla="*/ 539115 h 1466850"/>
                <a:gd name="connsiteX23" fmla="*/ 1521143 w 1790700"/>
                <a:gd name="connsiteY23" fmla="*/ 541972 h 1466850"/>
                <a:gd name="connsiteX24" fmla="*/ 1527810 w 1790700"/>
                <a:gd name="connsiteY24" fmla="*/ 542925 h 1466850"/>
                <a:gd name="connsiteX25" fmla="*/ 1549718 w 1790700"/>
                <a:gd name="connsiteY25" fmla="*/ 542925 h 1466850"/>
                <a:gd name="connsiteX26" fmla="*/ 1553528 w 1790700"/>
                <a:gd name="connsiteY26" fmla="*/ 544830 h 1466850"/>
                <a:gd name="connsiteX27" fmla="*/ 1557338 w 1790700"/>
                <a:gd name="connsiteY27" fmla="*/ 546735 h 1466850"/>
                <a:gd name="connsiteX28" fmla="*/ 1564005 w 1790700"/>
                <a:gd name="connsiteY28" fmla="*/ 557213 h 1466850"/>
                <a:gd name="connsiteX29" fmla="*/ 1566863 w 1790700"/>
                <a:gd name="connsiteY29" fmla="*/ 560070 h 1466850"/>
                <a:gd name="connsiteX30" fmla="*/ 1600200 w 1790700"/>
                <a:gd name="connsiteY30" fmla="*/ 576263 h 1466850"/>
                <a:gd name="connsiteX31" fmla="*/ 1605915 w 1790700"/>
                <a:gd name="connsiteY31" fmla="*/ 577215 h 1466850"/>
                <a:gd name="connsiteX32" fmla="*/ 1611630 w 1790700"/>
                <a:gd name="connsiteY32" fmla="*/ 576263 h 1466850"/>
                <a:gd name="connsiteX33" fmla="*/ 1618298 w 1790700"/>
                <a:gd name="connsiteY33" fmla="*/ 571500 h 1466850"/>
                <a:gd name="connsiteX34" fmla="*/ 1624013 w 1790700"/>
                <a:gd name="connsiteY34" fmla="*/ 569595 h 1466850"/>
                <a:gd name="connsiteX35" fmla="*/ 1626871 w 1790700"/>
                <a:gd name="connsiteY35" fmla="*/ 570547 h 1466850"/>
                <a:gd name="connsiteX36" fmla="*/ 1629728 w 1790700"/>
                <a:gd name="connsiteY36" fmla="*/ 571500 h 1466850"/>
                <a:gd name="connsiteX37" fmla="*/ 1633538 w 1790700"/>
                <a:gd name="connsiteY37" fmla="*/ 573405 h 1466850"/>
                <a:gd name="connsiteX38" fmla="*/ 1642110 w 1790700"/>
                <a:gd name="connsiteY38" fmla="*/ 581978 h 1466850"/>
                <a:gd name="connsiteX39" fmla="*/ 1645921 w 1790700"/>
                <a:gd name="connsiteY39" fmla="*/ 588645 h 1466850"/>
                <a:gd name="connsiteX40" fmla="*/ 1646873 w 1790700"/>
                <a:gd name="connsiteY40" fmla="*/ 594360 h 1466850"/>
                <a:gd name="connsiteX41" fmla="*/ 1647825 w 1790700"/>
                <a:gd name="connsiteY41" fmla="*/ 601028 h 1466850"/>
                <a:gd name="connsiteX42" fmla="*/ 1645921 w 1790700"/>
                <a:gd name="connsiteY42" fmla="*/ 623888 h 1466850"/>
                <a:gd name="connsiteX43" fmla="*/ 1645921 w 1790700"/>
                <a:gd name="connsiteY43" fmla="*/ 636270 h 1466850"/>
                <a:gd name="connsiteX44" fmla="*/ 1646873 w 1790700"/>
                <a:gd name="connsiteY44" fmla="*/ 640080 h 1466850"/>
                <a:gd name="connsiteX45" fmla="*/ 1649730 w 1790700"/>
                <a:gd name="connsiteY45" fmla="*/ 653415 h 1466850"/>
                <a:gd name="connsiteX46" fmla="*/ 1652588 w 1790700"/>
                <a:gd name="connsiteY46" fmla="*/ 658178 h 1466850"/>
                <a:gd name="connsiteX47" fmla="*/ 1654493 w 1790700"/>
                <a:gd name="connsiteY47" fmla="*/ 661988 h 1466850"/>
                <a:gd name="connsiteX48" fmla="*/ 1656398 w 1790700"/>
                <a:gd name="connsiteY48" fmla="*/ 663893 h 1466850"/>
                <a:gd name="connsiteX49" fmla="*/ 1666875 w 1790700"/>
                <a:gd name="connsiteY49" fmla="*/ 671513 h 1466850"/>
                <a:gd name="connsiteX50" fmla="*/ 1668780 w 1790700"/>
                <a:gd name="connsiteY50" fmla="*/ 674370 h 1466850"/>
                <a:gd name="connsiteX51" fmla="*/ 1669733 w 1790700"/>
                <a:gd name="connsiteY51" fmla="*/ 677228 h 1466850"/>
                <a:gd name="connsiteX52" fmla="*/ 1670685 w 1790700"/>
                <a:gd name="connsiteY52" fmla="*/ 687705 h 1466850"/>
                <a:gd name="connsiteX53" fmla="*/ 1671638 w 1790700"/>
                <a:gd name="connsiteY53" fmla="*/ 693420 h 1466850"/>
                <a:gd name="connsiteX54" fmla="*/ 1673543 w 1790700"/>
                <a:gd name="connsiteY54" fmla="*/ 696278 h 1466850"/>
                <a:gd name="connsiteX55" fmla="*/ 1677353 w 1790700"/>
                <a:gd name="connsiteY55" fmla="*/ 697230 h 1466850"/>
                <a:gd name="connsiteX56" fmla="*/ 1691640 w 1790700"/>
                <a:gd name="connsiteY56" fmla="*/ 700088 h 1466850"/>
                <a:gd name="connsiteX57" fmla="*/ 1693546 w 1790700"/>
                <a:gd name="connsiteY57" fmla="*/ 702945 h 1466850"/>
                <a:gd name="connsiteX58" fmla="*/ 1694498 w 1790700"/>
                <a:gd name="connsiteY58" fmla="*/ 705803 h 1466850"/>
                <a:gd name="connsiteX59" fmla="*/ 1694498 w 1790700"/>
                <a:gd name="connsiteY59" fmla="*/ 709613 h 1466850"/>
                <a:gd name="connsiteX60" fmla="*/ 1696403 w 1790700"/>
                <a:gd name="connsiteY60" fmla="*/ 712470 h 1466850"/>
                <a:gd name="connsiteX61" fmla="*/ 1699260 w 1790700"/>
                <a:gd name="connsiteY61" fmla="*/ 713422 h 1466850"/>
                <a:gd name="connsiteX62" fmla="*/ 1725930 w 1790700"/>
                <a:gd name="connsiteY62" fmla="*/ 721995 h 1466850"/>
                <a:gd name="connsiteX63" fmla="*/ 1732598 w 1790700"/>
                <a:gd name="connsiteY63" fmla="*/ 722947 h 1466850"/>
                <a:gd name="connsiteX64" fmla="*/ 1735455 w 1790700"/>
                <a:gd name="connsiteY64" fmla="*/ 722947 h 1466850"/>
                <a:gd name="connsiteX65" fmla="*/ 1737360 w 1790700"/>
                <a:gd name="connsiteY65" fmla="*/ 721043 h 1466850"/>
                <a:gd name="connsiteX66" fmla="*/ 1738313 w 1790700"/>
                <a:gd name="connsiteY66" fmla="*/ 718185 h 1466850"/>
                <a:gd name="connsiteX67" fmla="*/ 1740218 w 1790700"/>
                <a:gd name="connsiteY67" fmla="*/ 711518 h 1466850"/>
                <a:gd name="connsiteX68" fmla="*/ 1742123 w 1790700"/>
                <a:gd name="connsiteY68" fmla="*/ 709613 h 1466850"/>
                <a:gd name="connsiteX69" fmla="*/ 1744028 w 1790700"/>
                <a:gd name="connsiteY69" fmla="*/ 707708 h 1466850"/>
                <a:gd name="connsiteX70" fmla="*/ 1746885 w 1790700"/>
                <a:gd name="connsiteY70" fmla="*/ 706755 h 1466850"/>
                <a:gd name="connsiteX71" fmla="*/ 1763078 w 1790700"/>
                <a:gd name="connsiteY71" fmla="*/ 706755 h 1466850"/>
                <a:gd name="connsiteX72" fmla="*/ 1766888 w 1790700"/>
                <a:gd name="connsiteY72" fmla="*/ 707708 h 1466850"/>
                <a:gd name="connsiteX73" fmla="*/ 1768793 w 1790700"/>
                <a:gd name="connsiteY73" fmla="*/ 710565 h 1466850"/>
                <a:gd name="connsiteX74" fmla="*/ 1769746 w 1790700"/>
                <a:gd name="connsiteY74" fmla="*/ 712470 h 1466850"/>
                <a:gd name="connsiteX75" fmla="*/ 1771650 w 1790700"/>
                <a:gd name="connsiteY75" fmla="*/ 723900 h 1466850"/>
                <a:gd name="connsiteX76" fmla="*/ 1771650 w 1790700"/>
                <a:gd name="connsiteY76" fmla="*/ 726758 h 1466850"/>
                <a:gd name="connsiteX77" fmla="*/ 1769746 w 1790700"/>
                <a:gd name="connsiteY77" fmla="*/ 727710 h 1466850"/>
                <a:gd name="connsiteX78" fmla="*/ 1764983 w 1790700"/>
                <a:gd name="connsiteY78" fmla="*/ 730568 h 1466850"/>
                <a:gd name="connsiteX79" fmla="*/ 1764030 w 1790700"/>
                <a:gd name="connsiteY79" fmla="*/ 732472 h 1466850"/>
                <a:gd name="connsiteX80" fmla="*/ 1763078 w 1790700"/>
                <a:gd name="connsiteY80" fmla="*/ 737235 h 1466850"/>
                <a:gd name="connsiteX81" fmla="*/ 1764983 w 1790700"/>
                <a:gd name="connsiteY81" fmla="*/ 742950 h 1466850"/>
                <a:gd name="connsiteX82" fmla="*/ 1766888 w 1790700"/>
                <a:gd name="connsiteY82" fmla="*/ 747713 h 1466850"/>
                <a:gd name="connsiteX83" fmla="*/ 1790700 w 1790700"/>
                <a:gd name="connsiteY83" fmla="*/ 792480 h 1466850"/>
                <a:gd name="connsiteX84" fmla="*/ 1794510 w 1790700"/>
                <a:gd name="connsiteY84" fmla="*/ 803910 h 1466850"/>
                <a:gd name="connsiteX85" fmla="*/ 1796415 w 1790700"/>
                <a:gd name="connsiteY85" fmla="*/ 810578 h 1466850"/>
                <a:gd name="connsiteX86" fmla="*/ 1791653 w 1790700"/>
                <a:gd name="connsiteY86" fmla="*/ 813435 h 1466850"/>
                <a:gd name="connsiteX87" fmla="*/ 1780223 w 1790700"/>
                <a:gd name="connsiteY87" fmla="*/ 815340 h 1466850"/>
                <a:gd name="connsiteX88" fmla="*/ 1755458 w 1790700"/>
                <a:gd name="connsiteY88" fmla="*/ 815340 h 1466850"/>
                <a:gd name="connsiteX89" fmla="*/ 1752600 w 1790700"/>
                <a:gd name="connsiteY89" fmla="*/ 816293 h 1466850"/>
                <a:gd name="connsiteX90" fmla="*/ 1751648 w 1790700"/>
                <a:gd name="connsiteY90" fmla="*/ 818197 h 1466850"/>
                <a:gd name="connsiteX91" fmla="*/ 1752600 w 1790700"/>
                <a:gd name="connsiteY91" fmla="*/ 823913 h 1466850"/>
                <a:gd name="connsiteX92" fmla="*/ 1754505 w 1790700"/>
                <a:gd name="connsiteY92" fmla="*/ 826770 h 1466850"/>
                <a:gd name="connsiteX93" fmla="*/ 1764983 w 1790700"/>
                <a:gd name="connsiteY93" fmla="*/ 832485 h 1466850"/>
                <a:gd name="connsiteX94" fmla="*/ 1773555 w 1790700"/>
                <a:gd name="connsiteY94" fmla="*/ 842010 h 1466850"/>
                <a:gd name="connsiteX95" fmla="*/ 1784985 w 1790700"/>
                <a:gd name="connsiteY95" fmla="*/ 848678 h 1466850"/>
                <a:gd name="connsiteX96" fmla="*/ 1790700 w 1790700"/>
                <a:gd name="connsiteY96" fmla="*/ 854393 h 1466850"/>
                <a:gd name="connsiteX97" fmla="*/ 1792605 w 1790700"/>
                <a:gd name="connsiteY97" fmla="*/ 859155 h 1466850"/>
                <a:gd name="connsiteX98" fmla="*/ 1791653 w 1790700"/>
                <a:gd name="connsiteY98" fmla="*/ 862965 h 1466850"/>
                <a:gd name="connsiteX99" fmla="*/ 1790700 w 1790700"/>
                <a:gd name="connsiteY99" fmla="*/ 863918 h 1466850"/>
                <a:gd name="connsiteX100" fmla="*/ 1787843 w 1790700"/>
                <a:gd name="connsiteY100" fmla="*/ 864870 h 1466850"/>
                <a:gd name="connsiteX101" fmla="*/ 1779271 w 1790700"/>
                <a:gd name="connsiteY101" fmla="*/ 865822 h 1466850"/>
                <a:gd name="connsiteX102" fmla="*/ 1776413 w 1790700"/>
                <a:gd name="connsiteY102" fmla="*/ 866775 h 1466850"/>
                <a:gd name="connsiteX103" fmla="*/ 1774508 w 1790700"/>
                <a:gd name="connsiteY103" fmla="*/ 868680 h 1466850"/>
                <a:gd name="connsiteX104" fmla="*/ 1771650 w 1790700"/>
                <a:gd name="connsiteY104" fmla="*/ 873443 h 1466850"/>
                <a:gd name="connsiteX105" fmla="*/ 1769746 w 1790700"/>
                <a:gd name="connsiteY105" fmla="*/ 875347 h 1466850"/>
                <a:gd name="connsiteX106" fmla="*/ 1766888 w 1790700"/>
                <a:gd name="connsiteY106" fmla="*/ 875347 h 1466850"/>
                <a:gd name="connsiteX107" fmla="*/ 1736408 w 1790700"/>
                <a:gd name="connsiteY107" fmla="*/ 867728 h 1466850"/>
                <a:gd name="connsiteX108" fmla="*/ 1733550 w 1790700"/>
                <a:gd name="connsiteY108" fmla="*/ 866775 h 1466850"/>
                <a:gd name="connsiteX109" fmla="*/ 1730693 w 1790700"/>
                <a:gd name="connsiteY109" fmla="*/ 867728 h 1466850"/>
                <a:gd name="connsiteX110" fmla="*/ 1725930 w 1790700"/>
                <a:gd name="connsiteY110" fmla="*/ 869633 h 1466850"/>
                <a:gd name="connsiteX111" fmla="*/ 1717358 w 1790700"/>
                <a:gd name="connsiteY111" fmla="*/ 871538 h 1466850"/>
                <a:gd name="connsiteX112" fmla="*/ 1715453 w 1790700"/>
                <a:gd name="connsiteY112" fmla="*/ 873443 h 1466850"/>
                <a:gd name="connsiteX113" fmla="*/ 1714500 w 1790700"/>
                <a:gd name="connsiteY113" fmla="*/ 875347 h 1466850"/>
                <a:gd name="connsiteX114" fmla="*/ 1711643 w 1790700"/>
                <a:gd name="connsiteY114" fmla="*/ 882015 h 1466850"/>
                <a:gd name="connsiteX115" fmla="*/ 1710690 w 1790700"/>
                <a:gd name="connsiteY115" fmla="*/ 885825 h 1466850"/>
                <a:gd name="connsiteX116" fmla="*/ 1710690 w 1790700"/>
                <a:gd name="connsiteY116" fmla="*/ 891540 h 1466850"/>
                <a:gd name="connsiteX117" fmla="*/ 1712596 w 1790700"/>
                <a:gd name="connsiteY117" fmla="*/ 896303 h 1466850"/>
                <a:gd name="connsiteX118" fmla="*/ 1716405 w 1790700"/>
                <a:gd name="connsiteY118" fmla="*/ 903922 h 1466850"/>
                <a:gd name="connsiteX119" fmla="*/ 1717358 w 1790700"/>
                <a:gd name="connsiteY119" fmla="*/ 909638 h 1466850"/>
                <a:gd name="connsiteX120" fmla="*/ 1720215 w 1790700"/>
                <a:gd name="connsiteY120" fmla="*/ 912495 h 1466850"/>
                <a:gd name="connsiteX121" fmla="*/ 1726883 w 1790700"/>
                <a:gd name="connsiteY121" fmla="*/ 916305 h 1466850"/>
                <a:gd name="connsiteX122" fmla="*/ 1730693 w 1790700"/>
                <a:gd name="connsiteY122" fmla="*/ 919163 h 1466850"/>
                <a:gd name="connsiteX123" fmla="*/ 1731646 w 1790700"/>
                <a:gd name="connsiteY123" fmla="*/ 922020 h 1466850"/>
                <a:gd name="connsiteX124" fmla="*/ 1731646 w 1790700"/>
                <a:gd name="connsiteY124" fmla="*/ 924878 h 1466850"/>
                <a:gd name="connsiteX125" fmla="*/ 1729740 w 1790700"/>
                <a:gd name="connsiteY125" fmla="*/ 928688 h 1466850"/>
                <a:gd name="connsiteX126" fmla="*/ 1729740 w 1790700"/>
                <a:gd name="connsiteY126" fmla="*/ 932497 h 1466850"/>
                <a:gd name="connsiteX127" fmla="*/ 1735455 w 1790700"/>
                <a:gd name="connsiteY127" fmla="*/ 940118 h 1466850"/>
                <a:gd name="connsiteX128" fmla="*/ 1736408 w 1790700"/>
                <a:gd name="connsiteY128" fmla="*/ 943928 h 1466850"/>
                <a:gd name="connsiteX129" fmla="*/ 1735455 w 1790700"/>
                <a:gd name="connsiteY129" fmla="*/ 947738 h 1466850"/>
                <a:gd name="connsiteX130" fmla="*/ 1722121 w 1790700"/>
                <a:gd name="connsiteY130" fmla="*/ 965835 h 1466850"/>
                <a:gd name="connsiteX131" fmla="*/ 1708785 w 1790700"/>
                <a:gd name="connsiteY131" fmla="*/ 987743 h 1466850"/>
                <a:gd name="connsiteX132" fmla="*/ 1692593 w 1790700"/>
                <a:gd name="connsiteY132" fmla="*/ 1005840 h 1466850"/>
                <a:gd name="connsiteX133" fmla="*/ 1684021 w 1790700"/>
                <a:gd name="connsiteY133" fmla="*/ 1012507 h 1466850"/>
                <a:gd name="connsiteX134" fmla="*/ 1656398 w 1790700"/>
                <a:gd name="connsiteY134" fmla="*/ 1026795 h 1466850"/>
                <a:gd name="connsiteX135" fmla="*/ 1644968 w 1790700"/>
                <a:gd name="connsiteY135" fmla="*/ 1028700 h 1466850"/>
                <a:gd name="connsiteX136" fmla="*/ 1593533 w 1790700"/>
                <a:gd name="connsiteY136" fmla="*/ 1023938 h 1466850"/>
                <a:gd name="connsiteX137" fmla="*/ 1589723 w 1790700"/>
                <a:gd name="connsiteY137" fmla="*/ 1022985 h 1466850"/>
                <a:gd name="connsiteX138" fmla="*/ 1584008 w 1790700"/>
                <a:gd name="connsiteY138" fmla="*/ 1020128 h 1466850"/>
                <a:gd name="connsiteX139" fmla="*/ 1578293 w 1790700"/>
                <a:gd name="connsiteY139" fmla="*/ 1015365 h 1466850"/>
                <a:gd name="connsiteX140" fmla="*/ 1573530 w 1790700"/>
                <a:gd name="connsiteY140" fmla="*/ 1008697 h 1466850"/>
                <a:gd name="connsiteX141" fmla="*/ 1568768 w 1790700"/>
                <a:gd name="connsiteY141" fmla="*/ 1005840 h 1466850"/>
                <a:gd name="connsiteX142" fmla="*/ 1565910 w 1790700"/>
                <a:gd name="connsiteY142" fmla="*/ 1004888 h 1466850"/>
                <a:gd name="connsiteX143" fmla="*/ 1563053 w 1790700"/>
                <a:gd name="connsiteY143" fmla="*/ 1005840 h 1466850"/>
                <a:gd name="connsiteX144" fmla="*/ 1558290 w 1790700"/>
                <a:gd name="connsiteY144" fmla="*/ 1007745 h 1466850"/>
                <a:gd name="connsiteX145" fmla="*/ 1531621 w 1790700"/>
                <a:gd name="connsiteY145" fmla="*/ 1037272 h 1466850"/>
                <a:gd name="connsiteX146" fmla="*/ 1526858 w 1790700"/>
                <a:gd name="connsiteY146" fmla="*/ 1044893 h 1466850"/>
                <a:gd name="connsiteX147" fmla="*/ 1523048 w 1790700"/>
                <a:gd name="connsiteY147" fmla="*/ 1052513 h 1466850"/>
                <a:gd name="connsiteX148" fmla="*/ 1521143 w 1790700"/>
                <a:gd name="connsiteY148" fmla="*/ 1060132 h 1466850"/>
                <a:gd name="connsiteX149" fmla="*/ 1521143 w 1790700"/>
                <a:gd name="connsiteY149" fmla="*/ 1064895 h 1466850"/>
                <a:gd name="connsiteX150" fmla="*/ 1521143 w 1790700"/>
                <a:gd name="connsiteY150" fmla="*/ 1067753 h 1466850"/>
                <a:gd name="connsiteX151" fmla="*/ 1522096 w 1790700"/>
                <a:gd name="connsiteY151" fmla="*/ 1070610 h 1466850"/>
                <a:gd name="connsiteX152" fmla="*/ 1532573 w 1790700"/>
                <a:gd name="connsiteY152" fmla="*/ 1088707 h 1466850"/>
                <a:gd name="connsiteX153" fmla="*/ 1534478 w 1790700"/>
                <a:gd name="connsiteY153" fmla="*/ 1093470 h 1466850"/>
                <a:gd name="connsiteX154" fmla="*/ 1536383 w 1790700"/>
                <a:gd name="connsiteY154" fmla="*/ 1102043 h 1466850"/>
                <a:gd name="connsiteX155" fmla="*/ 1539240 w 1790700"/>
                <a:gd name="connsiteY155" fmla="*/ 1111568 h 1466850"/>
                <a:gd name="connsiteX156" fmla="*/ 1540193 w 1790700"/>
                <a:gd name="connsiteY156" fmla="*/ 1121093 h 1466850"/>
                <a:gd name="connsiteX157" fmla="*/ 1539240 w 1790700"/>
                <a:gd name="connsiteY157" fmla="*/ 1126807 h 1466850"/>
                <a:gd name="connsiteX158" fmla="*/ 1537335 w 1790700"/>
                <a:gd name="connsiteY158" fmla="*/ 1131570 h 1466850"/>
                <a:gd name="connsiteX159" fmla="*/ 1521143 w 1790700"/>
                <a:gd name="connsiteY159" fmla="*/ 1121093 h 1466850"/>
                <a:gd name="connsiteX160" fmla="*/ 1515428 w 1790700"/>
                <a:gd name="connsiteY160" fmla="*/ 1118235 h 1466850"/>
                <a:gd name="connsiteX161" fmla="*/ 1509713 w 1790700"/>
                <a:gd name="connsiteY161" fmla="*/ 1116330 h 1466850"/>
                <a:gd name="connsiteX162" fmla="*/ 1506855 w 1790700"/>
                <a:gd name="connsiteY162" fmla="*/ 1116330 h 1466850"/>
                <a:gd name="connsiteX163" fmla="*/ 1503046 w 1790700"/>
                <a:gd name="connsiteY163" fmla="*/ 1117282 h 1466850"/>
                <a:gd name="connsiteX164" fmla="*/ 1500188 w 1790700"/>
                <a:gd name="connsiteY164" fmla="*/ 1119188 h 1466850"/>
                <a:gd name="connsiteX165" fmla="*/ 1495425 w 1790700"/>
                <a:gd name="connsiteY165" fmla="*/ 1123950 h 1466850"/>
                <a:gd name="connsiteX166" fmla="*/ 1493521 w 1790700"/>
                <a:gd name="connsiteY166" fmla="*/ 1128713 h 1466850"/>
                <a:gd name="connsiteX167" fmla="*/ 1490663 w 1790700"/>
                <a:gd name="connsiteY167" fmla="*/ 1139190 h 1466850"/>
                <a:gd name="connsiteX168" fmla="*/ 1487805 w 1790700"/>
                <a:gd name="connsiteY168" fmla="*/ 1144905 h 1466850"/>
                <a:gd name="connsiteX169" fmla="*/ 1484948 w 1790700"/>
                <a:gd name="connsiteY169" fmla="*/ 1145857 h 1466850"/>
                <a:gd name="connsiteX170" fmla="*/ 1482090 w 1790700"/>
                <a:gd name="connsiteY170" fmla="*/ 1147763 h 1466850"/>
                <a:gd name="connsiteX171" fmla="*/ 1475423 w 1790700"/>
                <a:gd name="connsiteY171" fmla="*/ 1146810 h 1466850"/>
                <a:gd name="connsiteX172" fmla="*/ 1472565 w 1790700"/>
                <a:gd name="connsiteY172" fmla="*/ 1145857 h 1466850"/>
                <a:gd name="connsiteX173" fmla="*/ 1470660 w 1790700"/>
                <a:gd name="connsiteY173" fmla="*/ 1143000 h 1466850"/>
                <a:gd name="connsiteX174" fmla="*/ 1469708 w 1790700"/>
                <a:gd name="connsiteY174" fmla="*/ 1141095 h 1466850"/>
                <a:gd name="connsiteX175" fmla="*/ 1470660 w 1790700"/>
                <a:gd name="connsiteY175" fmla="*/ 1138238 h 1466850"/>
                <a:gd name="connsiteX176" fmla="*/ 1472565 w 1790700"/>
                <a:gd name="connsiteY176" fmla="*/ 1136332 h 1466850"/>
                <a:gd name="connsiteX177" fmla="*/ 1476375 w 1790700"/>
                <a:gd name="connsiteY177" fmla="*/ 1132523 h 1466850"/>
                <a:gd name="connsiteX178" fmla="*/ 1477328 w 1790700"/>
                <a:gd name="connsiteY178" fmla="*/ 1130618 h 1466850"/>
                <a:gd name="connsiteX179" fmla="*/ 1477328 w 1790700"/>
                <a:gd name="connsiteY179" fmla="*/ 1127760 h 1466850"/>
                <a:gd name="connsiteX180" fmla="*/ 1476375 w 1790700"/>
                <a:gd name="connsiteY180" fmla="*/ 1125855 h 1466850"/>
                <a:gd name="connsiteX181" fmla="*/ 1474471 w 1790700"/>
                <a:gd name="connsiteY181" fmla="*/ 1123950 h 1466850"/>
                <a:gd name="connsiteX182" fmla="*/ 1459230 w 1790700"/>
                <a:gd name="connsiteY182" fmla="*/ 1118235 h 1466850"/>
                <a:gd name="connsiteX183" fmla="*/ 1456373 w 1790700"/>
                <a:gd name="connsiteY183" fmla="*/ 1118235 h 1466850"/>
                <a:gd name="connsiteX184" fmla="*/ 1453515 w 1790700"/>
                <a:gd name="connsiteY184" fmla="*/ 1119188 h 1466850"/>
                <a:gd name="connsiteX185" fmla="*/ 1448753 w 1790700"/>
                <a:gd name="connsiteY185" fmla="*/ 1122998 h 1466850"/>
                <a:gd name="connsiteX186" fmla="*/ 1444943 w 1790700"/>
                <a:gd name="connsiteY186" fmla="*/ 1123950 h 1466850"/>
                <a:gd name="connsiteX187" fmla="*/ 1431608 w 1790700"/>
                <a:gd name="connsiteY187" fmla="*/ 1122998 h 1466850"/>
                <a:gd name="connsiteX188" fmla="*/ 1428750 w 1790700"/>
                <a:gd name="connsiteY188" fmla="*/ 1123950 h 1466850"/>
                <a:gd name="connsiteX189" fmla="*/ 1423988 w 1790700"/>
                <a:gd name="connsiteY189" fmla="*/ 1125855 h 1466850"/>
                <a:gd name="connsiteX190" fmla="*/ 1420178 w 1790700"/>
                <a:gd name="connsiteY190" fmla="*/ 1128713 h 1466850"/>
                <a:gd name="connsiteX191" fmla="*/ 1414463 w 1790700"/>
                <a:gd name="connsiteY191" fmla="*/ 1134428 h 1466850"/>
                <a:gd name="connsiteX192" fmla="*/ 1409700 w 1790700"/>
                <a:gd name="connsiteY192" fmla="*/ 1141095 h 1466850"/>
                <a:gd name="connsiteX193" fmla="*/ 1405890 w 1790700"/>
                <a:gd name="connsiteY193" fmla="*/ 1143953 h 1466850"/>
                <a:gd name="connsiteX194" fmla="*/ 1401128 w 1790700"/>
                <a:gd name="connsiteY194" fmla="*/ 1145857 h 1466850"/>
                <a:gd name="connsiteX195" fmla="*/ 1358265 w 1790700"/>
                <a:gd name="connsiteY195" fmla="*/ 1159193 h 1466850"/>
                <a:gd name="connsiteX196" fmla="*/ 1340168 w 1790700"/>
                <a:gd name="connsiteY196" fmla="*/ 1162050 h 1466850"/>
                <a:gd name="connsiteX197" fmla="*/ 1244918 w 1790700"/>
                <a:gd name="connsiteY197" fmla="*/ 1203960 h 1466850"/>
                <a:gd name="connsiteX198" fmla="*/ 1239203 w 1790700"/>
                <a:gd name="connsiteY198" fmla="*/ 1201103 h 1466850"/>
                <a:gd name="connsiteX199" fmla="*/ 1236346 w 1790700"/>
                <a:gd name="connsiteY199" fmla="*/ 1201103 h 1466850"/>
                <a:gd name="connsiteX200" fmla="*/ 1233488 w 1790700"/>
                <a:gd name="connsiteY200" fmla="*/ 1202055 h 1466850"/>
                <a:gd name="connsiteX201" fmla="*/ 1231583 w 1790700"/>
                <a:gd name="connsiteY201" fmla="*/ 1205865 h 1466850"/>
                <a:gd name="connsiteX202" fmla="*/ 1231583 w 1790700"/>
                <a:gd name="connsiteY202" fmla="*/ 1208723 h 1466850"/>
                <a:gd name="connsiteX203" fmla="*/ 1232535 w 1790700"/>
                <a:gd name="connsiteY203" fmla="*/ 1214438 h 1466850"/>
                <a:gd name="connsiteX204" fmla="*/ 1231583 w 1790700"/>
                <a:gd name="connsiteY204" fmla="*/ 1221105 h 1466850"/>
                <a:gd name="connsiteX205" fmla="*/ 1230630 w 1790700"/>
                <a:gd name="connsiteY205" fmla="*/ 1223963 h 1466850"/>
                <a:gd name="connsiteX206" fmla="*/ 1223963 w 1790700"/>
                <a:gd name="connsiteY206" fmla="*/ 1233488 h 1466850"/>
                <a:gd name="connsiteX207" fmla="*/ 1216343 w 1790700"/>
                <a:gd name="connsiteY207" fmla="*/ 1241107 h 1466850"/>
                <a:gd name="connsiteX208" fmla="*/ 1203008 w 1790700"/>
                <a:gd name="connsiteY208" fmla="*/ 1252538 h 1466850"/>
                <a:gd name="connsiteX209" fmla="*/ 1201103 w 1790700"/>
                <a:gd name="connsiteY209" fmla="*/ 1254443 h 1466850"/>
                <a:gd name="connsiteX210" fmla="*/ 1199198 w 1790700"/>
                <a:gd name="connsiteY210" fmla="*/ 1259205 h 1466850"/>
                <a:gd name="connsiteX211" fmla="*/ 1200150 w 1790700"/>
                <a:gd name="connsiteY211" fmla="*/ 1263968 h 1466850"/>
                <a:gd name="connsiteX212" fmla="*/ 1203960 w 1790700"/>
                <a:gd name="connsiteY212" fmla="*/ 1264920 h 1466850"/>
                <a:gd name="connsiteX213" fmla="*/ 1209675 w 1790700"/>
                <a:gd name="connsiteY213" fmla="*/ 1264920 h 1466850"/>
                <a:gd name="connsiteX214" fmla="*/ 1211580 w 1790700"/>
                <a:gd name="connsiteY214" fmla="*/ 1265873 h 1466850"/>
                <a:gd name="connsiteX215" fmla="*/ 1212533 w 1790700"/>
                <a:gd name="connsiteY215" fmla="*/ 1267778 h 1466850"/>
                <a:gd name="connsiteX216" fmla="*/ 1212533 w 1790700"/>
                <a:gd name="connsiteY216" fmla="*/ 1270635 h 1466850"/>
                <a:gd name="connsiteX217" fmla="*/ 1209675 w 1790700"/>
                <a:gd name="connsiteY217" fmla="*/ 1273493 h 1466850"/>
                <a:gd name="connsiteX218" fmla="*/ 1205865 w 1790700"/>
                <a:gd name="connsiteY218" fmla="*/ 1275398 h 1466850"/>
                <a:gd name="connsiteX219" fmla="*/ 1199198 w 1790700"/>
                <a:gd name="connsiteY219" fmla="*/ 1275398 h 1466850"/>
                <a:gd name="connsiteX220" fmla="*/ 1189673 w 1790700"/>
                <a:gd name="connsiteY220" fmla="*/ 1279207 h 1466850"/>
                <a:gd name="connsiteX221" fmla="*/ 1183958 w 1790700"/>
                <a:gd name="connsiteY221" fmla="*/ 1283970 h 1466850"/>
                <a:gd name="connsiteX222" fmla="*/ 1181100 w 1790700"/>
                <a:gd name="connsiteY222" fmla="*/ 1286828 h 1466850"/>
                <a:gd name="connsiteX223" fmla="*/ 1177290 w 1790700"/>
                <a:gd name="connsiteY223" fmla="*/ 1292543 h 1466850"/>
                <a:gd name="connsiteX224" fmla="*/ 1169671 w 1790700"/>
                <a:gd name="connsiteY224" fmla="*/ 1315403 h 1466850"/>
                <a:gd name="connsiteX225" fmla="*/ 1164908 w 1790700"/>
                <a:gd name="connsiteY225" fmla="*/ 1325880 h 1466850"/>
                <a:gd name="connsiteX226" fmla="*/ 1163003 w 1790700"/>
                <a:gd name="connsiteY226" fmla="*/ 1332548 h 1466850"/>
                <a:gd name="connsiteX227" fmla="*/ 1162050 w 1790700"/>
                <a:gd name="connsiteY227" fmla="*/ 1343025 h 1466850"/>
                <a:gd name="connsiteX228" fmla="*/ 1162050 w 1790700"/>
                <a:gd name="connsiteY228" fmla="*/ 1348740 h 1466850"/>
                <a:gd name="connsiteX229" fmla="*/ 1163955 w 1790700"/>
                <a:gd name="connsiteY229" fmla="*/ 1353503 h 1466850"/>
                <a:gd name="connsiteX230" fmla="*/ 1179196 w 1790700"/>
                <a:gd name="connsiteY230" fmla="*/ 1368743 h 1466850"/>
                <a:gd name="connsiteX231" fmla="*/ 1181100 w 1790700"/>
                <a:gd name="connsiteY231" fmla="*/ 1370648 h 1466850"/>
                <a:gd name="connsiteX232" fmla="*/ 1183005 w 1790700"/>
                <a:gd name="connsiteY232" fmla="*/ 1375410 h 1466850"/>
                <a:gd name="connsiteX233" fmla="*/ 1184910 w 1790700"/>
                <a:gd name="connsiteY233" fmla="*/ 1392555 h 1466850"/>
                <a:gd name="connsiteX234" fmla="*/ 1183958 w 1790700"/>
                <a:gd name="connsiteY234" fmla="*/ 1395413 h 1466850"/>
                <a:gd name="connsiteX235" fmla="*/ 1181100 w 1790700"/>
                <a:gd name="connsiteY235" fmla="*/ 1398270 h 1466850"/>
                <a:gd name="connsiteX236" fmla="*/ 1175385 w 1790700"/>
                <a:gd name="connsiteY236" fmla="*/ 1402080 h 1466850"/>
                <a:gd name="connsiteX237" fmla="*/ 1164908 w 1790700"/>
                <a:gd name="connsiteY237" fmla="*/ 1413510 h 1466850"/>
                <a:gd name="connsiteX238" fmla="*/ 1163955 w 1790700"/>
                <a:gd name="connsiteY238" fmla="*/ 1416368 h 1466850"/>
                <a:gd name="connsiteX239" fmla="*/ 1163003 w 1790700"/>
                <a:gd name="connsiteY239" fmla="*/ 1419225 h 1466850"/>
                <a:gd name="connsiteX240" fmla="*/ 1163003 w 1790700"/>
                <a:gd name="connsiteY240" fmla="*/ 1424940 h 1466850"/>
                <a:gd name="connsiteX241" fmla="*/ 1163955 w 1790700"/>
                <a:gd name="connsiteY241" fmla="*/ 1427798 h 1466850"/>
                <a:gd name="connsiteX242" fmla="*/ 1165860 w 1790700"/>
                <a:gd name="connsiteY242" fmla="*/ 1429703 h 1466850"/>
                <a:gd name="connsiteX243" fmla="*/ 1172528 w 1790700"/>
                <a:gd name="connsiteY243" fmla="*/ 1434465 h 1466850"/>
                <a:gd name="connsiteX244" fmla="*/ 1173480 w 1790700"/>
                <a:gd name="connsiteY244" fmla="*/ 1437323 h 1466850"/>
                <a:gd name="connsiteX245" fmla="*/ 1174433 w 1790700"/>
                <a:gd name="connsiteY245" fmla="*/ 1439228 h 1466850"/>
                <a:gd name="connsiteX246" fmla="*/ 1173480 w 1790700"/>
                <a:gd name="connsiteY246" fmla="*/ 1442085 h 1466850"/>
                <a:gd name="connsiteX247" fmla="*/ 1169671 w 1790700"/>
                <a:gd name="connsiteY247" fmla="*/ 1445895 h 1466850"/>
                <a:gd name="connsiteX248" fmla="*/ 1158240 w 1790700"/>
                <a:gd name="connsiteY248" fmla="*/ 1457325 h 1466850"/>
                <a:gd name="connsiteX249" fmla="*/ 1143000 w 1790700"/>
                <a:gd name="connsiteY249" fmla="*/ 1467803 h 1466850"/>
                <a:gd name="connsiteX250" fmla="*/ 1136333 w 1790700"/>
                <a:gd name="connsiteY250" fmla="*/ 1466850 h 1466850"/>
                <a:gd name="connsiteX251" fmla="*/ 1120140 w 1790700"/>
                <a:gd name="connsiteY251" fmla="*/ 1445895 h 1466850"/>
                <a:gd name="connsiteX252" fmla="*/ 1103948 w 1790700"/>
                <a:gd name="connsiteY252" fmla="*/ 1437323 h 1466850"/>
                <a:gd name="connsiteX253" fmla="*/ 1076325 w 1790700"/>
                <a:gd name="connsiteY253" fmla="*/ 1432560 h 1466850"/>
                <a:gd name="connsiteX254" fmla="*/ 1066800 w 1790700"/>
                <a:gd name="connsiteY254" fmla="*/ 1428750 h 1466850"/>
                <a:gd name="connsiteX255" fmla="*/ 1063943 w 1790700"/>
                <a:gd name="connsiteY255" fmla="*/ 1425893 h 1466850"/>
                <a:gd name="connsiteX256" fmla="*/ 1057275 w 1790700"/>
                <a:gd name="connsiteY256" fmla="*/ 1420178 h 1466850"/>
                <a:gd name="connsiteX257" fmla="*/ 1054418 w 1790700"/>
                <a:gd name="connsiteY257" fmla="*/ 1418273 h 1466850"/>
                <a:gd name="connsiteX258" fmla="*/ 1050608 w 1790700"/>
                <a:gd name="connsiteY258" fmla="*/ 1418273 h 1466850"/>
                <a:gd name="connsiteX259" fmla="*/ 1042988 w 1790700"/>
                <a:gd name="connsiteY259" fmla="*/ 1419225 h 1466850"/>
                <a:gd name="connsiteX260" fmla="*/ 1039178 w 1790700"/>
                <a:gd name="connsiteY260" fmla="*/ 1418273 h 1466850"/>
                <a:gd name="connsiteX261" fmla="*/ 980123 w 1790700"/>
                <a:gd name="connsiteY261" fmla="*/ 1376363 h 1466850"/>
                <a:gd name="connsiteX262" fmla="*/ 975360 w 1790700"/>
                <a:gd name="connsiteY262" fmla="*/ 1371600 h 1466850"/>
                <a:gd name="connsiteX263" fmla="*/ 964883 w 1790700"/>
                <a:gd name="connsiteY263" fmla="*/ 1355407 h 1466850"/>
                <a:gd name="connsiteX264" fmla="*/ 961073 w 1790700"/>
                <a:gd name="connsiteY264" fmla="*/ 1350645 h 1466850"/>
                <a:gd name="connsiteX265" fmla="*/ 952500 w 1790700"/>
                <a:gd name="connsiteY265" fmla="*/ 1345882 h 1466850"/>
                <a:gd name="connsiteX266" fmla="*/ 943928 w 1790700"/>
                <a:gd name="connsiteY266" fmla="*/ 1344930 h 1466850"/>
                <a:gd name="connsiteX267" fmla="*/ 925830 w 1790700"/>
                <a:gd name="connsiteY267" fmla="*/ 1343978 h 1466850"/>
                <a:gd name="connsiteX268" fmla="*/ 916305 w 1790700"/>
                <a:gd name="connsiteY268" fmla="*/ 1341120 h 1466850"/>
                <a:gd name="connsiteX269" fmla="*/ 901065 w 1790700"/>
                <a:gd name="connsiteY269" fmla="*/ 1325880 h 1466850"/>
                <a:gd name="connsiteX270" fmla="*/ 884873 w 1790700"/>
                <a:gd name="connsiteY270" fmla="*/ 1328738 h 1466850"/>
                <a:gd name="connsiteX271" fmla="*/ 883920 w 1790700"/>
                <a:gd name="connsiteY271" fmla="*/ 1331595 h 1466850"/>
                <a:gd name="connsiteX272" fmla="*/ 880110 w 1790700"/>
                <a:gd name="connsiteY272" fmla="*/ 1333500 h 1466850"/>
                <a:gd name="connsiteX273" fmla="*/ 875348 w 1790700"/>
                <a:gd name="connsiteY273" fmla="*/ 1335405 h 1466850"/>
                <a:gd name="connsiteX274" fmla="*/ 865823 w 1790700"/>
                <a:gd name="connsiteY274" fmla="*/ 1336357 h 1466850"/>
                <a:gd name="connsiteX275" fmla="*/ 860108 w 1790700"/>
                <a:gd name="connsiteY275" fmla="*/ 1337310 h 1466850"/>
                <a:gd name="connsiteX276" fmla="*/ 857250 w 1790700"/>
                <a:gd name="connsiteY276" fmla="*/ 1339215 h 1466850"/>
                <a:gd name="connsiteX277" fmla="*/ 854393 w 1790700"/>
                <a:gd name="connsiteY277" fmla="*/ 1344930 h 1466850"/>
                <a:gd name="connsiteX278" fmla="*/ 852488 w 1790700"/>
                <a:gd name="connsiteY278" fmla="*/ 1359218 h 1466850"/>
                <a:gd name="connsiteX279" fmla="*/ 851535 w 1790700"/>
                <a:gd name="connsiteY279" fmla="*/ 1363028 h 1466850"/>
                <a:gd name="connsiteX280" fmla="*/ 849630 w 1790700"/>
                <a:gd name="connsiteY280" fmla="*/ 1365885 h 1466850"/>
                <a:gd name="connsiteX281" fmla="*/ 845820 w 1790700"/>
                <a:gd name="connsiteY281" fmla="*/ 1368743 h 1466850"/>
                <a:gd name="connsiteX282" fmla="*/ 843915 w 1790700"/>
                <a:gd name="connsiteY282" fmla="*/ 1368743 h 1466850"/>
                <a:gd name="connsiteX283" fmla="*/ 842010 w 1790700"/>
                <a:gd name="connsiteY283" fmla="*/ 1366838 h 1466850"/>
                <a:gd name="connsiteX284" fmla="*/ 842010 w 1790700"/>
                <a:gd name="connsiteY284" fmla="*/ 1362075 h 1466850"/>
                <a:gd name="connsiteX285" fmla="*/ 840105 w 1790700"/>
                <a:gd name="connsiteY285" fmla="*/ 1356360 h 1466850"/>
                <a:gd name="connsiteX286" fmla="*/ 836295 w 1790700"/>
                <a:gd name="connsiteY286" fmla="*/ 1346835 h 1466850"/>
                <a:gd name="connsiteX287" fmla="*/ 834390 w 1790700"/>
                <a:gd name="connsiteY287" fmla="*/ 1344930 h 1466850"/>
                <a:gd name="connsiteX288" fmla="*/ 828675 w 1790700"/>
                <a:gd name="connsiteY288" fmla="*/ 1339215 h 1466850"/>
                <a:gd name="connsiteX289" fmla="*/ 824865 w 1790700"/>
                <a:gd name="connsiteY289" fmla="*/ 1335405 h 1466850"/>
                <a:gd name="connsiteX290" fmla="*/ 805815 w 1790700"/>
                <a:gd name="connsiteY290" fmla="*/ 1325880 h 1466850"/>
                <a:gd name="connsiteX291" fmla="*/ 801053 w 1790700"/>
                <a:gd name="connsiteY291" fmla="*/ 1325880 h 1466850"/>
                <a:gd name="connsiteX292" fmla="*/ 797243 w 1790700"/>
                <a:gd name="connsiteY292" fmla="*/ 1326832 h 1466850"/>
                <a:gd name="connsiteX293" fmla="*/ 791528 w 1790700"/>
                <a:gd name="connsiteY293" fmla="*/ 1337310 h 1466850"/>
                <a:gd name="connsiteX294" fmla="*/ 789623 w 1790700"/>
                <a:gd name="connsiteY294" fmla="*/ 1339215 h 1466850"/>
                <a:gd name="connsiteX295" fmla="*/ 785813 w 1790700"/>
                <a:gd name="connsiteY295" fmla="*/ 1341120 h 1466850"/>
                <a:gd name="connsiteX296" fmla="*/ 780098 w 1790700"/>
                <a:gd name="connsiteY296" fmla="*/ 1343025 h 1466850"/>
                <a:gd name="connsiteX297" fmla="*/ 777240 w 1790700"/>
                <a:gd name="connsiteY297" fmla="*/ 1342073 h 1466850"/>
                <a:gd name="connsiteX298" fmla="*/ 775335 w 1790700"/>
                <a:gd name="connsiteY298" fmla="*/ 1339215 h 1466850"/>
                <a:gd name="connsiteX299" fmla="*/ 772478 w 1790700"/>
                <a:gd name="connsiteY299" fmla="*/ 1336357 h 1466850"/>
                <a:gd name="connsiteX300" fmla="*/ 767715 w 1790700"/>
                <a:gd name="connsiteY300" fmla="*/ 1331595 h 1466850"/>
                <a:gd name="connsiteX301" fmla="*/ 744855 w 1790700"/>
                <a:gd name="connsiteY301" fmla="*/ 1322070 h 1466850"/>
                <a:gd name="connsiteX302" fmla="*/ 741045 w 1790700"/>
                <a:gd name="connsiteY302" fmla="*/ 1319213 h 1466850"/>
                <a:gd name="connsiteX303" fmla="*/ 737235 w 1790700"/>
                <a:gd name="connsiteY303" fmla="*/ 1315403 h 1466850"/>
                <a:gd name="connsiteX304" fmla="*/ 731520 w 1790700"/>
                <a:gd name="connsiteY304" fmla="*/ 1310640 h 1466850"/>
                <a:gd name="connsiteX305" fmla="*/ 715328 w 1790700"/>
                <a:gd name="connsiteY305" fmla="*/ 1303020 h 1466850"/>
                <a:gd name="connsiteX306" fmla="*/ 707708 w 1790700"/>
                <a:gd name="connsiteY306" fmla="*/ 1301115 h 1466850"/>
                <a:gd name="connsiteX307" fmla="*/ 701993 w 1790700"/>
                <a:gd name="connsiteY307" fmla="*/ 1301115 h 1466850"/>
                <a:gd name="connsiteX308" fmla="*/ 697230 w 1790700"/>
                <a:gd name="connsiteY308" fmla="*/ 1309688 h 1466850"/>
                <a:gd name="connsiteX309" fmla="*/ 692468 w 1790700"/>
                <a:gd name="connsiteY309" fmla="*/ 1312545 h 1466850"/>
                <a:gd name="connsiteX310" fmla="*/ 690563 w 1790700"/>
                <a:gd name="connsiteY310" fmla="*/ 1312545 h 1466850"/>
                <a:gd name="connsiteX311" fmla="*/ 688658 w 1790700"/>
                <a:gd name="connsiteY311" fmla="*/ 1310640 h 1466850"/>
                <a:gd name="connsiteX312" fmla="*/ 686753 w 1790700"/>
                <a:gd name="connsiteY312" fmla="*/ 1306830 h 1466850"/>
                <a:gd name="connsiteX313" fmla="*/ 683895 w 1790700"/>
                <a:gd name="connsiteY313" fmla="*/ 1304925 h 1466850"/>
                <a:gd name="connsiteX314" fmla="*/ 674370 w 1790700"/>
                <a:gd name="connsiteY314" fmla="*/ 1298257 h 1466850"/>
                <a:gd name="connsiteX315" fmla="*/ 672465 w 1790700"/>
                <a:gd name="connsiteY315" fmla="*/ 1296353 h 1466850"/>
                <a:gd name="connsiteX316" fmla="*/ 670560 w 1790700"/>
                <a:gd name="connsiteY316" fmla="*/ 1291590 h 1466850"/>
                <a:gd name="connsiteX317" fmla="*/ 661035 w 1790700"/>
                <a:gd name="connsiteY317" fmla="*/ 1279207 h 1466850"/>
                <a:gd name="connsiteX318" fmla="*/ 659130 w 1790700"/>
                <a:gd name="connsiteY318" fmla="*/ 1277303 h 1466850"/>
                <a:gd name="connsiteX319" fmla="*/ 651510 w 1790700"/>
                <a:gd name="connsiteY319" fmla="*/ 1270635 h 1466850"/>
                <a:gd name="connsiteX320" fmla="*/ 648653 w 1790700"/>
                <a:gd name="connsiteY320" fmla="*/ 1267778 h 1466850"/>
                <a:gd name="connsiteX321" fmla="*/ 649605 w 1790700"/>
                <a:gd name="connsiteY321" fmla="*/ 1265873 h 1466850"/>
                <a:gd name="connsiteX322" fmla="*/ 654368 w 1790700"/>
                <a:gd name="connsiteY322" fmla="*/ 1263015 h 1466850"/>
                <a:gd name="connsiteX323" fmla="*/ 657225 w 1790700"/>
                <a:gd name="connsiteY323" fmla="*/ 1259205 h 1466850"/>
                <a:gd name="connsiteX324" fmla="*/ 659130 w 1790700"/>
                <a:gd name="connsiteY324" fmla="*/ 1257300 h 1466850"/>
                <a:gd name="connsiteX325" fmla="*/ 659130 w 1790700"/>
                <a:gd name="connsiteY325" fmla="*/ 1254443 h 1466850"/>
                <a:gd name="connsiteX326" fmla="*/ 659130 w 1790700"/>
                <a:gd name="connsiteY326" fmla="*/ 1245870 h 1466850"/>
                <a:gd name="connsiteX327" fmla="*/ 659130 w 1790700"/>
                <a:gd name="connsiteY327" fmla="*/ 1243013 h 1466850"/>
                <a:gd name="connsiteX328" fmla="*/ 661035 w 1790700"/>
                <a:gd name="connsiteY328" fmla="*/ 1242060 h 1466850"/>
                <a:gd name="connsiteX329" fmla="*/ 668655 w 1790700"/>
                <a:gd name="connsiteY329" fmla="*/ 1240155 h 1466850"/>
                <a:gd name="connsiteX330" fmla="*/ 671513 w 1790700"/>
                <a:gd name="connsiteY330" fmla="*/ 1239203 h 1466850"/>
                <a:gd name="connsiteX331" fmla="*/ 673418 w 1790700"/>
                <a:gd name="connsiteY331" fmla="*/ 1237298 h 1466850"/>
                <a:gd name="connsiteX332" fmla="*/ 674370 w 1790700"/>
                <a:gd name="connsiteY332" fmla="*/ 1234440 h 1466850"/>
                <a:gd name="connsiteX333" fmla="*/ 673418 w 1790700"/>
                <a:gd name="connsiteY333" fmla="*/ 1231582 h 1466850"/>
                <a:gd name="connsiteX334" fmla="*/ 670560 w 1790700"/>
                <a:gd name="connsiteY334" fmla="*/ 1228725 h 1466850"/>
                <a:gd name="connsiteX335" fmla="*/ 658178 w 1790700"/>
                <a:gd name="connsiteY335" fmla="*/ 1224915 h 1466850"/>
                <a:gd name="connsiteX336" fmla="*/ 654368 w 1790700"/>
                <a:gd name="connsiteY336" fmla="*/ 1223010 h 1466850"/>
                <a:gd name="connsiteX337" fmla="*/ 651510 w 1790700"/>
                <a:gd name="connsiteY337" fmla="*/ 1220153 h 1466850"/>
                <a:gd name="connsiteX338" fmla="*/ 649605 w 1790700"/>
                <a:gd name="connsiteY338" fmla="*/ 1212532 h 1466850"/>
                <a:gd name="connsiteX339" fmla="*/ 647700 w 1790700"/>
                <a:gd name="connsiteY339" fmla="*/ 1211580 h 1466850"/>
                <a:gd name="connsiteX340" fmla="*/ 598170 w 1790700"/>
                <a:gd name="connsiteY340" fmla="*/ 1206818 h 1466850"/>
                <a:gd name="connsiteX341" fmla="*/ 594360 w 1790700"/>
                <a:gd name="connsiteY341" fmla="*/ 1203960 h 1466850"/>
                <a:gd name="connsiteX342" fmla="*/ 592455 w 1790700"/>
                <a:gd name="connsiteY342" fmla="*/ 1201103 h 1466850"/>
                <a:gd name="connsiteX343" fmla="*/ 586740 w 1790700"/>
                <a:gd name="connsiteY343" fmla="*/ 1191578 h 1466850"/>
                <a:gd name="connsiteX344" fmla="*/ 582930 w 1790700"/>
                <a:gd name="connsiteY344" fmla="*/ 1182053 h 1466850"/>
                <a:gd name="connsiteX345" fmla="*/ 573405 w 1790700"/>
                <a:gd name="connsiteY345" fmla="*/ 1166813 h 1466850"/>
                <a:gd name="connsiteX346" fmla="*/ 569595 w 1790700"/>
                <a:gd name="connsiteY346" fmla="*/ 1163003 h 1466850"/>
                <a:gd name="connsiteX347" fmla="*/ 565785 w 1790700"/>
                <a:gd name="connsiteY347" fmla="*/ 1159193 h 1466850"/>
                <a:gd name="connsiteX348" fmla="*/ 510540 w 1790700"/>
                <a:gd name="connsiteY348" fmla="*/ 1117282 h 1466850"/>
                <a:gd name="connsiteX349" fmla="*/ 379095 w 1790700"/>
                <a:gd name="connsiteY349" fmla="*/ 1052513 h 1466850"/>
                <a:gd name="connsiteX350" fmla="*/ 381000 w 1790700"/>
                <a:gd name="connsiteY350" fmla="*/ 1014413 h 1466850"/>
                <a:gd name="connsiteX351" fmla="*/ 381000 w 1790700"/>
                <a:gd name="connsiteY351" fmla="*/ 1001078 h 1466850"/>
                <a:gd name="connsiteX352" fmla="*/ 380048 w 1790700"/>
                <a:gd name="connsiteY352" fmla="*/ 994410 h 1466850"/>
                <a:gd name="connsiteX353" fmla="*/ 358140 w 1790700"/>
                <a:gd name="connsiteY353" fmla="*/ 936307 h 1466850"/>
                <a:gd name="connsiteX354" fmla="*/ 355283 w 1790700"/>
                <a:gd name="connsiteY354" fmla="*/ 931545 h 1466850"/>
                <a:gd name="connsiteX355" fmla="*/ 334328 w 1790700"/>
                <a:gd name="connsiteY355" fmla="*/ 903922 h 1466850"/>
                <a:gd name="connsiteX356" fmla="*/ 331470 w 1790700"/>
                <a:gd name="connsiteY356" fmla="*/ 900113 h 1466850"/>
                <a:gd name="connsiteX357" fmla="*/ 325755 w 1790700"/>
                <a:gd name="connsiteY357" fmla="*/ 892493 h 1466850"/>
                <a:gd name="connsiteX358" fmla="*/ 320993 w 1790700"/>
                <a:gd name="connsiteY358" fmla="*/ 882968 h 1466850"/>
                <a:gd name="connsiteX359" fmla="*/ 320040 w 1790700"/>
                <a:gd name="connsiteY359" fmla="*/ 878205 h 1466850"/>
                <a:gd name="connsiteX360" fmla="*/ 320040 w 1790700"/>
                <a:gd name="connsiteY360" fmla="*/ 874395 h 1466850"/>
                <a:gd name="connsiteX361" fmla="*/ 340995 w 1790700"/>
                <a:gd name="connsiteY361" fmla="*/ 839153 h 1466850"/>
                <a:gd name="connsiteX362" fmla="*/ 341948 w 1790700"/>
                <a:gd name="connsiteY362" fmla="*/ 837247 h 1466850"/>
                <a:gd name="connsiteX363" fmla="*/ 346710 w 1790700"/>
                <a:gd name="connsiteY363" fmla="*/ 833438 h 1466850"/>
                <a:gd name="connsiteX364" fmla="*/ 358140 w 1790700"/>
                <a:gd name="connsiteY364" fmla="*/ 826770 h 1466850"/>
                <a:gd name="connsiteX365" fmla="*/ 359093 w 1790700"/>
                <a:gd name="connsiteY365" fmla="*/ 824865 h 1466850"/>
                <a:gd name="connsiteX366" fmla="*/ 360998 w 1790700"/>
                <a:gd name="connsiteY366" fmla="*/ 821055 h 1466850"/>
                <a:gd name="connsiteX367" fmla="*/ 362903 w 1790700"/>
                <a:gd name="connsiteY367" fmla="*/ 816293 h 1466850"/>
                <a:gd name="connsiteX368" fmla="*/ 363855 w 1790700"/>
                <a:gd name="connsiteY368" fmla="*/ 807720 h 1466850"/>
                <a:gd name="connsiteX369" fmla="*/ 363855 w 1790700"/>
                <a:gd name="connsiteY369" fmla="*/ 802005 h 1466850"/>
                <a:gd name="connsiteX370" fmla="*/ 363855 w 1790700"/>
                <a:gd name="connsiteY370" fmla="*/ 798195 h 1466850"/>
                <a:gd name="connsiteX371" fmla="*/ 360045 w 1790700"/>
                <a:gd name="connsiteY371" fmla="*/ 783908 h 1466850"/>
                <a:gd name="connsiteX372" fmla="*/ 356235 w 1790700"/>
                <a:gd name="connsiteY372" fmla="*/ 778193 h 1466850"/>
                <a:gd name="connsiteX373" fmla="*/ 342900 w 1790700"/>
                <a:gd name="connsiteY373" fmla="*/ 767715 h 1466850"/>
                <a:gd name="connsiteX374" fmla="*/ 340043 w 1790700"/>
                <a:gd name="connsiteY374" fmla="*/ 765810 h 1466850"/>
                <a:gd name="connsiteX375" fmla="*/ 338138 w 1790700"/>
                <a:gd name="connsiteY375" fmla="*/ 762000 h 1466850"/>
                <a:gd name="connsiteX376" fmla="*/ 335280 w 1790700"/>
                <a:gd name="connsiteY376" fmla="*/ 756285 h 1466850"/>
                <a:gd name="connsiteX377" fmla="*/ 334328 w 1790700"/>
                <a:gd name="connsiteY377" fmla="*/ 752475 h 1466850"/>
                <a:gd name="connsiteX378" fmla="*/ 333375 w 1790700"/>
                <a:gd name="connsiteY378" fmla="*/ 728663 h 1466850"/>
                <a:gd name="connsiteX379" fmla="*/ 331470 w 1790700"/>
                <a:gd name="connsiteY379" fmla="*/ 723900 h 1466850"/>
                <a:gd name="connsiteX380" fmla="*/ 328613 w 1790700"/>
                <a:gd name="connsiteY380" fmla="*/ 720090 h 1466850"/>
                <a:gd name="connsiteX381" fmla="*/ 271463 w 1790700"/>
                <a:gd name="connsiteY381" fmla="*/ 698183 h 1466850"/>
                <a:gd name="connsiteX382" fmla="*/ 268605 w 1790700"/>
                <a:gd name="connsiteY382" fmla="*/ 695325 h 1466850"/>
                <a:gd name="connsiteX383" fmla="*/ 264795 w 1790700"/>
                <a:gd name="connsiteY383" fmla="*/ 692468 h 1466850"/>
                <a:gd name="connsiteX384" fmla="*/ 262890 w 1790700"/>
                <a:gd name="connsiteY384" fmla="*/ 685800 h 1466850"/>
                <a:gd name="connsiteX385" fmla="*/ 263843 w 1790700"/>
                <a:gd name="connsiteY385" fmla="*/ 663893 h 1466850"/>
                <a:gd name="connsiteX386" fmla="*/ 263843 w 1790700"/>
                <a:gd name="connsiteY386" fmla="*/ 659130 h 1466850"/>
                <a:gd name="connsiteX387" fmla="*/ 262890 w 1790700"/>
                <a:gd name="connsiteY387" fmla="*/ 650558 h 1466850"/>
                <a:gd name="connsiteX388" fmla="*/ 261938 w 1790700"/>
                <a:gd name="connsiteY388" fmla="*/ 645795 h 1466850"/>
                <a:gd name="connsiteX389" fmla="*/ 260033 w 1790700"/>
                <a:gd name="connsiteY389" fmla="*/ 642938 h 1466850"/>
                <a:gd name="connsiteX390" fmla="*/ 242888 w 1790700"/>
                <a:gd name="connsiteY390" fmla="*/ 628650 h 1466850"/>
                <a:gd name="connsiteX391" fmla="*/ 240030 w 1790700"/>
                <a:gd name="connsiteY391" fmla="*/ 627697 h 1466850"/>
                <a:gd name="connsiteX392" fmla="*/ 238125 w 1790700"/>
                <a:gd name="connsiteY392" fmla="*/ 628650 h 1466850"/>
                <a:gd name="connsiteX393" fmla="*/ 233363 w 1790700"/>
                <a:gd name="connsiteY393" fmla="*/ 630555 h 1466850"/>
                <a:gd name="connsiteX394" fmla="*/ 228600 w 1790700"/>
                <a:gd name="connsiteY394" fmla="*/ 631508 h 1466850"/>
                <a:gd name="connsiteX395" fmla="*/ 225743 w 1790700"/>
                <a:gd name="connsiteY395" fmla="*/ 628650 h 1466850"/>
                <a:gd name="connsiteX396" fmla="*/ 223838 w 1790700"/>
                <a:gd name="connsiteY396" fmla="*/ 624840 h 1466850"/>
                <a:gd name="connsiteX397" fmla="*/ 220028 w 1790700"/>
                <a:gd name="connsiteY397" fmla="*/ 619125 h 1466850"/>
                <a:gd name="connsiteX398" fmla="*/ 212408 w 1790700"/>
                <a:gd name="connsiteY398" fmla="*/ 611505 h 1466850"/>
                <a:gd name="connsiteX399" fmla="*/ 210503 w 1790700"/>
                <a:gd name="connsiteY399" fmla="*/ 609600 h 1466850"/>
                <a:gd name="connsiteX400" fmla="*/ 207645 w 1790700"/>
                <a:gd name="connsiteY400" fmla="*/ 608647 h 1466850"/>
                <a:gd name="connsiteX401" fmla="*/ 205740 w 1790700"/>
                <a:gd name="connsiteY401" fmla="*/ 608647 h 1466850"/>
                <a:gd name="connsiteX402" fmla="*/ 202883 w 1790700"/>
                <a:gd name="connsiteY402" fmla="*/ 609600 h 1466850"/>
                <a:gd name="connsiteX403" fmla="*/ 198120 w 1790700"/>
                <a:gd name="connsiteY403" fmla="*/ 612458 h 1466850"/>
                <a:gd name="connsiteX404" fmla="*/ 195263 w 1790700"/>
                <a:gd name="connsiteY404" fmla="*/ 612458 h 1466850"/>
                <a:gd name="connsiteX405" fmla="*/ 193358 w 1790700"/>
                <a:gd name="connsiteY405" fmla="*/ 612458 h 1466850"/>
                <a:gd name="connsiteX406" fmla="*/ 188595 w 1790700"/>
                <a:gd name="connsiteY406" fmla="*/ 609600 h 1466850"/>
                <a:gd name="connsiteX407" fmla="*/ 179070 w 1790700"/>
                <a:gd name="connsiteY407" fmla="*/ 597218 h 1466850"/>
                <a:gd name="connsiteX408" fmla="*/ 160020 w 1790700"/>
                <a:gd name="connsiteY408" fmla="*/ 562928 h 1466850"/>
                <a:gd name="connsiteX409" fmla="*/ 157163 w 1790700"/>
                <a:gd name="connsiteY409" fmla="*/ 555308 h 1466850"/>
                <a:gd name="connsiteX410" fmla="*/ 155258 w 1790700"/>
                <a:gd name="connsiteY410" fmla="*/ 548640 h 1466850"/>
                <a:gd name="connsiteX411" fmla="*/ 156210 w 1790700"/>
                <a:gd name="connsiteY411" fmla="*/ 545783 h 1466850"/>
                <a:gd name="connsiteX412" fmla="*/ 158115 w 1790700"/>
                <a:gd name="connsiteY412" fmla="*/ 543878 h 1466850"/>
                <a:gd name="connsiteX413" fmla="*/ 160020 w 1790700"/>
                <a:gd name="connsiteY413" fmla="*/ 541972 h 1466850"/>
                <a:gd name="connsiteX414" fmla="*/ 162878 w 1790700"/>
                <a:gd name="connsiteY414" fmla="*/ 541020 h 1466850"/>
                <a:gd name="connsiteX415" fmla="*/ 165735 w 1790700"/>
                <a:gd name="connsiteY415" fmla="*/ 541972 h 1466850"/>
                <a:gd name="connsiteX416" fmla="*/ 170498 w 1790700"/>
                <a:gd name="connsiteY416" fmla="*/ 543878 h 1466850"/>
                <a:gd name="connsiteX417" fmla="*/ 172403 w 1790700"/>
                <a:gd name="connsiteY417" fmla="*/ 543878 h 1466850"/>
                <a:gd name="connsiteX418" fmla="*/ 176213 w 1790700"/>
                <a:gd name="connsiteY418" fmla="*/ 541972 h 1466850"/>
                <a:gd name="connsiteX419" fmla="*/ 178118 w 1790700"/>
                <a:gd name="connsiteY419" fmla="*/ 539115 h 1466850"/>
                <a:gd name="connsiteX420" fmla="*/ 179070 w 1790700"/>
                <a:gd name="connsiteY420" fmla="*/ 534353 h 1466850"/>
                <a:gd name="connsiteX421" fmla="*/ 178118 w 1790700"/>
                <a:gd name="connsiteY421" fmla="*/ 520065 h 1466850"/>
                <a:gd name="connsiteX422" fmla="*/ 178118 w 1790700"/>
                <a:gd name="connsiteY422" fmla="*/ 512445 h 1466850"/>
                <a:gd name="connsiteX423" fmla="*/ 182880 w 1790700"/>
                <a:gd name="connsiteY423" fmla="*/ 495300 h 1466850"/>
                <a:gd name="connsiteX424" fmla="*/ 182880 w 1790700"/>
                <a:gd name="connsiteY424" fmla="*/ 490538 h 1466850"/>
                <a:gd name="connsiteX425" fmla="*/ 183833 w 1790700"/>
                <a:gd name="connsiteY425" fmla="*/ 485775 h 1466850"/>
                <a:gd name="connsiteX426" fmla="*/ 182880 w 1790700"/>
                <a:gd name="connsiteY426" fmla="*/ 478155 h 1466850"/>
                <a:gd name="connsiteX427" fmla="*/ 180975 w 1790700"/>
                <a:gd name="connsiteY427" fmla="*/ 474345 h 1466850"/>
                <a:gd name="connsiteX428" fmla="*/ 179070 w 1790700"/>
                <a:gd name="connsiteY428" fmla="*/ 471488 h 1466850"/>
                <a:gd name="connsiteX429" fmla="*/ 166688 w 1790700"/>
                <a:gd name="connsiteY429" fmla="*/ 463867 h 1466850"/>
                <a:gd name="connsiteX430" fmla="*/ 164783 w 1790700"/>
                <a:gd name="connsiteY430" fmla="*/ 461963 h 1466850"/>
                <a:gd name="connsiteX431" fmla="*/ 160973 w 1790700"/>
                <a:gd name="connsiteY431" fmla="*/ 456247 h 1466850"/>
                <a:gd name="connsiteX432" fmla="*/ 137160 w 1790700"/>
                <a:gd name="connsiteY432" fmla="*/ 408622 h 1466850"/>
                <a:gd name="connsiteX433" fmla="*/ 134303 w 1790700"/>
                <a:gd name="connsiteY433" fmla="*/ 407670 h 1466850"/>
                <a:gd name="connsiteX434" fmla="*/ 131445 w 1790700"/>
                <a:gd name="connsiteY434" fmla="*/ 407670 h 1466850"/>
                <a:gd name="connsiteX435" fmla="*/ 123825 w 1790700"/>
                <a:gd name="connsiteY435" fmla="*/ 410528 h 1466850"/>
                <a:gd name="connsiteX436" fmla="*/ 120968 w 1790700"/>
                <a:gd name="connsiteY436" fmla="*/ 410528 h 1466850"/>
                <a:gd name="connsiteX437" fmla="*/ 118110 w 1790700"/>
                <a:gd name="connsiteY437" fmla="*/ 410528 h 1466850"/>
                <a:gd name="connsiteX438" fmla="*/ 105728 w 1790700"/>
                <a:gd name="connsiteY438" fmla="*/ 404813 h 1466850"/>
                <a:gd name="connsiteX439" fmla="*/ 101918 w 1790700"/>
                <a:gd name="connsiteY439" fmla="*/ 402908 h 1466850"/>
                <a:gd name="connsiteX440" fmla="*/ 98108 w 1790700"/>
                <a:gd name="connsiteY440" fmla="*/ 400050 h 1466850"/>
                <a:gd name="connsiteX441" fmla="*/ 96203 w 1790700"/>
                <a:gd name="connsiteY441" fmla="*/ 396240 h 1466850"/>
                <a:gd name="connsiteX442" fmla="*/ 85725 w 1790700"/>
                <a:gd name="connsiteY442" fmla="*/ 359092 h 1466850"/>
                <a:gd name="connsiteX443" fmla="*/ 84773 w 1790700"/>
                <a:gd name="connsiteY443" fmla="*/ 354330 h 1466850"/>
                <a:gd name="connsiteX444" fmla="*/ 86678 w 1790700"/>
                <a:gd name="connsiteY444" fmla="*/ 352425 h 1466850"/>
                <a:gd name="connsiteX445" fmla="*/ 104775 w 1790700"/>
                <a:gd name="connsiteY445" fmla="*/ 346710 h 1466850"/>
                <a:gd name="connsiteX446" fmla="*/ 106680 w 1790700"/>
                <a:gd name="connsiteY446" fmla="*/ 343853 h 1466850"/>
                <a:gd name="connsiteX447" fmla="*/ 108585 w 1790700"/>
                <a:gd name="connsiteY447" fmla="*/ 339090 h 1466850"/>
                <a:gd name="connsiteX448" fmla="*/ 107633 w 1790700"/>
                <a:gd name="connsiteY448" fmla="*/ 329565 h 1466850"/>
                <a:gd name="connsiteX449" fmla="*/ 106680 w 1790700"/>
                <a:gd name="connsiteY449" fmla="*/ 325755 h 1466850"/>
                <a:gd name="connsiteX450" fmla="*/ 105728 w 1790700"/>
                <a:gd name="connsiteY450" fmla="*/ 322897 h 1466850"/>
                <a:gd name="connsiteX451" fmla="*/ 101918 w 1790700"/>
                <a:gd name="connsiteY451" fmla="*/ 319088 h 1466850"/>
                <a:gd name="connsiteX452" fmla="*/ 100013 w 1790700"/>
                <a:gd name="connsiteY452" fmla="*/ 318135 h 1466850"/>
                <a:gd name="connsiteX453" fmla="*/ 97155 w 1790700"/>
                <a:gd name="connsiteY453" fmla="*/ 318135 h 1466850"/>
                <a:gd name="connsiteX454" fmla="*/ 92393 w 1790700"/>
                <a:gd name="connsiteY454" fmla="*/ 320992 h 1466850"/>
                <a:gd name="connsiteX455" fmla="*/ 89535 w 1790700"/>
                <a:gd name="connsiteY455" fmla="*/ 324803 h 1466850"/>
                <a:gd name="connsiteX456" fmla="*/ 84773 w 1790700"/>
                <a:gd name="connsiteY456" fmla="*/ 327660 h 1466850"/>
                <a:gd name="connsiteX457" fmla="*/ 80010 w 1790700"/>
                <a:gd name="connsiteY457" fmla="*/ 330517 h 1466850"/>
                <a:gd name="connsiteX458" fmla="*/ 77153 w 1790700"/>
                <a:gd name="connsiteY458" fmla="*/ 330517 h 1466850"/>
                <a:gd name="connsiteX459" fmla="*/ 74295 w 1790700"/>
                <a:gd name="connsiteY459" fmla="*/ 328613 h 1466850"/>
                <a:gd name="connsiteX460" fmla="*/ 64770 w 1790700"/>
                <a:gd name="connsiteY460" fmla="*/ 314325 h 1466850"/>
                <a:gd name="connsiteX461" fmla="*/ 61913 w 1790700"/>
                <a:gd name="connsiteY461" fmla="*/ 312420 h 1466850"/>
                <a:gd name="connsiteX462" fmla="*/ 56198 w 1790700"/>
                <a:gd name="connsiteY462" fmla="*/ 309563 h 1466850"/>
                <a:gd name="connsiteX463" fmla="*/ 44768 w 1790700"/>
                <a:gd name="connsiteY463" fmla="*/ 307658 h 1466850"/>
                <a:gd name="connsiteX464" fmla="*/ 41910 w 1790700"/>
                <a:gd name="connsiteY464" fmla="*/ 305753 h 1466850"/>
                <a:gd name="connsiteX465" fmla="*/ 38100 w 1790700"/>
                <a:gd name="connsiteY465" fmla="*/ 301942 h 1466850"/>
                <a:gd name="connsiteX466" fmla="*/ 36195 w 1790700"/>
                <a:gd name="connsiteY466" fmla="*/ 297180 h 1466850"/>
                <a:gd name="connsiteX467" fmla="*/ 34290 w 1790700"/>
                <a:gd name="connsiteY467" fmla="*/ 291465 h 1466850"/>
                <a:gd name="connsiteX468" fmla="*/ 33338 w 1790700"/>
                <a:gd name="connsiteY468" fmla="*/ 287655 h 1466850"/>
                <a:gd name="connsiteX469" fmla="*/ 31433 w 1790700"/>
                <a:gd name="connsiteY469" fmla="*/ 284797 h 1466850"/>
                <a:gd name="connsiteX470" fmla="*/ 29528 w 1790700"/>
                <a:gd name="connsiteY470" fmla="*/ 282892 h 1466850"/>
                <a:gd name="connsiteX471" fmla="*/ 21908 w 1790700"/>
                <a:gd name="connsiteY471" fmla="*/ 273367 h 1466850"/>
                <a:gd name="connsiteX472" fmla="*/ 19050 w 1790700"/>
                <a:gd name="connsiteY472" fmla="*/ 264795 h 1466850"/>
                <a:gd name="connsiteX473" fmla="*/ 16193 w 1790700"/>
                <a:gd name="connsiteY473" fmla="*/ 259080 h 1466850"/>
                <a:gd name="connsiteX474" fmla="*/ 13335 w 1790700"/>
                <a:gd name="connsiteY474" fmla="*/ 256222 h 1466850"/>
                <a:gd name="connsiteX475" fmla="*/ 10478 w 1790700"/>
                <a:gd name="connsiteY475" fmla="*/ 256222 h 1466850"/>
                <a:gd name="connsiteX476" fmla="*/ 5715 w 1790700"/>
                <a:gd name="connsiteY476" fmla="*/ 256222 h 1466850"/>
                <a:gd name="connsiteX477" fmla="*/ 0 w 1790700"/>
                <a:gd name="connsiteY477" fmla="*/ 255270 h 1466850"/>
                <a:gd name="connsiteX478" fmla="*/ 14288 w 1790700"/>
                <a:gd name="connsiteY478" fmla="*/ 234315 h 1466850"/>
                <a:gd name="connsiteX479" fmla="*/ 17145 w 1790700"/>
                <a:gd name="connsiteY479" fmla="*/ 227647 h 1466850"/>
                <a:gd name="connsiteX480" fmla="*/ 16193 w 1790700"/>
                <a:gd name="connsiteY480" fmla="*/ 224790 h 1466850"/>
                <a:gd name="connsiteX481" fmla="*/ 13335 w 1790700"/>
                <a:gd name="connsiteY481" fmla="*/ 220028 h 1466850"/>
                <a:gd name="connsiteX482" fmla="*/ 12383 w 1790700"/>
                <a:gd name="connsiteY482" fmla="*/ 216217 h 1466850"/>
                <a:gd name="connsiteX483" fmla="*/ 13335 w 1790700"/>
                <a:gd name="connsiteY483" fmla="*/ 214313 h 1466850"/>
                <a:gd name="connsiteX484" fmla="*/ 15240 w 1790700"/>
                <a:gd name="connsiteY484" fmla="*/ 211455 h 1466850"/>
                <a:gd name="connsiteX485" fmla="*/ 23813 w 1790700"/>
                <a:gd name="connsiteY485" fmla="*/ 199072 h 1466850"/>
                <a:gd name="connsiteX486" fmla="*/ 37148 w 1790700"/>
                <a:gd name="connsiteY486" fmla="*/ 162878 h 1466850"/>
                <a:gd name="connsiteX487" fmla="*/ 68580 w 1790700"/>
                <a:gd name="connsiteY487" fmla="*/ 162878 h 1466850"/>
                <a:gd name="connsiteX488" fmla="*/ 71438 w 1790700"/>
                <a:gd name="connsiteY488" fmla="*/ 163830 h 1466850"/>
                <a:gd name="connsiteX489" fmla="*/ 75248 w 1790700"/>
                <a:gd name="connsiteY489" fmla="*/ 167640 h 1466850"/>
                <a:gd name="connsiteX490" fmla="*/ 78105 w 1790700"/>
                <a:gd name="connsiteY490" fmla="*/ 168592 h 1466850"/>
                <a:gd name="connsiteX491" fmla="*/ 80963 w 1790700"/>
                <a:gd name="connsiteY491" fmla="*/ 168592 h 1466850"/>
                <a:gd name="connsiteX492" fmla="*/ 85725 w 1790700"/>
                <a:gd name="connsiteY492" fmla="*/ 166688 h 1466850"/>
                <a:gd name="connsiteX493" fmla="*/ 91440 w 1790700"/>
                <a:gd name="connsiteY493" fmla="*/ 162878 h 1466850"/>
                <a:gd name="connsiteX494" fmla="*/ 97155 w 1790700"/>
                <a:gd name="connsiteY494" fmla="*/ 156210 h 1466850"/>
                <a:gd name="connsiteX495" fmla="*/ 107633 w 1790700"/>
                <a:gd name="connsiteY495" fmla="*/ 138113 h 1466850"/>
                <a:gd name="connsiteX496" fmla="*/ 111443 w 1790700"/>
                <a:gd name="connsiteY496" fmla="*/ 134303 h 1466850"/>
                <a:gd name="connsiteX497" fmla="*/ 115253 w 1790700"/>
                <a:gd name="connsiteY497" fmla="*/ 130492 h 1466850"/>
                <a:gd name="connsiteX498" fmla="*/ 148590 w 1790700"/>
                <a:gd name="connsiteY498" fmla="*/ 115253 h 1466850"/>
                <a:gd name="connsiteX499" fmla="*/ 161925 w 1790700"/>
                <a:gd name="connsiteY499" fmla="*/ 114300 h 1466850"/>
                <a:gd name="connsiteX500" fmla="*/ 165735 w 1790700"/>
                <a:gd name="connsiteY500" fmla="*/ 115253 h 1466850"/>
                <a:gd name="connsiteX501" fmla="*/ 167640 w 1790700"/>
                <a:gd name="connsiteY501" fmla="*/ 117158 h 1466850"/>
                <a:gd name="connsiteX502" fmla="*/ 172403 w 1790700"/>
                <a:gd name="connsiteY502" fmla="*/ 122872 h 1466850"/>
                <a:gd name="connsiteX503" fmla="*/ 176213 w 1790700"/>
                <a:gd name="connsiteY503" fmla="*/ 127635 h 1466850"/>
                <a:gd name="connsiteX504" fmla="*/ 178118 w 1790700"/>
                <a:gd name="connsiteY504" fmla="*/ 128588 h 1466850"/>
                <a:gd name="connsiteX505" fmla="*/ 180975 w 1790700"/>
                <a:gd name="connsiteY505" fmla="*/ 127635 h 1466850"/>
                <a:gd name="connsiteX506" fmla="*/ 197168 w 1790700"/>
                <a:gd name="connsiteY506" fmla="*/ 116205 h 1466850"/>
                <a:gd name="connsiteX507" fmla="*/ 200978 w 1790700"/>
                <a:gd name="connsiteY507" fmla="*/ 115253 h 1466850"/>
                <a:gd name="connsiteX508" fmla="*/ 208598 w 1790700"/>
                <a:gd name="connsiteY508" fmla="*/ 115253 h 1466850"/>
                <a:gd name="connsiteX509" fmla="*/ 212408 w 1790700"/>
                <a:gd name="connsiteY509" fmla="*/ 115253 h 1466850"/>
                <a:gd name="connsiteX510" fmla="*/ 215265 w 1790700"/>
                <a:gd name="connsiteY510" fmla="*/ 116205 h 1466850"/>
                <a:gd name="connsiteX511" fmla="*/ 218123 w 1790700"/>
                <a:gd name="connsiteY511" fmla="*/ 120015 h 1466850"/>
                <a:gd name="connsiteX512" fmla="*/ 220028 w 1790700"/>
                <a:gd name="connsiteY512" fmla="*/ 125730 h 1466850"/>
                <a:gd name="connsiteX513" fmla="*/ 221933 w 1790700"/>
                <a:gd name="connsiteY513" fmla="*/ 134303 h 1466850"/>
                <a:gd name="connsiteX514" fmla="*/ 223838 w 1790700"/>
                <a:gd name="connsiteY514" fmla="*/ 139065 h 1466850"/>
                <a:gd name="connsiteX515" fmla="*/ 226695 w 1790700"/>
                <a:gd name="connsiteY515" fmla="*/ 143828 h 1466850"/>
                <a:gd name="connsiteX516" fmla="*/ 228600 w 1790700"/>
                <a:gd name="connsiteY516" fmla="*/ 146685 h 1466850"/>
                <a:gd name="connsiteX517" fmla="*/ 240983 w 1790700"/>
                <a:gd name="connsiteY517" fmla="*/ 150495 h 1466850"/>
                <a:gd name="connsiteX518" fmla="*/ 294323 w 1790700"/>
                <a:gd name="connsiteY518" fmla="*/ 152400 h 1466850"/>
                <a:gd name="connsiteX519" fmla="*/ 315278 w 1790700"/>
                <a:gd name="connsiteY519" fmla="*/ 148590 h 1466850"/>
                <a:gd name="connsiteX520" fmla="*/ 320040 w 1790700"/>
                <a:gd name="connsiteY520" fmla="*/ 148590 h 1466850"/>
                <a:gd name="connsiteX521" fmla="*/ 322898 w 1790700"/>
                <a:gd name="connsiteY521" fmla="*/ 150495 h 1466850"/>
                <a:gd name="connsiteX522" fmla="*/ 324803 w 1790700"/>
                <a:gd name="connsiteY522" fmla="*/ 155258 h 1466850"/>
                <a:gd name="connsiteX523" fmla="*/ 327660 w 1790700"/>
                <a:gd name="connsiteY523" fmla="*/ 156210 h 1466850"/>
                <a:gd name="connsiteX524" fmla="*/ 346710 w 1790700"/>
                <a:gd name="connsiteY524" fmla="*/ 156210 h 1466850"/>
                <a:gd name="connsiteX525" fmla="*/ 391478 w 1790700"/>
                <a:gd name="connsiteY525" fmla="*/ 131445 h 1466850"/>
                <a:gd name="connsiteX526" fmla="*/ 400050 w 1790700"/>
                <a:gd name="connsiteY526" fmla="*/ 129540 h 1466850"/>
                <a:gd name="connsiteX527" fmla="*/ 419100 w 1790700"/>
                <a:gd name="connsiteY527" fmla="*/ 127635 h 1466850"/>
                <a:gd name="connsiteX528" fmla="*/ 423863 w 1790700"/>
                <a:gd name="connsiteY528" fmla="*/ 125730 h 1466850"/>
                <a:gd name="connsiteX529" fmla="*/ 426720 w 1790700"/>
                <a:gd name="connsiteY529" fmla="*/ 123825 h 1466850"/>
                <a:gd name="connsiteX530" fmla="*/ 429578 w 1790700"/>
                <a:gd name="connsiteY530" fmla="*/ 120967 h 1466850"/>
                <a:gd name="connsiteX531" fmla="*/ 432435 w 1790700"/>
                <a:gd name="connsiteY531" fmla="*/ 113347 h 1466850"/>
                <a:gd name="connsiteX532" fmla="*/ 435293 w 1790700"/>
                <a:gd name="connsiteY532" fmla="*/ 104775 h 1466850"/>
                <a:gd name="connsiteX533" fmla="*/ 438150 w 1790700"/>
                <a:gd name="connsiteY533" fmla="*/ 100965 h 1466850"/>
                <a:gd name="connsiteX534" fmla="*/ 441008 w 1790700"/>
                <a:gd name="connsiteY534" fmla="*/ 97155 h 1466850"/>
                <a:gd name="connsiteX535" fmla="*/ 453390 w 1790700"/>
                <a:gd name="connsiteY535" fmla="*/ 89535 h 1466850"/>
                <a:gd name="connsiteX536" fmla="*/ 461963 w 1790700"/>
                <a:gd name="connsiteY536" fmla="*/ 86678 h 1466850"/>
                <a:gd name="connsiteX537" fmla="*/ 464820 w 1790700"/>
                <a:gd name="connsiteY537" fmla="*/ 84772 h 1466850"/>
                <a:gd name="connsiteX538" fmla="*/ 467678 w 1790700"/>
                <a:gd name="connsiteY538" fmla="*/ 81915 h 1466850"/>
                <a:gd name="connsiteX539" fmla="*/ 470535 w 1790700"/>
                <a:gd name="connsiteY539" fmla="*/ 72390 h 1466850"/>
                <a:gd name="connsiteX540" fmla="*/ 473393 w 1790700"/>
                <a:gd name="connsiteY540" fmla="*/ 68580 h 1466850"/>
                <a:gd name="connsiteX541" fmla="*/ 476250 w 1790700"/>
                <a:gd name="connsiteY541" fmla="*/ 64770 h 1466850"/>
                <a:gd name="connsiteX542" fmla="*/ 482918 w 1790700"/>
                <a:gd name="connsiteY542" fmla="*/ 60960 h 1466850"/>
                <a:gd name="connsiteX543" fmla="*/ 495300 w 1790700"/>
                <a:gd name="connsiteY543" fmla="*/ 55245 h 1466850"/>
                <a:gd name="connsiteX544" fmla="*/ 502920 w 1790700"/>
                <a:gd name="connsiteY544" fmla="*/ 45720 h 1466850"/>
                <a:gd name="connsiteX545" fmla="*/ 522923 w 1790700"/>
                <a:gd name="connsiteY545" fmla="*/ 6667 h 1466850"/>
                <a:gd name="connsiteX546" fmla="*/ 542925 w 1790700"/>
                <a:gd name="connsiteY546" fmla="*/ 18097 h 1466850"/>
                <a:gd name="connsiteX547" fmla="*/ 593408 w 1790700"/>
                <a:gd name="connsiteY547" fmla="*/ 24765 h 1466850"/>
                <a:gd name="connsiteX548" fmla="*/ 599123 w 1790700"/>
                <a:gd name="connsiteY548" fmla="*/ 23813 h 1466850"/>
                <a:gd name="connsiteX549" fmla="*/ 601028 w 1790700"/>
                <a:gd name="connsiteY549" fmla="*/ 21908 h 1466850"/>
                <a:gd name="connsiteX550" fmla="*/ 603885 w 1790700"/>
                <a:gd name="connsiteY550" fmla="*/ 16192 h 1466850"/>
                <a:gd name="connsiteX551" fmla="*/ 604838 w 1790700"/>
                <a:gd name="connsiteY551" fmla="*/ 13335 h 1466850"/>
                <a:gd name="connsiteX552" fmla="*/ 608648 w 1790700"/>
                <a:gd name="connsiteY552" fmla="*/ 9525 h 1466850"/>
                <a:gd name="connsiteX553" fmla="*/ 614363 w 1790700"/>
                <a:gd name="connsiteY553" fmla="*/ 5715 h 1466850"/>
                <a:gd name="connsiteX554" fmla="*/ 628650 w 1790700"/>
                <a:gd name="connsiteY554" fmla="*/ 953 h 1466850"/>
                <a:gd name="connsiteX555" fmla="*/ 636270 w 1790700"/>
                <a:gd name="connsiteY555" fmla="*/ 0 h 1466850"/>
                <a:gd name="connsiteX556" fmla="*/ 641033 w 1790700"/>
                <a:gd name="connsiteY556" fmla="*/ 953 h 1466850"/>
                <a:gd name="connsiteX557" fmla="*/ 642938 w 1790700"/>
                <a:gd name="connsiteY557" fmla="*/ 2858 h 1466850"/>
                <a:gd name="connsiteX558" fmla="*/ 647700 w 1790700"/>
                <a:gd name="connsiteY558" fmla="*/ 6667 h 1466850"/>
                <a:gd name="connsiteX559" fmla="*/ 652463 w 1790700"/>
                <a:gd name="connsiteY559" fmla="*/ 9525 h 1466850"/>
                <a:gd name="connsiteX560" fmla="*/ 666750 w 1790700"/>
                <a:gd name="connsiteY560" fmla="*/ 16192 h 1466850"/>
                <a:gd name="connsiteX561" fmla="*/ 670560 w 1790700"/>
                <a:gd name="connsiteY561" fmla="*/ 18097 h 1466850"/>
                <a:gd name="connsiteX562" fmla="*/ 830580 w 1790700"/>
                <a:gd name="connsiteY562" fmla="*/ 51435 h 1466850"/>
                <a:gd name="connsiteX563" fmla="*/ 870585 w 1790700"/>
                <a:gd name="connsiteY563" fmla="*/ 69533 h 1466850"/>
                <a:gd name="connsiteX564" fmla="*/ 876300 w 1790700"/>
                <a:gd name="connsiteY564" fmla="*/ 70485 h 1466850"/>
                <a:gd name="connsiteX565" fmla="*/ 880110 w 1790700"/>
                <a:gd name="connsiteY565" fmla="*/ 70485 h 1466850"/>
                <a:gd name="connsiteX566" fmla="*/ 884873 w 1790700"/>
                <a:gd name="connsiteY566" fmla="*/ 63817 h 1466850"/>
                <a:gd name="connsiteX567" fmla="*/ 900113 w 1790700"/>
                <a:gd name="connsiteY567" fmla="*/ 60008 h 1466850"/>
                <a:gd name="connsiteX568" fmla="*/ 922020 w 1790700"/>
                <a:gd name="connsiteY568" fmla="*/ 59055 h 1466850"/>
                <a:gd name="connsiteX569" fmla="*/ 929640 w 1790700"/>
                <a:gd name="connsiteY569" fmla="*/ 56197 h 1466850"/>
                <a:gd name="connsiteX570" fmla="*/ 934403 w 1790700"/>
                <a:gd name="connsiteY570" fmla="*/ 53340 h 1466850"/>
                <a:gd name="connsiteX571" fmla="*/ 934403 w 1790700"/>
                <a:gd name="connsiteY571" fmla="*/ 50483 h 1466850"/>
                <a:gd name="connsiteX572" fmla="*/ 932498 w 1790700"/>
                <a:gd name="connsiteY572" fmla="*/ 48578 h 1466850"/>
                <a:gd name="connsiteX573" fmla="*/ 916305 w 1790700"/>
                <a:gd name="connsiteY573" fmla="*/ 39053 h 1466850"/>
                <a:gd name="connsiteX574" fmla="*/ 915353 w 1790700"/>
                <a:gd name="connsiteY574" fmla="*/ 35242 h 1466850"/>
                <a:gd name="connsiteX575" fmla="*/ 916305 w 1790700"/>
                <a:gd name="connsiteY575" fmla="*/ 32385 h 1466850"/>
                <a:gd name="connsiteX576" fmla="*/ 919163 w 1790700"/>
                <a:gd name="connsiteY576" fmla="*/ 28575 h 1466850"/>
                <a:gd name="connsiteX577" fmla="*/ 946785 w 1790700"/>
                <a:gd name="connsiteY577" fmla="*/ 16192 h 1466850"/>
                <a:gd name="connsiteX578" fmla="*/ 964883 w 1790700"/>
                <a:gd name="connsiteY578" fmla="*/ 11430 h 1466850"/>
                <a:gd name="connsiteX579" fmla="*/ 969645 w 1790700"/>
                <a:gd name="connsiteY579" fmla="*/ 12383 h 1466850"/>
                <a:gd name="connsiteX580" fmla="*/ 972503 w 1790700"/>
                <a:gd name="connsiteY580" fmla="*/ 13335 h 1466850"/>
                <a:gd name="connsiteX581" fmla="*/ 978218 w 1790700"/>
                <a:gd name="connsiteY581" fmla="*/ 22860 h 1466850"/>
                <a:gd name="connsiteX582" fmla="*/ 985838 w 1790700"/>
                <a:gd name="connsiteY582" fmla="*/ 30480 h 1466850"/>
                <a:gd name="connsiteX583" fmla="*/ 1002983 w 1790700"/>
                <a:gd name="connsiteY583" fmla="*/ 44767 h 1466850"/>
                <a:gd name="connsiteX584" fmla="*/ 1042988 w 1790700"/>
                <a:gd name="connsiteY584" fmla="*/ 62865 h 1466850"/>
                <a:gd name="connsiteX585" fmla="*/ 1046798 w 1790700"/>
                <a:gd name="connsiteY585" fmla="*/ 62865 h 1466850"/>
                <a:gd name="connsiteX586" fmla="*/ 1049655 w 1790700"/>
                <a:gd name="connsiteY586" fmla="*/ 61913 h 1466850"/>
                <a:gd name="connsiteX587" fmla="*/ 1050608 w 1790700"/>
                <a:gd name="connsiteY587" fmla="*/ 59055 h 1466850"/>
                <a:gd name="connsiteX588" fmla="*/ 1049655 w 1790700"/>
                <a:gd name="connsiteY588" fmla="*/ 50483 h 1466850"/>
                <a:gd name="connsiteX589" fmla="*/ 1050608 w 1790700"/>
                <a:gd name="connsiteY589" fmla="*/ 47625 h 1466850"/>
                <a:gd name="connsiteX590" fmla="*/ 1052513 w 1790700"/>
                <a:gd name="connsiteY590" fmla="*/ 45720 h 1466850"/>
                <a:gd name="connsiteX591" fmla="*/ 1055371 w 1790700"/>
                <a:gd name="connsiteY591" fmla="*/ 42863 h 1466850"/>
                <a:gd name="connsiteX592" fmla="*/ 1060133 w 1790700"/>
                <a:gd name="connsiteY592" fmla="*/ 40958 h 1466850"/>
                <a:gd name="connsiteX593" fmla="*/ 1063943 w 1790700"/>
                <a:gd name="connsiteY593" fmla="*/ 41910 h 1466850"/>
                <a:gd name="connsiteX594" fmla="*/ 1075373 w 1790700"/>
                <a:gd name="connsiteY594" fmla="*/ 44767 h 1466850"/>
                <a:gd name="connsiteX595" fmla="*/ 1078230 w 1790700"/>
                <a:gd name="connsiteY595" fmla="*/ 43815 h 1466850"/>
                <a:gd name="connsiteX596" fmla="*/ 1080135 w 1790700"/>
                <a:gd name="connsiteY596" fmla="*/ 41910 h 1466850"/>
                <a:gd name="connsiteX597" fmla="*/ 1080135 w 1790700"/>
                <a:gd name="connsiteY597" fmla="*/ 38100 h 1466850"/>
                <a:gd name="connsiteX598" fmla="*/ 1079183 w 1790700"/>
                <a:gd name="connsiteY598" fmla="*/ 32385 h 1466850"/>
                <a:gd name="connsiteX599" fmla="*/ 1080135 w 1790700"/>
                <a:gd name="connsiteY599" fmla="*/ 29528 h 1466850"/>
                <a:gd name="connsiteX600" fmla="*/ 1082040 w 1790700"/>
                <a:gd name="connsiteY600" fmla="*/ 27622 h 1466850"/>
                <a:gd name="connsiteX601" fmla="*/ 1093471 w 1790700"/>
                <a:gd name="connsiteY601" fmla="*/ 24765 h 1466850"/>
                <a:gd name="connsiteX602" fmla="*/ 1097280 w 1790700"/>
                <a:gd name="connsiteY602" fmla="*/ 23813 h 1466850"/>
                <a:gd name="connsiteX603" fmla="*/ 1100138 w 1790700"/>
                <a:gd name="connsiteY603" fmla="*/ 20955 h 1466850"/>
                <a:gd name="connsiteX604" fmla="*/ 1104900 w 1790700"/>
                <a:gd name="connsiteY604" fmla="*/ 18097 h 1466850"/>
                <a:gd name="connsiteX605" fmla="*/ 1116330 w 1790700"/>
                <a:gd name="connsiteY605" fmla="*/ 16192 h 1466850"/>
                <a:gd name="connsiteX606" fmla="*/ 1121093 w 1790700"/>
                <a:gd name="connsiteY606" fmla="*/ 13335 h 1466850"/>
                <a:gd name="connsiteX607" fmla="*/ 1123950 w 1790700"/>
                <a:gd name="connsiteY607" fmla="*/ 10478 h 1466850"/>
                <a:gd name="connsiteX608" fmla="*/ 1124903 w 1790700"/>
                <a:gd name="connsiteY608" fmla="*/ 6667 h 1466850"/>
                <a:gd name="connsiteX609" fmla="*/ 1126808 w 1790700"/>
                <a:gd name="connsiteY609" fmla="*/ 3810 h 1466850"/>
                <a:gd name="connsiteX610" fmla="*/ 1130618 w 1790700"/>
                <a:gd name="connsiteY610" fmla="*/ 3810 h 1466850"/>
                <a:gd name="connsiteX611" fmla="*/ 1147763 w 1790700"/>
                <a:gd name="connsiteY611" fmla="*/ 10478 h 1466850"/>
                <a:gd name="connsiteX612" fmla="*/ 1149668 w 1790700"/>
                <a:gd name="connsiteY612" fmla="*/ 12383 h 1466850"/>
                <a:gd name="connsiteX613" fmla="*/ 1151573 w 1790700"/>
                <a:gd name="connsiteY613" fmla="*/ 14288 h 1466850"/>
                <a:gd name="connsiteX614" fmla="*/ 1151573 w 1790700"/>
                <a:gd name="connsiteY614" fmla="*/ 17145 h 1466850"/>
                <a:gd name="connsiteX615" fmla="*/ 1149668 w 1790700"/>
                <a:gd name="connsiteY615" fmla="*/ 34290 h 1466850"/>
                <a:gd name="connsiteX616" fmla="*/ 1150621 w 1790700"/>
                <a:gd name="connsiteY616" fmla="*/ 76200 h 1466850"/>
                <a:gd name="connsiteX617" fmla="*/ 1150621 w 1790700"/>
                <a:gd name="connsiteY617" fmla="*/ 81915 h 1466850"/>
                <a:gd name="connsiteX618" fmla="*/ 1152525 w 1790700"/>
                <a:gd name="connsiteY618" fmla="*/ 86678 h 1466850"/>
                <a:gd name="connsiteX619" fmla="*/ 1154430 w 1790700"/>
                <a:gd name="connsiteY619" fmla="*/ 92392 h 1466850"/>
                <a:gd name="connsiteX620" fmla="*/ 1166813 w 1790700"/>
                <a:gd name="connsiteY620" fmla="*/ 109538 h 1466850"/>
                <a:gd name="connsiteX621" fmla="*/ 1184910 w 1790700"/>
                <a:gd name="connsiteY621" fmla="*/ 130492 h 1466850"/>
                <a:gd name="connsiteX622" fmla="*/ 1207771 w 1790700"/>
                <a:gd name="connsiteY622" fmla="*/ 150495 h 1466850"/>
                <a:gd name="connsiteX623" fmla="*/ 1211580 w 1790700"/>
                <a:gd name="connsiteY623" fmla="*/ 154305 h 1466850"/>
                <a:gd name="connsiteX624" fmla="*/ 1214438 w 1790700"/>
                <a:gd name="connsiteY624" fmla="*/ 159067 h 1466850"/>
                <a:gd name="connsiteX625" fmla="*/ 1216343 w 1790700"/>
                <a:gd name="connsiteY625" fmla="*/ 163830 h 1466850"/>
                <a:gd name="connsiteX626" fmla="*/ 1217296 w 1790700"/>
                <a:gd name="connsiteY626" fmla="*/ 169545 h 1466850"/>
                <a:gd name="connsiteX627" fmla="*/ 1216343 w 1790700"/>
                <a:gd name="connsiteY627" fmla="*/ 175260 h 1466850"/>
                <a:gd name="connsiteX628" fmla="*/ 1211580 w 1790700"/>
                <a:gd name="connsiteY628" fmla="*/ 183833 h 1466850"/>
                <a:gd name="connsiteX629" fmla="*/ 1209675 w 1790700"/>
                <a:gd name="connsiteY629" fmla="*/ 190500 h 1466850"/>
                <a:gd name="connsiteX630" fmla="*/ 1208723 w 1790700"/>
                <a:gd name="connsiteY630" fmla="*/ 196215 h 1466850"/>
                <a:gd name="connsiteX631" fmla="*/ 1210628 w 1790700"/>
                <a:gd name="connsiteY631" fmla="*/ 218122 h 1466850"/>
                <a:gd name="connsiteX632" fmla="*/ 1211580 w 1790700"/>
                <a:gd name="connsiteY632" fmla="*/ 223838 h 1466850"/>
                <a:gd name="connsiteX633" fmla="*/ 1212533 w 1790700"/>
                <a:gd name="connsiteY633" fmla="*/ 226695 h 1466850"/>
                <a:gd name="connsiteX634" fmla="*/ 1215390 w 1790700"/>
                <a:gd name="connsiteY634" fmla="*/ 230505 h 1466850"/>
                <a:gd name="connsiteX635" fmla="*/ 1219200 w 1790700"/>
                <a:gd name="connsiteY635" fmla="*/ 234315 h 1466850"/>
                <a:gd name="connsiteX636" fmla="*/ 1222058 w 1790700"/>
                <a:gd name="connsiteY636" fmla="*/ 235267 h 1466850"/>
                <a:gd name="connsiteX637" fmla="*/ 1223963 w 1790700"/>
                <a:gd name="connsiteY637" fmla="*/ 234315 h 1466850"/>
                <a:gd name="connsiteX638" fmla="*/ 1227773 w 1790700"/>
                <a:gd name="connsiteY638" fmla="*/ 228600 h 1466850"/>
                <a:gd name="connsiteX639" fmla="*/ 1230630 w 1790700"/>
                <a:gd name="connsiteY639" fmla="*/ 226695 h 1466850"/>
                <a:gd name="connsiteX640" fmla="*/ 1236346 w 1790700"/>
                <a:gd name="connsiteY640" fmla="*/ 224790 h 1466850"/>
                <a:gd name="connsiteX641" fmla="*/ 1240155 w 1790700"/>
                <a:gd name="connsiteY641" fmla="*/ 225742 h 1466850"/>
                <a:gd name="connsiteX642" fmla="*/ 1243013 w 1790700"/>
                <a:gd name="connsiteY642" fmla="*/ 227647 h 1466850"/>
                <a:gd name="connsiteX643" fmla="*/ 1245871 w 1790700"/>
                <a:gd name="connsiteY643" fmla="*/ 232410 h 1466850"/>
                <a:gd name="connsiteX644" fmla="*/ 1245871 w 1790700"/>
                <a:gd name="connsiteY644" fmla="*/ 235267 h 1466850"/>
                <a:gd name="connsiteX645" fmla="*/ 1246823 w 1790700"/>
                <a:gd name="connsiteY645" fmla="*/ 240983 h 1466850"/>
                <a:gd name="connsiteX646" fmla="*/ 1246823 w 1790700"/>
                <a:gd name="connsiteY646" fmla="*/ 243840 h 1466850"/>
                <a:gd name="connsiteX647" fmla="*/ 1248728 w 1790700"/>
                <a:gd name="connsiteY647" fmla="*/ 246697 h 1466850"/>
                <a:gd name="connsiteX648" fmla="*/ 1253490 w 1790700"/>
                <a:gd name="connsiteY648" fmla="*/ 251460 h 1466850"/>
                <a:gd name="connsiteX649" fmla="*/ 1255396 w 1790700"/>
                <a:gd name="connsiteY649" fmla="*/ 254317 h 1466850"/>
                <a:gd name="connsiteX650" fmla="*/ 1255396 w 1790700"/>
                <a:gd name="connsiteY650" fmla="*/ 257175 h 1466850"/>
                <a:gd name="connsiteX651" fmla="*/ 1257300 w 1790700"/>
                <a:gd name="connsiteY651" fmla="*/ 260985 h 1466850"/>
                <a:gd name="connsiteX652" fmla="*/ 1260158 w 1790700"/>
                <a:gd name="connsiteY652" fmla="*/ 265747 h 1466850"/>
                <a:gd name="connsiteX653" fmla="*/ 1279208 w 1790700"/>
                <a:gd name="connsiteY653" fmla="*/ 280035 h 1466850"/>
                <a:gd name="connsiteX654" fmla="*/ 1283018 w 1790700"/>
                <a:gd name="connsiteY654" fmla="*/ 283845 h 1466850"/>
                <a:gd name="connsiteX655" fmla="*/ 1284923 w 1790700"/>
                <a:gd name="connsiteY655" fmla="*/ 288608 h 1466850"/>
                <a:gd name="connsiteX656" fmla="*/ 1285875 w 1790700"/>
                <a:gd name="connsiteY656" fmla="*/ 294322 h 1466850"/>
                <a:gd name="connsiteX657" fmla="*/ 1285875 w 1790700"/>
                <a:gd name="connsiteY657" fmla="*/ 300990 h 1466850"/>
                <a:gd name="connsiteX658" fmla="*/ 1283971 w 1790700"/>
                <a:gd name="connsiteY658" fmla="*/ 307658 h 1466850"/>
                <a:gd name="connsiteX659" fmla="*/ 1280160 w 1790700"/>
                <a:gd name="connsiteY659" fmla="*/ 312420 h 1466850"/>
                <a:gd name="connsiteX660" fmla="*/ 1275398 w 1790700"/>
                <a:gd name="connsiteY660" fmla="*/ 314325 h 1466850"/>
                <a:gd name="connsiteX661" fmla="*/ 1263968 w 1790700"/>
                <a:gd name="connsiteY661" fmla="*/ 316230 h 1466850"/>
                <a:gd name="connsiteX662" fmla="*/ 1262063 w 1790700"/>
                <a:gd name="connsiteY662" fmla="*/ 317183 h 1466850"/>
                <a:gd name="connsiteX663" fmla="*/ 1260158 w 1790700"/>
                <a:gd name="connsiteY663" fmla="*/ 320040 h 1466850"/>
                <a:gd name="connsiteX664" fmla="*/ 1259205 w 1790700"/>
                <a:gd name="connsiteY664" fmla="*/ 330517 h 1466850"/>
                <a:gd name="connsiteX665" fmla="*/ 1259205 w 1790700"/>
                <a:gd name="connsiteY665" fmla="*/ 334328 h 1466850"/>
                <a:gd name="connsiteX666" fmla="*/ 1260158 w 1790700"/>
                <a:gd name="connsiteY666" fmla="*/ 339090 h 1466850"/>
                <a:gd name="connsiteX667" fmla="*/ 1264921 w 1790700"/>
                <a:gd name="connsiteY667" fmla="*/ 344805 h 1466850"/>
                <a:gd name="connsiteX668" fmla="*/ 1266825 w 1790700"/>
                <a:gd name="connsiteY668" fmla="*/ 347663 h 1466850"/>
                <a:gd name="connsiteX669" fmla="*/ 1266825 w 1790700"/>
                <a:gd name="connsiteY669" fmla="*/ 351472 h 1466850"/>
                <a:gd name="connsiteX670" fmla="*/ 1266825 w 1790700"/>
                <a:gd name="connsiteY670" fmla="*/ 358140 h 1466850"/>
                <a:gd name="connsiteX671" fmla="*/ 1267778 w 1790700"/>
                <a:gd name="connsiteY671" fmla="*/ 362903 h 1466850"/>
                <a:gd name="connsiteX672" fmla="*/ 1270635 w 1790700"/>
                <a:gd name="connsiteY672" fmla="*/ 362903 h 1466850"/>
                <a:gd name="connsiteX673" fmla="*/ 1272540 w 1790700"/>
                <a:gd name="connsiteY673" fmla="*/ 362903 h 1466850"/>
                <a:gd name="connsiteX674" fmla="*/ 1280160 w 1790700"/>
                <a:gd name="connsiteY674" fmla="*/ 356235 h 1466850"/>
                <a:gd name="connsiteX675" fmla="*/ 1283018 w 1790700"/>
                <a:gd name="connsiteY675" fmla="*/ 354330 h 1466850"/>
                <a:gd name="connsiteX676" fmla="*/ 1292543 w 1790700"/>
                <a:gd name="connsiteY676" fmla="*/ 350520 h 1466850"/>
                <a:gd name="connsiteX677" fmla="*/ 1301115 w 1790700"/>
                <a:gd name="connsiteY677" fmla="*/ 349567 h 1466850"/>
                <a:gd name="connsiteX678" fmla="*/ 1352550 w 1790700"/>
                <a:gd name="connsiteY678" fmla="*/ 357188 h 1466850"/>
                <a:gd name="connsiteX679" fmla="*/ 1371600 w 1790700"/>
                <a:gd name="connsiteY679" fmla="*/ 356235 h 1466850"/>
                <a:gd name="connsiteX680" fmla="*/ 1373505 w 1790700"/>
                <a:gd name="connsiteY680" fmla="*/ 355283 h 1466850"/>
                <a:gd name="connsiteX681" fmla="*/ 1377315 w 1790700"/>
                <a:gd name="connsiteY681" fmla="*/ 351472 h 1466850"/>
                <a:gd name="connsiteX682" fmla="*/ 1379221 w 1790700"/>
                <a:gd name="connsiteY682" fmla="*/ 348615 h 1466850"/>
                <a:gd name="connsiteX683" fmla="*/ 1381125 w 1790700"/>
                <a:gd name="connsiteY683" fmla="*/ 342900 h 1466850"/>
                <a:gd name="connsiteX684" fmla="*/ 1382078 w 1790700"/>
                <a:gd name="connsiteY684" fmla="*/ 335280 h 1466850"/>
                <a:gd name="connsiteX685" fmla="*/ 1383983 w 1790700"/>
                <a:gd name="connsiteY685" fmla="*/ 332422 h 1466850"/>
                <a:gd name="connsiteX686" fmla="*/ 1385888 w 1790700"/>
                <a:gd name="connsiteY686" fmla="*/ 329565 h 1466850"/>
                <a:gd name="connsiteX687" fmla="*/ 1389698 w 1790700"/>
                <a:gd name="connsiteY687" fmla="*/ 327660 h 1466850"/>
                <a:gd name="connsiteX688" fmla="*/ 1392555 w 1790700"/>
                <a:gd name="connsiteY688" fmla="*/ 327660 h 1466850"/>
                <a:gd name="connsiteX689" fmla="*/ 1396365 w 1790700"/>
                <a:gd name="connsiteY689" fmla="*/ 329565 h 1466850"/>
                <a:gd name="connsiteX690" fmla="*/ 1403985 w 1790700"/>
                <a:gd name="connsiteY690" fmla="*/ 336233 h 1466850"/>
                <a:gd name="connsiteX691" fmla="*/ 1407796 w 1790700"/>
                <a:gd name="connsiteY691" fmla="*/ 338138 h 1466850"/>
                <a:gd name="connsiteX692" fmla="*/ 1410653 w 1790700"/>
                <a:gd name="connsiteY692" fmla="*/ 338138 h 1466850"/>
                <a:gd name="connsiteX693" fmla="*/ 1420178 w 1790700"/>
                <a:gd name="connsiteY693" fmla="*/ 333375 h 1466850"/>
                <a:gd name="connsiteX694" fmla="*/ 1433513 w 1790700"/>
                <a:gd name="connsiteY694" fmla="*/ 321945 h 1466850"/>
                <a:gd name="connsiteX695" fmla="*/ 1447800 w 1790700"/>
                <a:gd name="connsiteY695" fmla="*/ 320040 h 1466850"/>
                <a:gd name="connsiteX696" fmla="*/ 1497330 w 1790700"/>
                <a:gd name="connsiteY696" fmla="*/ 331470 h 146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</a:cxnLst>
              <a:rect l="l" t="t" r="r" b="b"/>
              <a:pathLst>
                <a:path w="1790700" h="1466850">
                  <a:moveTo>
                    <a:pt x="1497330" y="331470"/>
                  </a:moveTo>
                  <a:lnTo>
                    <a:pt x="1502093" y="342900"/>
                  </a:lnTo>
                  <a:lnTo>
                    <a:pt x="1502093" y="387667"/>
                  </a:lnTo>
                  <a:lnTo>
                    <a:pt x="1501140" y="399097"/>
                  </a:lnTo>
                  <a:lnTo>
                    <a:pt x="1500188" y="405765"/>
                  </a:lnTo>
                  <a:lnTo>
                    <a:pt x="1496378" y="410528"/>
                  </a:lnTo>
                  <a:lnTo>
                    <a:pt x="1472565" y="433388"/>
                  </a:lnTo>
                  <a:lnTo>
                    <a:pt x="1467803" y="441008"/>
                  </a:lnTo>
                  <a:lnTo>
                    <a:pt x="1462088" y="449580"/>
                  </a:lnTo>
                  <a:lnTo>
                    <a:pt x="1462088" y="451485"/>
                  </a:lnTo>
                  <a:lnTo>
                    <a:pt x="1469708" y="473392"/>
                  </a:lnTo>
                  <a:lnTo>
                    <a:pt x="1470660" y="476250"/>
                  </a:lnTo>
                  <a:lnTo>
                    <a:pt x="1473518" y="499110"/>
                  </a:lnTo>
                  <a:lnTo>
                    <a:pt x="1476375" y="503872"/>
                  </a:lnTo>
                  <a:lnTo>
                    <a:pt x="1479233" y="506730"/>
                  </a:lnTo>
                  <a:lnTo>
                    <a:pt x="1481138" y="508635"/>
                  </a:lnTo>
                  <a:lnTo>
                    <a:pt x="1486853" y="519113"/>
                  </a:lnTo>
                  <a:lnTo>
                    <a:pt x="1488758" y="521970"/>
                  </a:lnTo>
                  <a:lnTo>
                    <a:pt x="1491615" y="522922"/>
                  </a:lnTo>
                  <a:lnTo>
                    <a:pt x="1502093" y="525780"/>
                  </a:lnTo>
                  <a:lnTo>
                    <a:pt x="1506855" y="529590"/>
                  </a:lnTo>
                  <a:lnTo>
                    <a:pt x="1511618" y="535305"/>
                  </a:lnTo>
                  <a:lnTo>
                    <a:pt x="1515428" y="539115"/>
                  </a:lnTo>
                  <a:lnTo>
                    <a:pt x="1521143" y="541972"/>
                  </a:lnTo>
                  <a:lnTo>
                    <a:pt x="1527810" y="542925"/>
                  </a:lnTo>
                  <a:lnTo>
                    <a:pt x="1549718" y="542925"/>
                  </a:lnTo>
                  <a:lnTo>
                    <a:pt x="1553528" y="544830"/>
                  </a:lnTo>
                  <a:lnTo>
                    <a:pt x="1557338" y="546735"/>
                  </a:lnTo>
                  <a:lnTo>
                    <a:pt x="1564005" y="557213"/>
                  </a:lnTo>
                  <a:lnTo>
                    <a:pt x="1566863" y="560070"/>
                  </a:lnTo>
                  <a:lnTo>
                    <a:pt x="1600200" y="576263"/>
                  </a:lnTo>
                  <a:lnTo>
                    <a:pt x="1605915" y="577215"/>
                  </a:lnTo>
                  <a:lnTo>
                    <a:pt x="1611630" y="576263"/>
                  </a:lnTo>
                  <a:lnTo>
                    <a:pt x="1618298" y="571500"/>
                  </a:lnTo>
                  <a:lnTo>
                    <a:pt x="1624013" y="569595"/>
                  </a:lnTo>
                  <a:lnTo>
                    <a:pt x="1626871" y="570547"/>
                  </a:lnTo>
                  <a:lnTo>
                    <a:pt x="1629728" y="571500"/>
                  </a:lnTo>
                  <a:lnTo>
                    <a:pt x="1633538" y="573405"/>
                  </a:lnTo>
                  <a:lnTo>
                    <a:pt x="1642110" y="581978"/>
                  </a:lnTo>
                  <a:lnTo>
                    <a:pt x="1645921" y="588645"/>
                  </a:lnTo>
                  <a:lnTo>
                    <a:pt x="1646873" y="594360"/>
                  </a:lnTo>
                  <a:lnTo>
                    <a:pt x="1647825" y="601028"/>
                  </a:lnTo>
                  <a:lnTo>
                    <a:pt x="1645921" y="623888"/>
                  </a:lnTo>
                  <a:lnTo>
                    <a:pt x="1645921" y="636270"/>
                  </a:lnTo>
                  <a:lnTo>
                    <a:pt x="1646873" y="640080"/>
                  </a:lnTo>
                  <a:lnTo>
                    <a:pt x="1649730" y="653415"/>
                  </a:lnTo>
                  <a:lnTo>
                    <a:pt x="1652588" y="658178"/>
                  </a:lnTo>
                  <a:lnTo>
                    <a:pt x="1654493" y="661988"/>
                  </a:lnTo>
                  <a:lnTo>
                    <a:pt x="1656398" y="663893"/>
                  </a:lnTo>
                  <a:lnTo>
                    <a:pt x="1666875" y="671513"/>
                  </a:lnTo>
                  <a:lnTo>
                    <a:pt x="1668780" y="674370"/>
                  </a:lnTo>
                  <a:lnTo>
                    <a:pt x="1669733" y="677228"/>
                  </a:lnTo>
                  <a:lnTo>
                    <a:pt x="1670685" y="687705"/>
                  </a:lnTo>
                  <a:lnTo>
                    <a:pt x="1671638" y="693420"/>
                  </a:lnTo>
                  <a:lnTo>
                    <a:pt x="1673543" y="696278"/>
                  </a:lnTo>
                  <a:lnTo>
                    <a:pt x="1677353" y="697230"/>
                  </a:lnTo>
                  <a:lnTo>
                    <a:pt x="1691640" y="700088"/>
                  </a:lnTo>
                  <a:lnTo>
                    <a:pt x="1693546" y="702945"/>
                  </a:lnTo>
                  <a:lnTo>
                    <a:pt x="1694498" y="705803"/>
                  </a:lnTo>
                  <a:lnTo>
                    <a:pt x="1694498" y="709613"/>
                  </a:lnTo>
                  <a:lnTo>
                    <a:pt x="1696403" y="712470"/>
                  </a:lnTo>
                  <a:lnTo>
                    <a:pt x="1699260" y="713422"/>
                  </a:lnTo>
                  <a:lnTo>
                    <a:pt x="1725930" y="721995"/>
                  </a:lnTo>
                  <a:lnTo>
                    <a:pt x="1732598" y="722947"/>
                  </a:lnTo>
                  <a:lnTo>
                    <a:pt x="1735455" y="722947"/>
                  </a:lnTo>
                  <a:lnTo>
                    <a:pt x="1737360" y="721043"/>
                  </a:lnTo>
                  <a:lnTo>
                    <a:pt x="1738313" y="718185"/>
                  </a:lnTo>
                  <a:lnTo>
                    <a:pt x="1740218" y="711518"/>
                  </a:lnTo>
                  <a:lnTo>
                    <a:pt x="1742123" y="709613"/>
                  </a:lnTo>
                  <a:lnTo>
                    <a:pt x="1744028" y="707708"/>
                  </a:lnTo>
                  <a:lnTo>
                    <a:pt x="1746885" y="706755"/>
                  </a:lnTo>
                  <a:lnTo>
                    <a:pt x="1763078" y="706755"/>
                  </a:lnTo>
                  <a:lnTo>
                    <a:pt x="1766888" y="707708"/>
                  </a:lnTo>
                  <a:lnTo>
                    <a:pt x="1768793" y="710565"/>
                  </a:lnTo>
                  <a:lnTo>
                    <a:pt x="1769746" y="712470"/>
                  </a:lnTo>
                  <a:lnTo>
                    <a:pt x="1771650" y="723900"/>
                  </a:lnTo>
                  <a:lnTo>
                    <a:pt x="1771650" y="726758"/>
                  </a:lnTo>
                  <a:lnTo>
                    <a:pt x="1769746" y="727710"/>
                  </a:lnTo>
                  <a:lnTo>
                    <a:pt x="1764983" y="730568"/>
                  </a:lnTo>
                  <a:lnTo>
                    <a:pt x="1764030" y="732472"/>
                  </a:lnTo>
                  <a:lnTo>
                    <a:pt x="1763078" y="737235"/>
                  </a:lnTo>
                  <a:lnTo>
                    <a:pt x="1764983" y="742950"/>
                  </a:lnTo>
                  <a:lnTo>
                    <a:pt x="1766888" y="747713"/>
                  </a:lnTo>
                  <a:lnTo>
                    <a:pt x="1790700" y="792480"/>
                  </a:lnTo>
                  <a:lnTo>
                    <a:pt x="1794510" y="803910"/>
                  </a:lnTo>
                  <a:lnTo>
                    <a:pt x="1796415" y="810578"/>
                  </a:lnTo>
                  <a:lnTo>
                    <a:pt x="1791653" y="813435"/>
                  </a:lnTo>
                  <a:lnTo>
                    <a:pt x="1780223" y="815340"/>
                  </a:lnTo>
                  <a:lnTo>
                    <a:pt x="1755458" y="815340"/>
                  </a:lnTo>
                  <a:lnTo>
                    <a:pt x="1752600" y="816293"/>
                  </a:lnTo>
                  <a:lnTo>
                    <a:pt x="1751648" y="818197"/>
                  </a:lnTo>
                  <a:lnTo>
                    <a:pt x="1752600" y="823913"/>
                  </a:lnTo>
                  <a:lnTo>
                    <a:pt x="1754505" y="826770"/>
                  </a:lnTo>
                  <a:lnTo>
                    <a:pt x="1764983" y="832485"/>
                  </a:lnTo>
                  <a:lnTo>
                    <a:pt x="1773555" y="842010"/>
                  </a:lnTo>
                  <a:lnTo>
                    <a:pt x="1784985" y="848678"/>
                  </a:lnTo>
                  <a:lnTo>
                    <a:pt x="1790700" y="854393"/>
                  </a:lnTo>
                  <a:lnTo>
                    <a:pt x="1792605" y="859155"/>
                  </a:lnTo>
                  <a:lnTo>
                    <a:pt x="1791653" y="862965"/>
                  </a:lnTo>
                  <a:lnTo>
                    <a:pt x="1790700" y="863918"/>
                  </a:lnTo>
                  <a:lnTo>
                    <a:pt x="1787843" y="864870"/>
                  </a:lnTo>
                  <a:lnTo>
                    <a:pt x="1779271" y="865822"/>
                  </a:lnTo>
                  <a:lnTo>
                    <a:pt x="1776413" y="866775"/>
                  </a:lnTo>
                  <a:lnTo>
                    <a:pt x="1774508" y="868680"/>
                  </a:lnTo>
                  <a:lnTo>
                    <a:pt x="1771650" y="873443"/>
                  </a:lnTo>
                  <a:lnTo>
                    <a:pt x="1769746" y="875347"/>
                  </a:lnTo>
                  <a:lnTo>
                    <a:pt x="1766888" y="875347"/>
                  </a:lnTo>
                  <a:lnTo>
                    <a:pt x="1736408" y="867728"/>
                  </a:lnTo>
                  <a:lnTo>
                    <a:pt x="1733550" y="866775"/>
                  </a:lnTo>
                  <a:lnTo>
                    <a:pt x="1730693" y="867728"/>
                  </a:lnTo>
                  <a:lnTo>
                    <a:pt x="1725930" y="869633"/>
                  </a:lnTo>
                  <a:lnTo>
                    <a:pt x="1717358" y="871538"/>
                  </a:lnTo>
                  <a:lnTo>
                    <a:pt x="1715453" y="873443"/>
                  </a:lnTo>
                  <a:lnTo>
                    <a:pt x="1714500" y="875347"/>
                  </a:lnTo>
                  <a:lnTo>
                    <a:pt x="1711643" y="882015"/>
                  </a:lnTo>
                  <a:lnTo>
                    <a:pt x="1710690" y="885825"/>
                  </a:lnTo>
                  <a:lnTo>
                    <a:pt x="1710690" y="891540"/>
                  </a:lnTo>
                  <a:lnTo>
                    <a:pt x="1712596" y="896303"/>
                  </a:lnTo>
                  <a:lnTo>
                    <a:pt x="1716405" y="903922"/>
                  </a:lnTo>
                  <a:lnTo>
                    <a:pt x="1717358" y="909638"/>
                  </a:lnTo>
                  <a:lnTo>
                    <a:pt x="1720215" y="912495"/>
                  </a:lnTo>
                  <a:lnTo>
                    <a:pt x="1726883" y="916305"/>
                  </a:lnTo>
                  <a:lnTo>
                    <a:pt x="1730693" y="919163"/>
                  </a:lnTo>
                  <a:lnTo>
                    <a:pt x="1731646" y="922020"/>
                  </a:lnTo>
                  <a:lnTo>
                    <a:pt x="1731646" y="924878"/>
                  </a:lnTo>
                  <a:lnTo>
                    <a:pt x="1729740" y="928688"/>
                  </a:lnTo>
                  <a:lnTo>
                    <a:pt x="1729740" y="932497"/>
                  </a:lnTo>
                  <a:lnTo>
                    <a:pt x="1735455" y="940118"/>
                  </a:lnTo>
                  <a:lnTo>
                    <a:pt x="1736408" y="943928"/>
                  </a:lnTo>
                  <a:lnTo>
                    <a:pt x="1735455" y="947738"/>
                  </a:lnTo>
                  <a:lnTo>
                    <a:pt x="1722121" y="965835"/>
                  </a:lnTo>
                  <a:lnTo>
                    <a:pt x="1708785" y="987743"/>
                  </a:lnTo>
                  <a:lnTo>
                    <a:pt x="1692593" y="1005840"/>
                  </a:lnTo>
                  <a:lnTo>
                    <a:pt x="1684021" y="1012507"/>
                  </a:lnTo>
                  <a:lnTo>
                    <a:pt x="1656398" y="1026795"/>
                  </a:lnTo>
                  <a:lnTo>
                    <a:pt x="1644968" y="1028700"/>
                  </a:lnTo>
                  <a:lnTo>
                    <a:pt x="1593533" y="1023938"/>
                  </a:lnTo>
                  <a:lnTo>
                    <a:pt x="1589723" y="1022985"/>
                  </a:lnTo>
                  <a:lnTo>
                    <a:pt x="1584008" y="1020128"/>
                  </a:lnTo>
                  <a:lnTo>
                    <a:pt x="1578293" y="1015365"/>
                  </a:lnTo>
                  <a:lnTo>
                    <a:pt x="1573530" y="1008697"/>
                  </a:lnTo>
                  <a:lnTo>
                    <a:pt x="1568768" y="1005840"/>
                  </a:lnTo>
                  <a:lnTo>
                    <a:pt x="1565910" y="1004888"/>
                  </a:lnTo>
                  <a:lnTo>
                    <a:pt x="1563053" y="1005840"/>
                  </a:lnTo>
                  <a:lnTo>
                    <a:pt x="1558290" y="1007745"/>
                  </a:lnTo>
                  <a:lnTo>
                    <a:pt x="1531621" y="1037272"/>
                  </a:lnTo>
                  <a:lnTo>
                    <a:pt x="1526858" y="1044893"/>
                  </a:lnTo>
                  <a:lnTo>
                    <a:pt x="1523048" y="1052513"/>
                  </a:lnTo>
                  <a:lnTo>
                    <a:pt x="1521143" y="1060132"/>
                  </a:lnTo>
                  <a:lnTo>
                    <a:pt x="1521143" y="1064895"/>
                  </a:lnTo>
                  <a:lnTo>
                    <a:pt x="1521143" y="1067753"/>
                  </a:lnTo>
                  <a:lnTo>
                    <a:pt x="1522096" y="1070610"/>
                  </a:lnTo>
                  <a:lnTo>
                    <a:pt x="1532573" y="1088707"/>
                  </a:lnTo>
                  <a:lnTo>
                    <a:pt x="1534478" y="1093470"/>
                  </a:lnTo>
                  <a:lnTo>
                    <a:pt x="1536383" y="1102043"/>
                  </a:lnTo>
                  <a:lnTo>
                    <a:pt x="1539240" y="1111568"/>
                  </a:lnTo>
                  <a:lnTo>
                    <a:pt x="1540193" y="1121093"/>
                  </a:lnTo>
                  <a:lnTo>
                    <a:pt x="1539240" y="1126807"/>
                  </a:lnTo>
                  <a:lnTo>
                    <a:pt x="1537335" y="1131570"/>
                  </a:lnTo>
                  <a:lnTo>
                    <a:pt x="1521143" y="1121093"/>
                  </a:lnTo>
                  <a:lnTo>
                    <a:pt x="1515428" y="1118235"/>
                  </a:lnTo>
                  <a:lnTo>
                    <a:pt x="1509713" y="1116330"/>
                  </a:lnTo>
                  <a:lnTo>
                    <a:pt x="1506855" y="1116330"/>
                  </a:lnTo>
                  <a:lnTo>
                    <a:pt x="1503046" y="1117282"/>
                  </a:lnTo>
                  <a:lnTo>
                    <a:pt x="1500188" y="1119188"/>
                  </a:lnTo>
                  <a:lnTo>
                    <a:pt x="1495425" y="1123950"/>
                  </a:lnTo>
                  <a:lnTo>
                    <a:pt x="1493521" y="1128713"/>
                  </a:lnTo>
                  <a:lnTo>
                    <a:pt x="1490663" y="1139190"/>
                  </a:lnTo>
                  <a:lnTo>
                    <a:pt x="1487805" y="1144905"/>
                  </a:lnTo>
                  <a:lnTo>
                    <a:pt x="1484948" y="1145857"/>
                  </a:lnTo>
                  <a:lnTo>
                    <a:pt x="1482090" y="1147763"/>
                  </a:lnTo>
                  <a:lnTo>
                    <a:pt x="1475423" y="1146810"/>
                  </a:lnTo>
                  <a:lnTo>
                    <a:pt x="1472565" y="1145857"/>
                  </a:lnTo>
                  <a:lnTo>
                    <a:pt x="1470660" y="1143000"/>
                  </a:lnTo>
                  <a:lnTo>
                    <a:pt x="1469708" y="1141095"/>
                  </a:lnTo>
                  <a:lnTo>
                    <a:pt x="1470660" y="1138238"/>
                  </a:lnTo>
                  <a:lnTo>
                    <a:pt x="1472565" y="1136332"/>
                  </a:lnTo>
                  <a:lnTo>
                    <a:pt x="1476375" y="1132523"/>
                  </a:lnTo>
                  <a:lnTo>
                    <a:pt x="1477328" y="1130618"/>
                  </a:lnTo>
                  <a:lnTo>
                    <a:pt x="1477328" y="1127760"/>
                  </a:lnTo>
                  <a:lnTo>
                    <a:pt x="1476375" y="1125855"/>
                  </a:lnTo>
                  <a:lnTo>
                    <a:pt x="1474471" y="1123950"/>
                  </a:lnTo>
                  <a:lnTo>
                    <a:pt x="1459230" y="1118235"/>
                  </a:lnTo>
                  <a:lnTo>
                    <a:pt x="1456373" y="1118235"/>
                  </a:lnTo>
                  <a:lnTo>
                    <a:pt x="1453515" y="1119188"/>
                  </a:lnTo>
                  <a:lnTo>
                    <a:pt x="1448753" y="1122998"/>
                  </a:lnTo>
                  <a:lnTo>
                    <a:pt x="1444943" y="1123950"/>
                  </a:lnTo>
                  <a:lnTo>
                    <a:pt x="1431608" y="1122998"/>
                  </a:lnTo>
                  <a:lnTo>
                    <a:pt x="1428750" y="1123950"/>
                  </a:lnTo>
                  <a:lnTo>
                    <a:pt x="1423988" y="1125855"/>
                  </a:lnTo>
                  <a:lnTo>
                    <a:pt x="1420178" y="1128713"/>
                  </a:lnTo>
                  <a:lnTo>
                    <a:pt x="1414463" y="1134428"/>
                  </a:lnTo>
                  <a:lnTo>
                    <a:pt x="1409700" y="1141095"/>
                  </a:lnTo>
                  <a:lnTo>
                    <a:pt x="1405890" y="1143953"/>
                  </a:lnTo>
                  <a:lnTo>
                    <a:pt x="1401128" y="1145857"/>
                  </a:lnTo>
                  <a:lnTo>
                    <a:pt x="1358265" y="1159193"/>
                  </a:lnTo>
                  <a:lnTo>
                    <a:pt x="1340168" y="1162050"/>
                  </a:lnTo>
                  <a:lnTo>
                    <a:pt x="1244918" y="1203960"/>
                  </a:lnTo>
                  <a:lnTo>
                    <a:pt x="1239203" y="1201103"/>
                  </a:lnTo>
                  <a:lnTo>
                    <a:pt x="1236346" y="1201103"/>
                  </a:lnTo>
                  <a:lnTo>
                    <a:pt x="1233488" y="1202055"/>
                  </a:lnTo>
                  <a:lnTo>
                    <a:pt x="1231583" y="1205865"/>
                  </a:lnTo>
                  <a:lnTo>
                    <a:pt x="1231583" y="1208723"/>
                  </a:lnTo>
                  <a:lnTo>
                    <a:pt x="1232535" y="1214438"/>
                  </a:lnTo>
                  <a:lnTo>
                    <a:pt x="1231583" y="1221105"/>
                  </a:lnTo>
                  <a:lnTo>
                    <a:pt x="1230630" y="1223963"/>
                  </a:lnTo>
                  <a:lnTo>
                    <a:pt x="1223963" y="1233488"/>
                  </a:lnTo>
                  <a:lnTo>
                    <a:pt x="1216343" y="1241107"/>
                  </a:lnTo>
                  <a:lnTo>
                    <a:pt x="1203008" y="1252538"/>
                  </a:lnTo>
                  <a:lnTo>
                    <a:pt x="1201103" y="1254443"/>
                  </a:lnTo>
                  <a:lnTo>
                    <a:pt x="1199198" y="1259205"/>
                  </a:lnTo>
                  <a:lnTo>
                    <a:pt x="1200150" y="1263968"/>
                  </a:lnTo>
                  <a:lnTo>
                    <a:pt x="1203960" y="1264920"/>
                  </a:lnTo>
                  <a:lnTo>
                    <a:pt x="1209675" y="1264920"/>
                  </a:lnTo>
                  <a:lnTo>
                    <a:pt x="1211580" y="1265873"/>
                  </a:lnTo>
                  <a:lnTo>
                    <a:pt x="1212533" y="1267778"/>
                  </a:lnTo>
                  <a:lnTo>
                    <a:pt x="1212533" y="1270635"/>
                  </a:lnTo>
                  <a:lnTo>
                    <a:pt x="1209675" y="1273493"/>
                  </a:lnTo>
                  <a:lnTo>
                    <a:pt x="1205865" y="1275398"/>
                  </a:lnTo>
                  <a:lnTo>
                    <a:pt x="1199198" y="1275398"/>
                  </a:lnTo>
                  <a:lnTo>
                    <a:pt x="1189673" y="1279207"/>
                  </a:lnTo>
                  <a:lnTo>
                    <a:pt x="1183958" y="1283970"/>
                  </a:lnTo>
                  <a:lnTo>
                    <a:pt x="1181100" y="1286828"/>
                  </a:lnTo>
                  <a:lnTo>
                    <a:pt x="1177290" y="1292543"/>
                  </a:lnTo>
                  <a:lnTo>
                    <a:pt x="1169671" y="1315403"/>
                  </a:lnTo>
                  <a:lnTo>
                    <a:pt x="1164908" y="1325880"/>
                  </a:lnTo>
                  <a:lnTo>
                    <a:pt x="1163003" y="1332548"/>
                  </a:lnTo>
                  <a:lnTo>
                    <a:pt x="1162050" y="1343025"/>
                  </a:lnTo>
                  <a:lnTo>
                    <a:pt x="1162050" y="1348740"/>
                  </a:lnTo>
                  <a:lnTo>
                    <a:pt x="1163955" y="1353503"/>
                  </a:lnTo>
                  <a:lnTo>
                    <a:pt x="1179196" y="1368743"/>
                  </a:lnTo>
                  <a:lnTo>
                    <a:pt x="1181100" y="1370648"/>
                  </a:lnTo>
                  <a:lnTo>
                    <a:pt x="1183005" y="1375410"/>
                  </a:lnTo>
                  <a:lnTo>
                    <a:pt x="1184910" y="1392555"/>
                  </a:lnTo>
                  <a:lnTo>
                    <a:pt x="1183958" y="1395413"/>
                  </a:lnTo>
                  <a:lnTo>
                    <a:pt x="1181100" y="1398270"/>
                  </a:lnTo>
                  <a:lnTo>
                    <a:pt x="1175385" y="1402080"/>
                  </a:lnTo>
                  <a:lnTo>
                    <a:pt x="1164908" y="1413510"/>
                  </a:lnTo>
                  <a:lnTo>
                    <a:pt x="1163955" y="1416368"/>
                  </a:lnTo>
                  <a:lnTo>
                    <a:pt x="1163003" y="1419225"/>
                  </a:lnTo>
                  <a:lnTo>
                    <a:pt x="1163003" y="1424940"/>
                  </a:lnTo>
                  <a:lnTo>
                    <a:pt x="1163955" y="1427798"/>
                  </a:lnTo>
                  <a:lnTo>
                    <a:pt x="1165860" y="1429703"/>
                  </a:lnTo>
                  <a:lnTo>
                    <a:pt x="1172528" y="1434465"/>
                  </a:lnTo>
                  <a:lnTo>
                    <a:pt x="1173480" y="1437323"/>
                  </a:lnTo>
                  <a:lnTo>
                    <a:pt x="1174433" y="1439228"/>
                  </a:lnTo>
                  <a:lnTo>
                    <a:pt x="1173480" y="1442085"/>
                  </a:lnTo>
                  <a:lnTo>
                    <a:pt x="1169671" y="1445895"/>
                  </a:lnTo>
                  <a:lnTo>
                    <a:pt x="1158240" y="1457325"/>
                  </a:lnTo>
                  <a:lnTo>
                    <a:pt x="1143000" y="1467803"/>
                  </a:lnTo>
                  <a:lnTo>
                    <a:pt x="1136333" y="1466850"/>
                  </a:lnTo>
                  <a:lnTo>
                    <a:pt x="1120140" y="1445895"/>
                  </a:lnTo>
                  <a:lnTo>
                    <a:pt x="1103948" y="1437323"/>
                  </a:lnTo>
                  <a:lnTo>
                    <a:pt x="1076325" y="1432560"/>
                  </a:lnTo>
                  <a:lnTo>
                    <a:pt x="1066800" y="1428750"/>
                  </a:lnTo>
                  <a:lnTo>
                    <a:pt x="1063943" y="1425893"/>
                  </a:lnTo>
                  <a:lnTo>
                    <a:pt x="1057275" y="1420178"/>
                  </a:lnTo>
                  <a:lnTo>
                    <a:pt x="1054418" y="1418273"/>
                  </a:lnTo>
                  <a:lnTo>
                    <a:pt x="1050608" y="1418273"/>
                  </a:lnTo>
                  <a:lnTo>
                    <a:pt x="1042988" y="1419225"/>
                  </a:lnTo>
                  <a:lnTo>
                    <a:pt x="1039178" y="1418273"/>
                  </a:lnTo>
                  <a:lnTo>
                    <a:pt x="980123" y="1376363"/>
                  </a:lnTo>
                  <a:lnTo>
                    <a:pt x="975360" y="1371600"/>
                  </a:lnTo>
                  <a:lnTo>
                    <a:pt x="964883" y="1355407"/>
                  </a:lnTo>
                  <a:lnTo>
                    <a:pt x="961073" y="1350645"/>
                  </a:lnTo>
                  <a:lnTo>
                    <a:pt x="952500" y="1345882"/>
                  </a:lnTo>
                  <a:lnTo>
                    <a:pt x="943928" y="1344930"/>
                  </a:lnTo>
                  <a:lnTo>
                    <a:pt x="925830" y="1343978"/>
                  </a:lnTo>
                  <a:lnTo>
                    <a:pt x="916305" y="1341120"/>
                  </a:lnTo>
                  <a:lnTo>
                    <a:pt x="901065" y="1325880"/>
                  </a:lnTo>
                  <a:lnTo>
                    <a:pt x="884873" y="1328738"/>
                  </a:lnTo>
                  <a:lnTo>
                    <a:pt x="883920" y="1331595"/>
                  </a:lnTo>
                  <a:lnTo>
                    <a:pt x="880110" y="1333500"/>
                  </a:lnTo>
                  <a:lnTo>
                    <a:pt x="875348" y="1335405"/>
                  </a:lnTo>
                  <a:lnTo>
                    <a:pt x="865823" y="1336357"/>
                  </a:lnTo>
                  <a:lnTo>
                    <a:pt x="860108" y="1337310"/>
                  </a:lnTo>
                  <a:lnTo>
                    <a:pt x="857250" y="1339215"/>
                  </a:lnTo>
                  <a:lnTo>
                    <a:pt x="854393" y="1344930"/>
                  </a:lnTo>
                  <a:lnTo>
                    <a:pt x="852488" y="1359218"/>
                  </a:lnTo>
                  <a:lnTo>
                    <a:pt x="851535" y="1363028"/>
                  </a:lnTo>
                  <a:lnTo>
                    <a:pt x="849630" y="1365885"/>
                  </a:lnTo>
                  <a:lnTo>
                    <a:pt x="845820" y="1368743"/>
                  </a:lnTo>
                  <a:lnTo>
                    <a:pt x="843915" y="1368743"/>
                  </a:lnTo>
                  <a:lnTo>
                    <a:pt x="842010" y="1366838"/>
                  </a:lnTo>
                  <a:lnTo>
                    <a:pt x="842010" y="1362075"/>
                  </a:lnTo>
                  <a:lnTo>
                    <a:pt x="840105" y="1356360"/>
                  </a:lnTo>
                  <a:lnTo>
                    <a:pt x="836295" y="1346835"/>
                  </a:lnTo>
                  <a:lnTo>
                    <a:pt x="834390" y="1344930"/>
                  </a:lnTo>
                  <a:lnTo>
                    <a:pt x="828675" y="1339215"/>
                  </a:lnTo>
                  <a:lnTo>
                    <a:pt x="824865" y="1335405"/>
                  </a:lnTo>
                  <a:lnTo>
                    <a:pt x="805815" y="1325880"/>
                  </a:lnTo>
                  <a:lnTo>
                    <a:pt x="801053" y="1325880"/>
                  </a:lnTo>
                  <a:lnTo>
                    <a:pt x="797243" y="1326832"/>
                  </a:lnTo>
                  <a:lnTo>
                    <a:pt x="791528" y="1337310"/>
                  </a:lnTo>
                  <a:lnTo>
                    <a:pt x="789623" y="1339215"/>
                  </a:lnTo>
                  <a:lnTo>
                    <a:pt x="785813" y="1341120"/>
                  </a:lnTo>
                  <a:lnTo>
                    <a:pt x="780098" y="1343025"/>
                  </a:lnTo>
                  <a:lnTo>
                    <a:pt x="777240" y="1342073"/>
                  </a:lnTo>
                  <a:lnTo>
                    <a:pt x="775335" y="1339215"/>
                  </a:lnTo>
                  <a:lnTo>
                    <a:pt x="772478" y="1336357"/>
                  </a:lnTo>
                  <a:lnTo>
                    <a:pt x="767715" y="1331595"/>
                  </a:lnTo>
                  <a:lnTo>
                    <a:pt x="744855" y="1322070"/>
                  </a:lnTo>
                  <a:lnTo>
                    <a:pt x="741045" y="1319213"/>
                  </a:lnTo>
                  <a:lnTo>
                    <a:pt x="737235" y="1315403"/>
                  </a:lnTo>
                  <a:lnTo>
                    <a:pt x="731520" y="1310640"/>
                  </a:lnTo>
                  <a:lnTo>
                    <a:pt x="715328" y="1303020"/>
                  </a:lnTo>
                  <a:lnTo>
                    <a:pt x="707708" y="1301115"/>
                  </a:lnTo>
                  <a:lnTo>
                    <a:pt x="701993" y="1301115"/>
                  </a:lnTo>
                  <a:lnTo>
                    <a:pt x="697230" y="1309688"/>
                  </a:lnTo>
                  <a:lnTo>
                    <a:pt x="692468" y="1312545"/>
                  </a:lnTo>
                  <a:lnTo>
                    <a:pt x="690563" y="1312545"/>
                  </a:lnTo>
                  <a:lnTo>
                    <a:pt x="688658" y="1310640"/>
                  </a:lnTo>
                  <a:lnTo>
                    <a:pt x="686753" y="1306830"/>
                  </a:lnTo>
                  <a:lnTo>
                    <a:pt x="683895" y="1304925"/>
                  </a:lnTo>
                  <a:lnTo>
                    <a:pt x="674370" y="1298257"/>
                  </a:lnTo>
                  <a:lnTo>
                    <a:pt x="672465" y="1296353"/>
                  </a:lnTo>
                  <a:lnTo>
                    <a:pt x="670560" y="1291590"/>
                  </a:lnTo>
                  <a:lnTo>
                    <a:pt x="661035" y="1279207"/>
                  </a:lnTo>
                  <a:lnTo>
                    <a:pt x="659130" y="1277303"/>
                  </a:lnTo>
                  <a:lnTo>
                    <a:pt x="651510" y="1270635"/>
                  </a:lnTo>
                  <a:lnTo>
                    <a:pt x="648653" y="1267778"/>
                  </a:lnTo>
                  <a:lnTo>
                    <a:pt x="649605" y="1265873"/>
                  </a:lnTo>
                  <a:lnTo>
                    <a:pt x="654368" y="1263015"/>
                  </a:lnTo>
                  <a:lnTo>
                    <a:pt x="657225" y="1259205"/>
                  </a:lnTo>
                  <a:lnTo>
                    <a:pt x="659130" y="1257300"/>
                  </a:lnTo>
                  <a:lnTo>
                    <a:pt x="659130" y="1254443"/>
                  </a:lnTo>
                  <a:lnTo>
                    <a:pt x="659130" y="1245870"/>
                  </a:lnTo>
                  <a:lnTo>
                    <a:pt x="659130" y="1243013"/>
                  </a:lnTo>
                  <a:lnTo>
                    <a:pt x="661035" y="1242060"/>
                  </a:lnTo>
                  <a:lnTo>
                    <a:pt x="668655" y="1240155"/>
                  </a:lnTo>
                  <a:lnTo>
                    <a:pt x="671513" y="1239203"/>
                  </a:lnTo>
                  <a:lnTo>
                    <a:pt x="673418" y="1237298"/>
                  </a:lnTo>
                  <a:lnTo>
                    <a:pt x="674370" y="1234440"/>
                  </a:lnTo>
                  <a:lnTo>
                    <a:pt x="673418" y="1231582"/>
                  </a:lnTo>
                  <a:lnTo>
                    <a:pt x="670560" y="1228725"/>
                  </a:lnTo>
                  <a:lnTo>
                    <a:pt x="658178" y="1224915"/>
                  </a:lnTo>
                  <a:lnTo>
                    <a:pt x="654368" y="1223010"/>
                  </a:lnTo>
                  <a:lnTo>
                    <a:pt x="651510" y="1220153"/>
                  </a:lnTo>
                  <a:lnTo>
                    <a:pt x="649605" y="1212532"/>
                  </a:lnTo>
                  <a:lnTo>
                    <a:pt x="647700" y="1211580"/>
                  </a:lnTo>
                  <a:lnTo>
                    <a:pt x="598170" y="1206818"/>
                  </a:lnTo>
                  <a:lnTo>
                    <a:pt x="594360" y="1203960"/>
                  </a:lnTo>
                  <a:lnTo>
                    <a:pt x="592455" y="1201103"/>
                  </a:lnTo>
                  <a:lnTo>
                    <a:pt x="586740" y="1191578"/>
                  </a:lnTo>
                  <a:lnTo>
                    <a:pt x="582930" y="1182053"/>
                  </a:lnTo>
                  <a:lnTo>
                    <a:pt x="573405" y="1166813"/>
                  </a:lnTo>
                  <a:lnTo>
                    <a:pt x="569595" y="1163003"/>
                  </a:lnTo>
                  <a:lnTo>
                    <a:pt x="565785" y="1159193"/>
                  </a:lnTo>
                  <a:lnTo>
                    <a:pt x="510540" y="1117282"/>
                  </a:lnTo>
                  <a:lnTo>
                    <a:pt x="379095" y="1052513"/>
                  </a:lnTo>
                  <a:lnTo>
                    <a:pt x="381000" y="1014413"/>
                  </a:lnTo>
                  <a:lnTo>
                    <a:pt x="381000" y="1001078"/>
                  </a:lnTo>
                  <a:lnTo>
                    <a:pt x="380048" y="994410"/>
                  </a:lnTo>
                  <a:lnTo>
                    <a:pt x="358140" y="936307"/>
                  </a:lnTo>
                  <a:lnTo>
                    <a:pt x="355283" y="931545"/>
                  </a:lnTo>
                  <a:lnTo>
                    <a:pt x="334328" y="903922"/>
                  </a:lnTo>
                  <a:lnTo>
                    <a:pt x="331470" y="900113"/>
                  </a:lnTo>
                  <a:lnTo>
                    <a:pt x="325755" y="892493"/>
                  </a:lnTo>
                  <a:lnTo>
                    <a:pt x="320993" y="882968"/>
                  </a:lnTo>
                  <a:lnTo>
                    <a:pt x="320040" y="878205"/>
                  </a:lnTo>
                  <a:lnTo>
                    <a:pt x="320040" y="874395"/>
                  </a:lnTo>
                  <a:lnTo>
                    <a:pt x="340995" y="839153"/>
                  </a:lnTo>
                  <a:lnTo>
                    <a:pt x="341948" y="837247"/>
                  </a:lnTo>
                  <a:lnTo>
                    <a:pt x="346710" y="833438"/>
                  </a:lnTo>
                  <a:lnTo>
                    <a:pt x="358140" y="826770"/>
                  </a:lnTo>
                  <a:lnTo>
                    <a:pt x="359093" y="824865"/>
                  </a:lnTo>
                  <a:lnTo>
                    <a:pt x="360998" y="821055"/>
                  </a:lnTo>
                  <a:lnTo>
                    <a:pt x="362903" y="816293"/>
                  </a:lnTo>
                  <a:lnTo>
                    <a:pt x="363855" y="807720"/>
                  </a:lnTo>
                  <a:lnTo>
                    <a:pt x="363855" y="802005"/>
                  </a:lnTo>
                  <a:lnTo>
                    <a:pt x="363855" y="798195"/>
                  </a:lnTo>
                  <a:lnTo>
                    <a:pt x="360045" y="783908"/>
                  </a:lnTo>
                  <a:lnTo>
                    <a:pt x="356235" y="778193"/>
                  </a:lnTo>
                  <a:lnTo>
                    <a:pt x="342900" y="767715"/>
                  </a:lnTo>
                  <a:lnTo>
                    <a:pt x="340043" y="765810"/>
                  </a:lnTo>
                  <a:lnTo>
                    <a:pt x="338138" y="762000"/>
                  </a:lnTo>
                  <a:lnTo>
                    <a:pt x="335280" y="756285"/>
                  </a:lnTo>
                  <a:lnTo>
                    <a:pt x="334328" y="752475"/>
                  </a:lnTo>
                  <a:lnTo>
                    <a:pt x="333375" y="728663"/>
                  </a:lnTo>
                  <a:lnTo>
                    <a:pt x="331470" y="723900"/>
                  </a:lnTo>
                  <a:lnTo>
                    <a:pt x="328613" y="720090"/>
                  </a:lnTo>
                  <a:lnTo>
                    <a:pt x="271463" y="698183"/>
                  </a:lnTo>
                  <a:lnTo>
                    <a:pt x="268605" y="695325"/>
                  </a:lnTo>
                  <a:lnTo>
                    <a:pt x="264795" y="692468"/>
                  </a:lnTo>
                  <a:lnTo>
                    <a:pt x="262890" y="685800"/>
                  </a:lnTo>
                  <a:lnTo>
                    <a:pt x="263843" y="663893"/>
                  </a:lnTo>
                  <a:lnTo>
                    <a:pt x="263843" y="659130"/>
                  </a:lnTo>
                  <a:lnTo>
                    <a:pt x="262890" y="650558"/>
                  </a:lnTo>
                  <a:lnTo>
                    <a:pt x="261938" y="645795"/>
                  </a:lnTo>
                  <a:lnTo>
                    <a:pt x="260033" y="642938"/>
                  </a:lnTo>
                  <a:lnTo>
                    <a:pt x="242888" y="628650"/>
                  </a:lnTo>
                  <a:lnTo>
                    <a:pt x="240030" y="627697"/>
                  </a:lnTo>
                  <a:lnTo>
                    <a:pt x="238125" y="628650"/>
                  </a:lnTo>
                  <a:lnTo>
                    <a:pt x="233363" y="630555"/>
                  </a:lnTo>
                  <a:lnTo>
                    <a:pt x="228600" y="631508"/>
                  </a:lnTo>
                  <a:lnTo>
                    <a:pt x="225743" y="628650"/>
                  </a:lnTo>
                  <a:lnTo>
                    <a:pt x="223838" y="624840"/>
                  </a:lnTo>
                  <a:lnTo>
                    <a:pt x="220028" y="619125"/>
                  </a:lnTo>
                  <a:lnTo>
                    <a:pt x="212408" y="611505"/>
                  </a:lnTo>
                  <a:lnTo>
                    <a:pt x="210503" y="609600"/>
                  </a:lnTo>
                  <a:lnTo>
                    <a:pt x="207645" y="608647"/>
                  </a:lnTo>
                  <a:lnTo>
                    <a:pt x="205740" y="608647"/>
                  </a:lnTo>
                  <a:lnTo>
                    <a:pt x="202883" y="609600"/>
                  </a:lnTo>
                  <a:lnTo>
                    <a:pt x="198120" y="612458"/>
                  </a:lnTo>
                  <a:lnTo>
                    <a:pt x="195263" y="612458"/>
                  </a:lnTo>
                  <a:lnTo>
                    <a:pt x="193358" y="612458"/>
                  </a:lnTo>
                  <a:lnTo>
                    <a:pt x="188595" y="609600"/>
                  </a:lnTo>
                  <a:lnTo>
                    <a:pt x="179070" y="597218"/>
                  </a:lnTo>
                  <a:lnTo>
                    <a:pt x="160020" y="562928"/>
                  </a:lnTo>
                  <a:lnTo>
                    <a:pt x="157163" y="555308"/>
                  </a:lnTo>
                  <a:lnTo>
                    <a:pt x="155258" y="548640"/>
                  </a:lnTo>
                  <a:lnTo>
                    <a:pt x="156210" y="545783"/>
                  </a:lnTo>
                  <a:lnTo>
                    <a:pt x="158115" y="543878"/>
                  </a:lnTo>
                  <a:lnTo>
                    <a:pt x="160020" y="541972"/>
                  </a:lnTo>
                  <a:lnTo>
                    <a:pt x="162878" y="541020"/>
                  </a:lnTo>
                  <a:lnTo>
                    <a:pt x="165735" y="541972"/>
                  </a:lnTo>
                  <a:lnTo>
                    <a:pt x="170498" y="543878"/>
                  </a:lnTo>
                  <a:lnTo>
                    <a:pt x="172403" y="543878"/>
                  </a:lnTo>
                  <a:lnTo>
                    <a:pt x="176213" y="541972"/>
                  </a:lnTo>
                  <a:lnTo>
                    <a:pt x="178118" y="539115"/>
                  </a:lnTo>
                  <a:lnTo>
                    <a:pt x="179070" y="534353"/>
                  </a:lnTo>
                  <a:lnTo>
                    <a:pt x="178118" y="520065"/>
                  </a:lnTo>
                  <a:lnTo>
                    <a:pt x="178118" y="512445"/>
                  </a:lnTo>
                  <a:lnTo>
                    <a:pt x="182880" y="495300"/>
                  </a:lnTo>
                  <a:lnTo>
                    <a:pt x="182880" y="490538"/>
                  </a:lnTo>
                  <a:lnTo>
                    <a:pt x="183833" y="485775"/>
                  </a:lnTo>
                  <a:lnTo>
                    <a:pt x="182880" y="478155"/>
                  </a:lnTo>
                  <a:lnTo>
                    <a:pt x="180975" y="474345"/>
                  </a:lnTo>
                  <a:lnTo>
                    <a:pt x="179070" y="471488"/>
                  </a:lnTo>
                  <a:lnTo>
                    <a:pt x="166688" y="463867"/>
                  </a:lnTo>
                  <a:lnTo>
                    <a:pt x="164783" y="461963"/>
                  </a:lnTo>
                  <a:lnTo>
                    <a:pt x="160973" y="456247"/>
                  </a:lnTo>
                  <a:lnTo>
                    <a:pt x="137160" y="408622"/>
                  </a:lnTo>
                  <a:lnTo>
                    <a:pt x="134303" y="407670"/>
                  </a:lnTo>
                  <a:lnTo>
                    <a:pt x="131445" y="407670"/>
                  </a:lnTo>
                  <a:lnTo>
                    <a:pt x="123825" y="410528"/>
                  </a:lnTo>
                  <a:lnTo>
                    <a:pt x="120968" y="410528"/>
                  </a:lnTo>
                  <a:lnTo>
                    <a:pt x="118110" y="410528"/>
                  </a:lnTo>
                  <a:lnTo>
                    <a:pt x="105728" y="404813"/>
                  </a:lnTo>
                  <a:lnTo>
                    <a:pt x="101918" y="402908"/>
                  </a:lnTo>
                  <a:lnTo>
                    <a:pt x="98108" y="400050"/>
                  </a:lnTo>
                  <a:lnTo>
                    <a:pt x="96203" y="396240"/>
                  </a:lnTo>
                  <a:lnTo>
                    <a:pt x="85725" y="359092"/>
                  </a:lnTo>
                  <a:lnTo>
                    <a:pt x="84773" y="354330"/>
                  </a:lnTo>
                  <a:lnTo>
                    <a:pt x="86678" y="352425"/>
                  </a:lnTo>
                  <a:lnTo>
                    <a:pt x="104775" y="346710"/>
                  </a:lnTo>
                  <a:lnTo>
                    <a:pt x="106680" y="343853"/>
                  </a:lnTo>
                  <a:lnTo>
                    <a:pt x="108585" y="339090"/>
                  </a:lnTo>
                  <a:lnTo>
                    <a:pt x="107633" y="329565"/>
                  </a:lnTo>
                  <a:lnTo>
                    <a:pt x="106680" y="325755"/>
                  </a:lnTo>
                  <a:lnTo>
                    <a:pt x="105728" y="322897"/>
                  </a:lnTo>
                  <a:lnTo>
                    <a:pt x="101918" y="319088"/>
                  </a:lnTo>
                  <a:lnTo>
                    <a:pt x="100013" y="318135"/>
                  </a:lnTo>
                  <a:lnTo>
                    <a:pt x="97155" y="318135"/>
                  </a:lnTo>
                  <a:lnTo>
                    <a:pt x="92393" y="320992"/>
                  </a:lnTo>
                  <a:lnTo>
                    <a:pt x="89535" y="324803"/>
                  </a:lnTo>
                  <a:lnTo>
                    <a:pt x="84773" y="327660"/>
                  </a:lnTo>
                  <a:lnTo>
                    <a:pt x="80010" y="330517"/>
                  </a:lnTo>
                  <a:lnTo>
                    <a:pt x="77153" y="330517"/>
                  </a:lnTo>
                  <a:lnTo>
                    <a:pt x="74295" y="328613"/>
                  </a:lnTo>
                  <a:lnTo>
                    <a:pt x="64770" y="314325"/>
                  </a:lnTo>
                  <a:lnTo>
                    <a:pt x="61913" y="312420"/>
                  </a:lnTo>
                  <a:lnTo>
                    <a:pt x="56198" y="309563"/>
                  </a:lnTo>
                  <a:lnTo>
                    <a:pt x="44768" y="307658"/>
                  </a:lnTo>
                  <a:lnTo>
                    <a:pt x="41910" y="305753"/>
                  </a:lnTo>
                  <a:lnTo>
                    <a:pt x="38100" y="301942"/>
                  </a:lnTo>
                  <a:lnTo>
                    <a:pt x="36195" y="297180"/>
                  </a:lnTo>
                  <a:lnTo>
                    <a:pt x="34290" y="291465"/>
                  </a:lnTo>
                  <a:lnTo>
                    <a:pt x="33338" y="287655"/>
                  </a:lnTo>
                  <a:lnTo>
                    <a:pt x="31433" y="284797"/>
                  </a:lnTo>
                  <a:lnTo>
                    <a:pt x="29528" y="282892"/>
                  </a:lnTo>
                  <a:lnTo>
                    <a:pt x="21908" y="273367"/>
                  </a:lnTo>
                  <a:lnTo>
                    <a:pt x="19050" y="264795"/>
                  </a:lnTo>
                  <a:lnTo>
                    <a:pt x="16193" y="259080"/>
                  </a:lnTo>
                  <a:lnTo>
                    <a:pt x="13335" y="256222"/>
                  </a:lnTo>
                  <a:lnTo>
                    <a:pt x="10478" y="256222"/>
                  </a:lnTo>
                  <a:lnTo>
                    <a:pt x="5715" y="256222"/>
                  </a:lnTo>
                  <a:lnTo>
                    <a:pt x="0" y="255270"/>
                  </a:lnTo>
                  <a:lnTo>
                    <a:pt x="14288" y="234315"/>
                  </a:lnTo>
                  <a:lnTo>
                    <a:pt x="17145" y="227647"/>
                  </a:lnTo>
                  <a:lnTo>
                    <a:pt x="16193" y="224790"/>
                  </a:lnTo>
                  <a:lnTo>
                    <a:pt x="13335" y="220028"/>
                  </a:lnTo>
                  <a:lnTo>
                    <a:pt x="12383" y="216217"/>
                  </a:lnTo>
                  <a:lnTo>
                    <a:pt x="13335" y="214313"/>
                  </a:lnTo>
                  <a:lnTo>
                    <a:pt x="15240" y="211455"/>
                  </a:lnTo>
                  <a:lnTo>
                    <a:pt x="23813" y="199072"/>
                  </a:lnTo>
                  <a:lnTo>
                    <a:pt x="37148" y="162878"/>
                  </a:lnTo>
                  <a:lnTo>
                    <a:pt x="68580" y="162878"/>
                  </a:lnTo>
                  <a:lnTo>
                    <a:pt x="71438" y="163830"/>
                  </a:lnTo>
                  <a:lnTo>
                    <a:pt x="75248" y="167640"/>
                  </a:lnTo>
                  <a:lnTo>
                    <a:pt x="78105" y="168592"/>
                  </a:lnTo>
                  <a:lnTo>
                    <a:pt x="80963" y="168592"/>
                  </a:lnTo>
                  <a:lnTo>
                    <a:pt x="85725" y="166688"/>
                  </a:lnTo>
                  <a:lnTo>
                    <a:pt x="91440" y="162878"/>
                  </a:lnTo>
                  <a:lnTo>
                    <a:pt x="97155" y="156210"/>
                  </a:lnTo>
                  <a:lnTo>
                    <a:pt x="107633" y="138113"/>
                  </a:lnTo>
                  <a:lnTo>
                    <a:pt x="111443" y="134303"/>
                  </a:lnTo>
                  <a:lnTo>
                    <a:pt x="115253" y="130492"/>
                  </a:lnTo>
                  <a:lnTo>
                    <a:pt x="148590" y="115253"/>
                  </a:lnTo>
                  <a:lnTo>
                    <a:pt x="161925" y="114300"/>
                  </a:lnTo>
                  <a:lnTo>
                    <a:pt x="165735" y="115253"/>
                  </a:lnTo>
                  <a:lnTo>
                    <a:pt x="167640" y="117158"/>
                  </a:lnTo>
                  <a:lnTo>
                    <a:pt x="172403" y="122872"/>
                  </a:lnTo>
                  <a:lnTo>
                    <a:pt x="176213" y="127635"/>
                  </a:lnTo>
                  <a:lnTo>
                    <a:pt x="178118" y="128588"/>
                  </a:lnTo>
                  <a:lnTo>
                    <a:pt x="180975" y="127635"/>
                  </a:lnTo>
                  <a:lnTo>
                    <a:pt x="197168" y="116205"/>
                  </a:lnTo>
                  <a:lnTo>
                    <a:pt x="200978" y="115253"/>
                  </a:lnTo>
                  <a:lnTo>
                    <a:pt x="208598" y="115253"/>
                  </a:lnTo>
                  <a:lnTo>
                    <a:pt x="212408" y="115253"/>
                  </a:lnTo>
                  <a:lnTo>
                    <a:pt x="215265" y="116205"/>
                  </a:lnTo>
                  <a:lnTo>
                    <a:pt x="218123" y="120015"/>
                  </a:lnTo>
                  <a:lnTo>
                    <a:pt x="220028" y="125730"/>
                  </a:lnTo>
                  <a:lnTo>
                    <a:pt x="221933" y="134303"/>
                  </a:lnTo>
                  <a:lnTo>
                    <a:pt x="223838" y="139065"/>
                  </a:lnTo>
                  <a:lnTo>
                    <a:pt x="226695" y="143828"/>
                  </a:lnTo>
                  <a:lnTo>
                    <a:pt x="228600" y="146685"/>
                  </a:lnTo>
                  <a:lnTo>
                    <a:pt x="240983" y="150495"/>
                  </a:lnTo>
                  <a:lnTo>
                    <a:pt x="294323" y="152400"/>
                  </a:lnTo>
                  <a:lnTo>
                    <a:pt x="315278" y="148590"/>
                  </a:lnTo>
                  <a:lnTo>
                    <a:pt x="320040" y="148590"/>
                  </a:lnTo>
                  <a:lnTo>
                    <a:pt x="322898" y="150495"/>
                  </a:lnTo>
                  <a:lnTo>
                    <a:pt x="324803" y="155258"/>
                  </a:lnTo>
                  <a:lnTo>
                    <a:pt x="327660" y="156210"/>
                  </a:lnTo>
                  <a:lnTo>
                    <a:pt x="346710" y="156210"/>
                  </a:lnTo>
                  <a:lnTo>
                    <a:pt x="391478" y="131445"/>
                  </a:lnTo>
                  <a:lnTo>
                    <a:pt x="400050" y="129540"/>
                  </a:lnTo>
                  <a:lnTo>
                    <a:pt x="419100" y="127635"/>
                  </a:lnTo>
                  <a:lnTo>
                    <a:pt x="423863" y="125730"/>
                  </a:lnTo>
                  <a:lnTo>
                    <a:pt x="426720" y="123825"/>
                  </a:lnTo>
                  <a:lnTo>
                    <a:pt x="429578" y="120967"/>
                  </a:lnTo>
                  <a:lnTo>
                    <a:pt x="432435" y="113347"/>
                  </a:lnTo>
                  <a:lnTo>
                    <a:pt x="435293" y="104775"/>
                  </a:lnTo>
                  <a:lnTo>
                    <a:pt x="438150" y="100965"/>
                  </a:lnTo>
                  <a:lnTo>
                    <a:pt x="441008" y="97155"/>
                  </a:lnTo>
                  <a:lnTo>
                    <a:pt x="453390" y="89535"/>
                  </a:lnTo>
                  <a:lnTo>
                    <a:pt x="461963" y="86678"/>
                  </a:lnTo>
                  <a:lnTo>
                    <a:pt x="464820" y="84772"/>
                  </a:lnTo>
                  <a:lnTo>
                    <a:pt x="467678" y="81915"/>
                  </a:lnTo>
                  <a:lnTo>
                    <a:pt x="470535" y="72390"/>
                  </a:lnTo>
                  <a:lnTo>
                    <a:pt x="473393" y="68580"/>
                  </a:lnTo>
                  <a:lnTo>
                    <a:pt x="476250" y="64770"/>
                  </a:lnTo>
                  <a:lnTo>
                    <a:pt x="482918" y="60960"/>
                  </a:lnTo>
                  <a:lnTo>
                    <a:pt x="495300" y="55245"/>
                  </a:lnTo>
                  <a:lnTo>
                    <a:pt x="502920" y="45720"/>
                  </a:lnTo>
                  <a:lnTo>
                    <a:pt x="522923" y="6667"/>
                  </a:lnTo>
                  <a:lnTo>
                    <a:pt x="542925" y="18097"/>
                  </a:lnTo>
                  <a:lnTo>
                    <a:pt x="593408" y="24765"/>
                  </a:lnTo>
                  <a:lnTo>
                    <a:pt x="599123" y="23813"/>
                  </a:lnTo>
                  <a:lnTo>
                    <a:pt x="601028" y="21908"/>
                  </a:lnTo>
                  <a:lnTo>
                    <a:pt x="603885" y="16192"/>
                  </a:lnTo>
                  <a:lnTo>
                    <a:pt x="604838" y="13335"/>
                  </a:lnTo>
                  <a:lnTo>
                    <a:pt x="608648" y="9525"/>
                  </a:lnTo>
                  <a:lnTo>
                    <a:pt x="614363" y="5715"/>
                  </a:lnTo>
                  <a:lnTo>
                    <a:pt x="628650" y="953"/>
                  </a:lnTo>
                  <a:lnTo>
                    <a:pt x="636270" y="0"/>
                  </a:lnTo>
                  <a:lnTo>
                    <a:pt x="641033" y="953"/>
                  </a:lnTo>
                  <a:lnTo>
                    <a:pt x="642938" y="2858"/>
                  </a:lnTo>
                  <a:lnTo>
                    <a:pt x="647700" y="6667"/>
                  </a:lnTo>
                  <a:lnTo>
                    <a:pt x="652463" y="9525"/>
                  </a:lnTo>
                  <a:lnTo>
                    <a:pt x="666750" y="16192"/>
                  </a:lnTo>
                  <a:lnTo>
                    <a:pt x="670560" y="18097"/>
                  </a:lnTo>
                  <a:lnTo>
                    <a:pt x="830580" y="51435"/>
                  </a:lnTo>
                  <a:lnTo>
                    <a:pt x="870585" y="69533"/>
                  </a:lnTo>
                  <a:lnTo>
                    <a:pt x="876300" y="70485"/>
                  </a:lnTo>
                  <a:lnTo>
                    <a:pt x="880110" y="70485"/>
                  </a:lnTo>
                  <a:lnTo>
                    <a:pt x="884873" y="63817"/>
                  </a:lnTo>
                  <a:lnTo>
                    <a:pt x="900113" y="60008"/>
                  </a:lnTo>
                  <a:lnTo>
                    <a:pt x="922020" y="59055"/>
                  </a:lnTo>
                  <a:lnTo>
                    <a:pt x="929640" y="56197"/>
                  </a:lnTo>
                  <a:lnTo>
                    <a:pt x="934403" y="53340"/>
                  </a:lnTo>
                  <a:lnTo>
                    <a:pt x="934403" y="50483"/>
                  </a:lnTo>
                  <a:lnTo>
                    <a:pt x="932498" y="48578"/>
                  </a:lnTo>
                  <a:lnTo>
                    <a:pt x="916305" y="39053"/>
                  </a:lnTo>
                  <a:lnTo>
                    <a:pt x="915353" y="35242"/>
                  </a:lnTo>
                  <a:lnTo>
                    <a:pt x="916305" y="32385"/>
                  </a:lnTo>
                  <a:lnTo>
                    <a:pt x="919163" y="28575"/>
                  </a:lnTo>
                  <a:lnTo>
                    <a:pt x="946785" y="16192"/>
                  </a:lnTo>
                  <a:lnTo>
                    <a:pt x="964883" y="11430"/>
                  </a:lnTo>
                  <a:lnTo>
                    <a:pt x="969645" y="12383"/>
                  </a:lnTo>
                  <a:lnTo>
                    <a:pt x="972503" y="13335"/>
                  </a:lnTo>
                  <a:lnTo>
                    <a:pt x="978218" y="22860"/>
                  </a:lnTo>
                  <a:lnTo>
                    <a:pt x="985838" y="30480"/>
                  </a:lnTo>
                  <a:lnTo>
                    <a:pt x="1002983" y="44767"/>
                  </a:lnTo>
                  <a:lnTo>
                    <a:pt x="1042988" y="62865"/>
                  </a:lnTo>
                  <a:lnTo>
                    <a:pt x="1046798" y="62865"/>
                  </a:lnTo>
                  <a:lnTo>
                    <a:pt x="1049655" y="61913"/>
                  </a:lnTo>
                  <a:lnTo>
                    <a:pt x="1050608" y="59055"/>
                  </a:lnTo>
                  <a:lnTo>
                    <a:pt x="1049655" y="50483"/>
                  </a:lnTo>
                  <a:lnTo>
                    <a:pt x="1050608" y="47625"/>
                  </a:lnTo>
                  <a:lnTo>
                    <a:pt x="1052513" y="45720"/>
                  </a:lnTo>
                  <a:lnTo>
                    <a:pt x="1055371" y="42863"/>
                  </a:lnTo>
                  <a:lnTo>
                    <a:pt x="1060133" y="40958"/>
                  </a:lnTo>
                  <a:lnTo>
                    <a:pt x="1063943" y="41910"/>
                  </a:lnTo>
                  <a:lnTo>
                    <a:pt x="1075373" y="44767"/>
                  </a:lnTo>
                  <a:lnTo>
                    <a:pt x="1078230" y="43815"/>
                  </a:lnTo>
                  <a:lnTo>
                    <a:pt x="1080135" y="41910"/>
                  </a:lnTo>
                  <a:lnTo>
                    <a:pt x="1080135" y="38100"/>
                  </a:lnTo>
                  <a:lnTo>
                    <a:pt x="1079183" y="32385"/>
                  </a:lnTo>
                  <a:lnTo>
                    <a:pt x="1080135" y="29528"/>
                  </a:lnTo>
                  <a:lnTo>
                    <a:pt x="1082040" y="27622"/>
                  </a:lnTo>
                  <a:lnTo>
                    <a:pt x="1093471" y="24765"/>
                  </a:lnTo>
                  <a:lnTo>
                    <a:pt x="1097280" y="23813"/>
                  </a:lnTo>
                  <a:lnTo>
                    <a:pt x="1100138" y="20955"/>
                  </a:lnTo>
                  <a:lnTo>
                    <a:pt x="1104900" y="18097"/>
                  </a:lnTo>
                  <a:lnTo>
                    <a:pt x="1116330" y="16192"/>
                  </a:lnTo>
                  <a:lnTo>
                    <a:pt x="1121093" y="13335"/>
                  </a:lnTo>
                  <a:lnTo>
                    <a:pt x="1123950" y="10478"/>
                  </a:lnTo>
                  <a:lnTo>
                    <a:pt x="1124903" y="6667"/>
                  </a:lnTo>
                  <a:lnTo>
                    <a:pt x="1126808" y="3810"/>
                  </a:lnTo>
                  <a:lnTo>
                    <a:pt x="1130618" y="3810"/>
                  </a:lnTo>
                  <a:lnTo>
                    <a:pt x="1147763" y="10478"/>
                  </a:lnTo>
                  <a:lnTo>
                    <a:pt x="1149668" y="12383"/>
                  </a:lnTo>
                  <a:lnTo>
                    <a:pt x="1151573" y="14288"/>
                  </a:lnTo>
                  <a:lnTo>
                    <a:pt x="1151573" y="17145"/>
                  </a:lnTo>
                  <a:lnTo>
                    <a:pt x="1149668" y="34290"/>
                  </a:lnTo>
                  <a:lnTo>
                    <a:pt x="1150621" y="76200"/>
                  </a:lnTo>
                  <a:lnTo>
                    <a:pt x="1150621" y="81915"/>
                  </a:lnTo>
                  <a:lnTo>
                    <a:pt x="1152525" y="86678"/>
                  </a:lnTo>
                  <a:lnTo>
                    <a:pt x="1154430" y="92392"/>
                  </a:lnTo>
                  <a:lnTo>
                    <a:pt x="1166813" y="109538"/>
                  </a:lnTo>
                  <a:lnTo>
                    <a:pt x="1184910" y="130492"/>
                  </a:lnTo>
                  <a:lnTo>
                    <a:pt x="1207771" y="150495"/>
                  </a:lnTo>
                  <a:lnTo>
                    <a:pt x="1211580" y="154305"/>
                  </a:lnTo>
                  <a:lnTo>
                    <a:pt x="1214438" y="159067"/>
                  </a:lnTo>
                  <a:lnTo>
                    <a:pt x="1216343" y="163830"/>
                  </a:lnTo>
                  <a:lnTo>
                    <a:pt x="1217296" y="169545"/>
                  </a:lnTo>
                  <a:lnTo>
                    <a:pt x="1216343" y="175260"/>
                  </a:lnTo>
                  <a:lnTo>
                    <a:pt x="1211580" y="183833"/>
                  </a:lnTo>
                  <a:lnTo>
                    <a:pt x="1209675" y="190500"/>
                  </a:lnTo>
                  <a:lnTo>
                    <a:pt x="1208723" y="196215"/>
                  </a:lnTo>
                  <a:lnTo>
                    <a:pt x="1210628" y="218122"/>
                  </a:lnTo>
                  <a:lnTo>
                    <a:pt x="1211580" y="223838"/>
                  </a:lnTo>
                  <a:lnTo>
                    <a:pt x="1212533" y="226695"/>
                  </a:lnTo>
                  <a:lnTo>
                    <a:pt x="1215390" y="230505"/>
                  </a:lnTo>
                  <a:lnTo>
                    <a:pt x="1219200" y="234315"/>
                  </a:lnTo>
                  <a:lnTo>
                    <a:pt x="1222058" y="235267"/>
                  </a:lnTo>
                  <a:lnTo>
                    <a:pt x="1223963" y="234315"/>
                  </a:lnTo>
                  <a:lnTo>
                    <a:pt x="1227773" y="228600"/>
                  </a:lnTo>
                  <a:lnTo>
                    <a:pt x="1230630" y="226695"/>
                  </a:lnTo>
                  <a:lnTo>
                    <a:pt x="1236346" y="224790"/>
                  </a:lnTo>
                  <a:lnTo>
                    <a:pt x="1240155" y="225742"/>
                  </a:lnTo>
                  <a:lnTo>
                    <a:pt x="1243013" y="227647"/>
                  </a:lnTo>
                  <a:lnTo>
                    <a:pt x="1245871" y="232410"/>
                  </a:lnTo>
                  <a:lnTo>
                    <a:pt x="1245871" y="235267"/>
                  </a:lnTo>
                  <a:lnTo>
                    <a:pt x="1246823" y="240983"/>
                  </a:lnTo>
                  <a:lnTo>
                    <a:pt x="1246823" y="243840"/>
                  </a:lnTo>
                  <a:lnTo>
                    <a:pt x="1248728" y="246697"/>
                  </a:lnTo>
                  <a:lnTo>
                    <a:pt x="1253490" y="251460"/>
                  </a:lnTo>
                  <a:lnTo>
                    <a:pt x="1255396" y="254317"/>
                  </a:lnTo>
                  <a:lnTo>
                    <a:pt x="1255396" y="257175"/>
                  </a:lnTo>
                  <a:lnTo>
                    <a:pt x="1257300" y="260985"/>
                  </a:lnTo>
                  <a:lnTo>
                    <a:pt x="1260158" y="265747"/>
                  </a:lnTo>
                  <a:lnTo>
                    <a:pt x="1279208" y="280035"/>
                  </a:lnTo>
                  <a:lnTo>
                    <a:pt x="1283018" y="283845"/>
                  </a:lnTo>
                  <a:lnTo>
                    <a:pt x="1284923" y="288608"/>
                  </a:lnTo>
                  <a:lnTo>
                    <a:pt x="1285875" y="294322"/>
                  </a:lnTo>
                  <a:lnTo>
                    <a:pt x="1285875" y="300990"/>
                  </a:lnTo>
                  <a:lnTo>
                    <a:pt x="1283971" y="307658"/>
                  </a:lnTo>
                  <a:lnTo>
                    <a:pt x="1280160" y="312420"/>
                  </a:lnTo>
                  <a:lnTo>
                    <a:pt x="1275398" y="314325"/>
                  </a:lnTo>
                  <a:lnTo>
                    <a:pt x="1263968" y="316230"/>
                  </a:lnTo>
                  <a:lnTo>
                    <a:pt x="1262063" y="317183"/>
                  </a:lnTo>
                  <a:lnTo>
                    <a:pt x="1260158" y="320040"/>
                  </a:lnTo>
                  <a:lnTo>
                    <a:pt x="1259205" y="330517"/>
                  </a:lnTo>
                  <a:lnTo>
                    <a:pt x="1259205" y="334328"/>
                  </a:lnTo>
                  <a:lnTo>
                    <a:pt x="1260158" y="339090"/>
                  </a:lnTo>
                  <a:lnTo>
                    <a:pt x="1264921" y="344805"/>
                  </a:lnTo>
                  <a:lnTo>
                    <a:pt x="1266825" y="347663"/>
                  </a:lnTo>
                  <a:lnTo>
                    <a:pt x="1266825" y="351472"/>
                  </a:lnTo>
                  <a:lnTo>
                    <a:pt x="1266825" y="358140"/>
                  </a:lnTo>
                  <a:lnTo>
                    <a:pt x="1267778" y="362903"/>
                  </a:lnTo>
                  <a:lnTo>
                    <a:pt x="1270635" y="362903"/>
                  </a:lnTo>
                  <a:lnTo>
                    <a:pt x="1272540" y="362903"/>
                  </a:lnTo>
                  <a:lnTo>
                    <a:pt x="1280160" y="356235"/>
                  </a:lnTo>
                  <a:lnTo>
                    <a:pt x="1283018" y="354330"/>
                  </a:lnTo>
                  <a:lnTo>
                    <a:pt x="1292543" y="350520"/>
                  </a:lnTo>
                  <a:lnTo>
                    <a:pt x="1301115" y="349567"/>
                  </a:lnTo>
                  <a:lnTo>
                    <a:pt x="1352550" y="357188"/>
                  </a:lnTo>
                  <a:lnTo>
                    <a:pt x="1371600" y="356235"/>
                  </a:lnTo>
                  <a:lnTo>
                    <a:pt x="1373505" y="355283"/>
                  </a:lnTo>
                  <a:lnTo>
                    <a:pt x="1377315" y="351472"/>
                  </a:lnTo>
                  <a:lnTo>
                    <a:pt x="1379221" y="348615"/>
                  </a:lnTo>
                  <a:lnTo>
                    <a:pt x="1381125" y="342900"/>
                  </a:lnTo>
                  <a:lnTo>
                    <a:pt x="1382078" y="335280"/>
                  </a:lnTo>
                  <a:lnTo>
                    <a:pt x="1383983" y="332422"/>
                  </a:lnTo>
                  <a:lnTo>
                    <a:pt x="1385888" y="329565"/>
                  </a:lnTo>
                  <a:lnTo>
                    <a:pt x="1389698" y="327660"/>
                  </a:lnTo>
                  <a:lnTo>
                    <a:pt x="1392555" y="327660"/>
                  </a:lnTo>
                  <a:lnTo>
                    <a:pt x="1396365" y="329565"/>
                  </a:lnTo>
                  <a:lnTo>
                    <a:pt x="1403985" y="336233"/>
                  </a:lnTo>
                  <a:lnTo>
                    <a:pt x="1407796" y="338138"/>
                  </a:lnTo>
                  <a:lnTo>
                    <a:pt x="1410653" y="338138"/>
                  </a:lnTo>
                  <a:lnTo>
                    <a:pt x="1420178" y="333375"/>
                  </a:lnTo>
                  <a:lnTo>
                    <a:pt x="1433513" y="321945"/>
                  </a:lnTo>
                  <a:lnTo>
                    <a:pt x="1447800" y="320040"/>
                  </a:lnTo>
                  <a:lnTo>
                    <a:pt x="1497330" y="331470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4" name="Полилиния: фигура 26">
              <a:extLst>
                <a:ext uri="{FF2B5EF4-FFF2-40B4-BE49-F238E27FC236}">
                  <a16:creationId xmlns:a16="http://schemas.microsoft.com/office/drawing/2014/main" id="{8C15DE1E-8152-B8FE-E56D-A8DD6167A97F}"/>
                </a:ext>
              </a:extLst>
            </p:cNvPr>
            <p:cNvSpPr/>
            <p:nvPr/>
          </p:nvSpPr>
          <p:spPr>
            <a:xfrm>
              <a:off x="7708582" y="3748088"/>
              <a:ext cx="1590675" cy="1447800"/>
            </a:xfrm>
            <a:custGeom>
              <a:avLst/>
              <a:gdLst>
                <a:gd name="connsiteX0" fmla="*/ 1250632 w 1590675"/>
                <a:gd name="connsiteY0" fmla="*/ 225743 h 1447800"/>
                <a:gd name="connsiteX1" fmla="*/ 1251585 w 1590675"/>
                <a:gd name="connsiteY1" fmla="*/ 258128 h 1447800"/>
                <a:gd name="connsiteX2" fmla="*/ 1254443 w 1590675"/>
                <a:gd name="connsiteY2" fmla="*/ 266700 h 1447800"/>
                <a:gd name="connsiteX3" fmla="*/ 1260157 w 1590675"/>
                <a:gd name="connsiteY3" fmla="*/ 269557 h 1447800"/>
                <a:gd name="connsiteX4" fmla="*/ 1266825 w 1590675"/>
                <a:gd name="connsiteY4" fmla="*/ 270510 h 1447800"/>
                <a:gd name="connsiteX5" fmla="*/ 1272540 w 1590675"/>
                <a:gd name="connsiteY5" fmla="*/ 270510 h 1447800"/>
                <a:gd name="connsiteX6" fmla="*/ 1285875 w 1590675"/>
                <a:gd name="connsiteY6" fmla="*/ 268605 h 1447800"/>
                <a:gd name="connsiteX7" fmla="*/ 1289685 w 1590675"/>
                <a:gd name="connsiteY7" fmla="*/ 268605 h 1447800"/>
                <a:gd name="connsiteX8" fmla="*/ 1291590 w 1590675"/>
                <a:gd name="connsiteY8" fmla="*/ 269557 h 1447800"/>
                <a:gd name="connsiteX9" fmla="*/ 1292543 w 1590675"/>
                <a:gd name="connsiteY9" fmla="*/ 271463 h 1447800"/>
                <a:gd name="connsiteX10" fmla="*/ 1293495 w 1590675"/>
                <a:gd name="connsiteY10" fmla="*/ 277178 h 1447800"/>
                <a:gd name="connsiteX11" fmla="*/ 1294448 w 1590675"/>
                <a:gd name="connsiteY11" fmla="*/ 288607 h 1447800"/>
                <a:gd name="connsiteX12" fmla="*/ 1295400 w 1590675"/>
                <a:gd name="connsiteY12" fmla="*/ 293370 h 1447800"/>
                <a:gd name="connsiteX13" fmla="*/ 1310640 w 1590675"/>
                <a:gd name="connsiteY13" fmla="*/ 325755 h 1447800"/>
                <a:gd name="connsiteX14" fmla="*/ 1317307 w 1590675"/>
                <a:gd name="connsiteY14" fmla="*/ 345757 h 1447800"/>
                <a:gd name="connsiteX15" fmla="*/ 1321118 w 1590675"/>
                <a:gd name="connsiteY15" fmla="*/ 350520 h 1447800"/>
                <a:gd name="connsiteX16" fmla="*/ 1323975 w 1590675"/>
                <a:gd name="connsiteY16" fmla="*/ 353378 h 1447800"/>
                <a:gd name="connsiteX17" fmla="*/ 1337310 w 1590675"/>
                <a:gd name="connsiteY17" fmla="*/ 356235 h 1447800"/>
                <a:gd name="connsiteX18" fmla="*/ 1341120 w 1590675"/>
                <a:gd name="connsiteY18" fmla="*/ 358140 h 1447800"/>
                <a:gd name="connsiteX19" fmla="*/ 1342073 w 1590675"/>
                <a:gd name="connsiteY19" fmla="*/ 360045 h 1447800"/>
                <a:gd name="connsiteX20" fmla="*/ 1342073 w 1590675"/>
                <a:gd name="connsiteY20" fmla="*/ 361950 h 1447800"/>
                <a:gd name="connsiteX21" fmla="*/ 1340168 w 1590675"/>
                <a:gd name="connsiteY21" fmla="*/ 363855 h 1447800"/>
                <a:gd name="connsiteX22" fmla="*/ 1335405 w 1590675"/>
                <a:gd name="connsiteY22" fmla="*/ 365760 h 1447800"/>
                <a:gd name="connsiteX23" fmla="*/ 1330643 w 1590675"/>
                <a:gd name="connsiteY23" fmla="*/ 367665 h 1447800"/>
                <a:gd name="connsiteX24" fmla="*/ 1327785 w 1590675"/>
                <a:gd name="connsiteY24" fmla="*/ 368618 h 1447800"/>
                <a:gd name="connsiteX25" fmla="*/ 1326832 w 1590675"/>
                <a:gd name="connsiteY25" fmla="*/ 371475 h 1447800"/>
                <a:gd name="connsiteX26" fmla="*/ 1326832 w 1590675"/>
                <a:gd name="connsiteY26" fmla="*/ 378143 h 1447800"/>
                <a:gd name="connsiteX27" fmla="*/ 1328738 w 1590675"/>
                <a:gd name="connsiteY27" fmla="*/ 381953 h 1447800"/>
                <a:gd name="connsiteX28" fmla="*/ 1330643 w 1590675"/>
                <a:gd name="connsiteY28" fmla="*/ 384810 h 1447800"/>
                <a:gd name="connsiteX29" fmla="*/ 1332548 w 1590675"/>
                <a:gd name="connsiteY29" fmla="*/ 386715 h 1447800"/>
                <a:gd name="connsiteX30" fmla="*/ 1342073 w 1590675"/>
                <a:gd name="connsiteY30" fmla="*/ 388620 h 1447800"/>
                <a:gd name="connsiteX31" fmla="*/ 1343978 w 1590675"/>
                <a:gd name="connsiteY31" fmla="*/ 390525 h 1447800"/>
                <a:gd name="connsiteX32" fmla="*/ 1343978 w 1590675"/>
                <a:gd name="connsiteY32" fmla="*/ 393382 h 1447800"/>
                <a:gd name="connsiteX33" fmla="*/ 1342073 w 1590675"/>
                <a:gd name="connsiteY33" fmla="*/ 402907 h 1447800"/>
                <a:gd name="connsiteX34" fmla="*/ 1341120 w 1590675"/>
                <a:gd name="connsiteY34" fmla="*/ 407670 h 1447800"/>
                <a:gd name="connsiteX35" fmla="*/ 1342073 w 1590675"/>
                <a:gd name="connsiteY35" fmla="*/ 412432 h 1447800"/>
                <a:gd name="connsiteX36" fmla="*/ 1343978 w 1590675"/>
                <a:gd name="connsiteY36" fmla="*/ 415290 h 1447800"/>
                <a:gd name="connsiteX37" fmla="*/ 1345882 w 1590675"/>
                <a:gd name="connsiteY37" fmla="*/ 416243 h 1447800"/>
                <a:gd name="connsiteX38" fmla="*/ 1351598 w 1590675"/>
                <a:gd name="connsiteY38" fmla="*/ 415290 h 1447800"/>
                <a:gd name="connsiteX39" fmla="*/ 1367790 w 1590675"/>
                <a:gd name="connsiteY39" fmla="*/ 408622 h 1447800"/>
                <a:gd name="connsiteX40" fmla="*/ 1373505 w 1590675"/>
                <a:gd name="connsiteY40" fmla="*/ 412432 h 1447800"/>
                <a:gd name="connsiteX41" fmla="*/ 1382078 w 1590675"/>
                <a:gd name="connsiteY41" fmla="*/ 420053 h 1447800"/>
                <a:gd name="connsiteX42" fmla="*/ 1403032 w 1590675"/>
                <a:gd name="connsiteY42" fmla="*/ 442913 h 1447800"/>
                <a:gd name="connsiteX43" fmla="*/ 1411605 w 1590675"/>
                <a:gd name="connsiteY43" fmla="*/ 451485 h 1447800"/>
                <a:gd name="connsiteX44" fmla="*/ 1418273 w 1590675"/>
                <a:gd name="connsiteY44" fmla="*/ 455295 h 1447800"/>
                <a:gd name="connsiteX45" fmla="*/ 1420178 w 1590675"/>
                <a:gd name="connsiteY45" fmla="*/ 453390 h 1447800"/>
                <a:gd name="connsiteX46" fmla="*/ 1423988 w 1590675"/>
                <a:gd name="connsiteY46" fmla="*/ 450532 h 1447800"/>
                <a:gd name="connsiteX47" fmla="*/ 1437323 w 1590675"/>
                <a:gd name="connsiteY47" fmla="*/ 439103 h 1447800"/>
                <a:gd name="connsiteX48" fmla="*/ 1441132 w 1590675"/>
                <a:gd name="connsiteY48" fmla="*/ 439103 h 1447800"/>
                <a:gd name="connsiteX49" fmla="*/ 1444943 w 1590675"/>
                <a:gd name="connsiteY49" fmla="*/ 440055 h 1447800"/>
                <a:gd name="connsiteX50" fmla="*/ 1467803 w 1590675"/>
                <a:gd name="connsiteY50" fmla="*/ 454343 h 1447800"/>
                <a:gd name="connsiteX51" fmla="*/ 1471613 w 1590675"/>
                <a:gd name="connsiteY51" fmla="*/ 458153 h 1447800"/>
                <a:gd name="connsiteX52" fmla="*/ 1485900 w 1590675"/>
                <a:gd name="connsiteY52" fmla="*/ 476250 h 1447800"/>
                <a:gd name="connsiteX53" fmla="*/ 1526857 w 1590675"/>
                <a:gd name="connsiteY53" fmla="*/ 512445 h 1447800"/>
                <a:gd name="connsiteX54" fmla="*/ 1528763 w 1590675"/>
                <a:gd name="connsiteY54" fmla="*/ 514350 h 1447800"/>
                <a:gd name="connsiteX55" fmla="*/ 1539240 w 1590675"/>
                <a:gd name="connsiteY55" fmla="*/ 530543 h 1447800"/>
                <a:gd name="connsiteX56" fmla="*/ 1542098 w 1590675"/>
                <a:gd name="connsiteY56" fmla="*/ 533400 h 1447800"/>
                <a:gd name="connsiteX57" fmla="*/ 1544955 w 1590675"/>
                <a:gd name="connsiteY57" fmla="*/ 533400 h 1447800"/>
                <a:gd name="connsiteX58" fmla="*/ 1548765 w 1590675"/>
                <a:gd name="connsiteY58" fmla="*/ 530543 h 1447800"/>
                <a:gd name="connsiteX59" fmla="*/ 1549718 w 1590675"/>
                <a:gd name="connsiteY59" fmla="*/ 525780 h 1447800"/>
                <a:gd name="connsiteX60" fmla="*/ 1551623 w 1590675"/>
                <a:gd name="connsiteY60" fmla="*/ 523875 h 1447800"/>
                <a:gd name="connsiteX61" fmla="*/ 1554480 w 1590675"/>
                <a:gd name="connsiteY61" fmla="*/ 522922 h 1447800"/>
                <a:gd name="connsiteX62" fmla="*/ 1576388 w 1590675"/>
                <a:gd name="connsiteY62" fmla="*/ 526732 h 1447800"/>
                <a:gd name="connsiteX63" fmla="*/ 1585913 w 1590675"/>
                <a:gd name="connsiteY63" fmla="*/ 526732 h 1447800"/>
                <a:gd name="connsiteX64" fmla="*/ 1589723 w 1590675"/>
                <a:gd name="connsiteY64" fmla="*/ 527685 h 1447800"/>
                <a:gd name="connsiteX65" fmla="*/ 1590675 w 1590675"/>
                <a:gd name="connsiteY65" fmla="*/ 529590 h 1447800"/>
                <a:gd name="connsiteX66" fmla="*/ 1590675 w 1590675"/>
                <a:gd name="connsiteY66" fmla="*/ 532447 h 1447800"/>
                <a:gd name="connsiteX67" fmla="*/ 1588770 w 1590675"/>
                <a:gd name="connsiteY67" fmla="*/ 535305 h 1447800"/>
                <a:gd name="connsiteX68" fmla="*/ 1581150 w 1590675"/>
                <a:gd name="connsiteY68" fmla="*/ 550545 h 1447800"/>
                <a:gd name="connsiteX69" fmla="*/ 1579245 w 1590675"/>
                <a:gd name="connsiteY69" fmla="*/ 556260 h 1447800"/>
                <a:gd name="connsiteX70" fmla="*/ 1579245 w 1590675"/>
                <a:gd name="connsiteY70" fmla="*/ 562928 h 1447800"/>
                <a:gd name="connsiteX71" fmla="*/ 1579245 w 1590675"/>
                <a:gd name="connsiteY71" fmla="*/ 565785 h 1447800"/>
                <a:gd name="connsiteX72" fmla="*/ 1573530 w 1590675"/>
                <a:gd name="connsiteY72" fmla="*/ 576263 h 1447800"/>
                <a:gd name="connsiteX73" fmla="*/ 1571625 w 1590675"/>
                <a:gd name="connsiteY73" fmla="*/ 582930 h 1447800"/>
                <a:gd name="connsiteX74" fmla="*/ 1570673 w 1590675"/>
                <a:gd name="connsiteY74" fmla="*/ 585788 h 1447800"/>
                <a:gd name="connsiteX75" fmla="*/ 1570673 w 1590675"/>
                <a:gd name="connsiteY75" fmla="*/ 591503 h 1447800"/>
                <a:gd name="connsiteX76" fmla="*/ 1570673 w 1590675"/>
                <a:gd name="connsiteY76" fmla="*/ 598170 h 1447800"/>
                <a:gd name="connsiteX77" fmla="*/ 1572578 w 1590675"/>
                <a:gd name="connsiteY77" fmla="*/ 604838 h 1447800"/>
                <a:gd name="connsiteX78" fmla="*/ 1571625 w 1590675"/>
                <a:gd name="connsiteY78" fmla="*/ 607695 h 1447800"/>
                <a:gd name="connsiteX79" fmla="*/ 1568768 w 1590675"/>
                <a:gd name="connsiteY79" fmla="*/ 611505 h 1447800"/>
                <a:gd name="connsiteX80" fmla="*/ 1564957 w 1590675"/>
                <a:gd name="connsiteY80" fmla="*/ 614363 h 1447800"/>
                <a:gd name="connsiteX81" fmla="*/ 1560195 w 1590675"/>
                <a:gd name="connsiteY81" fmla="*/ 615315 h 1447800"/>
                <a:gd name="connsiteX82" fmla="*/ 1559243 w 1590675"/>
                <a:gd name="connsiteY82" fmla="*/ 614363 h 1447800"/>
                <a:gd name="connsiteX83" fmla="*/ 1557338 w 1590675"/>
                <a:gd name="connsiteY83" fmla="*/ 609600 h 1447800"/>
                <a:gd name="connsiteX84" fmla="*/ 1553528 w 1590675"/>
                <a:gd name="connsiteY84" fmla="*/ 602932 h 1447800"/>
                <a:gd name="connsiteX85" fmla="*/ 1547813 w 1590675"/>
                <a:gd name="connsiteY85" fmla="*/ 597218 h 1447800"/>
                <a:gd name="connsiteX86" fmla="*/ 1545907 w 1590675"/>
                <a:gd name="connsiteY86" fmla="*/ 596265 h 1447800"/>
                <a:gd name="connsiteX87" fmla="*/ 1541145 w 1590675"/>
                <a:gd name="connsiteY87" fmla="*/ 594360 h 1447800"/>
                <a:gd name="connsiteX88" fmla="*/ 1536382 w 1590675"/>
                <a:gd name="connsiteY88" fmla="*/ 594360 h 1447800"/>
                <a:gd name="connsiteX89" fmla="*/ 1534478 w 1590675"/>
                <a:gd name="connsiteY89" fmla="*/ 595313 h 1447800"/>
                <a:gd name="connsiteX90" fmla="*/ 1530668 w 1590675"/>
                <a:gd name="connsiteY90" fmla="*/ 598170 h 1447800"/>
                <a:gd name="connsiteX91" fmla="*/ 1526857 w 1590675"/>
                <a:gd name="connsiteY91" fmla="*/ 601980 h 1447800"/>
                <a:gd name="connsiteX92" fmla="*/ 1524953 w 1590675"/>
                <a:gd name="connsiteY92" fmla="*/ 607695 h 1447800"/>
                <a:gd name="connsiteX93" fmla="*/ 1523048 w 1590675"/>
                <a:gd name="connsiteY93" fmla="*/ 614363 h 1447800"/>
                <a:gd name="connsiteX94" fmla="*/ 1520190 w 1590675"/>
                <a:gd name="connsiteY94" fmla="*/ 620078 h 1447800"/>
                <a:gd name="connsiteX95" fmla="*/ 1515428 w 1590675"/>
                <a:gd name="connsiteY95" fmla="*/ 627697 h 1447800"/>
                <a:gd name="connsiteX96" fmla="*/ 1513523 w 1590675"/>
                <a:gd name="connsiteY96" fmla="*/ 633413 h 1447800"/>
                <a:gd name="connsiteX97" fmla="*/ 1513523 w 1590675"/>
                <a:gd name="connsiteY97" fmla="*/ 636270 h 1447800"/>
                <a:gd name="connsiteX98" fmla="*/ 1513523 w 1590675"/>
                <a:gd name="connsiteY98" fmla="*/ 644843 h 1447800"/>
                <a:gd name="connsiteX99" fmla="*/ 1513523 w 1590675"/>
                <a:gd name="connsiteY99" fmla="*/ 647700 h 1447800"/>
                <a:gd name="connsiteX100" fmla="*/ 1512570 w 1590675"/>
                <a:gd name="connsiteY100" fmla="*/ 650557 h 1447800"/>
                <a:gd name="connsiteX101" fmla="*/ 1510665 w 1590675"/>
                <a:gd name="connsiteY101" fmla="*/ 652463 h 1447800"/>
                <a:gd name="connsiteX102" fmla="*/ 1508760 w 1590675"/>
                <a:gd name="connsiteY102" fmla="*/ 654368 h 1447800"/>
                <a:gd name="connsiteX103" fmla="*/ 1489710 w 1590675"/>
                <a:gd name="connsiteY103" fmla="*/ 661035 h 1447800"/>
                <a:gd name="connsiteX104" fmla="*/ 1478280 w 1590675"/>
                <a:gd name="connsiteY104" fmla="*/ 661035 h 1447800"/>
                <a:gd name="connsiteX105" fmla="*/ 1468755 w 1590675"/>
                <a:gd name="connsiteY105" fmla="*/ 660082 h 1447800"/>
                <a:gd name="connsiteX106" fmla="*/ 1462088 w 1590675"/>
                <a:gd name="connsiteY106" fmla="*/ 658178 h 1447800"/>
                <a:gd name="connsiteX107" fmla="*/ 1456373 w 1590675"/>
                <a:gd name="connsiteY107" fmla="*/ 652463 h 1447800"/>
                <a:gd name="connsiteX108" fmla="*/ 1454468 w 1590675"/>
                <a:gd name="connsiteY108" fmla="*/ 652463 h 1447800"/>
                <a:gd name="connsiteX109" fmla="*/ 1448753 w 1590675"/>
                <a:gd name="connsiteY109" fmla="*/ 651510 h 1447800"/>
                <a:gd name="connsiteX110" fmla="*/ 1445895 w 1590675"/>
                <a:gd name="connsiteY110" fmla="*/ 651510 h 1447800"/>
                <a:gd name="connsiteX111" fmla="*/ 1441132 w 1590675"/>
                <a:gd name="connsiteY111" fmla="*/ 646747 h 1447800"/>
                <a:gd name="connsiteX112" fmla="*/ 1436370 w 1590675"/>
                <a:gd name="connsiteY112" fmla="*/ 647700 h 1447800"/>
                <a:gd name="connsiteX113" fmla="*/ 1431607 w 1590675"/>
                <a:gd name="connsiteY113" fmla="*/ 649605 h 1447800"/>
                <a:gd name="connsiteX114" fmla="*/ 1429703 w 1590675"/>
                <a:gd name="connsiteY114" fmla="*/ 652463 h 1447800"/>
                <a:gd name="connsiteX115" fmla="*/ 1428750 w 1590675"/>
                <a:gd name="connsiteY115" fmla="*/ 655320 h 1447800"/>
                <a:gd name="connsiteX116" fmla="*/ 1428750 w 1590675"/>
                <a:gd name="connsiteY116" fmla="*/ 663893 h 1447800"/>
                <a:gd name="connsiteX117" fmla="*/ 1431607 w 1590675"/>
                <a:gd name="connsiteY117" fmla="*/ 670560 h 1447800"/>
                <a:gd name="connsiteX118" fmla="*/ 1439228 w 1590675"/>
                <a:gd name="connsiteY118" fmla="*/ 686753 h 1447800"/>
                <a:gd name="connsiteX119" fmla="*/ 1440180 w 1590675"/>
                <a:gd name="connsiteY119" fmla="*/ 691515 h 1447800"/>
                <a:gd name="connsiteX120" fmla="*/ 1441132 w 1590675"/>
                <a:gd name="connsiteY120" fmla="*/ 696278 h 1447800"/>
                <a:gd name="connsiteX121" fmla="*/ 1443038 w 1590675"/>
                <a:gd name="connsiteY121" fmla="*/ 716280 h 1447800"/>
                <a:gd name="connsiteX122" fmla="*/ 1442085 w 1590675"/>
                <a:gd name="connsiteY122" fmla="*/ 721995 h 1447800"/>
                <a:gd name="connsiteX123" fmla="*/ 1438275 w 1590675"/>
                <a:gd name="connsiteY123" fmla="*/ 724853 h 1447800"/>
                <a:gd name="connsiteX124" fmla="*/ 1433513 w 1590675"/>
                <a:gd name="connsiteY124" fmla="*/ 726757 h 1447800"/>
                <a:gd name="connsiteX125" fmla="*/ 1405890 w 1590675"/>
                <a:gd name="connsiteY125" fmla="*/ 728663 h 1447800"/>
                <a:gd name="connsiteX126" fmla="*/ 1403032 w 1590675"/>
                <a:gd name="connsiteY126" fmla="*/ 729615 h 1447800"/>
                <a:gd name="connsiteX127" fmla="*/ 1400175 w 1590675"/>
                <a:gd name="connsiteY127" fmla="*/ 730568 h 1447800"/>
                <a:gd name="connsiteX128" fmla="*/ 1398270 w 1590675"/>
                <a:gd name="connsiteY128" fmla="*/ 733425 h 1447800"/>
                <a:gd name="connsiteX129" fmla="*/ 1400175 w 1590675"/>
                <a:gd name="connsiteY129" fmla="*/ 738188 h 1447800"/>
                <a:gd name="connsiteX130" fmla="*/ 1403032 w 1590675"/>
                <a:gd name="connsiteY130" fmla="*/ 741997 h 1447800"/>
                <a:gd name="connsiteX131" fmla="*/ 1415415 w 1590675"/>
                <a:gd name="connsiteY131" fmla="*/ 755332 h 1447800"/>
                <a:gd name="connsiteX132" fmla="*/ 1420178 w 1590675"/>
                <a:gd name="connsiteY132" fmla="*/ 758190 h 1447800"/>
                <a:gd name="connsiteX133" fmla="*/ 1443038 w 1590675"/>
                <a:gd name="connsiteY133" fmla="*/ 767715 h 1447800"/>
                <a:gd name="connsiteX134" fmla="*/ 1452563 w 1590675"/>
                <a:gd name="connsiteY134" fmla="*/ 773430 h 1447800"/>
                <a:gd name="connsiteX135" fmla="*/ 1454468 w 1590675"/>
                <a:gd name="connsiteY135" fmla="*/ 775335 h 1447800"/>
                <a:gd name="connsiteX136" fmla="*/ 1457325 w 1590675"/>
                <a:gd name="connsiteY136" fmla="*/ 779145 h 1447800"/>
                <a:gd name="connsiteX137" fmla="*/ 1464945 w 1590675"/>
                <a:gd name="connsiteY137" fmla="*/ 792480 h 1447800"/>
                <a:gd name="connsiteX138" fmla="*/ 1469707 w 1590675"/>
                <a:gd name="connsiteY138" fmla="*/ 801053 h 1447800"/>
                <a:gd name="connsiteX139" fmla="*/ 1475423 w 1590675"/>
                <a:gd name="connsiteY139" fmla="*/ 824865 h 1447800"/>
                <a:gd name="connsiteX140" fmla="*/ 1477328 w 1590675"/>
                <a:gd name="connsiteY140" fmla="*/ 829628 h 1447800"/>
                <a:gd name="connsiteX141" fmla="*/ 1480185 w 1590675"/>
                <a:gd name="connsiteY141" fmla="*/ 832485 h 1447800"/>
                <a:gd name="connsiteX142" fmla="*/ 1498282 w 1590675"/>
                <a:gd name="connsiteY142" fmla="*/ 847725 h 1447800"/>
                <a:gd name="connsiteX143" fmla="*/ 1500188 w 1590675"/>
                <a:gd name="connsiteY143" fmla="*/ 848678 h 1447800"/>
                <a:gd name="connsiteX144" fmla="*/ 1502093 w 1590675"/>
                <a:gd name="connsiteY144" fmla="*/ 848678 h 1447800"/>
                <a:gd name="connsiteX145" fmla="*/ 1505903 w 1590675"/>
                <a:gd name="connsiteY145" fmla="*/ 842010 h 1447800"/>
                <a:gd name="connsiteX146" fmla="*/ 1509713 w 1590675"/>
                <a:gd name="connsiteY146" fmla="*/ 839153 h 1447800"/>
                <a:gd name="connsiteX147" fmla="*/ 1513523 w 1590675"/>
                <a:gd name="connsiteY147" fmla="*/ 840105 h 1447800"/>
                <a:gd name="connsiteX148" fmla="*/ 1522095 w 1590675"/>
                <a:gd name="connsiteY148" fmla="*/ 849630 h 1447800"/>
                <a:gd name="connsiteX149" fmla="*/ 1530668 w 1590675"/>
                <a:gd name="connsiteY149" fmla="*/ 855345 h 1447800"/>
                <a:gd name="connsiteX150" fmla="*/ 1532573 w 1590675"/>
                <a:gd name="connsiteY150" fmla="*/ 857250 h 1447800"/>
                <a:gd name="connsiteX151" fmla="*/ 1536382 w 1590675"/>
                <a:gd name="connsiteY151" fmla="*/ 862013 h 1447800"/>
                <a:gd name="connsiteX152" fmla="*/ 1538288 w 1590675"/>
                <a:gd name="connsiteY152" fmla="*/ 864870 h 1447800"/>
                <a:gd name="connsiteX153" fmla="*/ 1537335 w 1590675"/>
                <a:gd name="connsiteY153" fmla="*/ 867728 h 1447800"/>
                <a:gd name="connsiteX154" fmla="*/ 1535430 w 1590675"/>
                <a:gd name="connsiteY154" fmla="*/ 869632 h 1447800"/>
                <a:gd name="connsiteX155" fmla="*/ 1529715 w 1590675"/>
                <a:gd name="connsiteY155" fmla="*/ 875347 h 1447800"/>
                <a:gd name="connsiteX156" fmla="*/ 1525905 w 1590675"/>
                <a:gd name="connsiteY156" fmla="*/ 879157 h 1447800"/>
                <a:gd name="connsiteX157" fmla="*/ 1524000 w 1590675"/>
                <a:gd name="connsiteY157" fmla="*/ 883920 h 1447800"/>
                <a:gd name="connsiteX158" fmla="*/ 1534478 w 1590675"/>
                <a:gd name="connsiteY158" fmla="*/ 902018 h 1447800"/>
                <a:gd name="connsiteX159" fmla="*/ 1535430 w 1590675"/>
                <a:gd name="connsiteY159" fmla="*/ 906780 h 1447800"/>
                <a:gd name="connsiteX160" fmla="*/ 1534478 w 1590675"/>
                <a:gd name="connsiteY160" fmla="*/ 910590 h 1447800"/>
                <a:gd name="connsiteX161" fmla="*/ 1526857 w 1590675"/>
                <a:gd name="connsiteY161" fmla="*/ 916305 h 1447800"/>
                <a:gd name="connsiteX162" fmla="*/ 1522095 w 1590675"/>
                <a:gd name="connsiteY162" fmla="*/ 918210 h 1447800"/>
                <a:gd name="connsiteX163" fmla="*/ 1520190 w 1590675"/>
                <a:gd name="connsiteY163" fmla="*/ 918210 h 1447800"/>
                <a:gd name="connsiteX164" fmla="*/ 1517332 w 1590675"/>
                <a:gd name="connsiteY164" fmla="*/ 917257 h 1447800"/>
                <a:gd name="connsiteX165" fmla="*/ 1509713 w 1590675"/>
                <a:gd name="connsiteY165" fmla="*/ 913447 h 1447800"/>
                <a:gd name="connsiteX166" fmla="*/ 1506855 w 1590675"/>
                <a:gd name="connsiteY166" fmla="*/ 913447 h 1447800"/>
                <a:gd name="connsiteX167" fmla="*/ 1501140 w 1590675"/>
                <a:gd name="connsiteY167" fmla="*/ 917257 h 1447800"/>
                <a:gd name="connsiteX168" fmla="*/ 1499235 w 1590675"/>
                <a:gd name="connsiteY168" fmla="*/ 919163 h 1447800"/>
                <a:gd name="connsiteX169" fmla="*/ 1483995 w 1590675"/>
                <a:gd name="connsiteY169" fmla="*/ 933450 h 1447800"/>
                <a:gd name="connsiteX170" fmla="*/ 1482090 w 1590675"/>
                <a:gd name="connsiteY170" fmla="*/ 935355 h 1447800"/>
                <a:gd name="connsiteX171" fmla="*/ 1479232 w 1590675"/>
                <a:gd name="connsiteY171" fmla="*/ 940118 h 1447800"/>
                <a:gd name="connsiteX172" fmla="*/ 1478280 w 1590675"/>
                <a:gd name="connsiteY172" fmla="*/ 943928 h 1447800"/>
                <a:gd name="connsiteX173" fmla="*/ 1479232 w 1590675"/>
                <a:gd name="connsiteY173" fmla="*/ 949643 h 1447800"/>
                <a:gd name="connsiteX174" fmla="*/ 1494473 w 1590675"/>
                <a:gd name="connsiteY174" fmla="*/ 979170 h 1447800"/>
                <a:gd name="connsiteX175" fmla="*/ 1489710 w 1590675"/>
                <a:gd name="connsiteY175" fmla="*/ 980122 h 1447800"/>
                <a:gd name="connsiteX176" fmla="*/ 1483995 w 1590675"/>
                <a:gd name="connsiteY176" fmla="*/ 982980 h 1447800"/>
                <a:gd name="connsiteX177" fmla="*/ 1465898 w 1590675"/>
                <a:gd name="connsiteY177" fmla="*/ 997268 h 1447800"/>
                <a:gd name="connsiteX178" fmla="*/ 1460182 w 1590675"/>
                <a:gd name="connsiteY178" fmla="*/ 1001078 h 1447800"/>
                <a:gd name="connsiteX179" fmla="*/ 1442085 w 1590675"/>
                <a:gd name="connsiteY179" fmla="*/ 1007745 h 1447800"/>
                <a:gd name="connsiteX180" fmla="*/ 1414463 w 1590675"/>
                <a:gd name="connsiteY180" fmla="*/ 1035368 h 1447800"/>
                <a:gd name="connsiteX181" fmla="*/ 1397318 w 1590675"/>
                <a:gd name="connsiteY181" fmla="*/ 1037272 h 1447800"/>
                <a:gd name="connsiteX182" fmla="*/ 1402080 w 1590675"/>
                <a:gd name="connsiteY182" fmla="*/ 1056323 h 1447800"/>
                <a:gd name="connsiteX183" fmla="*/ 1394460 w 1590675"/>
                <a:gd name="connsiteY183" fmla="*/ 1073468 h 1447800"/>
                <a:gd name="connsiteX184" fmla="*/ 1383982 w 1590675"/>
                <a:gd name="connsiteY184" fmla="*/ 1090613 h 1447800"/>
                <a:gd name="connsiteX185" fmla="*/ 1379220 w 1590675"/>
                <a:gd name="connsiteY185" fmla="*/ 1109663 h 1447800"/>
                <a:gd name="connsiteX186" fmla="*/ 1375410 w 1590675"/>
                <a:gd name="connsiteY186" fmla="*/ 1129665 h 1447800"/>
                <a:gd name="connsiteX187" fmla="*/ 1365885 w 1590675"/>
                <a:gd name="connsiteY187" fmla="*/ 1150620 h 1447800"/>
                <a:gd name="connsiteX188" fmla="*/ 1352550 w 1590675"/>
                <a:gd name="connsiteY188" fmla="*/ 1163003 h 1447800"/>
                <a:gd name="connsiteX189" fmla="*/ 1339215 w 1590675"/>
                <a:gd name="connsiteY189" fmla="*/ 1159193 h 1447800"/>
                <a:gd name="connsiteX190" fmla="*/ 1339215 w 1590675"/>
                <a:gd name="connsiteY190" fmla="*/ 1153478 h 1447800"/>
                <a:gd name="connsiteX191" fmla="*/ 1343025 w 1590675"/>
                <a:gd name="connsiteY191" fmla="*/ 1153478 h 1447800"/>
                <a:gd name="connsiteX192" fmla="*/ 1353503 w 1590675"/>
                <a:gd name="connsiteY192" fmla="*/ 1158240 h 1447800"/>
                <a:gd name="connsiteX193" fmla="*/ 1363980 w 1590675"/>
                <a:gd name="connsiteY193" fmla="*/ 1137285 h 1447800"/>
                <a:gd name="connsiteX194" fmla="*/ 1369695 w 1590675"/>
                <a:gd name="connsiteY194" fmla="*/ 1109663 h 1447800"/>
                <a:gd name="connsiteX195" fmla="*/ 1369695 w 1590675"/>
                <a:gd name="connsiteY195" fmla="*/ 1096328 h 1447800"/>
                <a:gd name="connsiteX196" fmla="*/ 1365885 w 1590675"/>
                <a:gd name="connsiteY196" fmla="*/ 1092518 h 1447800"/>
                <a:gd name="connsiteX197" fmla="*/ 1346835 w 1590675"/>
                <a:gd name="connsiteY197" fmla="*/ 1069657 h 1447800"/>
                <a:gd name="connsiteX198" fmla="*/ 1338263 w 1590675"/>
                <a:gd name="connsiteY198" fmla="*/ 1064895 h 1447800"/>
                <a:gd name="connsiteX199" fmla="*/ 1321118 w 1590675"/>
                <a:gd name="connsiteY199" fmla="*/ 1059180 h 1447800"/>
                <a:gd name="connsiteX200" fmla="*/ 1314450 w 1590675"/>
                <a:gd name="connsiteY200" fmla="*/ 1053465 h 1447800"/>
                <a:gd name="connsiteX201" fmla="*/ 1304925 w 1590675"/>
                <a:gd name="connsiteY201" fmla="*/ 1059180 h 1447800"/>
                <a:gd name="connsiteX202" fmla="*/ 1295400 w 1590675"/>
                <a:gd name="connsiteY202" fmla="*/ 1058228 h 1447800"/>
                <a:gd name="connsiteX203" fmla="*/ 1281113 w 1590675"/>
                <a:gd name="connsiteY203" fmla="*/ 1053465 h 1447800"/>
                <a:gd name="connsiteX204" fmla="*/ 1272540 w 1590675"/>
                <a:gd name="connsiteY204" fmla="*/ 1056323 h 1447800"/>
                <a:gd name="connsiteX205" fmla="*/ 1266825 w 1590675"/>
                <a:gd name="connsiteY205" fmla="*/ 1062038 h 1447800"/>
                <a:gd name="connsiteX206" fmla="*/ 1262063 w 1590675"/>
                <a:gd name="connsiteY206" fmla="*/ 1067753 h 1447800"/>
                <a:gd name="connsiteX207" fmla="*/ 1258253 w 1590675"/>
                <a:gd name="connsiteY207" fmla="*/ 1069657 h 1447800"/>
                <a:gd name="connsiteX208" fmla="*/ 1223010 w 1590675"/>
                <a:gd name="connsiteY208" fmla="*/ 1069657 h 1447800"/>
                <a:gd name="connsiteX209" fmla="*/ 1201103 w 1590675"/>
                <a:gd name="connsiteY209" fmla="*/ 1082993 h 1447800"/>
                <a:gd name="connsiteX210" fmla="*/ 1175385 w 1590675"/>
                <a:gd name="connsiteY210" fmla="*/ 1088707 h 1447800"/>
                <a:gd name="connsiteX211" fmla="*/ 1158240 w 1590675"/>
                <a:gd name="connsiteY211" fmla="*/ 1096328 h 1447800"/>
                <a:gd name="connsiteX212" fmla="*/ 1143000 w 1590675"/>
                <a:gd name="connsiteY212" fmla="*/ 1108710 h 1447800"/>
                <a:gd name="connsiteX213" fmla="*/ 1106805 w 1590675"/>
                <a:gd name="connsiteY213" fmla="*/ 1146810 h 1447800"/>
                <a:gd name="connsiteX214" fmla="*/ 1097280 w 1590675"/>
                <a:gd name="connsiteY214" fmla="*/ 1163955 h 1447800"/>
                <a:gd name="connsiteX215" fmla="*/ 1093470 w 1590675"/>
                <a:gd name="connsiteY215" fmla="*/ 1185863 h 1447800"/>
                <a:gd name="connsiteX216" fmla="*/ 1089660 w 1590675"/>
                <a:gd name="connsiteY216" fmla="*/ 1185863 h 1447800"/>
                <a:gd name="connsiteX217" fmla="*/ 1089660 w 1590675"/>
                <a:gd name="connsiteY217" fmla="*/ 1175385 h 1447800"/>
                <a:gd name="connsiteX218" fmla="*/ 1087755 w 1590675"/>
                <a:gd name="connsiteY218" fmla="*/ 1172528 h 1447800"/>
                <a:gd name="connsiteX219" fmla="*/ 1082993 w 1590675"/>
                <a:gd name="connsiteY219" fmla="*/ 1175385 h 1447800"/>
                <a:gd name="connsiteX220" fmla="*/ 1077278 w 1590675"/>
                <a:gd name="connsiteY220" fmla="*/ 1177290 h 1447800"/>
                <a:gd name="connsiteX221" fmla="*/ 1076325 w 1590675"/>
                <a:gd name="connsiteY221" fmla="*/ 1183957 h 1447800"/>
                <a:gd name="connsiteX222" fmla="*/ 1073468 w 1590675"/>
                <a:gd name="connsiteY222" fmla="*/ 1176338 h 1447800"/>
                <a:gd name="connsiteX223" fmla="*/ 1075373 w 1590675"/>
                <a:gd name="connsiteY223" fmla="*/ 1173480 h 1447800"/>
                <a:gd name="connsiteX224" fmla="*/ 1076325 w 1590675"/>
                <a:gd name="connsiteY224" fmla="*/ 1168718 h 1447800"/>
                <a:gd name="connsiteX225" fmla="*/ 1075373 w 1590675"/>
                <a:gd name="connsiteY225" fmla="*/ 1164907 h 1447800"/>
                <a:gd name="connsiteX226" fmla="*/ 1068705 w 1590675"/>
                <a:gd name="connsiteY226" fmla="*/ 1159193 h 1447800"/>
                <a:gd name="connsiteX227" fmla="*/ 1063943 w 1590675"/>
                <a:gd name="connsiteY227" fmla="*/ 1150620 h 1447800"/>
                <a:gd name="connsiteX228" fmla="*/ 1061085 w 1590675"/>
                <a:gd name="connsiteY228" fmla="*/ 1146810 h 1447800"/>
                <a:gd name="connsiteX229" fmla="*/ 1057275 w 1590675"/>
                <a:gd name="connsiteY229" fmla="*/ 1143953 h 1447800"/>
                <a:gd name="connsiteX230" fmla="*/ 1046798 w 1590675"/>
                <a:gd name="connsiteY230" fmla="*/ 1139190 h 1447800"/>
                <a:gd name="connsiteX231" fmla="*/ 1037273 w 1590675"/>
                <a:gd name="connsiteY231" fmla="*/ 1139190 h 1447800"/>
                <a:gd name="connsiteX232" fmla="*/ 1018223 w 1590675"/>
                <a:gd name="connsiteY232" fmla="*/ 1143953 h 1447800"/>
                <a:gd name="connsiteX233" fmla="*/ 980123 w 1590675"/>
                <a:gd name="connsiteY233" fmla="*/ 1138238 h 1447800"/>
                <a:gd name="connsiteX234" fmla="*/ 907732 w 1590675"/>
                <a:gd name="connsiteY234" fmla="*/ 1151573 h 1447800"/>
                <a:gd name="connsiteX235" fmla="*/ 895350 w 1590675"/>
                <a:gd name="connsiteY235" fmla="*/ 1151573 h 1447800"/>
                <a:gd name="connsiteX236" fmla="*/ 825818 w 1590675"/>
                <a:gd name="connsiteY236" fmla="*/ 1190625 h 1447800"/>
                <a:gd name="connsiteX237" fmla="*/ 810578 w 1590675"/>
                <a:gd name="connsiteY237" fmla="*/ 1203960 h 1447800"/>
                <a:gd name="connsiteX238" fmla="*/ 768668 w 1590675"/>
                <a:gd name="connsiteY238" fmla="*/ 1253490 h 1447800"/>
                <a:gd name="connsiteX239" fmla="*/ 751523 w 1590675"/>
                <a:gd name="connsiteY239" fmla="*/ 1269682 h 1447800"/>
                <a:gd name="connsiteX240" fmla="*/ 688657 w 1590675"/>
                <a:gd name="connsiteY240" fmla="*/ 1301115 h 1447800"/>
                <a:gd name="connsiteX241" fmla="*/ 679132 w 1590675"/>
                <a:gd name="connsiteY241" fmla="*/ 1308735 h 1447800"/>
                <a:gd name="connsiteX242" fmla="*/ 670560 w 1590675"/>
                <a:gd name="connsiteY242" fmla="*/ 1318260 h 1447800"/>
                <a:gd name="connsiteX243" fmla="*/ 654368 w 1590675"/>
                <a:gd name="connsiteY243" fmla="*/ 1341120 h 1447800"/>
                <a:gd name="connsiteX244" fmla="*/ 646748 w 1590675"/>
                <a:gd name="connsiteY244" fmla="*/ 1348740 h 1447800"/>
                <a:gd name="connsiteX245" fmla="*/ 627698 w 1590675"/>
                <a:gd name="connsiteY245" fmla="*/ 1362075 h 1447800"/>
                <a:gd name="connsiteX246" fmla="*/ 620078 w 1590675"/>
                <a:gd name="connsiteY246" fmla="*/ 1369695 h 1447800"/>
                <a:gd name="connsiteX247" fmla="*/ 569595 w 1590675"/>
                <a:gd name="connsiteY247" fmla="*/ 1452563 h 1447800"/>
                <a:gd name="connsiteX248" fmla="*/ 566738 w 1590675"/>
                <a:gd name="connsiteY248" fmla="*/ 1456373 h 1447800"/>
                <a:gd name="connsiteX249" fmla="*/ 559118 w 1590675"/>
                <a:gd name="connsiteY249" fmla="*/ 1451610 h 1447800"/>
                <a:gd name="connsiteX250" fmla="*/ 573405 w 1590675"/>
                <a:gd name="connsiteY250" fmla="*/ 1426845 h 1447800"/>
                <a:gd name="connsiteX251" fmla="*/ 592455 w 1590675"/>
                <a:gd name="connsiteY251" fmla="*/ 1406843 h 1447800"/>
                <a:gd name="connsiteX252" fmla="*/ 600075 w 1590675"/>
                <a:gd name="connsiteY252" fmla="*/ 1394460 h 1447800"/>
                <a:gd name="connsiteX253" fmla="*/ 601980 w 1590675"/>
                <a:gd name="connsiteY253" fmla="*/ 1375410 h 1447800"/>
                <a:gd name="connsiteX254" fmla="*/ 593407 w 1590675"/>
                <a:gd name="connsiteY254" fmla="*/ 1384935 h 1447800"/>
                <a:gd name="connsiteX255" fmla="*/ 583882 w 1590675"/>
                <a:gd name="connsiteY255" fmla="*/ 1392555 h 1447800"/>
                <a:gd name="connsiteX256" fmla="*/ 573405 w 1590675"/>
                <a:gd name="connsiteY256" fmla="*/ 1393507 h 1447800"/>
                <a:gd name="connsiteX257" fmla="*/ 561023 w 1590675"/>
                <a:gd name="connsiteY257" fmla="*/ 1383030 h 1447800"/>
                <a:gd name="connsiteX258" fmla="*/ 556260 w 1590675"/>
                <a:gd name="connsiteY258" fmla="*/ 1365885 h 1447800"/>
                <a:gd name="connsiteX259" fmla="*/ 559118 w 1590675"/>
                <a:gd name="connsiteY259" fmla="*/ 1345882 h 1447800"/>
                <a:gd name="connsiteX260" fmla="*/ 569595 w 1590675"/>
                <a:gd name="connsiteY260" fmla="*/ 1316355 h 1447800"/>
                <a:gd name="connsiteX261" fmla="*/ 565785 w 1590675"/>
                <a:gd name="connsiteY261" fmla="*/ 1314450 h 1447800"/>
                <a:gd name="connsiteX262" fmla="*/ 557213 w 1590675"/>
                <a:gd name="connsiteY262" fmla="*/ 1313498 h 1447800"/>
                <a:gd name="connsiteX263" fmla="*/ 551498 w 1590675"/>
                <a:gd name="connsiteY263" fmla="*/ 1311593 h 1447800"/>
                <a:gd name="connsiteX264" fmla="*/ 547688 w 1590675"/>
                <a:gd name="connsiteY264" fmla="*/ 1309688 h 1447800"/>
                <a:gd name="connsiteX265" fmla="*/ 541020 w 1590675"/>
                <a:gd name="connsiteY265" fmla="*/ 1303020 h 1447800"/>
                <a:gd name="connsiteX266" fmla="*/ 532448 w 1590675"/>
                <a:gd name="connsiteY266" fmla="*/ 1297305 h 1447800"/>
                <a:gd name="connsiteX267" fmla="*/ 525780 w 1590675"/>
                <a:gd name="connsiteY267" fmla="*/ 1286828 h 1447800"/>
                <a:gd name="connsiteX268" fmla="*/ 521018 w 1590675"/>
                <a:gd name="connsiteY268" fmla="*/ 1273493 h 1447800"/>
                <a:gd name="connsiteX269" fmla="*/ 519113 w 1590675"/>
                <a:gd name="connsiteY269" fmla="*/ 1259205 h 1447800"/>
                <a:gd name="connsiteX270" fmla="*/ 507682 w 1590675"/>
                <a:gd name="connsiteY270" fmla="*/ 1273493 h 1447800"/>
                <a:gd name="connsiteX271" fmla="*/ 511493 w 1590675"/>
                <a:gd name="connsiteY271" fmla="*/ 1288732 h 1447800"/>
                <a:gd name="connsiteX272" fmla="*/ 521018 w 1590675"/>
                <a:gd name="connsiteY272" fmla="*/ 1303020 h 1447800"/>
                <a:gd name="connsiteX273" fmla="*/ 525780 w 1590675"/>
                <a:gd name="connsiteY273" fmla="*/ 1314450 h 1447800"/>
                <a:gd name="connsiteX274" fmla="*/ 527685 w 1590675"/>
                <a:gd name="connsiteY274" fmla="*/ 1323975 h 1447800"/>
                <a:gd name="connsiteX275" fmla="*/ 530543 w 1590675"/>
                <a:gd name="connsiteY275" fmla="*/ 1329690 h 1447800"/>
                <a:gd name="connsiteX276" fmla="*/ 532448 w 1590675"/>
                <a:gd name="connsiteY276" fmla="*/ 1336357 h 1447800"/>
                <a:gd name="connsiteX277" fmla="*/ 530543 w 1590675"/>
                <a:gd name="connsiteY277" fmla="*/ 1347788 h 1447800"/>
                <a:gd name="connsiteX278" fmla="*/ 525780 w 1590675"/>
                <a:gd name="connsiteY278" fmla="*/ 1356360 h 1447800"/>
                <a:gd name="connsiteX279" fmla="*/ 507682 w 1590675"/>
                <a:gd name="connsiteY279" fmla="*/ 1375410 h 1447800"/>
                <a:gd name="connsiteX280" fmla="*/ 477203 w 1590675"/>
                <a:gd name="connsiteY280" fmla="*/ 1423035 h 1447800"/>
                <a:gd name="connsiteX281" fmla="*/ 475298 w 1590675"/>
                <a:gd name="connsiteY281" fmla="*/ 1425893 h 1447800"/>
                <a:gd name="connsiteX282" fmla="*/ 456248 w 1590675"/>
                <a:gd name="connsiteY282" fmla="*/ 1422082 h 1447800"/>
                <a:gd name="connsiteX283" fmla="*/ 451485 w 1590675"/>
                <a:gd name="connsiteY283" fmla="*/ 1417320 h 1447800"/>
                <a:gd name="connsiteX284" fmla="*/ 450532 w 1590675"/>
                <a:gd name="connsiteY284" fmla="*/ 1403032 h 1447800"/>
                <a:gd name="connsiteX285" fmla="*/ 450532 w 1590675"/>
                <a:gd name="connsiteY285" fmla="*/ 1400175 h 1447800"/>
                <a:gd name="connsiteX286" fmla="*/ 447675 w 1590675"/>
                <a:gd name="connsiteY286" fmla="*/ 1384935 h 1447800"/>
                <a:gd name="connsiteX287" fmla="*/ 447675 w 1590675"/>
                <a:gd name="connsiteY287" fmla="*/ 1379220 h 1447800"/>
                <a:gd name="connsiteX288" fmla="*/ 448628 w 1590675"/>
                <a:gd name="connsiteY288" fmla="*/ 1373505 h 1447800"/>
                <a:gd name="connsiteX289" fmla="*/ 451485 w 1590675"/>
                <a:gd name="connsiteY289" fmla="*/ 1364932 h 1447800"/>
                <a:gd name="connsiteX290" fmla="*/ 451485 w 1590675"/>
                <a:gd name="connsiteY290" fmla="*/ 1361123 h 1447800"/>
                <a:gd name="connsiteX291" fmla="*/ 451485 w 1590675"/>
                <a:gd name="connsiteY291" fmla="*/ 1357313 h 1447800"/>
                <a:gd name="connsiteX292" fmla="*/ 438150 w 1590675"/>
                <a:gd name="connsiteY292" fmla="*/ 1302068 h 1447800"/>
                <a:gd name="connsiteX293" fmla="*/ 435293 w 1590675"/>
                <a:gd name="connsiteY293" fmla="*/ 1295400 h 1447800"/>
                <a:gd name="connsiteX294" fmla="*/ 431482 w 1590675"/>
                <a:gd name="connsiteY294" fmla="*/ 1292543 h 1447800"/>
                <a:gd name="connsiteX295" fmla="*/ 417195 w 1590675"/>
                <a:gd name="connsiteY295" fmla="*/ 1292543 h 1447800"/>
                <a:gd name="connsiteX296" fmla="*/ 411480 w 1590675"/>
                <a:gd name="connsiteY296" fmla="*/ 1289685 h 1447800"/>
                <a:gd name="connsiteX297" fmla="*/ 402907 w 1590675"/>
                <a:gd name="connsiteY297" fmla="*/ 1284923 h 1447800"/>
                <a:gd name="connsiteX298" fmla="*/ 399098 w 1590675"/>
                <a:gd name="connsiteY298" fmla="*/ 1283970 h 1447800"/>
                <a:gd name="connsiteX299" fmla="*/ 391478 w 1590675"/>
                <a:gd name="connsiteY299" fmla="*/ 1279207 h 1447800"/>
                <a:gd name="connsiteX300" fmla="*/ 380048 w 1590675"/>
                <a:gd name="connsiteY300" fmla="*/ 1268730 h 1447800"/>
                <a:gd name="connsiteX301" fmla="*/ 376238 w 1590675"/>
                <a:gd name="connsiteY301" fmla="*/ 1267778 h 1447800"/>
                <a:gd name="connsiteX302" fmla="*/ 351473 w 1590675"/>
                <a:gd name="connsiteY302" fmla="*/ 1270635 h 1447800"/>
                <a:gd name="connsiteX303" fmla="*/ 344805 w 1590675"/>
                <a:gd name="connsiteY303" fmla="*/ 1269682 h 1447800"/>
                <a:gd name="connsiteX304" fmla="*/ 342900 w 1590675"/>
                <a:gd name="connsiteY304" fmla="*/ 1268730 h 1447800"/>
                <a:gd name="connsiteX305" fmla="*/ 341948 w 1590675"/>
                <a:gd name="connsiteY305" fmla="*/ 1266825 h 1447800"/>
                <a:gd name="connsiteX306" fmla="*/ 341948 w 1590675"/>
                <a:gd name="connsiteY306" fmla="*/ 1256348 h 1447800"/>
                <a:gd name="connsiteX307" fmla="*/ 342900 w 1590675"/>
                <a:gd name="connsiteY307" fmla="*/ 1253490 h 1447800"/>
                <a:gd name="connsiteX308" fmla="*/ 346710 w 1590675"/>
                <a:gd name="connsiteY308" fmla="*/ 1250632 h 1447800"/>
                <a:gd name="connsiteX309" fmla="*/ 348615 w 1590675"/>
                <a:gd name="connsiteY309" fmla="*/ 1247775 h 1447800"/>
                <a:gd name="connsiteX310" fmla="*/ 349568 w 1590675"/>
                <a:gd name="connsiteY310" fmla="*/ 1244918 h 1447800"/>
                <a:gd name="connsiteX311" fmla="*/ 349568 w 1590675"/>
                <a:gd name="connsiteY311" fmla="*/ 1240155 h 1447800"/>
                <a:gd name="connsiteX312" fmla="*/ 347663 w 1590675"/>
                <a:gd name="connsiteY312" fmla="*/ 1238250 h 1447800"/>
                <a:gd name="connsiteX313" fmla="*/ 344805 w 1590675"/>
                <a:gd name="connsiteY313" fmla="*/ 1236345 h 1447800"/>
                <a:gd name="connsiteX314" fmla="*/ 320040 w 1590675"/>
                <a:gd name="connsiteY314" fmla="*/ 1234440 h 1447800"/>
                <a:gd name="connsiteX315" fmla="*/ 301943 w 1590675"/>
                <a:gd name="connsiteY315" fmla="*/ 1235393 h 1447800"/>
                <a:gd name="connsiteX316" fmla="*/ 297180 w 1590675"/>
                <a:gd name="connsiteY316" fmla="*/ 1234440 h 1447800"/>
                <a:gd name="connsiteX317" fmla="*/ 294323 w 1590675"/>
                <a:gd name="connsiteY317" fmla="*/ 1232535 h 1447800"/>
                <a:gd name="connsiteX318" fmla="*/ 292418 w 1590675"/>
                <a:gd name="connsiteY318" fmla="*/ 1230630 h 1447800"/>
                <a:gd name="connsiteX319" fmla="*/ 289560 w 1590675"/>
                <a:gd name="connsiteY319" fmla="*/ 1222057 h 1447800"/>
                <a:gd name="connsiteX320" fmla="*/ 277178 w 1590675"/>
                <a:gd name="connsiteY320" fmla="*/ 1202055 h 1447800"/>
                <a:gd name="connsiteX321" fmla="*/ 273368 w 1590675"/>
                <a:gd name="connsiteY321" fmla="*/ 1195388 h 1447800"/>
                <a:gd name="connsiteX322" fmla="*/ 273368 w 1590675"/>
                <a:gd name="connsiteY322" fmla="*/ 1189673 h 1447800"/>
                <a:gd name="connsiteX323" fmla="*/ 274320 w 1590675"/>
                <a:gd name="connsiteY323" fmla="*/ 1184910 h 1447800"/>
                <a:gd name="connsiteX324" fmla="*/ 277178 w 1590675"/>
                <a:gd name="connsiteY324" fmla="*/ 1180148 h 1447800"/>
                <a:gd name="connsiteX325" fmla="*/ 282893 w 1590675"/>
                <a:gd name="connsiteY325" fmla="*/ 1174432 h 1447800"/>
                <a:gd name="connsiteX326" fmla="*/ 283845 w 1590675"/>
                <a:gd name="connsiteY326" fmla="*/ 1171575 h 1447800"/>
                <a:gd name="connsiteX327" fmla="*/ 284798 w 1590675"/>
                <a:gd name="connsiteY327" fmla="*/ 1165860 h 1447800"/>
                <a:gd name="connsiteX328" fmla="*/ 283845 w 1590675"/>
                <a:gd name="connsiteY328" fmla="*/ 1158240 h 1447800"/>
                <a:gd name="connsiteX329" fmla="*/ 281940 w 1590675"/>
                <a:gd name="connsiteY329" fmla="*/ 1150620 h 1447800"/>
                <a:gd name="connsiteX330" fmla="*/ 279082 w 1590675"/>
                <a:gd name="connsiteY330" fmla="*/ 1143953 h 1447800"/>
                <a:gd name="connsiteX331" fmla="*/ 276225 w 1590675"/>
                <a:gd name="connsiteY331" fmla="*/ 1141095 h 1447800"/>
                <a:gd name="connsiteX332" fmla="*/ 272415 w 1590675"/>
                <a:gd name="connsiteY332" fmla="*/ 1139190 h 1447800"/>
                <a:gd name="connsiteX333" fmla="*/ 260985 w 1590675"/>
                <a:gd name="connsiteY333" fmla="*/ 1137285 h 1447800"/>
                <a:gd name="connsiteX334" fmla="*/ 257175 w 1590675"/>
                <a:gd name="connsiteY334" fmla="*/ 1136332 h 1447800"/>
                <a:gd name="connsiteX335" fmla="*/ 253365 w 1590675"/>
                <a:gd name="connsiteY335" fmla="*/ 1134428 h 1447800"/>
                <a:gd name="connsiteX336" fmla="*/ 243840 w 1590675"/>
                <a:gd name="connsiteY336" fmla="*/ 1126807 h 1447800"/>
                <a:gd name="connsiteX337" fmla="*/ 240982 w 1590675"/>
                <a:gd name="connsiteY337" fmla="*/ 1125855 h 1447800"/>
                <a:gd name="connsiteX338" fmla="*/ 236220 w 1590675"/>
                <a:gd name="connsiteY338" fmla="*/ 1127760 h 1447800"/>
                <a:gd name="connsiteX339" fmla="*/ 232410 w 1590675"/>
                <a:gd name="connsiteY339" fmla="*/ 1127760 h 1447800"/>
                <a:gd name="connsiteX340" fmla="*/ 227648 w 1590675"/>
                <a:gd name="connsiteY340" fmla="*/ 1125855 h 1447800"/>
                <a:gd name="connsiteX341" fmla="*/ 224790 w 1590675"/>
                <a:gd name="connsiteY341" fmla="*/ 1123950 h 1447800"/>
                <a:gd name="connsiteX342" fmla="*/ 223838 w 1590675"/>
                <a:gd name="connsiteY342" fmla="*/ 1121093 h 1447800"/>
                <a:gd name="connsiteX343" fmla="*/ 222885 w 1590675"/>
                <a:gd name="connsiteY343" fmla="*/ 1112520 h 1447800"/>
                <a:gd name="connsiteX344" fmla="*/ 223838 w 1590675"/>
                <a:gd name="connsiteY344" fmla="*/ 1106805 h 1447800"/>
                <a:gd name="connsiteX345" fmla="*/ 226695 w 1590675"/>
                <a:gd name="connsiteY345" fmla="*/ 1102995 h 1447800"/>
                <a:gd name="connsiteX346" fmla="*/ 228600 w 1590675"/>
                <a:gd name="connsiteY346" fmla="*/ 1101090 h 1447800"/>
                <a:gd name="connsiteX347" fmla="*/ 233363 w 1590675"/>
                <a:gd name="connsiteY347" fmla="*/ 1100138 h 1447800"/>
                <a:gd name="connsiteX348" fmla="*/ 247650 w 1590675"/>
                <a:gd name="connsiteY348" fmla="*/ 1099185 h 1447800"/>
                <a:gd name="connsiteX349" fmla="*/ 252413 w 1590675"/>
                <a:gd name="connsiteY349" fmla="*/ 1098232 h 1447800"/>
                <a:gd name="connsiteX350" fmla="*/ 254318 w 1590675"/>
                <a:gd name="connsiteY350" fmla="*/ 1096328 h 1447800"/>
                <a:gd name="connsiteX351" fmla="*/ 257175 w 1590675"/>
                <a:gd name="connsiteY351" fmla="*/ 1091565 h 1447800"/>
                <a:gd name="connsiteX352" fmla="*/ 260032 w 1590675"/>
                <a:gd name="connsiteY352" fmla="*/ 1086803 h 1447800"/>
                <a:gd name="connsiteX353" fmla="*/ 263843 w 1590675"/>
                <a:gd name="connsiteY353" fmla="*/ 1083945 h 1447800"/>
                <a:gd name="connsiteX354" fmla="*/ 268605 w 1590675"/>
                <a:gd name="connsiteY354" fmla="*/ 1082040 h 1447800"/>
                <a:gd name="connsiteX355" fmla="*/ 270510 w 1590675"/>
                <a:gd name="connsiteY355" fmla="*/ 1081088 h 1447800"/>
                <a:gd name="connsiteX356" fmla="*/ 274320 w 1590675"/>
                <a:gd name="connsiteY356" fmla="*/ 1076325 h 1447800"/>
                <a:gd name="connsiteX357" fmla="*/ 277178 w 1590675"/>
                <a:gd name="connsiteY357" fmla="*/ 1066800 h 1447800"/>
                <a:gd name="connsiteX358" fmla="*/ 279082 w 1590675"/>
                <a:gd name="connsiteY358" fmla="*/ 1062038 h 1447800"/>
                <a:gd name="connsiteX359" fmla="*/ 282893 w 1590675"/>
                <a:gd name="connsiteY359" fmla="*/ 1057275 h 1447800"/>
                <a:gd name="connsiteX360" fmla="*/ 284798 w 1590675"/>
                <a:gd name="connsiteY360" fmla="*/ 1052513 h 1447800"/>
                <a:gd name="connsiteX361" fmla="*/ 284798 w 1590675"/>
                <a:gd name="connsiteY361" fmla="*/ 1034415 h 1447800"/>
                <a:gd name="connsiteX362" fmla="*/ 286703 w 1590675"/>
                <a:gd name="connsiteY362" fmla="*/ 1028700 h 1447800"/>
                <a:gd name="connsiteX363" fmla="*/ 287655 w 1590675"/>
                <a:gd name="connsiteY363" fmla="*/ 1027747 h 1447800"/>
                <a:gd name="connsiteX364" fmla="*/ 290513 w 1590675"/>
                <a:gd name="connsiteY364" fmla="*/ 1025843 h 1447800"/>
                <a:gd name="connsiteX365" fmla="*/ 295275 w 1590675"/>
                <a:gd name="connsiteY365" fmla="*/ 1024890 h 1447800"/>
                <a:gd name="connsiteX366" fmla="*/ 309563 w 1590675"/>
                <a:gd name="connsiteY366" fmla="*/ 1019175 h 1447800"/>
                <a:gd name="connsiteX367" fmla="*/ 311468 w 1590675"/>
                <a:gd name="connsiteY367" fmla="*/ 1017270 h 1447800"/>
                <a:gd name="connsiteX368" fmla="*/ 312420 w 1590675"/>
                <a:gd name="connsiteY368" fmla="*/ 1013460 h 1447800"/>
                <a:gd name="connsiteX369" fmla="*/ 312420 w 1590675"/>
                <a:gd name="connsiteY369" fmla="*/ 1007745 h 1447800"/>
                <a:gd name="connsiteX370" fmla="*/ 309563 w 1590675"/>
                <a:gd name="connsiteY370" fmla="*/ 995363 h 1447800"/>
                <a:gd name="connsiteX371" fmla="*/ 307657 w 1590675"/>
                <a:gd name="connsiteY371" fmla="*/ 990600 h 1447800"/>
                <a:gd name="connsiteX372" fmla="*/ 305753 w 1590675"/>
                <a:gd name="connsiteY372" fmla="*/ 985838 h 1447800"/>
                <a:gd name="connsiteX373" fmla="*/ 301943 w 1590675"/>
                <a:gd name="connsiteY373" fmla="*/ 982980 h 1447800"/>
                <a:gd name="connsiteX374" fmla="*/ 299085 w 1590675"/>
                <a:gd name="connsiteY374" fmla="*/ 982028 h 1447800"/>
                <a:gd name="connsiteX375" fmla="*/ 293370 w 1590675"/>
                <a:gd name="connsiteY375" fmla="*/ 981075 h 1447800"/>
                <a:gd name="connsiteX376" fmla="*/ 289560 w 1590675"/>
                <a:gd name="connsiteY376" fmla="*/ 980122 h 1447800"/>
                <a:gd name="connsiteX377" fmla="*/ 285750 w 1590675"/>
                <a:gd name="connsiteY377" fmla="*/ 977265 h 1447800"/>
                <a:gd name="connsiteX378" fmla="*/ 282893 w 1590675"/>
                <a:gd name="connsiteY378" fmla="*/ 972503 h 1447800"/>
                <a:gd name="connsiteX379" fmla="*/ 277178 w 1590675"/>
                <a:gd name="connsiteY379" fmla="*/ 947738 h 1447800"/>
                <a:gd name="connsiteX380" fmla="*/ 275273 w 1590675"/>
                <a:gd name="connsiteY380" fmla="*/ 942975 h 1447800"/>
                <a:gd name="connsiteX381" fmla="*/ 273368 w 1590675"/>
                <a:gd name="connsiteY381" fmla="*/ 940118 h 1447800"/>
                <a:gd name="connsiteX382" fmla="*/ 270510 w 1590675"/>
                <a:gd name="connsiteY382" fmla="*/ 939165 h 1447800"/>
                <a:gd name="connsiteX383" fmla="*/ 245745 w 1590675"/>
                <a:gd name="connsiteY383" fmla="*/ 930593 h 1447800"/>
                <a:gd name="connsiteX384" fmla="*/ 240982 w 1590675"/>
                <a:gd name="connsiteY384" fmla="*/ 927735 h 1447800"/>
                <a:gd name="connsiteX385" fmla="*/ 234315 w 1590675"/>
                <a:gd name="connsiteY385" fmla="*/ 922972 h 1447800"/>
                <a:gd name="connsiteX386" fmla="*/ 229553 w 1590675"/>
                <a:gd name="connsiteY386" fmla="*/ 920115 h 1447800"/>
                <a:gd name="connsiteX387" fmla="*/ 216218 w 1590675"/>
                <a:gd name="connsiteY387" fmla="*/ 917257 h 1447800"/>
                <a:gd name="connsiteX388" fmla="*/ 213360 w 1590675"/>
                <a:gd name="connsiteY388" fmla="*/ 915353 h 1447800"/>
                <a:gd name="connsiteX389" fmla="*/ 211455 w 1590675"/>
                <a:gd name="connsiteY389" fmla="*/ 912495 h 1447800"/>
                <a:gd name="connsiteX390" fmla="*/ 210503 w 1590675"/>
                <a:gd name="connsiteY390" fmla="*/ 910590 h 1447800"/>
                <a:gd name="connsiteX391" fmla="*/ 209550 w 1590675"/>
                <a:gd name="connsiteY391" fmla="*/ 899160 h 1447800"/>
                <a:gd name="connsiteX392" fmla="*/ 207645 w 1590675"/>
                <a:gd name="connsiteY392" fmla="*/ 891540 h 1447800"/>
                <a:gd name="connsiteX393" fmla="*/ 205740 w 1590675"/>
                <a:gd name="connsiteY393" fmla="*/ 887730 h 1447800"/>
                <a:gd name="connsiteX394" fmla="*/ 204788 w 1590675"/>
                <a:gd name="connsiteY394" fmla="*/ 884872 h 1447800"/>
                <a:gd name="connsiteX395" fmla="*/ 201930 w 1590675"/>
                <a:gd name="connsiteY395" fmla="*/ 882968 h 1447800"/>
                <a:gd name="connsiteX396" fmla="*/ 195263 w 1590675"/>
                <a:gd name="connsiteY396" fmla="*/ 882015 h 1447800"/>
                <a:gd name="connsiteX397" fmla="*/ 190500 w 1590675"/>
                <a:gd name="connsiteY397" fmla="*/ 879157 h 1447800"/>
                <a:gd name="connsiteX398" fmla="*/ 188595 w 1590675"/>
                <a:gd name="connsiteY398" fmla="*/ 877253 h 1447800"/>
                <a:gd name="connsiteX399" fmla="*/ 187643 w 1590675"/>
                <a:gd name="connsiteY399" fmla="*/ 874395 h 1447800"/>
                <a:gd name="connsiteX400" fmla="*/ 186690 w 1590675"/>
                <a:gd name="connsiteY400" fmla="*/ 869632 h 1447800"/>
                <a:gd name="connsiteX401" fmla="*/ 185738 w 1590675"/>
                <a:gd name="connsiteY401" fmla="*/ 842963 h 1447800"/>
                <a:gd name="connsiteX402" fmla="*/ 177165 w 1590675"/>
                <a:gd name="connsiteY402" fmla="*/ 806768 h 1447800"/>
                <a:gd name="connsiteX403" fmla="*/ 175260 w 1590675"/>
                <a:gd name="connsiteY403" fmla="*/ 802957 h 1447800"/>
                <a:gd name="connsiteX404" fmla="*/ 172403 w 1590675"/>
                <a:gd name="connsiteY404" fmla="*/ 801053 h 1447800"/>
                <a:gd name="connsiteX405" fmla="*/ 165735 w 1590675"/>
                <a:gd name="connsiteY405" fmla="*/ 799147 h 1447800"/>
                <a:gd name="connsiteX406" fmla="*/ 160973 w 1590675"/>
                <a:gd name="connsiteY406" fmla="*/ 796290 h 1447800"/>
                <a:gd name="connsiteX407" fmla="*/ 159068 w 1590675"/>
                <a:gd name="connsiteY407" fmla="*/ 793432 h 1447800"/>
                <a:gd name="connsiteX408" fmla="*/ 158115 w 1590675"/>
                <a:gd name="connsiteY408" fmla="*/ 790575 h 1447800"/>
                <a:gd name="connsiteX409" fmla="*/ 158115 w 1590675"/>
                <a:gd name="connsiteY409" fmla="*/ 784860 h 1447800"/>
                <a:gd name="connsiteX410" fmla="*/ 155257 w 1590675"/>
                <a:gd name="connsiteY410" fmla="*/ 774382 h 1447800"/>
                <a:gd name="connsiteX411" fmla="*/ 155257 w 1590675"/>
                <a:gd name="connsiteY411" fmla="*/ 768668 h 1447800"/>
                <a:gd name="connsiteX412" fmla="*/ 154305 w 1590675"/>
                <a:gd name="connsiteY412" fmla="*/ 760095 h 1447800"/>
                <a:gd name="connsiteX413" fmla="*/ 156210 w 1590675"/>
                <a:gd name="connsiteY413" fmla="*/ 743903 h 1447800"/>
                <a:gd name="connsiteX414" fmla="*/ 156210 w 1590675"/>
                <a:gd name="connsiteY414" fmla="*/ 738188 h 1447800"/>
                <a:gd name="connsiteX415" fmla="*/ 151448 w 1590675"/>
                <a:gd name="connsiteY415" fmla="*/ 717232 h 1447800"/>
                <a:gd name="connsiteX416" fmla="*/ 151448 w 1590675"/>
                <a:gd name="connsiteY416" fmla="*/ 711518 h 1447800"/>
                <a:gd name="connsiteX417" fmla="*/ 152400 w 1590675"/>
                <a:gd name="connsiteY417" fmla="*/ 708660 h 1447800"/>
                <a:gd name="connsiteX418" fmla="*/ 153353 w 1590675"/>
                <a:gd name="connsiteY418" fmla="*/ 706755 h 1447800"/>
                <a:gd name="connsiteX419" fmla="*/ 156210 w 1590675"/>
                <a:gd name="connsiteY419" fmla="*/ 703897 h 1447800"/>
                <a:gd name="connsiteX420" fmla="*/ 157163 w 1590675"/>
                <a:gd name="connsiteY420" fmla="*/ 701993 h 1447800"/>
                <a:gd name="connsiteX421" fmla="*/ 158115 w 1590675"/>
                <a:gd name="connsiteY421" fmla="*/ 698182 h 1447800"/>
                <a:gd name="connsiteX422" fmla="*/ 158115 w 1590675"/>
                <a:gd name="connsiteY422" fmla="*/ 692468 h 1447800"/>
                <a:gd name="connsiteX423" fmla="*/ 157163 w 1590675"/>
                <a:gd name="connsiteY423" fmla="*/ 689610 h 1447800"/>
                <a:gd name="connsiteX424" fmla="*/ 156210 w 1590675"/>
                <a:gd name="connsiteY424" fmla="*/ 686753 h 1447800"/>
                <a:gd name="connsiteX425" fmla="*/ 148590 w 1590675"/>
                <a:gd name="connsiteY425" fmla="*/ 681038 h 1447800"/>
                <a:gd name="connsiteX426" fmla="*/ 144780 w 1590675"/>
                <a:gd name="connsiteY426" fmla="*/ 677228 h 1447800"/>
                <a:gd name="connsiteX427" fmla="*/ 143828 w 1590675"/>
                <a:gd name="connsiteY427" fmla="*/ 674370 h 1447800"/>
                <a:gd name="connsiteX428" fmla="*/ 142875 w 1590675"/>
                <a:gd name="connsiteY428" fmla="*/ 668655 h 1447800"/>
                <a:gd name="connsiteX429" fmla="*/ 143828 w 1590675"/>
                <a:gd name="connsiteY429" fmla="*/ 661988 h 1447800"/>
                <a:gd name="connsiteX430" fmla="*/ 144780 w 1590675"/>
                <a:gd name="connsiteY430" fmla="*/ 655320 h 1447800"/>
                <a:gd name="connsiteX431" fmla="*/ 148590 w 1590675"/>
                <a:gd name="connsiteY431" fmla="*/ 651510 h 1447800"/>
                <a:gd name="connsiteX432" fmla="*/ 156210 w 1590675"/>
                <a:gd name="connsiteY432" fmla="*/ 648653 h 1447800"/>
                <a:gd name="connsiteX433" fmla="*/ 159068 w 1590675"/>
                <a:gd name="connsiteY433" fmla="*/ 645795 h 1447800"/>
                <a:gd name="connsiteX434" fmla="*/ 160020 w 1590675"/>
                <a:gd name="connsiteY434" fmla="*/ 641985 h 1447800"/>
                <a:gd name="connsiteX435" fmla="*/ 158115 w 1590675"/>
                <a:gd name="connsiteY435" fmla="*/ 638175 h 1447800"/>
                <a:gd name="connsiteX436" fmla="*/ 154305 w 1590675"/>
                <a:gd name="connsiteY436" fmla="*/ 637222 h 1447800"/>
                <a:gd name="connsiteX437" fmla="*/ 118110 w 1590675"/>
                <a:gd name="connsiteY437" fmla="*/ 641032 h 1447800"/>
                <a:gd name="connsiteX438" fmla="*/ 113348 w 1590675"/>
                <a:gd name="connsiteY438" fmla="*/ 642938 h 1447800"/>
                <a:gd name="connsiteX439" fmla="*/ 111443 w 1590675"/>
                <a:gd name="connsiteY439" fmla="*/ 644843 h 1447800"/>
                <a:gd name="connsiteX440" fmla="*/ 110490 w 1590675"/>
                <a:gd name="connsiteY440" fmla="*/ 647700 h 1447800"/>
                <a:gd name="connsiteX441" fmla="*/ 109538 w 1590675"/>
                <a:gd name="connsiteY441" fmla="*/ 653415 h 1447800"/>
                <a:gd name="connsiteX442" fmla="*/ 108585 w 1590675"/>
                <a:gd name="connsiteY442" fmla="*/ 656272 h 1447800"/>
                <a:gd name="connsiteX443" fmla="*/ 103823 w 1590675"/>
                <a:gd name="connsiteY443" fmla="*/ 662940 h 1447800"/>
                <a:gd name="connsiteX444" fmla="*/ 100965 w 1590675"/>
                <a:gd name="connsiteY444" fmla="*/ 668655 h 1447800"/>
                <a:gd name="connsiteX445" fmla="*/ 100013 w 1590675"/>
                <a:gd name="connsiteY445" fmla="*/ 670560 h 1447800"/>
                <a:gd name="connsiteX446" fmla="*/ 95250 w 1590675"/>
                <a:gd name="connsiteY446" fmla="*/ 672465 h 1447800"/>
                <a:gd name="connsiteX447" fmla="*/ 89535 w 1590675"/>
                <a:gd name="connsiteY447" fmla="*/ 670560 h 1447800"/>
                <a:gd name="connsiteX448" fmla="*/ 81915 w 1590675"/>
                <a:gd name="connsiteY448" fmla="*/ 666750 h 1447800"/>
                <a:gd name="connsiteX449" fmla="*/ 79057 w 1590675"/>
                <a:gd name="connsiteY449" fmla="*/ 665797 h 1447800"/>
                <a:gd name="connsiteX450" fmla="*/ 71438 w 1590675"/>
                <a:gd name="connsiteY450" fmla="*/ 666750 h 1447800"/>
                <a:gd name="connsiteX451" fmla="*/ 69532 w 1590675"/>
                <a:gd name="connsiteY451" fmla="*/ 667703 h 1447800"/>
                <a:gd name="connsiteX452" fmla="*/ 63818 w 1590675"/>
                <a:gd name="connsiteY452" fmla="*/ 672465 h 1447800"/>
                <a:gd name="connsiteX453" fmla="*/ 59055 w 1590675"/>
                <a:gd name="connsiteY453" fmla="*/ 674370 h 1447800"/>
                <a:gd name="connsiteX454" fmla="*/ 56198 w 1590675"/>
                <a:gd name="connsiteY454" fmla="*/ 674370 h 1447800"/>
                <a:gd name="connsiteX455" fmla="*/ 53340 w 1590675"/>
                <a:gd name="connsiteY455" fmla="*/ 674370 h 1447800"/>
                <a:gd name="connsiteX456" fmla="*/ 49530 w 1590675"/>
                <a:gd name="connsiteY456" fmla="*/ 672465 h 1447800"/>
                <a:gd name="connsiteX457" fmla="*/ 48578 w 1590675"/>
                <a:gd name="connsiteY457" fmla="*/ 670560 h 1447800"/>
                <a:gd name="connsiteX458" fmla="*/ 47625 w 1590675"/>
                <a:gd name="connsiteY458" fmla="*/ 667703 h 1447800"/>
                <a:gd name="connsiteX459" fmla="*/ 46673 w 1590675"/>
                <a:gd name="connsiteY459" fmla="*/ 655320 h 1447800"/>
                <a:gd name="connsiteX460" fmla="*/ 45720 w 1590675"/>
                <a:gd name="connsiteY460" fmla="*/ 649605 h 1447800"/>
                <a:gd name="connsiteX461" fmla="*/ 40005 w 1590675"/>
                <a:gd name="connsiteY461" fmla="*/ 636270 h 1447800"/>
                <a:gd name="connsiteX462" fmla="*/ 13335 w 1590675"/>
                <a:gd name="connsiteY462" fmla="*/ 548640 h 1447800"/>
                <a:gd name="connsiteX463" fmla="*/ 0 w 1590675"/>
                <a:gd name="connsiteY463" fmla="*/ 511493 h 1447800"/>
                <a:gd name="connsiteX464" fmla="*/ 60960 w 1590675"/>
                <a:gd name="connsiteY464" fmla="*/ 491490 h 1447800"/>
                <a:gd name="connsiteX465" fmla="*/ 127635 w 1590675"/>
                <a:gd name="connsiteY465" fmla="*/ 477203 h 1447800"/>
                <a:gd name="connsiteX466" fmla="*/ 200025 w 1590675"/>
                <a:gd name="connsiteY466" fmla="*/ 442913 h 1447800"/>
                <a:gd name="connsiteX467" fmla="*/ 205740 w 1590675"/>
                <a:gd name="connsiteY467" fmla="*/ 441007 h 1447800"/>
                <a:gd name="connsiteX468" fmla="*/ 232410 w 1590675"/>
                <a:gd name="connsiteY468" fmla="*/ 445770 h 1447800"/>
                <a:gd name="connsiteX469" fmla="*/ 277178 w 1590675"/>
                <a:gd name="connsiteY469" fmla="*/ 464820 h 1447800"/>
                <a:gd name="connsiteX470" fmla="*/ 331470 w 1590675"/>
                <a:gd name="connsiteY470" fmla="*/ 475297 h 1447800"/>
                <a:gd name="connsiteX471" fmla="*/ 365760 w 1590675"/>
                <a:gd name="connsiteY471" fmla="*/ 477203 h 1447800"/>
                <a:gd name="connsiteX472" fmla="*/ 370523 w 1590675"/>
                <a:gd name="connsiteY472" fmla="*/ 476250 h 1447800"/>
                <a:gd name="connsiteX473" fmla="*/ 375285 w 1590675"/>
                <a:gd name="connsiteY473" fmla="*/ 470535 h 1447800"/>
                <a:gd name="connsiteX474" fmla="*/ 378143 w 1590675"/>
                <a:gd name="connsiteY474" fmla="*/ 464820 h 1447800"/>
                <a:gd name="connsiteX475" fmla="*/ 379095 w 1590675"/>
                <a:gd name="connsiteY475" fmla="*/ 461963 h 1447800"/>
                <a:gd name="connsiteX476" fmla="*/ 382905 w 1590675"/>
                <a:gd name="connsiteY476" fmla="*/ 445770 h 1447800"/>
                <a:gd name="connsiteX477" fmla="*/ 382905 w 1590675"/>
                <a:gd name="connsiteY477" fmla="*/ 440055 h 1447800"/>
                <a:gd name="connsiteX478" fmla="*/ 380048 w 1590675"/>
                <a:gd name="connsiteY478" fmla="*/ 435293 h 1447800"/>
                <a:gd name="connsiteX479" fmla="*/ 377190 w 1590675"/>
                <a:gd name="connsiteY479" fmla="*/ 431482 h 1447800"/>
                <a:gd name="connsiteX480" fmla="*/ 366713 w 1590675"/>
                <a:gd name="connsiteY480" fmla="*/ 422910 h 1447800"/>
                <a:gd name="connsiteX481" fmla="*/ 364807 w 1590675"/>
                <a:gd name="connsiteY481" fmla="*/ 421005 h 1447800"/>
                <a:gd name="connsiteX482" fmla="*/ 364807 w 1590675"/>
                <a:gd name="connsiteY482" fmla="*/ 419100 h 1447800"/>
                <a:gd name="connsiteX483" fmla="*/ 365760 w 1590675"/>
                <a:gd name="connsiteY483" fmla="*/ 413385 h 1447800"/>
                <a:gd name="connsiteX484" fmla="*/ 373380 w 1590675"/>
                <a:gd name="connsiteY484" fmla="*/ 393382 h 1447800"/>
                <a:gd name="connsiteX485" fmla="*/ 377190 w 1590675"/>
                <a:gd name="connsiteY485" fmla="*/ 380047 h 1447800"/>
                <a:gd name="connsiteX486" fmla="*/ 381000 w 1590675"/>
                <a:gd name="connsiteY486" fmla="*/ 357188 h 1447800"/>
                <a:gd name="connsiteX487" fmla="*/ 384810 w 1590675"/>
                <a:gd name="connsiteY487" fmla="*/ 344805 h 1447800"/>
                <a:gd name="connsiteX488" fmla="*/ 390525 w 1590675"/>
                <a:gd name="connsiteY488" fmla="*/ 307657 h 1447800"/>
                <a:gd name="connsiteX489" fmla="*/ 390525 w 1590675"/>
                <a:gd name="connsiteY489" fmla="*/ 301943 h 1447800"/>
                <a:gd name="connsiteX490" fmla="*/ 388620 w 1590675"/>
                <a:gd name="connsiteY490" fmla="*/ 300990 h 1447800"/>
                <a:gd name="connsiteX491" fmla="*/ 385763 w 1590675"/>
                <a:gd name="connsiteY491" fmla="*/ 299085 h 1447800"/>
                <a:gd name="connsiteX492" fmla="*/ 373380 w 1590675"/>
                <a:gd name="connsiteY492" fmla="*/ 297180 h 1447800"/>
                <a:gd name="connsiteX493" fmla="*/ 363855 w 1590675"/>
                <a:gd name="connsiteY493" fmla="*/ 295275 h 1447800"/>
                <a:gd name="connsiteX494" fmla="*/ 360998 w 1590675"/>
                <a:gd name="connsiteY494" fmla="*/ 293370 h 1447800"/>
                <a:gd name="connsiteX495" fmla="*/ 360045 w 1590675"/>
                <a:gd name="connsiteY495" fmla="*/ 291465 h 1447800"/>
                <a:gd name="connsiteX496" fmla="*/ 360045 w 1590675"/>
                <a:gd name="connsiteY496" fmla="*/ 288607 h 1447800"/>
                <a:gd name="connsiteX497" fmla="*/ 361950 w 1590675"/>
                <a:gd name="connsiteY497" fmla="*/ 278130 h 1447800"/>
                <a:gd name="connsiteX498" fmla="*/ 361950 w 1590675"/>
                <a:gd name="connsiteY498" fmla="*/ 275272 h 1447800"/>
                <a:gd name="connsiteX499" fmla="*/ 360045 w 1590675"/>
                <a:gd name="connsiteY499" fmla="*/ 267653 h 1447800"/>
                <a:gd name="connsiteX500" fmla="*/ 360045 w 1590675"/>
                <a:gd name="connsiteY500" fmla="*/ 264795 h 1447800"/>
                <a:gd name="connsiteX501" fmla="*/ 360045 w 1590675"/>
                <a:gd name="connsiteY501" fmla="*/ 260985 h 1447800"/>
                <a:gd name="connsiteX502" fmla="*/ 361950 w 1590675"/>
                <a:gd name="connsiteY502" fmla="*/ 256222 h 1447800"/>
                <a:gd name="connsiteX503" fmla="*/ 366713 w 1590675"/>
                <a:gd name="connsiteY503" fmla="*/ 247650 h 1447800"/>
                <a:gd name="connsiteX504" fmla="*/ 368618 w 1590675"/>
                <a:gd name="connsiteY504" fmla="*/ 243840 h 1447800"/>
                <a:gd name="connsiteX505" fmla="*/ 368618 w 1590675"/>
                <a:gd name="connsiteY505" fmla="*/ 239078 h 1447800"/>
                <a:gd name="connsiteX506" fmla="*/ 367665 w 1590675"/>
                <a:gd name="connsiteY506" fmla="*/ 236220 h 1447800"/>
                <a:gd name="connsiteX507" fmla="*/ 364807 w 1590675"/>
                <a:gd name="connsiteY507" fmla="*/ 232410 h 1447800"/>
                <a:gd name="connsiteX508" fmla="*/ 323850 w 1590675"/>
                <a:gd name="connsiteY508" fmla="*/ 207645 h 1447800"/>
                <a:gd name="connsiteX509" fmla="*/ 320040 w 1590675"/>
                <a:gd name="connsiteY509" fmla="*/ 203835 h 1447800"/>
                <a:gd name="connsiteX510" fmla="*/ 318135 w 1590675"/>
                <a:gd name="connsiteY510" fmla="*/ 199072 h 1447800"/>
                <a:gd name="connsiteX511" fmla="*/ 318135 w 1590675"/>
                <a:gd name="connsiteY511" fmla="*/ 193357 h 1447800"/>
                <a:gd name="connsiteX512" fmla="*/ 320040 w 1590675"/>
                <a:gd name="connsiteY512" fmla="*/ 185738 h 1447800"/>
                <a:gd name="connsiteX513" fmla="*/ 321945 w 1590675"/>
                <a:gd name="connsiteY513" fmla="*/ 180022 h 1447800"/>
                <a:gd name="connsiteX514" fmla="*/ 324803 w 1590675"/>
                <a:gd name="connsiteY514" fmla="*/ 176213 h 1447800"/>
                <a:gd name="connsiteX515" fmla="*/ 339090 w 1590675"/>
                <a:gd name="connsiteY515" fmla="*/ 163830 h 1447800"/>
                <a:gd name="connsiteX516" fmla="*/ 341948 w 1590675"/>
                <a:gd name="connsiteY516" fmla="*/ 161925 h 1447800"/>
                <a:gd name="connsiteX517" fmla="*/ 364807 w 1590675"/>
                <a:gd name="connsiteY517" fmla="*/ 157163 h 1447800"/>
                <a:gd name="connsiteX518" fmla="*/ 370523 w 1590675"/>
                <a:gd name="connsiteY518" fmla="*/ 154305 h 1447800"/>
                <a:gd name="connsiteX519" fmla="*/ 373380 w 1590675"/>
                <a:gd name="connsiteY519" fmla="*/ 151447 h 1447800"/>
                <a:gd name="connsiteX520" fmla="*/ 375285 w 1590675"/>
                <a:gd name="connsiteY520" fmla="*/ 147638 h 1447800"/>
                <a:gd name="connsiteX521" fmla="*/ 376238 w 1590675"/>
                <a:gd name="connsiteY521" fmla="*/ 140970 h 1447800"/>
                <a:gd name="connsiteX522" fmla="*/ 375285 w 1590675"/>
                <a:gd name="connsiteY522" fmla="*/ 138113 h 1447800"/>
                <a:gd name="connsiteX523" fmla="*/ 374332 w 1590675"/>
                <a:gd name="connsiteY523" fmla="*/ 133350 h 1447800"/>
                <a:gd name="connsiteX524" fmla="*/ 371475 w 1590675"/>
                <a:gd name="connsiteY524" fmla="*/ 128588 h 1447800"/>
                <a:gd name="connsiteX525" fmla="*/ 368618 w 1590675"/>
                <a:gd name="connsiteY525" fmla="*/ 127635 h 1447800"/>
                <a:gd name="connsiteX526" fmla="*/ 349568 w 1590675"/>
                <a:gd name="connsiteY526" fmla="*/ 122872 h 1447800"/>
                <a:gd name="connsiteX527" fmla="*/ 343853 w 1590675"/>
                <a:gd name="connsiteY527" fmla="*/ 120015 h 1447800"/>
                <a:gd name="connsiteX528" fmla="*/ 340995 w 1590675"/>
                <a:gd name="connsiteY528" fmla="*/ 116205 h 1447800"/>
                <a:gd name="connsiteX529" fmla="*/ 338138 w 1590675"/>
                <a:gd name="connsiteY529" fmla="*/ 111443 h 1447800"/>
                <a:gd name="connsiteX530" fmla="*/ 338138 w 1590675"/>
                <a:gd name="connsiteY530" fmla="*/ 108585 h 1447800"/>
                <a:gd name="connsiteX531" fmla="*/ 338138 w 1590675"/>
                <a:gd name="connsiteY531" fmla="*/ 101918 h 1447800"/>
                <a:gd name="connsiteX532" fmla="*/ 336232 w 1590675"/>
                <a:gd name="connsiteY532" fmla="*/ 97155 h 1447800"/>
                <a:gd name="connsiteX533" fmla="*/ 334328 w 1590675"/>
                <a:gd name="connsiteY533" fmla="*/ 96203 h 1447800"/>
                <a:gd name="connsiteX534" fmla="*/ 331470 w 1590675"/>
                <a:gd name="connsiteY534" fmla="*/ 95250 h 1447800"/>
                <a:gd name="connsiteX535" fmla="*/ 325755 w 1590675"/>
                <a:gd name="connsiteY535" fmla="*/ 95250 h 1447800"/>
                <a:gd name="connsiteX536" fmla="*/ 323850 w 1590675"/>
                <a:gd name="connsiteY536" fmla="*/ 94297 h 1447800"/>
                <a:gd name="connsiteX537" fmla="*/ 321945 w 1590675"/>
                <a:gd name="connsiteY537" fmla="*/ 93345 h 1447800"/>
                <a:gd name="connsiteX538" fmla="*/ 320993 w 1590675"/>
                <a:gd name="connsiteY538" fmla="*/ 90488 h 1447800"/>
                <a:gd name="connsiteX539" fmla="*/ 320993 w 1590675"/>
                <a:gd name="connsiteY539" fmla="*/ 86678 h 1447800"/>
                <a:gd name="connsiteX540" fmla="*/ 322898 w 1590675"/>
                <a:gd name="connsiteY540" fmla="*/ 81915 h 1447800"/>
                <a:gd name="connsiteX541" fmla="*/ 325755 w 1590675"/>
                <a:gd name="connsiteY541" fmla="*/ 80010 h 1447800"/>
                <a:gd name="connsiteX542" fmla="*/ 332423 w 1590675"/>
                <a:gd name="connsiteY542" fmla="*/ 75247 h 1447800"/>
                <a:gd name="connsiteX543" fmla="*/ 334328 w 1590675"/>
                <a:gd name="connsiteY543" fmla="*/ 72390 h 1447800"/>
                <a:gd name="connsiteX544" fmla="*/ 335280 w 1590675"/>
                <a:gd name="connsiteY544" fmla="*/ 70485 h 1447800"/>
                <a:gd name="connsiteX545" fmla="*/ 336232 w 1590675"/>
                <a:gd name="connsiteY545" fmla="*/ 51435 h 1447800"/>
                <a:gd name="connsiteX546" fmla="*/ 337185 w 1590675"/>
                <a:gd name="connsiteY546" fmla="*/ 46672 h 1447800"/>
                <a:gd name="connsiteX547" fmla="*/ 339090 w 1590675"/>
                <a:gd name="connsiteY547" fmla="*/ 41910 h 1447800"/>
                <a:gd name="connsiteX548" fmla="*/ 338138 w 1590675"/>
                <a:gd name="connsiteY548" fmla="*/ 39053 h 1447800"/>
                <a:gd name="connsiteX549" fmla="*/ 335280 w 1590675"/>
                <a:gd name="connsiteY549" fmla="*/ 32385 h 1447800"/>
                <a:gd name="connsiteX550" fmla="*/ 333375 w 1590675"/>
                <a:gd name="connsiteY550" fmla="*/ 24765 h 1447800"/>
                <a:gd name="connsiteX551" fmla="*/ 332423 w 1590675"/>
                <a:gd name="connsiteY551" fmla="*/ 20955 h 1447800"/>
                <a:gd name="connsiteX552" fmla="*/ 333375 w 1590675"/>
                <a:gd name="connsiteY552" fmla="*/ 17145 h 1447800"/>
                <a:gd name="connsiteX553" fmla="*/ 335280 w 1590675"/>
                <a:gd name="connsiteY553" fmla="*/ 9525 h 1447800"/>
                <a:gd name="connsiteX554" fmla="*/ 338138 w 1590675"/>
                <a:gd name="connsiteY554" fmla="*/ 7620 h 1447800"/>
                <a:gd name="connsiteX555" fmla="*/ 340995 w 1590675"/>
                <a:gd name="connsiteY555" fmla="*/ 5715 h 1447800"/>
                <a:gd name="connsiteX556" fmla="*/ 346710 w 1590675"/>
                <a:gd name="connsiteY556" fmla="*/ 5715 h 1447800"/>
                <a:gd name="connsiteX557" fmla="*/ 349568 w 1590675"/>
                <a:gd name="connsiteY557" fmla="*/ 6668 h 1447800"/>
                <a:gd name="connsiteX558" fmla="*/ 351473 w 1590675"/>
                <a:gd name="connsiteY558" fmla="*/ 8572 h 1447800"/>
                <a:gd name="connsiteX559" fmla="*/ 351473 w 1590675"/>
                <a:gd name="connsiteY559" fmla="*/ 10478 h 1447800"/>
                <a:gd name="connsiteX560" fmla="*/ 351473 w 1590675"/>
                <a:gd name="connsiteY560" fmla="*/ 20003 h 1447800"/>
                <a:gd name="connsiteX561" fmla="*/ 351473 w 1590675"/>
                <a:gd name="connsiteY561" fmla="*/ 25718 h 1447800"/>
                <a:gd name="connsiteX562" fmla="*/ 352425 w 1590675"/>
                <a:gd name="connsiteY562" fmla="*/ 31432 h 1447800"/>
                <a:gd name="connsiteX563" fmla="*/ 354330 w 1590675"/>
                <a:gd name="connsiteY563" fmla="*/ 36195 h 1447800"/>
                <a:gd name="connsiteX564" fmla="*/ 356235 w 1590675"/>
                <a:gd name="connsiteY564" fmla="*/ 38100 h 1447800"/>
                <a:gd name="connsiteX565" fmla="*/ 359093 w 1590675"/>
                <a:gd name="connsiteY565" fmla="*/ 39053 h 1447800"/>
                <a:gd name="connsiteX566" fmla="*/ 389573 w 1590675"/>
                <a:gd name="connsiteY566" fmla="*/ 39053 h 1447800"/>
                <a:gd name="connsiteX567" fmla="*/ 402907 w 1590675"/>
                <a:gd name="connsiteY567" fmla="*/ 30480 h 1447800"/>
                <a:gd name="connsiteX568" fmla="*/ 421005 w 1590675"/>
                <a:gd name="connsiteY568" fmla="*/ 15240 h 1447800"/>
                <a:gd name="connsiteX569" fmla="*/ 428625 w 1590675"/>
                <a:gd name="connsiteY569" fmla="*/ 10478 h 1447800"/>
                <a:gd name="connsiteX570" fmla="*/ 434340 w 1590675"/>
                <a:gd name="connsiteY570" fmla="*/ 8572 h 1447800"/>
                <a:gd name="connsiteX571" fmla="*/ 440055 w 1590675"/>
                <a:gd name="connsiteY571" fmla="*/ 9525 h 1447800"/>
                <a:gd name="connsiteX572" fmla="*/ 444818 w 1590675"/>
                <a:gd name="connsiteY572" fmla="*/ 9525 h 1447800"/>
                <a:gd name="connsiteX573" fmla="*/ 454343 w 1590675"/>
                <a:gd name="connsiteY573" fmla="*/ 8572 h 1447800"/>
                <a:gd name="connsiteX574" fmla="*/ 459105 w 1590675"/>
                <a:gd name="connsiteY574" fmla="*/ 5715 h 1447800"/>
                <a:gd name="connsiteX575" fmla="*/ 461963 w 1590675"/>
                <a:gd name="connsiteY575" fmla="*/ 3810 h 1447800"/>
                <a:gd name="connsiteX576" fmla="*/ 473393 w 1590675"/>
                <a:gd name="connsiteY576" fmla="*/ 953 h 1447800"/>
                <a:gd name="connsiteX577" fmla="*/ 481965 w 1590675"/>
                <a:gd name="connsiteY577" fmla="*/ 953 h 1447800"/>
                <a:gd name="connsiteX578" fmla="*/ 487680 w 1590675"/>
                <a:gd name="connsiteY578" fmla="*/ 1905 h 1447800"/>
                <a:gd name="connsiteX579" fmla="*/ 501968 w 1590675"/>
                <a:gd name="connsiteY579" fmla="*/ 8572 h 1447800"/>
                <a:gd name="connsiteX580" fmla="*/ 506730 w 1590675"/>
                <a:gd name="connsiteY580" fmla="*/ 8572 h 1447800"/>
                <a:gd name="connsiteX581" fmla="*/ 511493 w 1590675"/>
                <a:gd name="connsiteY581" fmla="*/ 7620 h 1447800"/>
                <a:gd name="connsiteX582" fmla="*/ 520065 w 1590675"/>
                <a:gd name="connsiteY582" fmla="*/ 4763 h 1447800"/>
                <a:gd name="connsiteX583" fmla="*/ 548640 w 1590675"/>
                <a:gd name="connsiteY583" fmla="*/ 0 h 1447800"/>
                <a:gd name="connsiteX584" fmla="*/ 553403 w 1590675"/>
                <a:gd name="connsiteY584" fmla="*/ 0 h 1447800"/>
                <a:gd name="connsiteX585" fmla="*/ 564832 w 1590675"/>
                <a:gd name="connsiteY585" fmla="*/ 3810 h 1447800"/>
                <a:gd name="connsiteX586" fmla="*/ 599123 w 1590675"/>
                <a:gd name="connsiteY586" fmla="*/ 20955 h 1447800"/>
                <a:gd name="connsiteX587" fmla="*/ 681990 w 1590675"/>
                <a:gd name="connsiteY587" fmla="*/ 35243 h 1447800"/>
                <a:gd name="connsiteX588" fmla="*/ 689610 w 1590675"/>
                <a:gd name="connsiteY588" fmla="*/ 40005 h 1447800"/>
                <a:gd name="connsiteX589" fmla="*/ 694373 w 1590675"/>
                <a:gd name="connsiteY589" fmla="*/ 40005 h 1447800"/>
                <a:gd name="connsiteX590" fmla="*/ 699135 w 1590675"/>
                <a:gd name="connsiteY590" fmla="*/ 39053 h 1447800"/>
                <a:gd name="connsiteX591" fmla="*/ 707707 w 1590675"/>
                <a:gd name="connsiteY591" fmla="*/ 36195 h 1447800"/>
                <a:gd name="connsiteX592" fmla="*/ 713423 w 1590675"/>
                <a:gd name="connsiteY592" fmla="*/ 32385 h 1447800"/>
                <a:gd name="connsiteX593" fmla="*/ 724853 w 1590675"/>
                <a:gd name="connsiteY593" fmla="*/ 20003 h 1447800"/>
                <a:gd name="connsiteX594" fmla="*/ 733425 w 1590675"/>
                <a:gd name="connsiteY594" fmla="*/ 13335 h 1447800"/>
                <a:gd name="connsiteX595" fmla="*/ 738188 w 1590675"/>
                <a:gd name="connsiteY595" fmla="*/ 10478 h 1447800"/>
                <a:gd name="connsiteX596" fmla="*/ 760095 w 1590675"/>
                <a:gd name="connsiteY596" fmla="*/ 4763 h 1447800"/>
                <a:gd name="connsiteX597" fmla="*/ 775335 w 1590675"/>
                <a:gd name="connsiteY597" fmla="*/ 2857 h 1447800"/>
                <a:gd name="connsiteX598" fmla="*/ 781050 w 1590675"/>
                <a:gd name="connsiteY598" fmla="*/ 3810 h 1447800"/>
                <a:gd name="connsiteX599" fmla="*/ 786765 w 1590675"/>
                <a:gd name="connsiteY599" fmla="*/ 5715 h 1447800"/>
                <a:gd name="connsiteX600" fmla="*/ 790575 w 1590675"/>
                <a:gd name="connsiteY600" fmla="*/ 9525 h 1447800"/>
                <a:gd name="connsiteX601" fmla="*/ 794385 w 1590675"/>
                <a:gd name="connsiteY601" fmla="*/ 16193 h 1447800"/>
                <a:gd name="connsiteX602" fmla="*/ 801053 w 1590675"/>
                <a:gd name="connsiteY602" fmla="*/ 23813 h 1447800"/>
                <a:gd name="connsiteX603" fmla="*/ 805815 w 1590675"/>
                <a:gd name="connsiteY603" fmla="*/ 26670 h 1447800"/>
                <a:gd name="connsiteX604" fmla="*/ 831532 w 1590675"/>
                <a:gd name="connsiteY604" fmla="*/ 32385 h 1447800"/>
                <a:gd name="connsiteX605" fmla="*/ 834390 w 1590675"/>
                <a:gd name="connsiteY605" fmla="*/ 33338 h 1447800"/>
                <a:gd name="connsiteX606" fmla="*/ 838200 w 1590675"/>
                <a:gd name="connsiteY606" fmla="*/ 37147 h 1447800"/>
                <a:gd name="connsiteX607" fmla="*/ 845820 w 1590675"/>
                <a:gd name="connsiteY607" fmla="*/ 49530 h 1447800"/>
                <a:gd name="connsiteX608" fmla="*/ 850582 w 1590675"/>
                <a:gd name="connsiteY608" fmla="*/ 50482 h 1447800"/>
                <a:gd name="connsiteX609" fmla="*/ 856298 w 1590675"/>
                <a:gd name="connsiteY609" fmla="*/ 49530 h 1447800"/>
                <a:gd name="connsiteX610" fmla="*/ 884873 w 1590675"/>
                <a:gd name="connsiteY610" fmla="*/ 38100 h 1447800"/>
                <a:gd name="connsiteX611" fmla="*/ 916305 w 1590675"/>
                <a:gd name="connsiteY611" fmla="*/ 30480 h 1447800"/>
                <a:gd name="connsiteX612" fmla="*/ 922020 w 1590675"/>
                <a:gd name="connsiteY612" fmla="*/ 30480 h 1447800"/>
                <a:gd name="connsiteX613" fmla="*/ 925830 w 1590675"/>
                <a:gd name="connsiteY613" fmla="*/ 31432 h 1447800"/>
                <a:gd name="connsiteX614" fmla="*/ 927735 w 1590675"/>
                <a:gd name="connsiteY614" fmla="*/ 32385 h 1447800"/>
                <a:gd name="connsiteX615" fmla="*/ 929640 w 1590675"/>
                <a:gd name="connsiteY615" fmla="*/ 34290 h 1447800"/>
                <a:gd name="connsiteX616" fmla="*/ 931545 w 1590675"/>
                <a:gd name="connsiteY616" fmla="*/ 36195 h 1447800"/>
                <a:gd name="connsiteX617" fmla="*/ 931545 w 1590675"/>
                <a:gd name="connsiteY617" fmla="*/ 39053 h 1447800"/>
                <a:gd name="connsiteX618" fmla="*/ 931545 w 1590675"/>
                <a:gd name="connsiteY618" fmla="*/ 41910 h 1447800"/>
                <a:gd name="connsiteX619" fmla="*/ 929640 w 1590675"/>
                <a:gd name="connsiteY619" fmla="*/ 52388 h 1447800"/>
                <a:gd name="connsiteX620" fmla="*/ 928688 w 1590675"/>
                <a:gd name="connsiteY620" fmla="*/ 56197 h 1447800"/>
                <a:gd name="connsiteX621" fmla="*/ 929640 w 1590675"/>
                <a:gd name="connsiteY621" fmla="*/ 61913 h 1447800"/>
                <a:gd name="connsiteX622" fmla="*/ 932498 w 1590675"/>
                <a:gd name="connsiteY622" fmla="*/ 68580 h 1447800"/>
                <a:gd name="connsiteX623" fmla="*/ 932498 w 1590675"/>
                <a:gd name="connsiteY623" fmla="*/ 71438 h 1447800"/>
                <a:gd name="connsiteX624" fmla="*/ 932498 w 1590675"/>
                <a:gd name="connsiteY624" fmla="*/ 78105 h 1447800"/>
                <a:gd name="connsiteX625" fmla="*/ 933450 w 1590675"/>
                <a:gd name="connsiteY625" fmla="*/ 80010 h 1447800"/>
                <a:gd name="connsiteX626" fmla="*/ 936307 w 1590675"/>
                <a:gd name="connsiteY626" fmla="*/ 81915 h 1447800"/>
                <a:gd name="connsiteX627" fmla="*/ 942023 w 1590675"/>
                <a:gd name="connsiteY627" fmla="*/ 81915 h 1447800"/>
                <a:gd name="connsiteX628" fmla="*/ 946785 w 1590675"/>
                <a:gd name="connsiteY628" fmla="*/ 80963 h 1447800"/>
                <a:gd name="connsiteX629" fmla="*/ 963930 w 1590675"/>
                <a:gd name="connsiteY629" fmla="*/ 68580 h 1447800"/>
                <a:gd name="connsiteX630" fmla="*/ 967740 w 1590675"/>
                <a:gd name="connsiteY630" fmla="*/ 67628 h 1447800"/>
                <a:gd name="connsiteX631" fmla="*/ 970598 w 1590675"/>
                <a:gd name="connsiteY631" fmla="*/ 68580 h 1447800"/>
                <a:gd name="connsiteX632" fmla="*/ 972503 w 1590675"/>
                <a:gd name="connsiteY632" fmla="*/ 73343 h 1447800"/>
                <a:gd name="connsiteX633" fmla="*/ 971550 w 1590675"/>
                <a:gd name="connsiteY633" fmla="*/ 76200 h 1447800"/>
                <a:gd name="connsiteX634" fmla="*/ 968693 w 1590675"/>
                <a:gd name="connsiteY634" fmla="*/ 81915 h 1447800"/>
                <a:gd name="connsiteX635" fmla="*/ 962025 w 1590675"/>
                <a:gd name="connsiteY635" fmla="*/ 89535 h 1447800"/>
                <a:gd name="connsiteX636" fmla="*/ 959168 w 1590675"/>
                <a:gd name="connsiteY636" fmla="*/ 94297 h 1447800"/>
                <a:gd name="connsiteX637" fmla="*/ 958215 w 1590675"/>
                <a:gd name="connsiteY637" fmla="*/ 97155 h 1447800"/>
                <a:gd name="connsiteX638" fmla="*/ 958215 w 1590675"/>
                <a:gd name="connsiteY638" fmla="*/ 99060 h 1447800"/>
                <a:gd name="connsiteX639" fmla="*/ 961073 w 1590675"/>
                <a:gd name="connsiteY639" fmla="*/ 101918 h 1447800"/>
                <a:gd name="connsiteX640" fmla="*/ 968693 w 1590675"/>
                <a:gd name="connsiteY640" fmla="*/ 103822 h 1447800"/>
                <a:gd name="connsiteX641" fmla="*/ 971550 w 1590675"/>
                <a:gd name="connsiteY641" fmla="*/ 104775 h 1447800"/>
                <a:gd name="connsiteX642" fmla="*/ 973455 w 1590675"/>
                <a:gd name="connsiteY642" fmla="*/ 105728 h 1447800"/>
                <a:gd name="connsiteX643" fmla="*/ 976313 w 1590675"/>
                <a:gd name="connsiteY643" fmla="*/ 110490 h 1447800"/>
                <a:gd name="connsiteX644" fmla="*/ 977265 w 1590675"/>
                <a:gd name="connsiteY644" fmla="*/ 116205 h 1447800"/>
                <a:gd name="connsiteX645" fmla="*/ 978218 w 1590675"/>
                <a:gd name="connsiteY645" fmla="*/ 126682 h 1447800"/>
                <a:gd name="connsiteX646" fmla="*/ 978218 w 1590675"/>
                <a:gd name="connsiteY646" fmla="*/ 130493 h 1447800"/>
                <a:gd name="connsiteX647" fmla="*/ 977265 w 1590675"/>
                <a:gd name="connsiteY647" fmla="*/ 139065 h 1447800"/>
                <a:gd name="connsiteX648" fmla="*/ 978218 w 1590675"/>
                <a:gd name="connsiteY648" fmla="*/ 140970 h 1447800"/>
                <a:gd name="connsiteX649" fmla="*/ 984885 w 1590675"/>
                <a:gd name="connsiteY649" fmla="*/ 143828 h 1447800"/>
                <a:gd name="connsiteX650" fmla="*/ 986790 w 1590675"/>
                <a:gd name="connsiteY650" fmla="*/ 145732 h 1447800"/>
                <a:gd name="connsiteX651" fmla="*/ 988695 w 1590675"/>
                <a:gd name="connsiteY651" fmla="*/ 148590 h 1447800"/>
                <a:gd name="connsiteX652" fmla="*/ 992505 w 1590675"/>
                <a:gd name="connsiteY652" fmla="*/ 151447 h 1447800"/>
                <a:gd name="connsiteX653" fmla="*/ 1007745 w 1590675"/>
                <a:gd name="connsiteY653" fmla="*/ 150495 h 1447800"/>
                <a:gd name="connsiteX654" fmla="*/ 1008698 w 1590675"/>
                <a:gd name="connsiteY654" fmla="*/ 150495 h 1447800"/>
                <a:gd name="connsiteX655" fmla="*/ 1008698 w 1590675"/>
                <a:gd name="connsiteY655" fmla="*/ 153353 h 1447800"/>
                <a:gd name="connsiteX656" fmla="*/ 1007745 w 1590675"/>
                <a:gd name="connsiteY656" fmla="*/ 158115 h 1447800"/>
                <a:gd name="connsiteX657" fmla="*/ 1006793 w 1590675"/>
                <a:gd name="connsiteY657" fmla="*/ 163830 h 1447800"/>
                <a:gd name="connsiteX658" fmla="*/ 1008698 w 1590675"/>
                <a:gd name="connsiteY658" fmla="*/ 171450 h 1447800"/>
                <a:gd name="connsiteX659" fmla="*/ 1008698 w 1590675"/>
                <a:gd name="connsiteY659" fmla="*/ 174307 h 1447800"/>
                <a:gd name="connsiteX660" fmla="*/ 1008698 w 1590675"/>
                <a:gd name="connsiteY660" fmla="*/ 177165 h 1447800"/>
                <a:gd name="connsiteX661" fmla="*/ 1004888 w 1590675"/>
                <a:gd name="connsiteY661" fmla="*/ 185738 h 1447800"/>
                <a:gd name="connsiteX662" fmla="*/ 1000125 w 1590675"/>
                <a:gd name="connsiteY662" fmla="*/ 199072 h 1447800"/>
                <a:gd name="connsiteX663" fmla="*/ 999173 w 1590675"/>
                <a:gd name="connsiteY663" fmla="*/ 202882 h 1447800"/>
                <a:gd name="connsiteX664" fmla="*/ 996315 w 1590675"/>
                <a:gd name="connsiteY664" fmla="*/ 206693 h 1447800"/>
                <a:gd name="connsiteX665" fmla="*/ 993457 w 1590675"/>
                <a:gd name="connsiteY665" fmla="*/ 207645 h 1447800"/>
                <a:gd name="connsiteX666" fmla="*/ 990600 w 1590675"/>
                <a:gd name="connsiteY666" fmla="*/ 206693 h 1447800"/>
                <a:gd name="connsiteX667" fmla="*/ 986790 w 1590675"/>
                <a:gd name="connsiteY667" fmla="*/ 202882 h 1447800"/>
                <a:gd name="connsiteX668" fmla="*/ 984885 w 1590675"/>
                <a:gd name="connsiteY668" fmla="*/ 200978 h 1447800"/>
                <a:gd name="connsiteX669" fmla="*/ 980123 w 1590675"/>
                <a:gd name="connsiteY669" fmla="*/ 200978 h 1447800"/>
                <a:gd name="connsiteX670" fmla="*/ 979170 w 1590675"/>
                <a:gd name="connsiteY670" fmla="*/ 201930 h 1447800"/>
                <a:gd name="connsiteX671" fmla="*/ 978218 w 1590675"/>
                <a:gd name="connsiteY671" fmla="*/ 204788 h 1447800"/>
                <a:gd name="connsiteX672" fmla="*/ 979170 w 1590675"/>
                <a:gd name="connsiteY672" fmla="*/ 210503 h 1447800"/>
                <a:gd name="connsiteX673" fmla="*/ 980123 w 1590675"/>
                <a:gd name="connsiteY673" fmla="*/ 212407 h 1447800"/>
                <a:gd name="connsiteX674" fmla="*/ 984885 w 1590675"/>
                <a:gd name="connsiteY674" fmla="*/ 215265 h 1447800"/>
                <a:gd name="connsiteX675" fmla="*/ 986790 w 1590675"/>
                <a:gd name="connsiteY675" fmla="*/ 217170 h 1447800"/>
                <a:gd name="connsiteX676" fmla="*/ 987743 w 1590675"/>
                <a:gd name="connsiteY676" fmla="*/ 222885 h 1447800"/>
                <a:gd name="connsiteX677" fmla="*/ 988695 w 1590675"/>
                <a:gd name="connsiteY677" fmla="*/ 224790 h 1447800"/>
                <a:gd name="connsiteX678" fmla="*/ 993457 w 1590675"/>
                <a:gd name="connsiteY678" fmla="*/ 226695 h 1447800"/>
                <a:gd name="connsiteX679" fmla="*/ 995363 w 1590675"/>
                <a:gd name="connsiteY679" fmla="*/ 228600 h 1447800"/>
                <a:gd name="connsiteX680" fmla="*/ 999173 w 1590675"/>
                <a:gd name="connsiteY680" fmla="*/ 232410 h 1447800"/>
                <a:gd name="connsiteX681" fmla="*/ 1002982 w 1590675"/>
                <a:gd name="connsiteY681" fmla="*/ 232410 h 1447800"/>
                <a:gd name="connsiteX682" fmla="*/ 1026795 w 1590675"/>
                <a:gd name="connsiteY682" fmla="*/ 230505 h 1447800"/>
                <a:gd name="connsiteX683" fmla="*/ 1031557 w 1590675"/>
                <a:gd name="connsiteY683" fmla="*/ 228600 h 1447800"/>
                <a:gd name="connsiteX684" fmla="*/ 1033463 w 1590675"/>
                <a:gd name="connsiteY684" fmla="*/ 226695 h 1447800"/>
                <a:gd name="connsiteX685" fmla="*/ 1036320 w 1590675"/>
                <a:gd name="connsiteY685" fmla="*/ 220980 h 1447800"/>
                <a:gd name="connsiteX686" fmla="*/ 1038225 w 1590675"/>
                <a:gd name="connsiteY686" fmla="*/ 217170 h 1447800"/>
                <a:gd name="connsiteX687" fmla="*/ 1042035 w 1590675"/>
                <a:gd name="connsiteY687" fmla="*/ 212407 h 1447800"/>
                <a:gd name="connsiteX688" fmla="*/ 1045845 w 1590675"/>
                <a:gd name="connsiteY688" fmla="*/ 211455 h 1447800"/>
                <a:gd name="connsiteX689" fmla="*/ 1048703 w 1590675"/>
                <a:gd name="connsiteY689" fmla="*/ 210503 h 1447800"/>
                <a:gd name="connsiteX690" fmla="*/ 1054418 w 1590675"/>
                <a:gd name="connsiteY690" fmla="*/ 210503 h 1447800"/>
                <a:gd name="connsiteX691" fmla="*/ 1056323 w 1590675"/>
                <a:gd name="connsiteY691" fmla="*/ 212407 h 1447800"/>
                <a:gd name="connsiteX692" fmla="*/ 1057275 w 1590675"/>
                <a:gd name="connsiteY692" fmla="*/ 217170 h 1447800"/>
                <a:gd name="connsiteX693" fmla="*/ 1059180 w 1590675"/>
                <a:gd name="connsiteY693" fmla="*/ 234315 h 1447800"/>
                <a:gd name="connsiteX694" fmla="*/ 1060132 w 1590675"/>
                <a:gd name="connsiteY694" fmla="*/ 236220 h 1447800"/>
                <a:gd name="connsiteX695" fmla="*/ 1064895 w 1590675"/>
                <a:gd name="connsiteY695" fmla="*/ 238125 h 1447800"/>
                <a:gd name="connsiteX696" fmla="*/ 1077278 w 1590675"/>
                <a:gd name="connsiteY696" fmla="*/ 239078 h 1447800"/>
                <a:gd name="connsiteX697" fmla="*/ 1080135 w 1590675"/>
                <a:gd name="connsiteY697" fmla="*/ 240982 h 1447800"/>
                <a:gd name="connsiteX698" fmla="*/ 1082040 w 1590675"/>
                <a:gd name="connsiteY698" fmla="*/ 241935 h 1447800"/>
                <a:gd name="connsiteX699" fmla="*/ 1087755 w 1590675"/>
                <a:gd name="connsiteY699" fmla="*/ 247650 h 1447800"/>
                <a:gd name="connsiteX700" fmla="*/ 1091565 w 1590675"/>
                <a:gd name="connsiteY700" fmla="*/ 248603 h 1447800"/>
                <a:gd name="connsiteX701" fmla="*/ 1098232 w 1590675"/>
                <a:gd name="connsiteY701" fmla="*/ 249555 h 1447800"/>
                <a:gd name="connsiteX702" fmla="*/ 1109663 w 1590675"/>
                <a:gd name="connsiteY702" fmla="*/ 249555 h 1447800"/>
                <a:gd name="connsiteX703" fmla="*/ 1114425 w 1590675"/>
                <a:gd name="connsiteY703" fmla="*/ 248603 h 1447800"/>
                <a:gd name="connsiteX704" fmla="*/ 1118235 w 1590675"/>
                <a:gd name="connsiteY704" fmla="*/ 245745 h 1447800"/>
                <a:gd name="connsiteX705" fmla="*/ 1122045 w 1590675"/>
                <a:gd name="connsiteY705" fmla="*/ 240030 h 1447800"/>
                <a:gd name="connsiteX706" fmla="*/ 1123950 w 1590675"/>
                <a:gd name="connsiteY706" fmla="*/ 236220 h 1447800"/>
                <a:gd name="connsiteX707" fmla="*/ 1129665 w 1590675"/>
                <a:gd name="connsiteY707" fmla="*/ 231457 h 1447800"/>
                <a:gd name="connsiteX708" fmla="*/ 1134428 w 1590675"/>
                <a:gd name="connsiteY708" fmla="*/ 229553 h 1447800"/>
                <a:gd name="connsiteX709" fmla="*/ 1137285 w 1590675"/>
                <a:gd name="connsiteY709" fmla="*/ 228600 h 1447800"/>
                <a:gd name="connsiteX710" fmla="*/ 1143000 w 1590675"/>
                <a:gd name="connsiteY710" fmla="*/ 229553 h 1447800"/>
                <a:gd name="connsiteX711" fmla="*/ 1146810 w 1590675"/>
                <a:gd name="connsiteY711" fmla="*/ 233363 h 1447800"/>
                <a:gd name="connsiteX712" fmla="*/ 1149668 w 1590675"/>
                <a:gd name="connsiteY712" fmla="*/ 237172 h 1447800"/>
                <a:gd name="connsiteX713" fmla="*/ 1151573 w 1590675"/>
                <a:gd name="connsiteY713" fmla="*/ 239078 h 1447800"/>
                <a:gd name="connsiteX714" fmla="*/ 1153478 w 1590675"/>
                <a:gd name="connsiteY714" fmla="*/ 240030 h 1447800"/>
                <a:gd name="connsiteX715" fmla="*/ 1250632 w 1590675"/>
                <a:gd name="connsiteY715" fmla="*/ 225743 h 1447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</a:cxnLst>
              <a:rect l="l" t="t" r="r" b="b"/>
              <a:pathLst>
                <a:path w="1590675" h="1447800">
                  <a:moveTo>
                    <a:pt x="1250632" y="225743"/>
                  </a:moveTo>
                  <a:lnTo>
                    <a:pt x="1251585" y="258128"/>
                  </a:lnTo>
                  <a:lnTo>
                    <a:pt x="1254443" y="266700"/>
                  </a:lnTo>
                  <a:lnTo>
                    <a:pt x="1260157" y="269557"/>
                  </a:lnTo>
                  <a:lnTo>
                    <a:pt x="1266825" y="270510"/>
                  </a:lnTo>
                  <a:lnTo>
                    <a:pt x="1272540" y="270510"/>
                  </a:lnTo>
                  <a:lnTo>
                    <a:pt x="1285875" y="268605"/>
                  </a:lnTo>
                  <a:lnTo>
                    <a:pt x="1289685" y="268605"/>
                  </a:lnTo>
                  <a:lnTo>
                    <a:pt x="1291590" y="269557"/>
                  </a:lnTo>
                  <a:lnTo>
                    <a:pt x="1292543" y="271463"/>
                  </a:lnTo>
                  <a:lnTo>
                    <a:pt x="1293495" y="277178"/>
                  </a:lnTo>
                  <a:lnTo>
                    <a:pt x="1294448" y="288607"/>
                  </a:lnTo>
                  <a:lnTo>
                    <a:pt x="1295400" y="293370"/>
                  </a:lnTo>
                  <a:lnTo>
                    <a:pt x="1310640" y="325755"/>
                  </a:lnTo>
                  <a:lnTo>
                    <a:pt x="1317307" y="345757"/>
                  </a:lnTo>
                  <a:lnTo>
                    <a:pt x="1321118" y="350520"/>
                  </a:lnTo>
                  <a:lnTo>
                    <a:pt x="1323975" y="353378"/>
                  </a:lnTo>
                  <a:lnTo>
                    <a:pt x="1337310" y="356235"/>
                  </a:lnTo>
                  <a:lnTo>
                    <a:pt x="1341120" y="358140"/>
                  </a:lnTo>
                  <a:lnTo>
                    <a:pt x="1342073" y="360045"/>
                  </a:lnTo>
                  <a:lnTo>
                    <a:pt x="1342073" y="361950"/>
                  </a:lnTo>
                  <a:lnTo>
                    <a:pt x="1340168" y="363855"/>
                  </a:lnTo>
                  <a:lnTo>
                    <a:pt x="1335405" y="365760"/>
                  </a:lnTo>
                  <a:lnTo>
                    <a:pt x="1330643" y="367665"/>
                  </a:lnTo>
                  <a:lnTo>
                    <a:pt x="1327785" y="368618"/>
                  </a:lnTo>
                  <a:lnTo>
                    <a:pt x="1326832" y="371475"/>
                  </a:lnTo>
                  <a:lnTo>
                    <a:pt x="1326832" y="378143"/>
                  </a:lnTo>
                  <a:lnTo>
                    <a:pt x="1328738" y="381953"/>
                  </a:lnTo>
                  <a:lnTo>
                    <a:pt x="1330643" y="384810"/>
                  </a:lnTo>
                  <a:lnTo>
                    <a:pt x="1332548" y="386715"/>
                  </a:lnTo>
                  <a:lnTo>
                    <a:pt x="1342073" y="388620"/>
                  </a:lnTo>
                  <a:lnTo>
                    <a:pt x="1343978" y="390525"/>
                  </a:lnTo>
                  <a:lnTo>
                    <a:pt x="1343978" y="393382"/>
                  </a:lnTo>
                  <a:lnTo>
                    <a:pt x="1342073" y="402907"/>
                  </a:lnTo>
                  <a:lnTo>
                    <a:pt x="1341120" y="407670"/>
                  </a:lnTo>
                  <a:lnTo>
                    <a:pt x="1342073" y="412432"/>
                  </a:lnTo>
                  <a:lnTo>
                    <a:pt x="1343978" y="415290"/>
                  </a:lnTo>
                  <a:lnTo>
                    <a:pt x="1345882" y="416243"/>
                  </a:lnTo>
                  <a:lnTo>
                    <a:pt x="1351598" y="415290"/>
                  </a:lnTo>
                  <a:lnTo>
                    <a:pt x="1367790" y="408622"/>
                  </a:lnTo>
                  <a:lnTo>
                    <a:pt x="1373505" y="412432"/>
                  </a:lnTo>
                  <a:lnTo>
                    <a:pt x="1382078" y="420053"/>
                  </a:lnTo>
                  <a:lnTo>
                    <a:pt x="1403032" y="442913"/>
                  </a:lnTo>
                  <a:lnTo>
                    <a:pt x="1411605" y="451485"/>
                  </a:lnTo>
                  <a:lnTo>
                    <a:pt x="1418273" y="455295"/>
                  </a:lnTo>
                  <a:lnTo>
                    <a:pt x="1420178" y="453390"/>
                  </a:lnTo>
                  <a:lnTo>
                    <a:pt x="1423988" y="450532"/>
                  </a:lnTo>
                  <a:lnTo>
                    <a:pt x="1437323" y="439103"/>
                  </a:lnTo>
                  <a:lnTo>
                    <a:pt x="1441132" y="439103"/>
                  </a:lnTo>
                  <a:lnTo>
                    <a:pt x="1444943" y="440055"/>
                  </a:lnTo>
                  <a:lnTo>
                    <a:pt x="1467803" y="454343"/>
                  </a:lnTo>
                  <a:lnTo>
                    <a:pt x="1471613" y="458153"/>
                  </a:lnTo>
                  <a:lnTo>
                    <a:pt x="1485900" y="476250"/>
                  </a:lnTo>
                  <a:lnTo>
                    <a:pt x="1526857" y="512445"/>
                  </a:lnTo>
                  <a:lnTo>
                    <a:pt x="1528763" y="514350"/>
                  </a:lnTo>
                  <a:lnTo>
                    <a:pt x="1539240" y="530543"/>
                  </a:lnTo>
                  <a:lnTo>
                    <a:pt x="1542098" y="533400"/>
                  </a:lnTo>
                  <a:lnTo>
                    <a:pt x="1544955" y="533400"/>
                  </a:lnTo>
                  <a:lnTo>
                    <a:pt x="1548765" y="530543"/>
                  </a:lnTo>
                  <a:lnTo>
                    <a:pt x="1549718" y="525780"/>
                  </a:lnTo>
                  <a:lnTo>
                    <a:pt x="1551623" y="523875"/>
                  </a:lnTo>
                  <a:lnTo>
                    <a:pt x="1554480" y="522922"/>
                  </a:lnTo>
                  <a:lnTo>
                    <a:pt x="1576388" y="526732"/>
                  </a:lnTo>
                  <a:lnTo>
                    <a:pt x="1585913" y="526732"/>
                  </a:lnTo>
                  <a:lnTo>
                    <a:pt x="1589723" y="527685"/>
                  </a:lnTo>
                  <a:lnTo>
                    <a:pt x="1590675" y="529590"/>
                  </a:lnTo>
                  <a:lnTo>
                    <a:pt x="1590675" y="532447"/>
                  </a:lnTo>
                  <a:lnTo>
                    <a:pt x="1588770" y="535305"/>
                  </a:lnTo>
                  <a:lnTo>
                    <a:pt x="1581150" y="550545"/>
                  </a:lnTo>
                  <a:lnTo>
                    <a:pt x="1579245" y="556260"/>
                  </a:lnTo>
                  <a:lnTo>
                    <a:pt x="1579245" y="562928"/>
                  </a:lnTo>
                  <a:lnTo>
                    <a:pt x="1579245" y="565785"/>
                  </a:lnTo>
                  <a:lnTo>
                    <a:pt x="1573530" y="576263"/>
                  </a:lnTo>
                  <a:lnTo>
                    <a:pt x="1571625" y="582930"/>
                  </a:lnTo>
                  <a:lnTo>
                    <a:pt x="1570673" y="585788"/>
                  </a:lnTo>
                  <a:lnTo>
                    <a:pt x="1570673" y="591503"/>
                  </a:lnTo>
                  <a:lnTo>
                    <a:pt x="1570673" y="598170"/>
                  </a:lnTo>
                  <a:lnTo>
                    <a:pt x="1572578" y="604838"/>
                  </a:lnTo>
                  <a:lnTo>
                    <a:pt x="1571625" y="607695"/>
                  </a:lnTo>
                  <a:lnTo>
                    <a:pt x="1568768" y="611505"/>
                  </a:lnTo>
                  <a:lnTo>
                    <a:pt x="1564957" y="614363"/>
                  </a:lnTo>
                  <a:lnTo>
                    <a:pt x="1560195" y="615315"/>
                  </a:lnTo>
                  <a:lnTo>
                    <a:pt x="1559243" y="614363"/>
                  </a:lnTo>
                  <a:lnTo>
                    <a:pt x="1557338" y="609600"/>
                  </a:lnTo>
                  <a:lnTo>
                    <a:pt x="1553528" y="602932"/>
                  </a:lnTo>
                  <a:lnTo>
                    <a:pt x="1547813" y="597218"/>
                  </a:lnTo>
                  <a:lnTo>
                    <a:pt x="1545907" y="596265"/>
                  </a:lnTo>
                  <a:lnTo>
                    <a:pt x="1541145" y="594360"/>
                  </a:lnTo>
                  <a:lnTo>
                    <a:pt x="1536382" y="594360"/>
                  </a:lnTo>
                  <a:lnTo>
                    <a:pt x="1534478" y="595313"/>
                  </a:lnTo>
                  <a:lnTo>
                    <a:pt x="1530668" y="598170"/>
                  </a:lnTo>
                  <a:lnTo>
                    <a:pt x="1526857" y="601980"/>
                  </a:lnTo>
                  <a:lnTo>
                    <a:pt x="1524953" y="607695"/>
                  </a:lnTo>
                  <a:lnTo>
                    <a:pt x="1523048" y="614363"/>
                  </a:lnTo>
                  <a:lnTo>
                    <a:pt x="1520190" y="620078"/>
                  </a:lnTo>
                  <a:lnTo>
                    <a:pt x="1515428" y="627697"/>
                  </a:lnTo>
                  <a:lnTo>
                    <a:pt x="1513523" y="633413"/>
                  </a:lnTo>
                  <a:lnTo>
                    <a:pt x="1513523" y="636270"/>
                  </a:lnTo>
                  <a:lnTo>
                    <a:pt x="1513523" y="644843"/>
                  </a:lnTo>
                  <a:lnTo>
                    <a:pt x="1513523" y="647700"/>
                  </a:lnTo>
                  <a:lnTo>
                    <a:pt x="1512570" y="650557"/>
                  </a:lnTo>
                  <a:lnTo>
                    <a:pt x="1510665" y="652463"/>
                  </a:lnTo>
                  <a:lnTo>
                    <a:pt x="1508760" y="654368"/>
                  </a:lnTo>
                  <a:lnTo>
                    <a:pt x="1489710" y="661035"/>
                  </a:lnTo>
                  <a:lnTo>
                    <a:pt x="1478280" y="661035"/>
                  </a:lnTo>
                  <a:lnTo>
                    <a:pt x="1468755" y="660082"/>
                  </a:lnTo>
                  <a:lnTo>
                    <a:pt x="1462088" y="658178"/>
                  </a:lnTo>
                  <a:lnTo>
                    <a:pt x="1456373" y="652463"/>
                  </a:lnTo>
                  <a:lnTo>
                    <a:pt x="1454468" y="652463"/>
                  </a:lnTo>
                  <a:lnTo>
                    <a:pt x="1448753" y="651510"/>
                  </a:lnTo>
                  <a:lnTo>
                    <a:pt x="1445895" y="651510"/>
                  </a:lnTo>
                  <a:lnTo>
                    <a:pt x="1441132" y="646747"/>
                  </a:lnTo>
                  <a:lnTo>
                    <a:pt x="1436370" y="647700"/>
                  </a:lnTo>
                  <a:lnTo>
                    <a:pt x="1431607" y="649605"/>
                  </a:lnTo>
                  <a:lnTo>
                    <a:pt x="1429703" y="652463"/>
                  </a:lnTo>
                  <a:lnTo>
                    <a:pt x="1428750" y="655320"/>
                  </a:lnTo>
                  <a:lnTo>
                    <a:pt x="1428750" y="663893"/>
                  </a:lnTo>
                  <a:lnTo>
                    <a:pt x="1431607" y="670560"/>
                  </a:lnTo>
                  <a:lnTo>
                    <a:pt x="1439228" y="686753"/>
                  </a:lnTo>
                  <a:lnTo>
                    <a:pt x="1440180" y="691515"/>
                  </a:lnTo>
                  <a:lnTo>
                    <a:pt x="1441132" y="696278"/>
                  </a:lnTo>
                  <a:lnTo>
                    <a:pt x="1443038" y="716280"/>
                  </a:lnTo>
                  <a:lnTo>
                    <a:pt x="1442085" y="721995"/>
                  </a:lnTo>
                  <a:lnTo>
                    <a:pt x="1438275" y="724853"/>
                  </a:lnTo>
                  <a:lnTo>
                    <a:pt x="1433513" y="726757"/>
                  </a:lnTo>
                  <a:lnTo>
                    <a:pt x="1405890" y="728663"/>
                  </a:lnTo>
                  <a:lnTo>
                    <a:pt x="1403032" y="729615"/>
                  </a:lnTo>
                  <a:lnTo>
                    <a:pt x="1400175" y="730568"/>
                  </a:lnTo>
                  <a:lnTo>
                    <a:pt x="1398270" y="733425"/>
                  </a:lnTo>
                  <a:lnTo>
                    <a:pt x="1400175" y="738188"/>
                  </a:lnTo>
                  <a:lnTo>
                    <a:pt x="1403032" y="741997"/>
                  </a:lnTo>
                  <a:lnTo>
                    <a:pt x="1415415" y="755332"/>
                  </a:lnTo>
                  <a:lnTo>
                    <a:pt x="1420178" y="758190"/>
                  </a:lnTo>
                  <a:lnTo>
                    <a:pt x="1443038" y="767715"/>
                  </a:lnTo>
                  <a:lnTo>
                    <a:pt x="1452563" y="773430"/>
                  </a:lnTo>
                  <a:lnTo>
                    <a:pt x="1454468" y="775335"/>
                  </a:lnTo>
                  <a:lnTo>
                    <a:pt x="1457325" y="779145"/>
                  </a:lnTo>
                  <a:lnTo>
                    <a:pt x="1464945" y="792480"/>
                  </a:lnTo>
                  <a:lnTo>
                    <a:pt x="1469707" y="801053"/>
                  </a:lnTo>
                  <a:lnTo>
                    <a:pt x="1475423" y="824865"/>
                  </a:lnTo>
                  <a:lnTo>
                    <a:pt x="1477328" y="829628"/>
                  </a:lnTo>
                  <a:lnTo>
                    <a:pt x="1480185" y="832485"/>
                  </a:lnTo>
                  <a:lnTo>
                    <a:pt x="1498282" y="847725"/>
                  </a:lnTo>
                  <a:lnTo>
                    <a:pt x="1500188" y="848678"/>
                  </a:lnTo>
                  <a:lnTo>
                    <a:pt x="1502093" y="848678"/>
                  </a:lnTo>
                  <a:lnTo>
                    <a:pt x="1505903" y="842010"/>
                  </a:lnTo>
                  <a:lnTo>
                    <a:pt x="1509713" y="839153"/>
                  </a:lnTo>
                  <a:lnTo>
                    <a:pt x="1513523" y="840105"/>
                  </a:lnTo>
                  <a:lnTo>
                    <a:pt x="1522095" y="849630"/>
                  </a:lnTo>
                  <a:lnTo>
                    <a:pt x="1530668" y="855345"/>
                  </a:lnTo>
                  <a:lnTo>
                    <a:pt x="1532573" y="857250"/>
                  </a:lnTo>
                  <a:lnTo>
                    <a:pt x="1536382" y="862013"/>
                  </a:lnTo>
                  <a:lnTo>
                    <a:pt x="1538288" y="864870"/>
                  </a:lnTo>
                  <a:lnTo>
                    <a:pt x="1537335" y="867728"/>
                  </a:lnTo>
                  <a:lnTo>
                    <a:pt x="1535430" y="869632"/>
                  </a:lnTo>
                  <a:lnTo>
                    <a:pt x="1529715" y="875347"/>
                  </a:lnTo>
                  <a:lnTo>
                    <a:pt x="1525905" y="879157"/>
                  </a:lnTo>
                  <a:lnTo>
                    <a:pt x="1524000" y="883920"/>
                  </a:lnTo>
                  <a:lnTo>
                    <a:pt x="1534478" y="902018"/>
                  </a:lnTo>
                  <a:lnTo>
                    <a:pt x="1535430" y="906780"/>
                  </a:lnTo>
                  <a:lnTo>
                    <a:pt x="1534478" y="910590"/>
                  </a:lnTo>
                  <a:lnTo>
                    <a:pt x="1526857" y="916305"/>
                  </a:lnTo>
                  <a:lnTo>
                    <a:pt x="1522095" y="918210"/>
                  </a:lnTo>
                  <a:lnTo>
                    <a:pt x="1520190" y="918210"/>
                  </a:lnTo>
                  <a:lnTo>
                    <a:pt x="1517332" y="917257"/>
                  </a:lnTo>
                  <a:lnTo>
                    <a:pt x="1509713" y="913447"/>
                  </a:lnTo>
                  <a:lnTo>
                    <a:pt x="1506855" y="913447"/>
                  </a:lnTo>
                  <a:lnTo>
                    <a:pt x="1501140" y="917257"/>
                  </a:lnTo>
                  <a:lnTo>
                    <a:pt x="1499235" y="919163"/>
                  </a:lnTo>
                  <a:lnTo>
                    <a:pt x="1483995" y="933450"/>
                  </a:lnTo>
                  <a:lnTo>
                    <a:pt x="1482090" y="935355"/>
                  </a:lnTo>
                  <a:lnTo>
                    <a:pt x="1479232" y="940118"/>
                  </a:lnTo>
                  <a:lnTo>
                    <a:pt x="1478280" y="943928"/>
                  </a:lnTo>
                  <a:lnTo>
                    <a:pt x="1479232" y="949643"/>
                  </a:lnTo>
                  <a:lnTo>
                    <a:pt x="1494473" y="979170"/>
                  </a:lnTo>
                  <a:lnTo>
                    <a:pt x="1489710" y="980122"/>
                  </a:lnTo>
                  <a:lnTo>
                    <a:pt x="1483995" y="982980"/>
                  </a:lnTo>
                  <a:lnTo>
                    <a:pt x="1465898" y="997268"/>
                  </a:lnTo>
                  <a:lnTo>
                    <a:pt x="1460182" y="1001078"/>
                  </a:lnTo>
                  <a:lnTo>
                    <a:pt x="1442085" y="1007745"/>
                  </a:lnTo>
                  <a:lnTo>
                    <a:pt x="1414463" y="1035368"/>
                  </a:lnTo>
                  <a:lnTo>
                    <a:pt x="1397318" y="1037272"/>
                  </a:lnTo>
                  <a:lnTo>
                    <a:pt x="1402080" y="1056323"/>
                  </a:lnTo>
                  <a:lnTo>
                    <a:pt x="1394460" y="1073468"/>
                  </a:lnTo>
                  <a:lnTo>
                    <a:pt x="1383982" y="1090613"/>
                  </a:lnTo>
                  <a:lnTo>
                    <a:pt x="1379220" y="1109663"/>
                  </a:lnTo>
                  <a:lnTo>
                    <a:pt x="1375410" y="1129665"/>
                  </a:lnTo>
                  <a:lnTo>
                    <a:pt x="1365885" y="1150620"/>
                  </a:lnTo>
                  <a:lnTo>
                    <a:pt x="1352550" y="1163003"/>
                  </a:lnTo>
                  <a:lnTo>
                    <a:pt x="1339215" y="1159193"/>
                  </a:lnTo>
                  <a:lnTo>
                    <a:pt x="1339215" y="1153478"/>
                  </a:lnTo>
                  <a:lnTo>
                    <a:pt x="1343025" y="1153478"/>
                  </a:lnTo>
                  <a:lnTo>
                    <a:pt x="1353503" y="1158240"/>
                  </a:lnTo>
                  <a:lnTo>
                    <a:pt x="1363980" y="1137285"/>
                  </a:lnTo>
                  <a:lnTo>
                    <a:pt x="1369695" y="1109663"/>
                  </a:lnTo>
                  <a:lnTo>
                    <a:pt x="1369695" y="1096328"/>
                  </a:lnTo>
                  <a:lnTo>
                    <a:pt x="1365885" y="1092518"/>
                  </a:lnTo>
                  <a:lnTo>
                    <a:pt x="1346835" y="1069657"/>
                  </a:lnTo>
                  <a:lnTo>
                    <a:pt x="1338263" y="1064895"/>
                  </a:lnTo>
                  <a:lnTo>
                    <a:pt x="1321118" y="1059180"/>
                  </a:lnTo>
                  <a:lnTo>
                    <a:pt x="1314450" y="1053465"/>
                  </a:lnTo>
                  <a:lnTo>
                    <a:pt x="1304925" y="1059180"/>
                  </a:lnTo>
                  <a:lnTo>
                    <a:pt x="1295400" y="1058228"/>
                  </a:lnTo>
                  <a:lnTo>
                    <a:pt x="1281113" y="1053465"/>
                  </a:lnTo>
                  <a:lnTo>
                    <a:pt x="1272540" y="1056323"/>
                  </a:lnTo>
                  <a:lnTo>
                    <a:pt x="1266825" y="1062038"/>
                  </a:lnTo>
                  <a:lnTo>
                    <a:pt x="1262063" y="1067753"/>
                  </a:lnTo>
                  <a:lnTo>
                    <a:pt x="1258253" y="1069657"/>
                  </a:lnTo>
                  <a:lnTo>
                    <a:pt x="1223010" y="1069657"/>
                  </a:lnTo>
                  <a:lnTo>
                    <a:pt x="1201103" y="1082993"/>
                  </a:lnTo>
                  <a:lnTo>
                    <a:pt x="1175385" y="1088707"/>
                  </a:lnTo>
                  <a:lnTo>
                    <a:pt x="1158240" y="1096328"/>
                  </a:lnTo>
                  <a:lnTo>
                    <a:pt x="1143000" y="1108710"/>
                  </a:lnTo>
                  <a:lnTo>
                    <a:pt x="1106805" y="1146810"/>
                  </a:lnTo>
                  <a:lnTo>
                    <a:pt x="1097280" y="1163955"/>
                  </a:lnTo>
                  <a:lnTo>
                    <a:pt x="1093470" y="1185863"/>
                  </a:lnTo>
                  <a:lnTo>
                    <a:pt x="1089660" y="1185863"/>
                  </a:lnTo>
                  <a:lnTo>
                    <a:pt x="1089660" y="1175385"/>
                  </a:lnTo>
                  <a:lnTo>
                    <a:pt x="1087755" y="1172528"/>
                  </a:lnTo>
                  <a:lnTo>
                    <a:pt x="1082993" y="1175385"/>
                  </a:lnTo>
                  <a:lnTo>
                    <a:pt x="1077278" y="1177290"/>
                  </a:lnTo>
                  <a:lnTo>
                    <a:pt x="1076325" y="1183957"/>
                  </a:lnTo>
                  <a:lnTo>
                    <a:pt x="1073468" y="1176338"/>
                  </a:lnTo>
                  <a:lnTo>
                    <a:pt x="1075373" y="1173480"/>
                  </a:lnTo>
                  <a:lnTo>
                    <a:pt x="1076325" y="1168718"/>
                  </a:lnTo>
                  <a:lnTo>
                    <a:pt x="1075373" y="1164907"/>
                  </a:lnTo>
                  <a:lnTo>
                    <a:pt x="1068705" y="1159193"/>
                  </a:lnTo>
                  <a:lnTo>
                    <a:pt x="1063943" y="1150620"/>
                  </a:lnTo>
                  <a:lnTo>
                    <a:pt x="1061085" y="1146810"/>
                  </a:lnTo>
                  <a:lnTo>
                    <a:pt x="1057275" y="1143953"/>
                  </a:lnTo>
                  <a:lnTo>
                    <a:pt x="1046798" y="1139190"/>
                  </a:lnTo>
                  <a:lnTo>
                    <a:pt x="1037273" y="1139190"/>
                  </a:lnTo>
                  <a:lnTo>
                    <a:pt x="1018223" y="1143953"/>
                  </a:lnTo>
                  <a:lnTo>
                    <a:pt x="980123" y="1138238"/>
                  </a:lnTo>
                  <a:lnTo>
                    <a:pt x="907732" y="1151573"/>
                  </a:lnTo>
                  <a:lnTo>
                    <a:pt x="895350" y="1151573"/>
                  </a:lnTo>
                  <a:lnTo>
                    <a:pt x="825818" y="1190625"/>
                  </a:lnTo>
                  <a:lnTo>
                    <a:pt x="810578" y="1203960"/>
                  </a:lnTo>
                  <a:lnTo>
                    <a:pt x="768668" y="1253490"/>
                  </a:lnTo>
                  <a:lnTo>
                    <a:pt x="751523" y="1269682"/>
                  </a:lnTo>
                  <a:lnTo>
                    <a:pt x="688657" y="1301115"/>
                  </a:lnTo>
                  <a:lnTo>
                    <a:pt x="679132" y="1308735"/>
                  </a:lnTo>
                  <a:lnTo>
                    <a:pt x="670560" y="1318260"/>
                  </a:lnTo>
                  <a:lnTo>
                    <a:pt x="654368" y="1341120"/>
                  </a:lnTo>
                  <a:lnTo>
                    <a:pt x="646748" y="1348740"/>
                  </a:lnTo>
                  <a:lnTo>
                    <a:pt x="627698" y="1362075"/>
                  </a:lnTo>
                  <a:lnTo>
                    <a:pt x="620078" y="1369695"/>
                  </a:lnTo>
                  <a:lnTo>
                    <a:pt x="569595" y="1452563"/>
                  </a:lnTo>
                  <a:lnTo>
                    <a:pt x="566738" y="1456373"/>
                  </a:lnTo>
                  <a:lnTo>
                    <a:pt x="559118" y="1451610"/>
                  </a:lnTo>
                  <a:lnTo>
                    <a:pt x="573405" y="1426845"/>
                  </a:lnTo>
                  <a:lnTo>
                    <a:pt x="592455" y="1406843"/>
                  </a:lnTo>
                  <a:lnTo>
                    <a:pt x="600075" y="1394460"/>
                  </a:lnTo>
                  <a:lnTo>
                    <a:pt x="601980" y="1375410"/>
                  </a:lnTo>
                  <a:lnTo>
                    <a:pt x="593407" y="1384935"/>
                  </a:lnTo>
                  <a:lnTo>
                    <a:pt x="583882" y="1392555"/>
                  </a:lnTo>
                  <a:lnTo>
                    <a:pt x="573405" y="1393507"/>
                  </a:lnTo>
                  <a:lnTo>
                    <a:pt x="561023" y="1383030"/>
                  </a:lnTo>
                  <a:lnTo>
                    <a:pt x="556260" y="1365885"/>
                  </a:lnTo>
                  <a:lnTo>
                    <a:pt x="559118" y="1345882"/>
                  </a:lnTo>
                  <a:lnTo>
                    <a:pt x="569595" y="1316355"/>
                  </a:lnTo>
                  <a:lnTo>
                    <a:pt x="565785" y="1314450"/>
                  </a:lnTo>
                  <a:lnTo>
                    <a:pt x="557213" y="1313498"/>
                  </a:lnTo>
                  <a:lnTo>
                    <a:pt x="551498" y="1311593"/>
                  </a:lnTo>
                  <a:lnTo>
                    <a:pt x="547688" y="1309688"/>
                  </a:lnTo>
                  <a:lnTo>
                    <a:pt x="541020" y="1303020"/>
                  </a:lnTo>
                  <a:lnTo>
                    <a:pt x="532448" y="1297305"/>
                  </a:lnTo>
                  <a:lnTo>
                    <a:pt x="525780" y="1286828"/>
                  </a:lnTo>
                  <a:lnTo>
                    <a:pt x="521018" y="1273493"/>
                  </a:lnTo>
                  <a:lnTo>
                    <a:pt x="519113" y="1259205"/>
                  </a:lnTo>
                  <a:lnTo>
                    <a:pt x="507682" y="1273493"/>
                  </a:lnTo>
                  <a:lnTo>
                    <a:pt x="511493" y="1288732"/>
                  </a:lnTo>
                  <a:lnTo>
                    <a:pt x="521018" y="1303020"/>
                  </a:lnTo>
                  <a:lnTo>
                    <a:pt x="525780" y="1314450"/>
                  </a:lnTo>
                  <a:lnTo>
                    <a:pt x="527685" y="1323975"/>
                  </a:lnTo>
                  <a:lnTo>
                    <a:pt x="530543" y="1329690"/>
                  </a:lnTo>
                  <a:lnTo>
                    <a:pt x="532448" y="1336357"/>
                  </a:lnTo>
                  <a:lnTo>
                    <a:pt x="530543" y="1347788"/>
                  </a:lnTo>
                  <a:lnTo>
                    <a:pt x="525780" y="1356360"/>
                  </a:lnTo>
                  <a:lnTo>
                    <a:pt x="507682" y="1375410"/>
                  </a:lnTo>
                  <a:lnTo>
                    <a:pt x="477203" y="1423035"/>
                  </a:lnTo>
                  <a:lnTo>
                    <a:pt x="475298" y="1425893"/>
                  </a:lnTo>
                  <a:lnTo>
                    <a:pt x="456248" y="1422082"/>
                  </a:lnTo>
                  <a:lnTo>
                    <a:pt x="451485" y="1417320"/>
                  </a:lnTo>
                  <a:lnTo>
                    <a:pt x="450532" y="1403032"/>
                  </a:lnTo>
                  <a:lnTo>
                    <a:pt x="450532" y="1400175"/>
                  </a:lnTo>
                  <a:lnTo>
                    <a:pt x="447675" y="1384935"/>
                  </a:lnTo>
                  <a:lnTo>
                    <a:pt x="447675" y="1379220"/>
                  </a:lnTo>
                  <a:lnTo>
                    <a:pt x="448628" y="1373505"/>
                  </a:lnTo>
                  <a:lnTo>
                    <a:pt x="451485" y="1364932"/>
                  </a:lnTo>
                  <a:lnTo>
                    <a:pt x="451485" y="1361123"/>
                  </a:lnTo>
                  <a:lnTo>
                    <a:pt x="451485" y="1357313"/>
                  </a:lnTo>
                  <a:lnTo>
                    <a:pt x="438150" y="1302068"/>
                  </a:lnTo>
                  <a:lnTo>
                    <a:pt x="435293" y="1295400"/>
                  </a:lnTo>
                  <a:lnTo>
                    <a:pt x="431482" y="1292543"/>
                  </a:lnTo>
                  <a:lnTo>
                    <a:pt x="417195" y="1292543"/>
                  </a:lnTo>
                  <a:lnTo>
                    <a:pt x="411480" y="1289685"/>
                  </a:lnTo>
                  <a:lnTo>
                    <a:pt x="402907" y="1284923"/>
                  </a:lnTo>
                  <a:lnTo>
                    <a:pt x="399098" y="1283970"/>
                  </a:lnTo>
                  <a:lnTo>
                    <a:pt x="391478" y="1279207"/>
                  </a:lnTo>
                  <a:lnTo>
                    <a:pt x="380048" y="1268730"/>
                  </a:lnTo>
                  <a:lnTo>
                    <a:pt x="376238" y="1267778"/>
                  </a:lnTo>
                  <a:lnTo>
                    <a:pt x="351473" y="1270635"/>
                  </a:lnTo>
                  <a:lnTo>
                    <a:pt x="344805" y="1269682"/>
                  </a:lnTo>
                  <a:lnTo>
                    <a:pt x="342900" y="1268730"/>
                  </a:lnTo>
                  <a:lnTo>
                    <a:pt x="341948" y="1266825"/>
                  </a:lnTo>
                  <a:lnTo>
                    <a:pt x="341948" y="1256348"/>
                  </a:lnTo>
                  <a:lnTo>
                    <a:pt x="342900" y="1253490"/>
                  </a:lnTo>
                  <a:lnTo>
                    <a:pt x="346710" y="1250632"/>
                  </a:lnTo>
                  <a:lnTo>
                    <a:pt x="348615" y="1247775"/>
                  </a:lnTo>
                  <a:lnTo>
                    <a:pt x="349568" y="1244918"/>
                  </a:lnTo>
                  <a:lnTo>
                    <a:pt x="349568" y="1240155"/>
                  </a:lnTo>
                  <a:lnTo>
                    <a:pt x="347663" y="1238250"/>
                  </a:lnTo>
                  <a:lnTo>
                    <a:pt x="344805" y="1236345"/>
                  </a:lnTo>
                  <a:lnTo>
                    <a:pt x="320040" y="1234440"/>
                  </a:lnTo>
                  <a:lnTo>
                    <a:pt x="301943" y="1235393"/>
                  </a:lnTo>
                  <a:lnTo>
                    <a:pt x="297180" y="1234440"/>
                  </a:lnTo>
                  <a:lnTo>
                    <a:pt x="294323" y="1232535"/>
                  </a:lnTo>
                  <a:lnTo>
                    <a:pt x="292418" y="1230630"/>
                  </a:lnTo>
                  <a:lnTo>
                    <a:pt x="289560" y="1222057"/>
                  </a:lnTo>
                  <a:lnTo>
                    <a:pt x="277178" y="1202055"/>
                  </a:lnTo>
                  <a:lnTo>
                    <a:pt x="273368" y="1195388"/>
                  </a:lnTo>
                  <a:lnTo>
                    <a:pt x="273368" y="1189673"/>
                  </a:lnTo>
                  <a:lnTo>
                    <a:pt x="274320" y="1184910"/>
                  </a:lnTo>
                  <a:lnTo>
                    <a:pt x="277178" y="1180148"/>
                  </a:lnTo>
                  <a:lnTo>
                    <a:pt x="282893" y="1174432"/>
                  </a:lnTo>
                  <a:lnTo>
                    <a:pt x="283845" y="1171575"/>
                  </a:lnTo>
                  <a:lnTo>
                    <a:pt x="284798" y="1165860"/>
                  </a:lnTo>
                  <a:lnTo>
                    <a:pt x="283845" y="1158240"/>
                  </a:lnTo>
                  <a:lnTo>
                    <a:pt x="281940" y="1150620"/>
                  </a:lnTo>
                  <a:lnTo>
                    <a:pt x="279082" y="1143953"/>
                  </a:lnTo>
                  <a:lnTo>
                    <a:pt x="276225" y="1141095"/>
                  </a:lnTo>
                  <a:lnTo>
                    <a:pt x="272415" y="1139190"/>
                  </a:lnTo>
                  <a:lnTo>
                    <a:pt x="260985" y="1137285"/>
                  </a:lnTo>
                  <a:lnTo>
                    <a:pt x="257175" y="1136332"/>
                  </a:lnTo>
                  <a:lnTo>
                    <a:pt x="253365" y="1134428"/>
                  </a:lnTo>
                  <a:lnTo>
                    <a:pt x="243840" y="1126807"/>
                  </a:lnTo>
                  <a:lnTo>
                    <a:pt x="240982" y="1125855"/>
                  </a:lnTo>
                  <a:lnTo>
                    <a:pt x="236220" y="1127760"/>
                  </a:lnTo>
                  <a:lnTo>
                    <a:pt x="232410" y="1127760"/>
                  </a:lnTo>
                  <a:lnTo>
                    <a:pt x="227648" y="1125855"/>
                  </a:lnTo>
                  <a:lnTo>
                    <a:pt x="224790" y="1123950"/>
                  </a:lnTo>
                  <a:lnTo>
                    <a:pt x="223838" y="1121093"/>
                  </a:lnTo>
                  <a:lnTo>
                    <a:pt x="222885" y="1112520"/>
                  </a:lnTo>
                  <a:lnTo>
                    <a:pt x="223838" y="1106805"/>
                  </a:lnTo>
                  <a:lnTo>
                    <a:pt x="226695" y="1102995"/>
                  </a:lnTo>
                  <a:lnTo>
                    <a:pt x="228600" y="1101090"/>
                  </a:lnTo>
                  <a:lnTo>
                    <a:pt x="233363" y="1100138"/>
                  </a:lnTo>
                  <a:lnTo>
                    <a:pt x="247650" y="1099185"/>
                  </a:lnTo>
                  <a:lnTo>
                    <a:pt x="252413" y="1098232"/>
                  </a:lnTo>
                  <a:lnTo>
                    <a:pt x="254318" y="1096328"/>
                  </a:lnTo>
                  <a:lnTo>
                    <a:pt x="257175" y="1091565"/>
                  </a:lnTo>
                  <a:lnTo>
                    <a:pt x="260032" y="1086803"/>
                  </a:lnTo>
                  <a:lnTo>
                    <a:pt x="263843" y="1083945"/>
                  </a:lnTo>
                  <a:lnTo>
                    <a:pt x="268605" y="1082040"/>
                  </a:lnTo>
                  <a:lnTo>
                    <a:pt x="270510" y="1081088"/>
                  </a:lnTo>
                  <a:lnTo>
                    <a:pt x="274320" y="1076325"/>
                  </a:lnTo>
                  <a:lnTo>
                    <a:pt x="277178" y="1066800"/>
                  </a:lnTo>
                  <a:lnTo>
                    <a:pt x="279082" y="1062038"/>
                  </a:lnTo>
                  <a:lnTo>
                    <a:pt x="282893" y="1057275"/>
                  </a:lnTo>
                  <a:lnTo>
                    <a:pt x="284798" y="1052513"/>
                  </a:lnTo>
                  <a:lnTo>
                    <a:pt x="284798" y="1034415"/>
                  </a:lnTo>
                  <a:lnTo>
                    <a:pt x="286703" y="1028700"/>
                  </a:lnTo>
                  <a:lnTo>
                    <a:pt x="287655" y="1027747"/>
                  </a:lnTo>
                  <a:lnTo>
                    <a:pt x="290513" y="1025843"/>
                  </a:lnTo>
                  <a:lnTo>
                    <a:pt x="295275" y="1024890"/>
                  </a:lnTo>
                  <a:lnTo>
                    <a:pt x="309563" y="1019175"/>
                  </a:lnTo>
                  <a:lnTo>
                    <a:pt x="311468" y="1017270"/>
                  </a:lnTo>
                  <a:lnTo>
                    <a:pt x="312420" y="1013460"/>
                  </a:lnTo>
                  <a:lnTo>
                    <a:pt x="312420" y="1007745"/>
                  </a:lnTo>
                  <a:lnTo>
                    <a:pt x="309563" y="995363"/>
                  </a:lnTo>
                  <a:lnTo>
                    <a:pt x="307657" y="990600"/>
                  </a:lnTo>
                  <a:lnTo>
                    <a:pt x="305753" y="985838"/>
                  </a:lnTo>
                  <a:lnTo>
                    <a:pt x="301943" y="982980"/>
                  </a:lnTo>
                  <a:lnTo>
                    <a:pt x="299085" y="982028"/>
                  </a:lnTo>
                  <a:lnTo>
                    <a:pt x="293370" y="981075"/>
                  </a:lnTo>
                  <a:lnTo>
                    <a:pt x="289560" y="980122"/>
                  </a:lnTo>
                  <a:lnTo>
                    <a:pt x="285750" y="977265"/>
                  </a:lnTo>
                  <a:lnTo>
                    <a:pt x="282893" y="972503"/>
                  </a:lnTo>
                  <a:lnTo>
                    <a:pt x="277178" y="947738"/>
                  </a:lnTo>
                  <a:lnTo>
                    <a:pt x="275273" y="942975"/>
                  </a:lnTo>
                  <a:lnTo>
                    <a:pt x="273368" y="940118"/>
                  </a:lnTo>
                  <a:lnTo>
                    <a:pt x="270510" y="939165"/>
                  </a:lnTo>
                  <a:lnTo>
                    <a:pt x="245745" y="930593"/>
                  </a:lnTo>
                  <a:lnTo>
                    <a:pt x="240982" y="927735"/>
                  </a:lnTo>
                  <a:lnTo>
                    <a:pt x="234315" y="922972"/>
                  </a:lnTo>
                  <a:lnTo>
                    <a:pt x="229553" y="920115"/>
                  </a:lnTo>
                  <a:lnTo>
                    <a:pt x="216218" y="917257"/>
                  </a:lnTo>
                  <a:lnTo>
                    <a:pt x="213360" y="915353"/>
                  </a:lnTo>
                  <a:lnTo>
                    <a:pt x="211455" y="912495"/>
                  </a:lnTo>
                  <a:lnTo>
                    <a:pt x="210503" y="910590"/>
                  </a:lnTo>
                  <a:lnTo>
                    <a:pt x="209550" y="899160"/>
                  </a:lnTo>
                  <a:lnTo>
                    <a:pt x="207645" y="891540"/>
                  </a:lnTo>
                  <a:lnTo>
                    <a:pt x="205740" y="887730"/>
                  </a:lnTo>
                  <a:lnTo>
                    <a:pt x="204788" y="884872"/>
                  </a:lnTo>
                  <a:lnTo>
                    <a:pt x="201930" y="882968"/>
                  </a:lnTo>
                  <a:lnTo>
                    <a:pt x="195263" y="882015"/>
                  </a:lnTo>
                  <a:lnTo>
                    <a:pt x="190500" y="879157"/>
                  </a:lnTo>
                  <a:lnTo>
                    <a:pt x="188595" y="877253"/>
                  </a:lnTo>
                  <a:lnTo>
                    <a:pt x="187643" y="874395"/>
                  </a:lnTo>
                  <a:lnTo>
                    <a:pt x="186690" y="869632"/>
                  </a:lnTo>
                  <a:lnTo>
                    <a:pt x="185738" y="842963"/>
                  </a:lnTo>
                  <a:lnTo>
                    <a:pt x="177165" y="806768"/>
                  </a:lnTo>
                  <a:lnTo>
                    <a:pt x="175260" y="802957"/>
                  </a:lnTo>
                  <a:lnTo>
                    <a:pt x="172403" y="801053"/>
                  </a:lnTo>
                  <a:lnTo>
                    <a:pt x="165735" y="799147"/>
                  </a:lnTo>
                  <a:lnTo>
                    <a:pt x="160973" y="796290"/>
                  </a:lnTo>
                  <a:lnTo>
                    <a:pt x="159068" y="793432"/>
                  </a:lnTo>
                  <a:lnTo>
                    <a:pt x="158115" y="790575"/>
                  </a:lnTo>
                  <a:lnTo>
                    <a:pt x="158115" y="784860"/>
                  </a:lnTo>
                  <a:lnTo>
                    <a:pt x="155257" y="774382"/>
                  </a:lnTo>
                  <a:lnTo>
                    <a:pt x="155257" y="768668"/>
                  </a:lnTo>
                  <a:lnTo>
                    <a:pt x="154305" y="760095"/>
                  </a:lnTo>
                  <a:lnTo>
                    <a:pt x="156210" y="743903"/>
                  </a:lnTo>
                  <a:lnTo>
                    <a:pt x="156210" y="738188"/>
                  </a:lnTo>
                  <a:lnTo>
                    <a:pt x="151448" y="717232"/>
                  </a:lnTo>
                  <a:lnTo>
                    <a:pt x="151448" y="711518"/>
                  </a:lnTo>
                  <a:lnTo>
                    <a:pt x="152400" y="708660"/>
                  </a:lnTo>
                  <a:lnTo>
                    <a:pt x="153353" y="706755"/>
                  </a:lnTo>
                  <a:lnTo>
                    <a:pt x="156210" y="703897"/>
                  </a:lnTo>
                  <a:lnTo>
                    <a:pt x="157163" y="701993"/>
                  </a:lnTo>
                  <a:lnTo>
                    <a:pt x="158115" y="698182"/>
                  </a:lnTo>
                  <a:lnTo>
                    <a:pt x="158115" y="692468"/>
                  </a:lnTo>
                  <a:lnTo>
                    <a:pt x="157163" y="689610"/>
                  </a:lnTo>
                  <a:lnTo>
                    <a:pt x="156210" y="686753"/>
                  </a:lnTo>
                  <a:lnTo>
                    <a:pt x="148590" y="681038"/>
                  </a:lnTo>
                  <a:lnTo>
                    <a:pt x="144780" y="677228"/>
                  </a:lnTo>
                  <a:lnTo>
                    <a:pt x="143828" y="674370"/>
                  </a:lnTo>
                  <a:lnTo>
                    <a:pt x="142875" y="668655"/>
                  </a:lnTo>
                  <a:lnTo>
                    <a:pt x="143828" y="661988"/>
                  </a:lnTo>
                  <a:lnTo>
                    <a:pt x="144780" y="655320"/>
                  </a:lnTo>
                  <a:lnTo>
                    <a:pt x="148590" y="651510"/>
                  </a:lnTo>
                  <a:lnTo>
                    <a:pt x="156210" y="648653"/>
                  </a:lnTo>
                  <a:lnTo>
                    <a:pt x="159068" y="645795"/>
                  </a:lnTo>
                  <a:lnTo>
                    <a:pt x="160020" y="641985"/>
                  </a:lnTo>
                  <a:lnTo>
                    <a:pt x="158115" y="638175"/>
                  </a:lnTo>
                  <a:lnTo>
                    <a:pt x="154305" y="637222"/>
                  </a:lnTo>
                  <a:lnTo>
                    <a:pt x="118110" y="641032"/>
                  </a:lnTo>
                  <a:lnTo>
                    <a:pt x="113348" y="642938"/>
                  </a:lnTo>
                  <a:lnTo>
                    <a:pt x="111443" y="644843"/>
                  </a:lnTo>
                  <a:lnTo>
                    <a:pt x="110490" y="647700"/>
                  </a:lnTo>
                  <a:lnTo>
                    <a:pt x="109538" y="653415"/>
                  </a:lnTo>
                  <a:lnTo>
                    <a:pt x="108585" y="656272"/>
                  </a:lnTo>
                  <a:lnTo>
                    <a:pt x="103823" y="662940"/>
                  </a:lnTo>
                  <a:lnTo>
                    <a:pt x="100965" y="668655"/>
                  </a:lnTo>
                  <a:lnTo>
                    <a:pt x="100013" y="670560"/>
                  </a:lnTo>
                  <a:lnTo>
                    <a:pt x="95250" y="672465"/>
                  </a:lnTo>
                  <a:lnTo>
                    <a:pt x="89535" y="670560"/>
                  </a:lnTo>
                  <a:lnTo>
                    <a:pt x="81915" y="666750"/>
                  </a:lnTo>
                  <a:lnTo>
                    <a:pt x="79057" y="665797"/>
                  </a:lnTo>
                  <a:lnTo>
                    <a:pt x="71438" y="666750"/>
                  </a:lnTo>
                  <a:lnTo>
                    <a:pt x="69532" y="667703"/>
                  </a:lnTo>
                  <a:lnTo>
                    <a:pt x="63818" y="672465"/>
                  </a:lnTo>
                  <a:lnTo>
                    <a:pt x="59055" y="674370"/>
                  </a:lnTo>
                  <a:lnTo>
                    <a:pt x="56198" y="674370"/>
                  </a:lnTo>
                  <a:lnTo>
                    <a:pt x="53340" y="674370"/>
                  </a:lnTo>
                  <a:lnTo>
                    <a:pt x="49530" y="672465"/>
                  </a:lnTo>
                  <a:lnTo>
                    <a:pt x="48578" y="670560"/>
                  </a:lnTo>
                  <a:lnTo>
                    <a:pt x="47625" y="667703"/>
                  </a:lnTo>
                  <a:lnTo>
                    <a:pt x="46673" y="655320"/>
                  </a:lnTo>
                  <a:lnTo>
                    <a:pt x="45720" y="649605"/>
                  </a:lnTo>
                  <a:lnTo>
                    <a:pt x="40005" y="636270"/>
                  </a:lnTo>
                  <a:lnTo>
                    <a:pt x="13335" y="548640"/>
                  </a:lnTo>
                  <a:lnTo>
                    <a:pt x="0" y="511493"/>
                  </a:lnTo>
                  <a:lnTo>
                    <a:pt x="60960" y="491490"/>
                  </a:lnTo>
                  <a:lnTo>
                    <a:pt x="127635" y="477203"/>
                  </a:lnTo>
                  <a:lnTo>
                    <a:pt x="200025" y="442913"/>
                  </a:lnTo>
                  <a:lnTo>
                    <a:pt x="205740" y="441007"/>
                  </a:lnTo>
                  <a:lnTo>
                    <a:pt x="232410" y="445770"/>
                  </a:lnTo>
                  <a:lnTo>
                    <a:pt x="277178" y="464820"/>
                  </a:lnTo>
                  <a:lnTo>
                    <a:pt x="331470" y="475297"/>
                  </a:lnTo>
                  <a:lnTo>
                    <a:pt x="365760" y="477203"/>
                  </a:lnTo>
                  <a:lnTo>
                    <a:pt x="370523" y="476250"/>
                  </a:lnTo>
                  <a:lnTo>
                    <a:pt x="375285" y="470535"/>
                  </a:lnTo>
                  <a:lnTo>
                    <a:pt x="378143" y="464820"/>
                  </a:lnTo>
                  <a:lnTo>
                    <a:pt x="379095" y="461963"/>
                  </a:lnTo>
                  <a:lnTo>
                    <a:pt x="382905" y="445770"/>
                  </a:lnTo>
                  <a:lnTo>
                    <a:pt x="382905" y="440055"/>
                  </a:lnTo>
                  <a:lnTo>
                    <a:pt x="380048" y="435293"/>
                  </a:lnTo>
                  <a:lnTo>
                    <a:pt x="377190" y="431482"/>
                  </a:lnTo>
                  <a:lnTo>
                    <a:pt x="366713" y="422910"/>
                  </a:lnTo>
                  <a:lnTo>
                    <a:pt x="364807" y="421005"/>
                  </a:lnTo>
                  <a:lnTo>
                    <a:pt x="364807" y="419100"/>
                  </a:lnTo>
                  <a:lnTo>
                    <a:pt x="365760" y="413385"/>
                  </a:lnTo>
                  <a:lnTo>
                    <a:pt x="373380" y="393382"/>
                  </a:lnTo>
                  <a:lnTo>
                    <a:pt x="377190" y="380047"/>
                  </a:lnTo>
                  <a:lnTo>
                    <a:pt x="381000" y="357188"/>
                  </a:lnTo>
                  <a:lnTo>
                    <a:pt x="384810" y="344805"/>
                  </a:lnTo>
                  <a:lnTo>
                    <a:pt x="390525" y="307657"/>
                  </a:lnTo>
                  <a:lnTo>
                    <a:pt x="390525" y="301943"/>
                  </a:lnTo>
                  <a:lnTo>
                    <a:pt x="388620" y="300990"/>
                  </a:lnTo>
                  <a:lnTo>
                    <a:pt x="385763" y="299085"/>
                  </a:lnTo>
                  <a:lnTo>
                    <a:pt x="373380" y="297180"/>
                  </a:lnTo>
                  <a:lnTo>
                    <a:pt x="363855" y="295275"/>
                  </a:lnTo>
                  <a:lnTo>
                    <a:pt x="360998" y="293370"/>
                  </a:lnTo>
                  <a:lnTo>
                    <a:pt x="360045" y="291465"/>
                  </a:lnTo>
                  <a:lnTo>
                    <a:pt x="360045" y="288607"/>
                  </a:lnTo>
                  <a:lnTo>
                    <a:pt x="361950" y="278130"/>
                  </a:lnTo>
                  <a:lnTo>
                    <a:pt x="361950" y="275272"/>
                  </a:lnTo>
                  <a:lnTo>
                    <a:pt x="360045" y="267653"/>
                  </a:lnTo>
                  <a:lnTo>
                    <a:pt x="360045" y="264795"/>
                  </a:lnTo>
                  <a:lnTo>
                    <a:pt x="360045" y="260985"/>
                  </a:lnTo>
                  <a:lnTo>
                    <a:pt x="361950" y="256222"/>
                  </a:lnTo>
                  <a:lnTo>
                    <a:pt x="366713" y="247650"/>
                  </a:lnTo>
                  <a:lnTo>
                    <a:pt x="368618" y="243840"/>
                  </a:lnTo>
                  <a:lnTo>
                    <a:pt x="368618" y="239078"/>
                  </a:lnTo>
                  <a:lnTo>
                    <a:pt x="367665" y="236220"/>
                  </a:lnTo>
                  <a:lnTo>
                    <a:pt x="364807" y="232410"/>
                  </a:lnTo>
                  <a:lnTo>
                    <a:pt x="323850" y="207645"/>
                  </a:lnTo>
                  <a:lnTo>
                    <a:pt x="320040" y="203835"/>
                  </a:lnTo>
                  <a:lnTo>
                    <a:pt x="318135" y="199072"/>
                  </a:lnTo>
                  <a:lnTo>
                    <a:pt x="318135" y="193357"/>
                  </a:lnTo>
                  <a:lnTo>
                    <a:pt x="320040" y="185738"/>
                  </a:lnTo>
                  <a:lnTo>
                    <a:pt x="321945" y="180022"/>
                  </a:lnTo>
                  <a:lnTo>
                    <a:pt x="324803" y="176213"/>
                  </a:lnTo>
                  <a:lnTo>
                    <a:pt x="339090" y="163830"/>
                  </a:lnTo>
                  <a:lnTo>
                    <a:pt x="341948" y="161925"/>
                  </a:lnTo>
                  <a:lnTo>
                    <a:pt x="364807" y="157163"/>
                  </a:lnTo>
                  <a:lnTo>
                    <a:pt x="370523" y="154305"/>
                  </a:lnTo>
                  <a:lnTo>
                    <a:pt x="373380" y="151447"/>
                  </a:lnTo>
                  <a:lnTo>
                    <a:pt x="375285" y="147638"/>
                  </a:lnTo>
                  <a:lnTo>
                    <a:pt x="376238" y="140970"/>
                  </a:lnTo>
                  <a:lnTo>
                    <a:pt x="375285" y="138113"/>
                  </a:lnTo>
                  <a:lnTo>
                    <a:pt x="374332" y="133350"/>
                  </a:lnTo>
                  <a:lnTo>
                    <a:pt x="371475" y="128588"/>
                  </a:lnTo>
                  <a:lnTo>
                    <a:pt x="368618" y="127635"/>
                  </a:lnTo>
                  <a:lnTo>
                    <a:pt x="349568" y="122872"/>
                  </a:lnTo>
                  <a:lnTo>
                    <a:pt x="343853" y="120015"/>
                  </a:lnTo>
                  <a:lnTo>
                    <a:pt x="340995" y="116205"/>
                  </a:lnTo>
                  <a:lnTo>
                    <a:pt x="338138" y="111443"/>
                  </a:lnTo>
                  <a:lnTo>
                    <a:pt x="338138" y="108585"/>
                  </a:lnTo>
                  <a:lnTo>
                    <a:pt x="338138" y="101918"/>
                  </a:lnTo>
                  <a:lnTo>
                    <a:pt x="336232" y="97155"/>
                  </a:lnTo>
                  <a:lnTo>
                    <a:pt x="334328" y="96203"/>
                  </a:lnTo>
                  <a:lnTo>
                    <a:pt x="331470" y="95250"/>
                  </a:lnTo>
                  <a:lnTo>
                    <a:pt x="325755" y="95250"/>
                  </a:lnTo>
                  <a:lnTo>
                    <a:pt x="323850" y="94297"/>
                  </a:lnTo>
                  <a:lnTo>
                    <a:pt x="321945" y="93345"/>
                  </a:lnTo>
                  <a:lnTo>
                    <a:pt x="320993" y="90488"/>
                  </a:lnTo>
                  <a:lnTo>
                    <a:pt x="320993" y="86678"/>
                  </a:lnTo>
                  <a:lnTo>
                    <a:pt x="322898" y="81915"/>
                  </a:lnTo>
                  <a:lnTo>
                    <a:pt x="325755" y="80010"/>
                  </a:lnTo>
                  <a:lnTo>
                    <a:pt x="332423" y="75247"/>
                  </a:lnTo>
                  <a:lnTo>
                    <a:pt x="334328" y="72390"/>
                  </a:lnTo>
                  <a:lnTo>
                    <a:pt x="335280" y="70485"/>
                  </a:lnTo>
                  <a:lnTo>
                    <a:pt x="336232" y="51435"/>
                  </a:lnTo>
                  <a:lnTo>
                    <a:pt x="337185" y="46672"/>
                  </a:lnTo>
                  <a:lnTo>
                    <a:pt x="339090" y="41910"/>
                  </a:lnTo>
                  <a:lnTo>
                    <a:pt x="338138" y="39053"/>
                  </a:lnTo>
                  <a:lnTo>
                    <a:pt x="335280" y="32385"/>
                  </a:lnTo>
                  <a:lnTo>
                    <a:pt x="333375" y="24765"/>
                  </a:lnTo>
                  <a:lnTo>
                    <a:pt x="332423" y="20955"/>
                  </a:lnTo>
                  <a:lnTo>
                    <a:pt x="333375" y="17145"/>
                  </a:lnTo>
                  <a:lnTo>
                    <a:pt x="335280" y="9525"/>
                  </a:lnTo>
                  <a:lnTo>
                    <a:pt x="338138" y="7620"/>
                  </a:lnTo>
                  <a:lnTo>
                    <a:pt x="340995" y="5715"/>
                  </a:lnTo>
                  <a:lnTo>
                    <a:pt x="346710" y="5715"/>
                  </a:lnTo>
                  <a:lnTo>
                    <a:pt x="349568" y="6668"/>
                  </a:lnTo>
                  <a:lnTo>
                    <a:pt x="351473" y="8572"/>
                  </a:lnTo>
                  <a:lnTo>
                    <a:pt x="351473" y="10478"/>
                  </a:lnTo>
                  <a:lnTo>
                    <a:pt x="351473" y="20003"/>
                  </a:lnTo>
                  <a:lnTo>
                    <a:pt x="351473" y="25718"/>
                  </a:lnTo>
                  <a:lnTo>
                    <a:pt x="352425" y="31432"/>
                  </a:lnTo>
                  <a:lnTo>
                    <a:pt x="354330" y="36195"/>
                  </a:lnTo>
                  <a:lnTo>
                    <a:pt x="356235" y="38100"/>
                  </a:lnTo>
                  <a:lnTo>
                    <a:pt x="359093" y="39053"/>
                  </a:lnTo>
                  <a:lnTo>
                    <a:pt x="389573" y="39053"/>
                  </a:lnTo>
                  <a:lnTo>
                    <a:pt x="402907" y="30480"/>
                  </a:lnTo>
                  <a:lnTo>
                    <a:pt x="421005" y="15240"/>
                  </a:lnTo>
                  <a:lnTo>
                    <a:pt x="428625" y="10478"/>
                  </a:lnTo>
                  <a:lnTo>
                    <a:pt x="434340" y="8572"/>
                  </a:lnTo>
                  <a:lnTo>
                    <a:pt x="440055" y="9525"/>
                  </a:lnTo>
                  <a:lnTo>
                    <a:pt x="444818" y="9525"/>
                  </a:lnTo>
                  <a:lnTo>
                    <a:pt x="454343" y="8572"/>
                  </a:lnTo>
                  <a:lnTo>
                    <a:pt x="459105" y="5715"/>
                  </a:lnTo>
                  <a:lnTo>
                    <a:pt x="461963" y="3810"/>
                  </a:lnTo>
                  <a:lnTo>
                    <a:pt x="473393" y="953"/>
                  </a:lnTo>
                  <a:lnTo>
                    <a:pt x="481965" y="953"/>
                  </a:lnTo>
                  <a:lnTo>
                    <a:pt x="487680" y="1905"/>
                  </a:lnTo>
                  <a:lnTo>
                    <a:pt x="501968" y="8572"/>
                  </a:lnTo>
                  <a:lnTo>
                    <a:pt x="506730" y="8572"/>
                  </a:lnTo>
                  <a:lnTo>
                    <a:pt x="511493" y="7620"/>
                  </a:lnTo>
                  <a:lnTo>
                    <a:pt x="520065" y="4763"/>
                  </a:lnTo>
                  <a:lnTo>
                    <a:pt x="548640" y="0"/>
                  </a:lnTo>
                  <a:lnTo>
                    <a:pt x="553403" y="0"/>
                  </a:lnTo>
                  <a:lnTo>
                    <a:pt x="564832" y="3810"/>
                  </a:lnTo>
                  <a:lnTo>
                    <a:pt x="599123" y="20955"/>
                  </a:lnTo>
                  <a:lnTo>
                    <a:pt x="681990" y="35243"/>
                  </a:lnTo>
                  <a:lnTo>
                    <a:pt x="689610" y="40005"/>
                  </a:lnTo>
                  <a:lnTo>
                    <a:pt x="694373" y="40005"/>
                  </a:lnTo>
                  <a:lnTo>
                    <a:pt x="699135" y="39053"/>
                  </a:lnTo>
                  <a:lnTo>
                    <a:pt x="707707" y="36195"/>
                  </a:lnTo>
                  <a:lnTo>
                    <a:pt x="713423" y="32385"/>
                  </a:lnTo>
                  <a:lnTo>
                    <a:pt x="724853" y="20003"/>
                  </a:lnTo>
                  <a:lnTo>
                    <a:pt x="733425" y="13335"/>
                  </a:lnTo>
                  <a:lnTo>
                    <a:pt x="738188" y="10478"/>
                  </a:lnTo>
                  <a:lnTo>
                    <a:pt x="760095" y="4763"/>
                  </a:lnTo>
                  <a:lnTo>
                    <a:pt x="775335" y="2857"/>
                  </a:lnTo>
                  <a:lnTo>
                    <a:pt x="781050" y="3810"/>
                  </a:lnTo>
                  <a:lnTo>
                    <a:pt x="786765" y="5715"/>
                  </a:lnTo>
                  <a:lnTo>
                    <a:pt x="790575" y="9525"/>
                  </a:lnTo>
                  <a:lnTo>
                    <a:pt x="794385" y="16193"/>
                  </a:lnTo>
                  <a:lnTo>
                    <a:pt x="801053" y="23813"/>
                  </a:lnTo>
                  <a:lnTo>
                    <a:pt x="805815" y="26670"/>
                  </a:lnTo>
                  <a:lnTo>
                    <a:pt x="831532" y="32385"/>
                  </a:lnTo>
                  <a:lnTo>
                    <a:pt x="834390" y="33338"/>
                  </a:lnTo>
                  <a:lnTo>
                    <a:pt x="838200" y="37147"/>
                  </a:lnTo>
                  <a:lnTo>
                    <a:pt x="845820" y="49530"/>
                  </a:lnTo>
                  <a:lnTo>
                    <a:pt x="850582" y="50482"/>
                  </a:lnTo>
                  <a:lnTo>
                    <a:pt x="856298" y="49530"/>
                  </a:lnTo>
                  <a:lnTo>
                    <a:pt x="884873" y="38100"/>
                  </a:lnTo>
                  <a:lnTo>
                    <a:pt x="916305" y="30480"/>
                  </a:lnTo>
                  <a:lnTo>
                    <a:pt x="922020" y="30480"/>
                  </a:lnTo>
                  <a:lnTo>
                    <a:pt x="925830" y="31432"/>
                  </a:lnTo>
                  <a:lnTo>
                    <a:pt x="927735" y="32385"/>
                  </a:lnTo>
                  <a:lnTo>
                    <a:pt x="929640" y="34290"/>
                  </a:lnTo>
                  <a:lnTo>
                    <a:pt x="931545" y="36195"/>
                  </a:lnTo>
                  <a:lnTo>
                    <a:pt x="931545" y="39053"/>
                  </a:lnTo>
                  <a:lnTo>
                    <a:pt x="931545" y="41910"/>
                  </a:lnTo>
                  <a:lnTo>
                    <a:pt x="929640" y="52388"/>
                  </a:lnTo>
                  <a:lnTo>
                    <a:pt x="928688" y="56197"/>
                  </a:lnTo>
                  <a:lnTo>
                    <a:pt x="929640" y="61913"/>
                  </a:lnTo>
                  <a:lnTo>
                    <a:pt x="932498" y="68580"/>
                  </a:lnTo>
                  <a:lnTo>
                    <a:pt x="932498" y="71438"/>
                  </a:lnTo>
                  <a:lnTo>
                    <a:pt x="932498" y="78105"/>
                  </a:lnTo>
                  <a:lnTo>
                    <a:pt x="933450" y="80010"/>
                  </a:lnTo>
                  <a:lnTo>
                    <a:pt x="936307" y="81915"/>
                  </a:lnTo>
                  <a:lnTo>
                    <a:pt x="942023" y="81915"/>
                  </a:lnTo>
                  <a:lnTo>
                    <a:pt x="946785" y="80963"/>
                  </a:lnTo>
                  <a:lnTo>
                    <a:pt x="963930" y="68580"/>
                  </a:lnTo>
                  <a:lnTo>
                    <a:pt x="967740" y="67628"/>
                  </a:lnTo>
                  <a:lnTo>
                    <a:pt x="970598" y="68580"/>
                  </a:lnTo>
                  <a:lnTo>
                    <a:pt x="972503" y="73343"/>
                  </a:lnTo>
                  <a:lnTo>
                    <a:pt x="971550" y="76200"/>
                  </a:lnTo>
                  <a:lnTo>
                    <a:pt x="968693" y="81915"/>
                  </a:lnTo>
                  <a:lnTo>
                    <a:pt x="962025" y="89535"/>
                  </a:lnTo>
                  <a:lnTo>
                    <a:pt x="959168" y="94297"/>
                  </a:lnTo>
                  <a:lnTo>
                    <a:pt x="958215" y="97155"/>
                  </a:lnTo>
                  <a:lnTo>
                    <a:pt x="958215" y="99060"/>
                  </a:lnTo>
                  <a:lnTo>
                    <a:pt x="961073" y="101918"/>
                  </a:lnTo>
                  <a:lnTo>
                    <a:pt x="968693" y="103822"/>
                  </a:lnTo>
                  <a:lnTo>
                    <a:pt x="971550" y="104775"/>
                  </a:lnTo>
                  <a:lnTo>
                    <a:pt x="973455" y="105728"/>
                  </a:lnTo>
                  <a:lnTo>
                    <a:pt x="976313" y="110490"/>
                  </a:lnTo>
                  <a:lnTo>
                    <a:pt x="977265" y="116205"/>
                  </a:lnTo>
                  <a:lnTo>
                    <a:pt x="978218" y="126682"/>
                  </a:lnTo>
                  <a:lnTo>
                    <a:pt x="978218" y="130493"/>
                  </a:lnTo>
                  <a:lnTo>
                    <a:pt x="977265" y="139065"/>
                  </a:lnTo>
                  <a:lnTo>
                    <a:pt x="978218" y="140970"/>
                  </a:lnTo>
                  <a:lnTo>
                    <a:pt x="984885" y="143828"/>
                  </a:lnTo>
                  <a:lnTo>
                    <a:pt x="986790" y="145732"/>
                  </a:lnTo>
                  <a:lnTo>
                    <a:pt x="988695" y="148590"/>
                  </a:lnTo>
                  <a:lnTo>
                    <a:pt x="992505" y="151447"/>
                  </a:lnTo>
                  <a:lnTo>
                    <a:pt x="1007745" y="150495"/>
                  </a:lnTo>
                  <a:lnTo>
                    <a:pt x="1008698" y="150495"/>
                  </a:lnTo>
                  <a:lnTo>
                    <a:pt x="1008698" y="153353"/>
                  </a:lnTo>
                  <a:lnTo>
                    <a:pt x="1007745" y="158115"/>
                  </a:lnTo>
                  <a:lnTo>
                    <a:pt x="1006793" y="163830"/>
                  </a:lnTo>
                  <a:lnTo>
                    <a:pt x="1008698" y="171450"/>
                  </a:lnTo>
                  <a:lnTo>
                    <a:pt x="1008698" y="174307"/>
                  </a:lnTo>
                  <a:lnTo>
                    <a:pt x="1008698" y="177165"/>
                  </a:lnTo>
                  <a:lnTo>
                    <a:pt x="1004888" y="185738"/>
                  </a:lnTo>
                  <a:lnTo>
                    <a:pt x="1000125" y="199072"/>
                  </a:lnTo>
                  <a:lnTo>
                    <a:pt x="999173" y="202882"/>
                  </a:lnTo>
                  <a:lnTo>
                    <a:pt x="996315" y="206693"/>
                  </a:lnTo>
                  <a:lnTo>
                    <a:pt x="993457" y="207645"/>
                  </a:lnTo>
                  <a:lnTo>
                    <a:pt x="990600" y="206693"/>
                  </a:lnTo>
                  <a:lnTo>
                    <a:pt x="986790" y="202882"/>
                  </a:lnTo>
                  <a:lnTo>
                    <a:pt x="984885" y="200978"/>
                  </a:lnTo>
                  <a:lnTo>
                    <a:pt x="980123" y="200978"/>
                  </a:lnTo>
                  <a:lnTo>
                    <a:pt x="979170" y="201930"/>
                  </a:lnTo>
                  <a:lnTo>
                    <a:pt x="978218" y="204788"/>
                  </a:lnTo>
                  <a:lnTo>
                    <a:pt x="979170" y="210503"/>
                  </a:lnTo>
                  <a:lnTo>
                    <a:pt x="980123" y="212407"/>
                  </a:lnTo>
                  <a:lnTo>
                    <a:pt x="984885" y="215265"/>
                  </a:lnTo>
                  <a:lnTo>
                    <a:pt x="986790" y="217170"/>
                  </a:lnTo>
                  <a:lnTo>
                    <a:pt x="987743" y="222885"/>
                  </a:lnTo>
                  <a:lnTo>
                    <a:pt x="988695" y="224790"/>
                  </a:lnTo>
                  <a:lnTo>
                    <a:pt x="993457" y="226695"/>
                  </a:lnTo>
                  <a:lnTo>
                    <a:pt x="995363" y="228600"/>
                  </a:lnTo>
                  <a:lnTo>
                    <a:pt x="999173" y="232410"/>
                  </a:lnTo>
                  <a:lnTo>
                    <a:pt x="1002982" y="232410"/>
                  </a:lnTo>
                  <a:lnTo>
                    <a:pt x="1026795" y="230505"/>
                  </a:lnTo>
                  <a:lnTo>
                    <a:pt x="1031557" y="228600"/>
                  </a:lnTo>
                  <a:lnTo>
                    <a:pt x="1033463" y="226695"/>
                  </a:lnTo>
                  <a:lnTo>
                    <a:pt x="1036320" y="220980"/>
                  </a:lnTo>
                  <a:lnTo>
                    <a:pt x="1038225" y="217170"/>
                  </a:lnTo>
                  <a:lnTo>
                    <a:pt x="1042035" y="212407"/>
                  </a:lnTo>
                  <a:lnTo>
                    <a:pt x="1045845" y="211455"/>
                  </a:lnTo>
                  <a:lnTo>
                    <a:pt x="1048703" y="210503"/>
                  </a:lnTo>
                  <a:lnTo>
                    <a:pt x="1054418" y="210503"/>
                  </a:lnTo>
                  <a:lnTo>
                    <a:pt x="1056323" y="212407"/>
                  </a:lnTo>
                  <a:lnTo>
                    <a:pt x="1057275" y="217170"/>
                  </a:lnTo>
                  <a:lnTo>
                    <a:pt x="1059180" y="234315"/>
                  </a:lnTo>
                  <a:lnTo>
                    <a:pt x="1060132" y="236220"/>
                  </a:lnTo>
                  <a:lnTo>
                    <a:pt x="1064895" y="238125"/>
                  </a:lnTo>
                  <a:lnTo>
                    <a:pt x="1077278" y="239078"/>
                  </a:lnTo>
                  <a:lnTo>
                    <a:pt x="1080135" y="240982"/>
                  </a:lnTo>
                  <a:lnTo>
                    <a:pt x="1082040" y="241935"/>
                  </a:lnTo>
                  <a:lnTo>
                    <a:pt x="1087755" y="247650"/>
                  </a:lnTo>
                  <a:lnTo>
                    <a:pt x="1091565" y="248603"/>
                  </a:lnTo>
                  <a:lnTo>
                    <a:pt x="1098232" y="249555"/>
                  </a:lnTo>
                  <a:lnTo>
                    <a:pt x="1109663" y="249555"/>
                  </a:lnTo>
                  <a:lnTo>
                    <a:pt x="1114425" y="248603"/>
                  </a:lnTo>
                  <a:lnTo>
                    <a:pt x="1118235" y="245745"/>
                  </a:lnTo>
                  <a:lnTo>
                    <a:pt x="1122045" y="240030"/>
                  </a:lnTo>
                  <a:lnTo>
                    <a:pt x="1123950" y="236220"/>
                  </a:lnTo>
                  <a:lnTo>
                    <a:pt x="1129665" y="231457"/>
                  </a:lnTo>
                  <a:lnTo>
                    <a:pt x="1134428" y="229553"/>
                  </a:lnTo>
                  <a:lnTo>
                    <a:pt x="1137285" y="228600"/>
                  </a:lnTo>
                  <a:lnTo>
                    <a:pt x="1143000" y="229553"/>
                  </a:lnTo>
                  <a:lnTo>
                    <a:pt x="1146810" y="233363"/>
                  </a:lnTo>
                  <a:lnTo>
                    <a:pt x="1149668" y="237172"/>
                  </a:lnTo>
                  <a:lnTo>
                    <a:pt x="1151573" y="239078"/>
                  </a:lnTo>
                  <a:lnTo>
                    <a:pt x="1153478" y="240030"/>
                  </a:lnTo>
                  <a:lnTo>
                    <a:pt x="1250632" y="22574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5" name="Полилиния: фигура 27">
              <a:extLst>
                <a:ext uri="{FF2B5EF4-FFF2-40B4-BE49-F238E27FC236}">
                  <a16:creationId xmlns:a16="http://schemas.microsoft.com/office/drawing/2014/main" id="{56D95DAA-DB2D-9ACF-A5E2-E1ABC2BB537C}"/>
                </a:ext>
              </a:extLst>
            </p:cNvPr>
            <p:cNvSpPr/>
            <p:nvPr/>
          </p:nvSpPr>
          <p:spPr>
            <a:xfrm>
              <a:off x="5589270" y="1689735"/>
              <a:ext cx="342900" cy="533400"/>
            </a:xfrm>
            <a:custGeom>
              <a:avLst/>
              <a:gdLst>
                <a:gd name="connsiteX0" fmla="*/ 346710 w 342900"/>
                <a:gd name="connsiteY0" fmla="*/ 70485 h 533400"/>
                <a:gd name="connsiteX1" fmla="*/ 326708 w 342900"/>
                <a:gd name="connsiteY1" fmla="*/ 93345 h 533400"/>
                <a:gd name="connsiteX2" fmla="*/ 311468 w 342900"/>
                <a:gd name="connsiteY2" fmla="*/ 102870 h 533400"/>
                <a:gd name="connsiteX3" fmla="*/ 299085 w 342900"/>
                <a:gd name="connsiteY3" fmla="*/ 121920 h 533400"/>
                <a:gd name="connsiteX4" fmla="*/ 298133 w 342900"/>
                <a:gd name="connsiteY4" fmla="*/ 134303 h 533400"/>
                <a:gd name="connsiteX5" fmla="*/ 307658 w 342900"/>
                <a:gd name="connsiteY5" fmla="*/ 149543 h 533400"/>
                <a:gd name="connsiteX6" fmla="*/ 301943 w 342900"/>
                <a:gd name="connsiteY6" fmla="*/ 159068 h 533400"/>
                <a:gd name="connsiteX7" fmla="*/ 302895 w 342900"/>
                <a:gd name="connsiteY7" fmla="*/ 189548 h 533400"/>
                <a:gd name="connsiteX8" fmla="*/ 332423 w 342900"/>
                <a:gd name="connsiteY8" fmla="*/ 235268 h 533400"/>
                <a:gd name="connsiteX9" fmla="*/ 333375 w 342900"/>
                <a:gd name="connsiteY9" fmla="*/ 249555 h 533400"/>
                <a:gd name="connsiteX10" fmla="*/ 348615 w 342900"/>
                <a:gd name="connsiteY10" fmla="*/ 260985 h 533400"/>
                <a:gd name="connsiteX11" fmla="*/ 340043 w 342900"/>
                <a:gd name="connsiteY11" fmla="*/ 278130 h 533400"/>
                <a:gd name="connsiteX12" fmla="*/ 319088 w 342900"/>
                <a:gd name="connsiteY12" fmla="*/ 278130 h 533400"/>
                <a:gd name="connsiteX13" fmla="*/ 320040 w 342900"/>
                <a:gd name="connsiteY13" fmla="*/ 311468 h 533400"/>
                <a:gd name="connsiteX14" fmla="*/ 300038 w 342900"/>
                <a:gd name="connsiteY14" fmla="*/ 314325 h 533400"/>
                <a:gd name="connsiteX15" fmla="*/ 283845 w 342900"/>
                <a:gd name="connsiteY15" fmla="*/ 297180 h 533400"/>
                <a:gd name="connsiteX16" fmla="*/ 280035 w 342900"/>
                <a:gd name="connsiteY16" fmla="*/ 311468 h 533400"/>
                <a:gd name="connsiteX17" fmla="*/ 280988 w 342900"/>
                <a:gd name="connsiteY17" fmla="*/ 336233 h 533400"/>
                <a:gd name="connsiteX18" fmla="*/ 270510 w 342900"/>
                <a:gd name="connsiteY18" fmla="*/ 340043 h 533400"/>
                <a:gd name="connsiteX19" fmla="*/ 255270 w 342900"/>
                <a:gd name="connsiteY19" fmla="*/ 334328 h 533400"/>
                <a:gd name="connsiteX20" fmla="*/ 243840 w 342900"/>
                <a:gd name="connsiteY20" fmla="*/ 337185 h 533400"/>
                <a:gd name="connsiteX21" fmla="*/ 240983 w 342900"/>
                <a:gd name="connsiteY21" fmla="*/ 325755 h 533400"/>
                <a:gd name="connsiteX22" fmla="*/ 221933 w 342900"/>
                <a:gd name="connsiteY22" fmla="*/ 332423 h 533400"/>
                <a:gd name="connsiteX23" fmla="*/ 228600 w 342900"/>
                <a:gd name="connsiteY23" fmla="*/ 345758 h 533400"/>
                <a:gd name="connsiteX24" fmla="*/ 222885 w 342900"/>
                <a:gd name="connsiteY24" fmla="*/ 352425 h 533400"/>
                <a:gd name="connsiteX25" fmla="*/ 238125 w 342900"/>
                <a:gd name="connsiteY25" fmla="*/ 393383 h 533400"/>
                <a:gd name="connsiteX26" fmla="*/ 247650 w 342900"/>
                <a:gd name="connsiteY26" fmla="*/ 423863 h 533400"/>
                <a:gd name="connsiteX27" fmla="*/ 240030 w 342900"/>
                <a:gd name="connsiteY27" fmla="*/ 450533 h 533400"/>
                <a:gd name="connsiteX28" fmla="*/ 229553 w 342900"/>
                <a:gd name="connsiteY28" fmla="*/ 451485 h 533400"/>
                <a:gd name="connsiteX29" fmla="*/ 233363 w 342900"/>
                <a:gd name="connsiteY29" fmla="*/ 473393 h 533400"/>
                <a:gd name="connsiteX30" fmla="*/ 244793 w 342900"/>
                <a:gd name="connsiteY30" fmla="*/ 502920 h 533400"/>
                <a:gd name="connsiteX31" fmla="*/ 239078 w 342900"/>
                <a:gd name="connsiteY31" fmla="*/ 511493 h 533400"/>
                <a:gd name="connsiteX32" fmla="*/ 243840 w 342900"/>
                <a:gd name="connsiteY32" fmla="*/ 524828 h 533400"/>
                <a:gd name="connsiteX33" fmla="*/ 211455 w 342900"/>
                <a:gd name="connsiteY33" fmla="*/ 541020 h 533400"/>
                <a:gd name="connsiteX34" fmla="*/ 209550 w 342900"/>
                <a:gd name="connsiteY34" fmla="*/ 502920 h 533400"/>
                <a:gd name="connsiteX35" fmla="*/ 201930 w 342900"/>
                <a:gd name="connsiteY35" fmla="*/ 477203 h 533400"/>
                <a:gd name="connsiteX36" fmla="*/ 187643 w 342900"/>
                <a:gd name="connsiteY36" fmla="*/ 472440 h 533400"/>
                <a:gd name="connsiteX37" fmla="*/ 184785 w 342900"/>
                <a:gd name="connsiteY37" fmla="*/ 432435 h 533400"/>
                <a:gd name="connsiteX38" fmla="*/ 171450 w 342900"/>
                <a:gd name="connsiteY38" fmla="*/ 432435 h 533400"/>
                <a:gd name="connsiteX39" fmla="*/ 177165 w 342900"/>
                <a:gd name="connsiteY39" fmla="*/ 396240 h 533400"/>
                <a:gd name="connsiteX40" fmla="*/ 162878 w 342900"/>
                <a:gd name="connsiteY40" fmla="*/ 383858 h 533400"/>
                <a:gd name="connsiteX41" fmla="*/ 153353 w 342900"/>
                <a:gd name="connsiteY41" fmla="*/ 387668 h 533400"/>
                <a:gd name="connsiteX42" fmla="*/ 152400 w 342900"/>
                <a:gd name="connsiteY42" fmla="*/ 374333 h 533400"/>
                <a:gd name="connsiteX43" fmla="*/ 142875 w 342900"/>
                <a:gd name="connsiteY43" fmla="*/ 369570 h 533400"/>
                <a:gd name="connsiteX44" fmla="*/ 140970 w 342900"/>
                <a:gd name="connsiteY44" fmla="*/ 354330 h 533400"/>
                <a:gd name="connsiteX45" fmla="*/ 137160 w 342900"/>
                <a:gd name="connsiteY45" fmla="*/ 335280 h 533400"/>
                <a:gd name="connsiteX46" fmla="*/ 128588 w 342900"/>
                <a:gd name="connsiteY46" fmla="*/ 337185 h 533400"/>
                <a:gd name="connsiteX47" fmla="*/ 119063 w 342900"/>
                <a:gd name="connsiteY47" fmla="*/ 337185 h 533400"/>
                <a:gd name="connsiteX48" fmla="*/ 115253 w 342900"/>
                <a:gd name="connsiteY48" fmla="*/ 318135 h 533400"/>
                <a:gd name="connsiteX49" fmla="*/ 120015 w 342900"/>
                <a:gd name="connsiteY49" fmla="*/ 301943 h 533400"/>
                <a:gd name="connsiteX50" fmla="*/ 107633 w 342900"/>
                <a:gd name="connsiteY50" fmla="*/ 280035 h 533400"/>
                <a:gd name="connsiteX51" fmla="*/ 91440 w 342900"/>
                <a:gd name="connsiteY51" fmla="*/ 265748 h 533400"/>
                <a:gd name="connsiteX52" fmla="*/ 77153 w 342900"/>
                <a:gd name="connsiteY52" fmla="*/ 248603 h 533400"/>
                <a:gd name="connsiteX53" fmla="*/ 70485 w 342900"/>
                <a:gd name="connsiteY53" fmla="*/ 216218 h 533400"/>
                <a:gd name="connsiteX54" fmla="*/ 61913 w 342900"/>
                <a:gd name="connsiteY54" fmla="*/ 210503 h 533400"/>
                <a:gd name="connsiteX55" fmla="*/ 50483 w 342900"/>
                <a:gd name="connsiteY55" fmla="*/ 217170 h 533400"/>
                <a:gd name="connsiteX56" fmla="*/ 27623 w 342900"/>
                <a:gd name="connsiteY56" fmla="*/ 210503 h 533400"/>
                <a:gd name="connsiteX57" fmla="*/ 20003 w 342900"/>
                <a:gd name="connsiteY57" fmla="*/ 237173 h 533400"/>
                <a:gd name="connsiteX58" fmla="*/ 11430 w 342900"/>
                <a:gd name="connsiteY58" fmla="*/ 235268 h 533400"/>
                <a:gd name="connsiteX59" fmla="*/ 5715 w 342900"/>
                <a:gd name="connsiteY59" fmla="*/ 243840 h 533400"/>
                <a:gd name="connsiteX60" fmla="*/ 0 w 342900"/>
                <a:gd name="connsiteY60" fmla="*/ 233363 h 533400"/>
                <a:gd name="connsiteX61" fmla="*/ 2858 w 342900"/>
                <a:gd name="connsiteY61" fmla="*/ 212408 h 533400"/>
                <a:gd name="connsiteX62" fmla="*/ 3810 w 342900"/>
                <a:gd name="connsiteY62" fmla="*/ 198120 h 533400"/>
                <a:gd name="connsiteX63" fmla="*/ 9525 w 342900"/>
                <a:gd name="connsiteY63" fmla="*/ 185738 h 533400"/>
                <a:gd name="connsiteX64" fmla="*/ 8573 w 342900"/>
                <a:gd name="connsiteY64" fmla="*/ 171450 h 533400"/>
                <a:gd name="connsiteX65" fmla="*/ 7620 w 342900"/>
                <a:gd name="connsiteY65" fmla="*/ 158115 h 533400"/>
                <a:gd name="connsiteX66" fmla="*/ 14288 w 342900"/>
                <a:gd name="connsiteY66" fmla="*/ 150495 h 533400"/>
                <a:gd name="connsiteX67" fmla="*/ 17145 w 342900"/>
                <a:gd name="connsiteY67" fmla="*/ 135255 h 533400"/>
                <a:gd name="connsiteX68" fmla="*/ 14288 w 342900"/>
                <a:gd name="connsiteY68" fmla="*/ 119063 h 533400"/>
                <a:gd name="connsiteX69" fmla="*/ 17145 w 342900"/>
                <a:gd name="connsiteY69" fmla="*/ 104775 h 533400"/>
                <a:gd name="connsiteX70" fmla="*/ 28575 w 342900"/>
                <a:gd name="connsiteY70" fmla="*/ 94298 h 533400"/>
                <a:gd name="connsiteX71" fmla="*/ 39053 w 342900"/>
                <a:gd name="connsiteY71" fmla="*/ 84773 h 533400"/>
                <a:gd name="connsiteX72" fmla="*/ 39053 w 342900"/>
                <a:gd name="connsiteY72" fmla="*/ 69533 h 533400"/>
                <a:gd name="connsiteX73" fmla="*/ 34290 w 342900"/>
                <a:gd name="connsiteY73" fmla="*/ 56198 h 533400"/>
                <a:gd name="connsiteX74" fmla="*/ 43815 w 342900"/>
                <a:gd name="connsiteY74" fmla="*/ 50483 h 533400"/>
                <a:gd name="connsiteX75" fmla="*/ 53340 w 342900"/>
                <a:gd name="connsiteY75" fmla="*/ 65723 h 533400"/>
                <a:gd name="connsiteX76" fmla="*/ 56198 w 342900"/>
                <a:gd name="connsiteY76" fmla="*/ 49530 h 533400"/>
                <a:gd name="connsiteX77" fmla="*/ 44768 w 342900"/>
                <a:gd name="connsiteY77" fmla="*/ 29528 h 533400"/>
                <a:gd name="connsiteX78" fmla="*/ 78105 w 342900"/>
                <a:gd name="connsiteY78" fmla="*/ 25718 h 533400"/>
                <a:gd name="connsiteX79" fmla="*/ 78105 w 342900"/>
                <a:gd name="connsiteY79" fmla="*/ 4763 h 533400"/>
                <a:gd name="connsiteX80" fmla="*/ 130493 w 342900"/>
                <a:gd name="connsiteY80" fmla="*/ 4763 h 533400"/>
                <a:gd name="connsiteX81" fmla="*/ 133350 w 342900"/>
                <a:gd name="connsiteY81" fmla="*/ 28575 h 533400"/>
                <a:gd name="connsiteX82" fmla="*/ 145733 w 342900"/>
                <a:gd name="connsiteY82" fmla="*/ 31433 h 533400"/>
                <a:gd name="connsiteX83" fmla="*/ 153353 w 342900"/>
                <a:gd name="connsiteY83" fmla="*/ 60008 h 533400"/>
                <a:gd name="connsiteX84" fmla="*/ 167640 w 342900"/>
                <a:gd name="connsiteY84" fmla="*/ 74295 h 533400"/>
                <a:gd name="connsiteX85" fmla="*/ 178118 w 342900"/>
                <a:gd name="connsiteY85" fmla="*/ 91440 h 533400"/>
                <a:gd name="connsiteX86" fmla="*/ 191453 w 342900"/>
                <a:gd name="connsiteY86" fmla="*/ 99060 h 533400"/>
                <a:gd name="connsiteX87" fmla="*/ 186690 w 342900"/>
                <a:gd name="connsiteY87" fmla="*/ 80010 h 533400"/>
                <a:gd name="connsiteX88" fmla="*/ 193358 w 342900"/>
                <a:gd name="connsiteY88" fmla="*/ 72390 h 533400"/>
                <a:gd name="connsiteX89" fmla="*/ 243840 w 342900"/>
                <a:gd name="connsiteY89" fmla="*/ 77153 h 533400"/>
                <a:gd name="connsiteX90" fmla="*/ 252413 w 342900"/>
                <a:gd name="connsiteY90" fmla="*/ 54293 h 533400"/>
                <a:gd name="connsiteX91" fmla="*/ 269558 w 342900"/>
                <a:gd name="connsiteY91" fmla="*/ 47625 h 533400"/>
                <a:gd name="connsiteX92" fmla="*/ 280988 w 342900"/>
                <a:gd name="connsiteY92" fmla="*/ 37148 h 533400"/>
                <a:gd name="connsiteX93" fmla="*/ 280035 w 342900"/>
                <a:gd name="connsiteY93" fmla="*/ 13335 h 533400"/>
                <a:gd name="connsiteX94" fmla="*/ 291465 w 342900"/>
                <a:gd name="connsiteY94" fmla="*/ 0 h 533400"/>
                <a:gd name="connsiteX95" fmla="*/ 320040 w 342900"/>
                <a:gd name="connsiteY95" fmla="*/ 12383 h 533400"/>
                <a:gd name="connsiteX96" fmla="*/ 342900 w 342900"/>
                <a:gd name="connsiteY96" fmla="*/ 24765 h 533400"/>
                <a:gd name="connsiteX97" fmla="*/ 346710 w 342900"/>
                <a:gd name="connsiteY97" fmla="*/ 70485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42900" h="533400">
                  <a:moveTo>
                    <a:pt x="346710" y="70485"/>
                  </a:moveTo>
                  <a:lnTo>
                    <a:pt x="326708" y="93345"/>
                  </a:lnTo>
                  <a:lnTo>
                    <a:pt x="311468" y="102870"/>
                  </a:lnTo>
                  <a:lnTo>
                    <a:pt x="299085" y="121920"/>
                  </a:lnTo>
                  <a:lnTo>
                    <a:pt x="298133" y="134303"/>
                  </a:lnTo>
                  <a:lnTo>
                    <a:pt x="307658" y="149543"/>
                  </a:lnTo>
                  <a:lnTo>
                    <a:pt x="301943" y="159068"/>
                  </a:lnTo>
                  <a:lnTo>
                    <a:pt x="302895" y="189548"/>
                  </a:lnTo>
                  <a:lnTo>
                    <a:pt x="332423" y="235268"/>
                  </a:lnTo>
                  <a:lnTo>
                    <a:pt x="333375" y="249555"/>
                  </a:lnTo>
                  <a:lnTo>
                    <a:pt x="348615" y="260985"/>
                  </a:lnTo>
                  <a:lnTo>
                    <a:pt x="340043" y="278130"/>
                  </a:lnTo>
                  <a:lnTo>
                    <a:pt x="319088" y="278130"/>
                  </a:lnTo>
                  <a:lnTo>
                    <a:pt x="320040" y="311468"/>
                  </a:lnTo>
                  <a:lnTo>
                    <a:pt x="300038" y="314325"/>
                  </a:lnTo>
                  <a:lnTo>
                    <a:pt x="283845" y="297180"/>
                  </a:lnTo>
                  <a:lnTo>
                    <a:pt x="280035" y="311468"/>
                  </a:lnTo>
                  <a:lnTo>
                    <a:pt x="280988" y="336233"/>
                  </a:lnTo>
                  <a:lnTo>
                    <a:pt x="270510" y="340043"/>
                  </a:lnTo>
                  <a:lnTo>
                    <a:pt x="255270" y="334328"/>
                  </a:lnTo>
                  <a:lnTo>
                    <a:pt x="243840" y="337185"/>
                  </a:lnTo>
                  <a:lnTo>
                    <a:pt x="240983" y="325755"/>
                  </a:lnTo>
                  <a:lnTo>
                    <a:pt x="221933" y="332423"/>
                  </a:lnTo>
                  <a:lnTo>
                    <a:pt x="228600" y="345758"/>
                  </a:lnTo>
                  <a:lnTo>
                    <a:pt x="222885" y="352425"/>
                  </a:lnTo>
                  <a:lnTo>
                    <a:pt x="238125" y="393383"/>
                  </a:lnTo>
                  <a:lnTo>
                    <a:pt x="247650" y="423863"/>
                  </a:lnTo>
                  <a:lnTo>
                    <a:pt x="240030" y="450533"/>
                  </a:lnTo>
                  <a:lnTo>
                    <a:pt x="229553" y="451485"/>
                  </a:lnTo>
                  <a:lnTo>
                    <a:pt x="233363" y="473393"/>
                  </a:lnTo>
                  <a:lnTo>
                    <a:pt x="244793" y="502920"/>
                  </a:lnTo>
                  <a:lnTo>
                    <a:pt x="239078" y="511493"/>
                  </a:lnTo>
                  <a:lnTo>
                    <a:pt x="243840" y="524828"/>
                  </a:lnTo>
                  <a:lnTo>
                    <a:pt x="211455" y="541020"/>
                  </a:lnTo>
                  <a:lnTo>
                    <a:pt x="209550" y="502920"/>
                  </a:lnTo>
                  <a:lnTo>
                    <a:pt x="201930" y="477203"/>
                  </a:lnTo>
                  <a:lnTo>
                    <a:pt x="187643" y="472440"/>
                  </a:lnTo>
                  <a:lnTo>
                    <a:pt x="184785" y="432435"/>
                  </a:lnTo>
                  <a:lnTo>
                    <a:pt x="171450" y="432435"/>
                  </a:lnTo>
                  <a:lnTo>
                    <a:pt x="177165" y="396240"/>
                  </a:lnTo>
                  <a:lnTo>
                    <a:pt x="162878" y="383858"/>
                  </a:lnTo>
                  <a:lnTo>
                    <a:pt x="153353" y="387668"/>
                  </a:lnTo>
                  <a:lnTo>
                    <a:pt x="152400" y="374333"/>
                  </a:lnTo>
                  <a:lnTo>
                    <a:pt x="142875" y="369570"/>
                  </a:lnTo>
                  <a:lnTo>
                    <a:pt x="140970" y="354330"/>
                  </a:lnTo>
                  <a:lnTo>
                    <a:pt x="137160" y="335280"/>
                  </a:lnTo>
                  <a:lnTo>
                    <a:pt x="128588" y="337185"/>
                  </a:lnTo>
                  <a:lnTo>
                    <a:pt x="119063" y="337185"/>
                  </a:lnTo>
                  <a:lnTo>
                    <a:pt x="115253" y="318135"/>
                  </a:lnTo>
                  <a:lnTo>
                    <a:pt x="120015" y="301943"/>
                  </a:lnTo>
                  <a:lnTo>
                    <a:pt x="107633" y="280035"/>
                  </a:lnTo>
                  <a:lnTo>
                    <a:pt x="91440" y="265748"/>
                  </a:lnTo>
                  <a:lnTo>
                    <a:pt x="77153" y="248603"/>
                  </a:lnTo>
                  <a:lnTo>
                    <a:pt x="70485" y="216218"/>
                  </a:lnTo>
                  <a:lnTo>
                    <a:pt x="61913" y="210503"/>
                  </a:lnTo>
                  <a:lnTo>
                    <a:pt x="50483" y="217170"/>
                  </a:lnTo>
                  <a:lnTo>
                    <a:pt x="27623" y="210503"/>
                  </a:lnTo>
                  <a:lnTo>
                    <a:pt x="20003" y="237173"/>
                  </a:lnTo>
                  <a:lnTo>
                    <a:pt x="11430" y="235268"/>
                  </a:lnTo>
                  <a:lnTo>
                    <a:pt x="5715" y="243840"/>
                  </a:lnTo>
                  <a:lnTo>
                    <a:pt x="0" y="233363"/>
                  </a:lnTo>
                  <a:lnTo>
                    <a:pt x="2858" y="212408"/>
                  </a:lnTo>
                  <a:lnTo>
                    <a:pt x="3810" y="198120"/>
                  </a:lnTo>
                  <a:lnTo>
                    <a:pt x="9525" y="185738"/>
                  </a:lnTo>
                  <a:lnTo>
                    <a:pt x="8573" y="171450"/>
                  </a:lnTo>
                  <a:lnTo>
                    <a:pt x="7620" y="158115"/>
                  </a:lnTo>
                  <a:lnTo>
                    <a:pt x="14288" y="150495"/>
                  </a:lnTo>
                  <a:lnTo>
                    <a:pt x="17145" y="135255"/>
                  </a:lnTo>
                  <a:lnTo>
                    <a:pt x="14288" y="119063"/>
                  </a:lnTo>
                  <a:lnTo>
                    <a:pt x="17145" y="104775"/>
                  </a:lnTo>
                  <a:lnTo>
                    <a:pt x="28575" y="94298"/>
                  </a:lnTo>
                  <a:lnTo>
                    <a:pt x="39053" y="84773"/>
                  </a:lnTo>
                  <a:lnTo>
                    <a:pt x="39053" y="69533"/>
                  </a:lnTo>
                  <a:lnTo>
                    <a:pt x="34290" y="56198"/>
                  </a:lnTo>
                  <a:lnTo>
                    <a:pt x="43815" y="50483"/>
                  </a:lnTo>
                  <a:lnTo>
                    <a:pt x="53340" y="65723"/>
                  </a:lnTo>
                  <a:lnTo>
                    <a:pt x="56198" y="49530"/>
                  </a:lnTo>
                  <a:lnTo>
                    <a:pt x="44768" y="29528"/>
                  </a:lnTo>
                  <a:lnTo>
                    <a:pt x="78105" y="25718"/>
                  </a:lnTo>
                  <a:lnTo>
                    <a:pt x="78105" y="4763"/>
                  </a:lnTo>
                  <a:lnTo>
                    <a:pt x="130493" y="4763"/>
                  </a:lnTo>
                  <a:lnTo>
                    <a:pt x="133350" y="28575"/>
                  </a:lnTo>
                  <a:lnTo>
                    <a:pt x="145733" y="31433"/>
                  </a:lnTo>
                  <a:lnTo>
                    <a:pt x="153353" y="60008"/>
                  </a:lnTo>
                  <a:lnTo>
                    <a:pt x="167640" y="74295"/>
                  </a:lnTo>
                  <a:lnTo>
                    <a:pt x="178118" y="91440"/>
                  </a:lnTo>
                  <a:lnTo>
                    <a:pt x="191453" y="99060"/>
                  </a:lnTo>
                  <a:lnTo>
                    <a:pt x="186690" y="80010"/>
                  </a:lnTo>
                  <a:lnTo>
                    <a:pt x="193358" y="72390"/>
                  </a:lnTo>
                  <a:lnTo>
                    <a:pt x="243840" y="77153"/>
                  </a:lnTo>
                  <a:lnTo>
                    <a:pt x="252413" y="54293"/>
                  </a:lnTo>
                  <a:lnTo>
                    <a:pt x="269558" y="47625"/>
                  </a:lnTo>
                  <a:lnTo>
                    <a:pt x="280988" y="37148"/>
                  </a:lnTo>
                  <a:lnTo>
                    <a:pt x="280035" y="13335"/>
                  </a:lnTo>
                  <a:lnTo>
                    <a:pt x="291465" y="0"/>
                  </a:lnTo>
                  <a:lnTo>
                    <a:pt x="320040" y="12383"/>
                  </a:lnTo>
                  <a:lnTo>
                    <a:pt x="342900" y="24765"/>
                  </a:lnTo>
                  <a:lnTo>
                    <a:pt x="346710" y="7048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6" name="Полилиния: фигура 28">
              <a:extLst>
                <a:ext uri="{FF2B5EF4-FFF2-40B4-BE49-F238E27FC236}">
                  <a16:creationId xmlns:a16="http://schemas.microsoft.com/office/drawing/2014/main" id="{FC9C6D5C-00C2-D3CA-C260-2CEF06D398CB}"/>
                </a:ext>
              </a:extLst>
            </p:cNvPr>
            <p:cNvSpPr/>
            <p:nvPr/>
          </p:nvSpPr>
          <p:spPr>
            <a:xfrm>
              <a:off x="6284595" y="4178618"/>
              <a:ext cx="1990725" cy="1428750"/>
            </a:xfrm>
            <a:custGeom>
              <a:avLst/>
              <a:gdLst>
                <a:gd name="connsiteX0" fmla="*/ 599123 w 1990725"/>
                <a:gd name="connsiteY0" fmla="*/ 1174432 h 1428750"/>
                <a:gd name="connsiteX1" fmla="*/ 674370 w 1990725"/>
                <a:gd name="connsiteY1" fmla="*/ 1183957 h 1428750"/>
                <a:gd name="connsiteX2" fmla="*/ 710565 w 1990725"/>
                <a:gd name="connsiteY2" fmla="*/ 1177290 h 1428750"/>
                <a:gd name="connsiteX3" fmla="*/ 726757 w 1990725"/>
                <a:gd name="connsiteY3" fmla="*/ 1177290 h 1428750"/>
                <a:gd name="connsiteX4" fmla="*/ 742950 w 1990725"/>
                <a:gd name="connsiteY4" fmla="*/ 1190625 h 1428750"/>
                <a:gd name="connsiteX5" fmla="*/ 764857 w 1990725"/>
                <a:gd name="connsiteY5" fmla="*/ 1180147 h 1428750"/>
                <a:gd name="connsiteX6" fmla="*/ 778193 w 1990725"/>
                <a:gd name="connsiteY6" fmla="*/ 1179195 h 1428750"/>
                <a:gd name="connsiteX7" fmla="*/ 782955 w 1990725"/>
                <a:gd name="connsiteY7" fmla="*/ 1186815 h 1428750"/>
                <a:gd name="connsiteX8" fmla="*/ 788670 w 1990725"/>
                <a:gd name="connsiteY8" fmla="*/ 1192530 h 1428750"/>
                <a:gd name="connsiteX9" fmla="*/ 812482 w 1990725"/>
                <a:gd name="connsiteY9" fmla="*/ 1190625 h 1428750"/>
                <a:gd name="connsiteX10" fmla="*/ 819150 w 1990725"/>
                <a:gd name="connsiteY10" fmla="*/ 1200150 h 1428750"/>
                <a:gd name="connsiteX11" fmla="*/ 809625 w 1990725"/>
                <a:gd name="connsiteY11" fmla="*/ 1210627 h 1428750"/>
                <a:gd name="connsiteX12" fmla="*/ 588645 w 1990725"/>
                <a:gd name="connsiteY12" fmla="*/ 1174432 h 1428750"/>
                <a:gd name="connsiteX13" fmla="*/ 592455 w 1990725"/>
                <a:gd name="connsiteY13" fmla="*/ 1169670 h 1428750"/>
                <a:gd name="connsiteX14" fmla="*/ 594360 w 1990725"/>
                <a:gd name="connsiteY14" fmla="*/ 1169670 h 1428750"/>
                <a:gd name="connsiteX15" fmla="*/ 599123 w 1990725"/>
                <a:gd name="connsiteY15" fmla="*/ 1174432 h 1428750"/>
                <a:gd name="connsiteX16" fmla="*/ 1983105 w 1990725"/>
                <a:gd name="connsiteY16" fmla="*/ 1021080 h 1428750"/>
                <a:gd name="connsiteX17" fmla="*/ 1990725 w 1990725"/>
                <a:gd name="connsiteY17" fmla="*/ 1025843 h 1428750"/>
                <a:gd name="connsiteX18" fmla="*/ 1982153 w 1990725"/>
                <a:gd name="connsiteY18" fmla="*/ 1035368 h 1428750"/>
                <a:gd name="connsiteX19" fmla="*/ 1954530 w 1990725"/>
                <a:gd name="connsiteY19" fmla="*/ 1090613 h 1428750"/>
                <a:gd name="connsiteX20" fmla="*/ 1941195 w 1990725"/>
                <a:gd name="connsiteY20" fmla="*/ 1108710 h 1428750"/>
                <a:gd name="connsiteX21" fmla="*/ 1928813 w 1990725"/>
                <a:gd name="connsiteY21" fmla="*/ 1122045 h 1428750"/>
                <a:gd name="connsiteX22" fmla="*/ 1907857 w 1990725"/>
                <a:gd name="connsiteY22" fmla="*/ 1129665 h 1428750"/>
                <a:gd name="connsiteX23" fmla="*/ 1894523 w 1990725"/>
                <a:gd name="connsiteY23" fmla="*/ 1140143 h 1428750"/>
                <a:gd name="connsiteX24" fmla="*/ 1876425 w 1990725"/>
                <a:gd name="connsiteY24" fmla="*/ 1144905 h 1428750"/>
                <a:gd name="connsiteX25" fmla="*/ 1864043 w 1990725"/>
                <a:gd name="connsiteY25" fmla="*/ 1154430 h 1428750"/>
                <a:gd name="connsiteX26" fmla="*/ 1844040 w 1990725"/>
                <a:gd name="connsiteY26" fmla="*/ 1163955 h 1428750"/>
                <a:gd name="connsiteX27" fmla="*/ 1834515 w 1990725"/>
                <a:gd name="connsiteY27" fmla="*/ 1160145 h 1428750"/>
                <a:gd name="connsiteX28" fmla="*/ 1835468 w 1990725"/>
                <a:gd name="connsiteY28" fmla="*/ 1153477 h 1428750"/>
                <a:gd name="connsiteX29" fmla="*/ 1852613 w 1990725"/>
                <a:gd name="connsiteY29" fmla="*/ 1133475 h 1428750"/>
                <a:gd name="connsiteX30" fmla="*/ 1870710 w 1990725"/>
                <a:gd name="connsiteY30" fmla="*/ 1122045 h 1428750"/>
                <a:gd name="connsiteX31" fmla="*/ 1869757 w 1990725"/>
                <a:gd name="connsiteY31" fmla="*/ 1119188 h 1428750"/>
                <a:gd name="connsiteX32" fmla="*/ 1866900 w 1990725"/>
                <a:gd name="connsiteY32" fmla="*/ 1111568 h 1428750"/>
                <a:gd name="connsiteX33" fmla="*/ 1922145 w 1990725"/>
                <a:gd name="connsiteY33" fmla="*/ 1094422 h 1428750"/>
                <a:gd name="connsiteX34" fmla="*/ 1949768 w 1990725"/>
                <a:gd name="connsiteY34" fmla="*/ 1080135 h 1428750"/>
                <a:gd name="connsiteX35" fmla="*/ 1964055 w 1990725"/>
                <a:gd name="connsiteY35" fmla="*/ 1050607 h 1428750"/>
                <a:gd name="connsiteX36" fmla="*/ 1976438 w 1990725"/>
                <a:gd name="connsiteY36" fmla="*/ 1036320 h 1428750"/>
                <a:gd name="connsiteX37" fmla="*/ 1982153 w 1990725"/>
                <a:gd name="connsiteY37" fmla="*/ 1023938 h 1428750"/>
                <a:gd name="connsiteX38" fmla="*/ 1983105 w 1990725"/>
                <a:gd name="connsiteY38" fmla="*/ 1021080 h 1428750"/>
                <a:gd name="connsiteX39" fmla="*/ 341948 w 1990725"/>
                <a:gd name="connsiteY39" fmla="*/ 1101090 h 1428750"/>
                <a:gd name="connsiteX40" fmla="*/ 349568 w 1990725"/>
                <a:gd name="connsiteY40" fmla="*/ 1105852 h 1428750"/>
                <a:gd name="connsiteX41" fmla="*/ 337185 w 1990725"/>
                <a:gd name="connsiteY41" fmla="*/ 1103947 h 1428750"/>
                <a:gd name="connsiteX42" fmla="*/ 315278 w 1990725"/>
                <a:gd name="connsiteY42" fmla="*/ 1092518 h 1428750"/>
                <a:gd name="connsiteX43" fmla="*/ 122873 w 1990725"/>
                <a:gd name="connsiteY43" fmla="*/ 1051560 h 1428750"/>
                <a:gd name="connsiteX44" fmla="*/ 40005 w 1990725"/>
                <a:gd name="connsiteY44" fmla="*/ 1019175 h 1428750"/>
                <a:gd name="connsiteX45" fmla="*/ 23813 w 1990725"/>
                <a:gd name="connsiteY45" fmla="*/ 1004888 h 1428750"/>
                <a:gd name="connsiteX46" fmla="*/ 9525 w 1990725"/>
                <a:gd name="connsiteY46" fmla="*/ 981075 h 1428750"/>
                <a:gd name="connsiteX47" fmla="*/ 5715 w 1990725"/>
                <a:gd name="connsiteY47" fmla="*/ 968693 h 1428750"/>
                <a:gd name="connsiteX48" fmla="*/ 953 w 1990725"/>
                <a:gd name="connsiteY48" fmla="*/ 949643 h 1428750"/>
                <a:gd name="connsiteX49" fmla="*/ 0 w 1990725"/>
                <a:gd name="connsiteY49" fmla="*/ 935355 h 1428750"/>
                <a:gd name="connsiteX50" fmla="*/ 9525 w 1990725"/>
                <a:gd name="connsiteY50" fmla="*/ 939165 h 1428750"/>
                <a:gd name="connsiteX51" fmla="*/ 18098 w 1990725"/>
                <a:gd name="connsiteY51" fmla="*/ 971550 h 1428750"/>
                <a:gd name="connsiteX52" fmla="*/ 26670 w 1990725"/>
                <a:gd name="connsiteY52" fmla="*/ 994410 h 1428750"/>
                <a:gd name="connsiteX53" fmla="*/ 39053 w 1990725"/>
                <a:gd name="connsiteY53" fmla="*/ 1009650 h 1428750"/>
                <a:gd name="connsiteX54" fmla="*/ 60007 w 1990725"/>
                <a:gd name="connsiteY54" fmla="*/ 1022032 h 1428750"/>
                <a:gd name="connsiteX55" fmla="*/ 230505 w 1990725"/>
                <a:gd name="connsiteY55" fmla="*/ 1063943 h 1428750"/>
                <a:gd name="connsiteX56" fmla="*/ 299085 w 1990725"/>
                <a:gd name="connsiteY56" fmla="*/ 1081088 h 1428750"/>
                <a:gd name="connsiteX57" fmla="*/ 341948 w 1990725"/>
                <a:gd name="connsiteY57" fmla="*/ 1101090 h 1428750"/>
                <a:gd name="connsiteX58" fmla="*/ 1423988 w 1990725"/>
                <a:gd name="connsiteY58" fmla="*/ 80963 h 1428750"/>
                <a:gd name="connsiteX59" fmla="*/ 1437323 w 1990725"/>
                <a:gd name="connsiteY59" fmla="*/ 118110 h 1428750"/>
                <a:gd name="connsiteX60" fmla="*/ 1463993 w 1990725"/>
                <a:gd name="connsiteY60" fmla="*/ 205740 h 1428750"/>
                <a:gd name="connsiteX61" fmla="*/ 1469707 w 1990725"/>
                <a:gd name="connsiteY61" fmla="*/ 219075 h 1428750"/>
                <a:gd name="connsiteX62" fmla="*/ 1470660 w 1990725"/>
                <a:gd name="connsiteY62" fmla="*/ 224790 h 1428750"/>
                <a:gd name="connsiteX63" fmla="*/ 1471613 w 1990725"/>
                <a:gd name="connsiteY63" fmla="*/ 237172 h 1428750"/>
                <a:gd name="connsiteX64" fmla="*/ 1472565 w 1990725"/>
                <a:gd name="connsiteY64" fmla="*/ 240030 h 1428750"/>
                <a:gd name="connsiteX65" fmla="*/ 1473518 w 1990725"/>
                <a:gd name="connsiteY65" fmla="*/ 241935 h 1428750"/>
                <a:gd name="connsiteX66" fmla="*/ 1477328 w 1990725"/>
                <a:gd name="connsiteY66" fmla="*/ 243840 h 1428750"/>
                <a:gd name="connsiteX67" fmla="*/ 1480185 w 1990725"/>
                <a:gd name="connsiteY67" fmla="*/ 243840 h 1428750"/>
                <a:gd name="connsiteX68" fmla="*/ 1483043 w 1990725"/>
                <a:gd name="connsiteY68" fmla="*/ 243840 h 1428750"/>
                <a:gd name="connsiteX69" fmla="*/ 1487805 w 1990725"/>
                <a:gd name="connsiteY69" fmla="*/ 241935 h 1428750"/>
                <a:gd name="connsiteX70" fmla="*/ 1493520 w 1990725"/>
                <a:gd name="connsiteY70" fmla="*/ 237172 h 1428750"/>
                <a:gd name="connsiteX71" fmla="*/ 1495425 w 1990725"/>
                <a:gd name="connsiteY71" fmla="*/ 236220 h 1428750"/>
                <a:gd name="connsiteX72" fmla="*/ 1503045 w 1990725"/>
                <a:gd name="connsiteY72" fmla="*/ 235267 h 1428750"/>
                <a:gd name="connsiteX73" fmla="*/ 1505903 w 1990725"/>
                <a:gd name="connsiteY73" fmla="*/ 236220 h 1428750"/>
                <a:gd name="connsiteX74" fmla="*/ 1513523 w 1990725"/>
                <a:gd name="connsiteY74" fmla="*/ 240030 h 1428750"/>
                <a:gd name="connsiteX75" fmla="*/ 1519238 w 1990725"/>
                <a:gd name="connsiteY75" fmla="*/ 241935 h 1428750"/>
                <a:gd name="connsiteX76" fmla="*/ 1524000 w 1990725"/>
                <a:gd name="connsiteY76" fmla="*/ 240030 h 1428750"/>
                <a:gd name="connsiteX77" fmla="*/ 1524953 w 1990725"/>
                <a:gd name="connsiteY77" fmla="*/ 238125 h 1428750"/>
                <a:gd name="connsiteX78" fmla="*/ 1527810 w 1990725"/>
                <a:gd name="connsiteY78" fmla="*/ 232410 h 1428750"/>
                <a:gd name="connsiteX79" fmla="*/ 1532573 w 1990725"/>
                <a:gd name="connsiteY79" fmla="*/ 225742 h 1428750"/>
                <a:gd name="connsiteX80" fmla="*/ 1533525 w 1990725"/>
                <a:gd name="connsiteY80" fmla="*/ 222885 h 1428750"/>
                <a:gd name="connsiteX81" fmla="*/ 1534478 w 1990725"/>
                <a:gd name="connsiteY81" fmla="*/ 217170 h 1428750"/>
                <a:gd name="connsiteX82" fmla="*/ 1535430 w 1990725"/>
                <a:gd name="connsiteY82" fmla="*/ 214313 h 1428750"/>
                <a:gd name="connsiteX83" fmla="*/ 1537335 w 1990725"/>
                <a:gd name="connsiteY83" fmla="*/ 212407 h 1428750"/>
                <a:gd name="connsiteX84" fmla="*/ 1542098 w 1990725"/>
                <a:gd name="connsiteY84" fmla="*/ 210502 h 1428750"/>
                <a:gd name="connsiteX85" fmla="*/ 1578293 w 1990725"/>
                <a:gd name="connsiteY85" fmla="*/ 206692 h 1428750"/>
                <a:gd name="connsiteX86" fmla="*/ 1582103 w 1990725"/>
                <a:gd name="connsiteY86" fmla="*/ 207645 h 1428750"/>
                <a:gd name="connsiteX87" fmla="*/ 1584007 w 1990725"/>
                <a:gd name="connsiteY87" fmla="*/ 211455 h 1428750"/>
                <a:gd name="connsiteX88" fmla="*/ 1583055 w 1990725"/>
                <a:gd name="connsiteY88" fmla="*/ 215265 h 1428750"/>
                <a:gd name="connsiteX89" fmla="*/ 1580198 w 1990725"/>
                <a:gd name="connsiteY89" fmla="*/ 218122 h 1428750"/>
                <a:gd name="connsiteX90" fmla="*/ 1572578 w 1990725"/>
                <a:gd name="connsiteY90" fmla="*/ 220980 h 1428750"/>
                <a:gd name="connsiteX91" fmla="*/ 1568768 w 1990725"/>
                <a:gd name="connsiteY91" fmla="*/ 224790 h 1428750"/>
                <a:gd name="connsiteX92" fmla="*/ 1567815 w 1990725"/>
                <a:gd name="connsiteY92" fmla="*/ 231457 h 1428750"/>
                <a:gd name="connsiteX93" fmla="*/ 1566863 w 1990725"/>
                <a:gd name="connsiteY93" fmla="*/ 238125 h 1428750"/>
                <a:gd name="connsiteX94" fmla="*/ 1567815 w 1990725"/>
                <a:gd name="connsiteY94" fmla="*/ 243840 h 1428750"/>
                <a:gd name="connsiteX95" fmla="*/ 1568768 w 1990725"/>
                <a:gd name="connsiteY95" fmla="*/ 246697 h 1428750"/>
                <a:gd name="connsiteX96" fmla="*/ 1572578 w 1990725"/>
                <a:gd name="connsiteY96" fmla="*/ 250507 h 1428750"/>
                <a:gd name="connsiteX97" fmla="*/ 1580198 w 1990725"/>
                <a:gd name="connsiteY97" fmla="*/ 256222 h 1428750"/>
                <a:gd name="connsiteX98" fmla="*/ 1581150 w 1990725"/>
                <a:gd name="connsiteY98" fmla="*/ 259080 h 1428750"/>
                <a:gd name="connsiteX99" fmla="*/ 1582103 w 1990725"/>
                <a:gd name="connsiteY99" fmla="*/ 261938 h 1428750"/>
                <a:gd name="connsiteX100" fmla="*/ 1582103 w 1990725"/>
                <a:gd name="connsiteY100" fmla="*/ 267652 h 1428750"/>
                <a:gd name="connsiteX101" fmla="*/ 1581150 w 1990725"/>
                <a:gd name="connsiteY101" fmla="*/ 271463 h 1428750"/>
                <a:gd name="connsiteX102" fmla="*/ 1580198 w 1990725"/>
                <a:gd name="connsiteY102" fmla="*/ 273367 h 1428750"/>
                <a:gd name="connsiteX103" fmla="*/ 1577340 w 1990725"/>
                <a:gd name="connsiteY103" fmla="*/ 276225 h 1428750"/>
                <a:gd name="connsiteX104" fmla="*/ 1576388 w 1990725"/>
                <a:gd name="connsiteY104" fmla="*/ 278130 h 1428750"/>
                <a:gd name="connsiteX105" fmla="*/ 1575435 w 1990725"/>
                <a:gd name="connsiteY105" fmla="*/ 280988 h 1428750"/>
                <a:gd name="connsiteX106" fmla="*/ 1575435 w 1990725"/>
                <a:gd name="connsiteY106" fmla="*/ 286702 h 1428750"/>
                <a:gd name="connsiteX107" fmla="*/ 1580198 w 1990725"/>
                <a:gd name="connsiteY107" fmla="*/ 307657 h 1428750"/>
                <a:gd name="connsiteX108" fmla="*/ 1580198 w 1990725"/>
                <a:gd name="connsiteY108" fmla="*/ 313372 h 1428750"/>
                <a:gd name="connsiteX109" fmla="*/ 1578293 w 1990725"/>
                <a:gd name="connsiteY109" fmla="*/ 329565 h 1428750"/>
                <a:gd name="connsiteX110" fmla="*/ 1579245 w 1990725"/>
                <a:gd name="connsiteY110" fmla="*/ 338138 h 1428750"/>
                <a:gd name="connsiteX111" fmla="*/ 1579245 w 1990725"/>
                <a:gd name="connsiteY111" fmla="*/ 343852 h 1428750"/>
                <a:gd name="connsiteX112" fmla="*/ 1582103 w 1990725"/>
                <a:gd name="connsiteY112" fmla="*/ 354330 h 1428750"/>
                <a:gd name="connsiteX113" fmla="*/ 1582103 w 1990725"/>
                <a:gd name="connsiteY113" fmla="*/ 360045 h 1428750"/>
                <a:gd name="connsiteX114" fmla="*/ 1583055 w 1990725"/>
                <a:gd name="connsiteY114" fmla="*/ 362902 h 1428750"/>
                <a:gd name="connsiteX115" fmla="*/ 1584960 w 1990725"/>
                <a:gd name="connsiteY115" fmla="*/ 365760 h 1428750"/>
                <a:gd name="connsiteX116" fmla="*/ 1589723 w 1990725"/>
                <a:gd name="connsiteY116" fmla="*/ 368617 h 1428750"/>
                <a:gd name="connsiteX117" fmla="*/ 1596390 w 1990725"/>
                <a:gd name="connsiteY117" fmla="*/ 370522 h 1428750"/>
                <a:gd name="connsiteX118" fmla="*/ 1599248 w 1990725"/>
                <a:gd name="connsiteY118" fmla="*/ 372427 h 1428750"/>
                <a:gd name="connsiteX119" fmla="*/ 1601153 w 1990725"/>
                <a:gd name="connsiteY119" fmla="*/ 376238 h 1428750"/>
                <a:gd name="connsiteX120" fmla="*/ 1609725 w 1990725"/>
                <a:gd name="connsiteY120" fmla="*/ 412432 h 1428750"/>
                <a:gd name="connsiteX121" fmla="*/ 1610678 w 1990725"/>
                <a:gd name="connsiteY121" fmla="*/ 439102 h 1428750"/>
                <a:gd name="connsiteX122" fmla="*/ 1611630 w 1990725"/>
                <a:gd name="connsiteY122" fmla="*/ 443865 h 1428750"/>
                <a:gd name="connsiteX123" fmla="*/ 1612582 w 1990725"/>
                <a:gd name="connsiteY123" fmla="*/ 446722 h 1428750"/>
                <a:gd name="connsiteX124" fmla="*/ 1614488 w 1990725"/>
                <a:gd name="connsiteY124" fmla="*/ 448627 h 1428750"/>
                <a:gd name="connsiteX125" fmla="*/ 1619250 w 1990725"/>
                <a:gd name="connsiteY125" fmla="*/ 451485 h 1428750"/>
                <a:gd name="connsiteX126" fmla="*/ 1625918 w 1990725"/>
                <a:gd name="connsiteY126" fmla="*/ 452438 h 1428750"/>
                <a:gd name="connsiteX127" fmla="*/ 1628775 w 1990725"/>
                <a:gd name="connsiteY127" fmla="*/ 454342 h 1428750"/>
                <a:gd name="connsiteX128" fmla="*/ 1629728 w 1990725"/>
                <a:gd name="connsiteY128" fmla="*/ 457200 h 1428750"/>
                <a:gd name="connsiteX129" fmla="*/ 1631632 w 1990725"/>
                <a:gd name="connsiteY129" fmla="*/ 461010 h 1428750"/>
                <a:gd name="connsiteX130" fmla="*/ 1633538 w 1990725"/>
                <a:gd name="connsiteY130" fmla="*/ 468630 h 1428750"/>
                <a:gd name="connsiteX131" fmla="*/ 1634490 w 1990725"/>
                <a:gd name="connsiteY131" fmla="*/ 480060 h 1428750"/>
                <a:gd name="connsiteX132" fmla="*/ 1635443 w 1990725"/>
                <a:gd name="connsiteY132" fmla="*/ 481965 h 1428750"/>
                <a:gd name="connsiteX133" fmla="*/ 1637348 w 1990725"/>
                <a:gd name="connsiteY133" fmla="*/ 484822 h 1428750"/>
                <a:gd name="connsiteX134" fmla="*/ 1640205 w 1990725"/>
                <a:gd name="connsiteY134" fmla="*/ 486727 h 1428750"/>
                <a:gd name="connsiteX135" fmla="*/ 1653540 w 1990725"/>
                <a:gd name="connsiteY135" fmla="*/ 489585 h 1428750"/>
                <a:gd name="connsiteX136" fmla="*/ 1658303 w 1990725"/>
                <a:gd name="connsiteY136" fmla="*/ 492442 h 1428750"/>
                <a:gd name="connsiteX137" fmla="*/ 1664970 w 1990725"/>
                <a:gd name="connsiteY137" fmla="*/ 497205 h 1428750"/>
                <a:gd name="connsiteX138" fmla="*/ 1669732 w 1990725"/>
                <a:gd name="connsiteY138" fmla="*/ 500063 h 1428750"/>
                <a:gd name="connsiteX139" fmla="*/ 1694498 w 1990725"/>
                <a:gd name="connsiteY139" fmla="*/ 508635 h 1428750"/>
                <a:gd name="connsiteX140" fmla="*/ 1697355 w 1990725"/>
                <a:gd name="connsiteY140" fmla="*/ 509588 h 1428750"/>
                <a:gd name="connsiteX141" fmla="*/ 1699260 w 1990725"/>
                <a:gd name="connsiteY141" fmla="*/ 512445 h 1428750"/>
                <a:gd name="connsiteX142" fmla="*/ 1701165 w 1990725"/>
                <a:gd name="connsiteY142" fmla="*/ 517207 h 1428750"/>
                <a:gd name="connsiteX143" fmla="*/ 1706880 w 1990725"/>
                <a:gd name="connsiteY143" fmla="*/ 541972 h 1428750"/>
                <a:gd name="connsiteX144" fmla="*/ 1709738 w 1990725"/>
                <a:gd name="connsiteY144" fmla="*/ 546735 h 1428750"/>
                <a:gd name="connsiteX145" fmla="*/ 1713548 w 1990725"/>
                <a:gd name="connsiteY145" fmla="*/ 549592 h 1428750"/>
                <a:gd name="connsiteX146" fmla="*/ 1717357 w 1990725"/>
                <a:gd name="connsiteY146" fmla="*/ 550545 h 1428750"/>
                <a:gd name="connsiteX147" fmla="*/ 1723073 w 1990725"/>
                <a:gd name="connsiteY147" fmla="*/ 551497 h 1428750"/>
                <a:gd name="connsiteX148" fmla="*/ 1725930 w 1990725"/>
                <a:gd name="connsiteY148" fmla="*/ 552450 h 1428750"/>
                <a:gd name="connsiteX149" fmla="*/ 1729740 w 1990725"/>
                <a:gd name="connsiteY149" fmla="*/ 555307 h 1428750"/>
                <a:gd name="connsiteX150" fmla="*/ 1731645 w 1990725"/>
                <a:gd name="connsiteY150" fmla="*/ 560070 h 1428750"/>
                <a:gd name="connsiteX151" fmla="*/ 1733550 w 1990725"/>
                <a:gd name="connsiteY151" fmla="*/ 564832 h 1428750"/>
                <a:gd name="connsiteX152" fmla="*/ 1736407 w 1990725"/>
                <a:gd name="connsiteY152" fmla="*/ 577215 h 1428750"/>
                <a:gd name="connsiteX153" fmla="*/ 1736407 w 1990725"/>
                <a:gd name="connsiteY153" fmla="*/ 582930 h 1428750"/>
                <a:gd name="connsiteX154" fmla="*/ 1735455 w 1990725"/>
                <a:gd name="connsiteY154" fmla="*/ 586740 h 1428750"/>
                <a:gd name="connsiteX155" fmla="*/ 1733550 w 1990725"/>
                <a:gd name="connsiteY155" fmla="*/ 588645 h 1428750"/>
                <a:gd name="connsiteX156" fmla="*/ 1719263 w 1990725"/>
                <a:gd name="connsiteY156" fmla="*/ 594360 h 1428750"/>
                <a:gd name="connsiteX157" fmla="*/ 1714500 w 1990725"/>
                <a:gd name="connsiteY157" fmla="*/ 595313 h 1428750"/>
                <a:gd name="connsiteX158" fmla="*/ 1711643 w 1990725"/>
                <a:gd name="connsiteY158" fmla="*/ 597217 h 1428750"/>
                <a:gd name="connsiteX159" fmla="*/ 1710690 w 1990725"/>
                <a:gd name="connsiteY159" fmla="*/ 598170 h 1428750"/>
                <a:gd name="connsiteX160" fmla="*/ 1708785 w 1990725"/>
                <a:gd name="connsiteY160" fmla="*/ 603885 h 1428750"/>
                <a:gd name="connsiteX161" fmla="*/ 1708785 w 1990725"/>
                <a:gd name="connsiteY161" fmla="*/ 621982 h 1428750"/>
                <a:gd name="connsiteX162" fmla="*/ 1706880 w 1990725"/>
                <a:gd name="connsiteY162" fmla="*/ 626745 h 1428750"/>
                <a:gd name="connsiteX163" fmla="*/ 1703070 w 1990725"/>
                <a:gd name="connsiteY163" fmla="*/ 631507 h 1428750"/>
                <a:gd name="connsiteX164" fmla="*/ 1701165 w 1990725"/>
                <a:gd name="connsiteY164" fmla="*/ 636270 h 1428750"/>
                <a:gd name="connsiteX165" fmla="*/ 1698307 w 1990725"/>
                <a:gd name="connsiteY165" fmla="*/ 645795 h 1428750"/>
                <a:gd name="connsiteX166" fmla="*/ 1694498 w 1990725"/>
                <a:gd name="connsiteY166" fmla="*/ 650557 h 1428750"/>
                <a:gd name="connsiteX167" fmla="*/ 1692593 w 1990725"/>
                <a:gd name="connsiteY167" fmla="*/ 651510 h 1428750"/>
                <a:gd name="connsiteX168" fmla="*/ 1687830 w 1990725"/>
                <a:gd name="connsiteY168" fmla="*/ 653415 h 1428750"/>
                <a:gd name="connsiteX169" fmla="*/ 1684020 w 1990725"/>
                <a:gd name="connsiteY169" fmla="*/ 656272 h 1428750"/>
                <a:gd name="connsiteX170" fmla="*/ 1681163 w 1990725"/>
                <a:gd name="connsiteY170" fmla="*/ 661035 h 1428750"/>
                <a:gd name="connsiteX171" fmla="*/ 1678305 w 1990725"/>
                <a:gd name="connsiteY171" fmla="*/ 665797 h 1428750"/>
                <a:gd name="connsiteX172" fmla="*/ 1676400 w 1990725"/>
                <a:gd name="connsiteY172" fmla="*/ 667702 h 1428750"/>
                <a:gd name="connsiteX173" fmla="*/ 1671638 w 1990725"/>
                <a:gd name="connsiteY173" fmla="*/ 668655 h 1428750"/>
                <a:gd name="connsiteX174" fmla="*/ 1657350 w 1990725"/>
                <a:gd name="connsiteY174" fmla="*/ 669607 h 1428750"/>
                <a:gd name="connsiteX175" fmla="*/ 1652588 w 1990725"/>
                <a:gd name="connsiteY175" fmla="*/ 670560 h 1428750"/>
                <a:gd name="connsiteX176" fmla="*/ 1650682 w 1990725"/>
                <a:gd name="connsiteY176" fmla="*/ 672465 h 1428750"/>
                <a:gd name="connsiteX177" fmla="*/ 1647825 w 1990725"/>
                <a:gd name="connsiteY177" fmla="*/ 676275 h 1428750"/>
                <a:gd name="connsiteX178" fmla="*/ 1646873 w 1990725"/>
                <a:gd name="connsiteY178" fmla="*/ 681990 h 1428750"/>
                <a:gd name="connsiteX179" fmla="*/ 1647825 w 1990725"/>
                <a:gd name="connsiteY179" fmla="*/ 690563 h 1428750"/>
                <a:gd name="connsiteX180" fmla="*/ 1648778 w 1990725"/>
                <a:gd name="connsiteY180" fmla="*/ 693420 h 1428750"/>
                <a:gd name="connsiteX181" fmla="*/ 1651635 w 1990725"/>
                <a:gd name="connsiteY181" fmla="*/ 695325 h 1428750"/>
                <a:gd name="connsiteX182" fmla="*/ 1656398 w 1990725"/>
                <a:gd name="connsiteY182" fmla="*/ 697230 h 1428750"/>
                <a:gd name="connsiteX183" fmla="*/ 1660207 w 1990725"/>
                <a:gd name="connsiteY183" fmla="*/ 697230 h 1428750"/>
                <a:gd name="connsiteX184" fmla="*/ 1664970 w 1990725"/>
                <a:gd name="connsiteY184" fmla="*/ 695325 h 1428750"/>
                <a:gd name="connsiteX185" fmla="*/ 1667828 w 1990725"/>
                <a:gd name="connsiteY185" fmla="*/ 696277 h 1428750"/>
                <a:gd name="connsiteX186" fmla="*/ 1677353 w 1990725"/>
                <a:gd name="connsiteY186" fmla="*/ 703897 h 1428750"/>
                <a:gd name="connsiteX187" fmla="*/ 1681163 w 1990725"/>
                <a:gd name="connsiteY187" fmla="*/ 705802 h 1428750"/>
                <a:gd name="connsiteX188" fmla="*/ 1684973 w 1990725"/>
                <a:gd name="connsiteY188" fmla="*/ 706755 h 1428750"/>
                <a:gd name="connsiteX189" fmla="*/ 1696403 w 1990725"/>
                <a:gd name="connsiteY189" fmla="*/ 708660 h 1428750"/>
                <a:gd name="connsiteX190" fmla="*/ 1700213 w 1990725"/>
                <a:gd name="connsiteY190" fmla="*/ 710565 h 1428750"/>
                <a:gd name="connsiteX191" fmla="*/ 1703070 w 1990725"/>
                <a:gd name="connsiteY191" fmla="*/ 713422 h 1428750"/>
                <a:gd name="connsiteX192" fmla="*/ 1705928 w 1990725"/>
                <a:gd name="connsiteY192" fmla="*/ 720090 h 1428750"/>
                <a:gd name="connsiteX193" fmla="*/ 1707832 w 1990725"/>
                <a:gd name="connsiteY193" fmla="*/ 727710 h 1428750"/>
                <a:gd name="connsiteX194" fmla="*/ 1708785 w 1990725"/>
                <a:gd name="connsiteY194" fmla="*/ 735330 h 1428750"/>
                <a:gd name="connsiteX195" fmla="*/ 1707832 w 1990725"/>
                <a:gd name="connsiteY195" fmla="*/ 741045 h 1428750"/>
                <a:gd name="connsiteX196" fmla="*/ 1706880 w 1990725"/>
                <a:gd name="connsiteY196" fmla="*/ 743902 h 1428750"/>
                <a:gd name="connsiteX197" fmla="*/ 1701165 w 1990725"/>
                <a:gd name="connsiteY197" fmla="*/ 749617 h 1428750"/>
                <a:gd name="connsiteX198" fmla="*/ 1698307 w 1990725"/>
                <a:gd name="connsiteY198" fmla="*/ 754380 h 1428750"/>
                <a:gd name="connsiteX199" fmla="*/ 1697355 w 1990725"/>
                <a:gd name="connsiteY199" fmla="*/ 759142 h 1428750"/>
                <a:gd name="connsiteX200" fmla="*/ 1697355 w 1990725"/>
                <a:gd name="connsiteY200" fmla="*/ 764857 h 1428750"/>
                <a:gd name="connsiteX201" fmla="*/ 1701165 w 1990725"/>
                <a:gd name="connsiteY201" fmla="*/ 771525 h 1428750"/>
                <a:gd name="connsiteX202" fmla="*/ 1713548 w 1990725"/>
                <a:gd name="connsiteY202" fmla="*/ 791527 h 1428750"/>
                <a:gd name="connsiteX203" fmla="*/ 1716405 w 1990725"/>
                <a:gd name="connsiteY203" fmla="*/ 800100 h 1428750"/>
                <a:gd name="connsiteX204" fmla="*/ 1718310 w 1990725"/>
                <a:gd name="connsiteY204" fmla="*/ 802005 h 1428750"/>
                <a:gd name="connsiteX205" fmla="*/ 1721168 w 1990725"/>
                <a:gd name="connsiteY205" fmla="*/ 803910 h 1428750"/>
                <a:gd name="connsiteX206" fmla="*/ 1725930 w 1990725"/>
                <a:gd name="connsiteY206" fmla="*/ 804863 h 1428750"/>
                <a:gd name="connsiteX207" fmla="*/ 1744028 w 1990725"/>
                <a:gd name="connsiteY207" fmla="*/ 803910 h 1428750"/>
                <a:gd name="connsiteX208" fmla="*/ 1768793 w 1990725"/>
                <a:gd name="connsiteY208" fmla="*/ 805815 h 1428750"/>
                <a:gd name="connsiteX209" fmla="*/ 1771650 w 1990725"/>
                <a:gd name="connsiteY209" fmla="*/ 807720 h 1428750"/>
                <a:gd name="connsiteX210" fmla="*/ 1773555 w 1990725"/>
                <a:gd name="connsiteY210" fmla="*/ 809625 h 1428750"/>
                <a:gd name="connsiteX211" fmla="*/ 1773555 w 1990725"/>
                <a:gd name="connsiteY211" fmla="*/ 814388 h 1428750"/>
                <a:gd name="connsiteX212" fmla="*/ 1772603 w 1990725"/>
                <a:gd name="connsiteY212" fmla="*/ 817245 h 1428750"/>
                <a:gd name="connsiteX213" fmla="*/ 1770698 w 1990725"/>
                <a:gd name="connsiteY213" fmla="*/ 820102 h 1428750"/>
                <a:gd name="connsiteX214" fmla="*/ 1766888 w 1990725"/>
                <a:gd name="connsiteY214" fmla="*/ 822960 h 1428750"/>
                <a:gd name="connsiteX215" fmla="*/ 1765935 w 1990725"/>
                <a:gd name="connsiteY215" fmla="*/ 825817 h 1428750"/>
                <a:gd name="connsiteX216" fmla="*/ 1765935 w 1990725"/>
                <a:gd name="connsiteY216" fmla="*/ 836295 h 1428750"/>
                <a:gd name="connsiteX217" fmla="*/ 1766888 w 1990725"/>
                <a:gd name="connsiteY217" fmla="*/ 838200 h 1428750"/>
                <a:gd name="connsiteX218" fmla="*/ 1768793 w 1990725"/>
                <a:gd name="connsiteY218" fmla="*/ 839152 h 1428750"/>
                <a:gd name="connsiteX219" fmla="*/ 1775460 w 1990725"/>
                <a:gd name="connsiteY219" fmla="*/ 840105 h 1428750"/>
                <a:gd name="connsiteX220" fmla="*/ 1800225 w 1990725"/>
                <a:gd name="connsiteY220" fmla="*/ 837247 h 1428750"/>
                <a:gd name="connsiteX221" fmla="*/ 1804035 w 1990725"/>
                <a:gd name="connsiteY221" fmla="*/ 838200 h 1428750"/>
                <a:gd name="connsiteX222" fmla="*/ 1815465 w 1990725"/>
                <a:gd name="connsiteY222" fmla="*/ 848677 h 1428750"/>
                <a:gd name="connsiteX223" fmla="*/ 1823085 w 1990725"/>
                <a:gd name="connsiteY223" fmla="*/ 853440 h 1428750"/>
                <a:gd name="connsiteX224" fmla="*/ 1826895 w 1990725"/>
                <a:gd name="connsiteY224" fmla="*/ 854392 h 1428750"/>
                <a:gd name="connsiteX225" fmla="*/ 1835468 w 1990725"/>
                <a:gd name="connsiteY225" fmla="*/ 859155 h 1428750"/>
                <a:gd name="connsiteX226" fmla="*/ 1841182 w 1990725"/>
                <a:gd name="connsiteY226" fmla="*/ 862013 h 1428750"/>
                <a:gd name="connsiteX227" fmla="*/ 1855470 w 1990725"/>
                <a:gd name="connsiteY227" fmla="*/ 862013 h 1428750"/>
                <a:gd name="connsiteX228" fmla="*/ 1859280 w 1990725"/>
                <a:gd name="connsiteY228" fmla="*/ 864870 h 1428750"/>
                <a:gd name="connsiteX229" fmla="*/ 1862138 w 1990725"/>
                <a:gd name="connsiteY229" fmla="*/ 871538 h 1428750"/>
                <a:gd name="connsiteX230" fmla="*/ 1875473 w 1990725"/>
                <a:gd name="connsiteY230" fmla="*/ 926782 h 1428750"/>
                <a:gd name="connsiteX231" fmla="*/ 1875473 w 1990725"/>
                <a:gd name="connsiteY231" fmla="*/ 930592 h 1428750"/>
                <a:gd name="connsiteX232" fmla="*/ 1875473 w 1990725"/>
                <a:gd name="connsiteY232" fmla="*/ 934402 h 1428750"/>
                <a:gd name="connsiteX233" fmla="*/ 1872615 w 1990725"/>
                <a:gd name="connsiteY233" fmla="*/ 942975 h 1428750"/>
                <a:gd name="connsiteX234" fmla="*/ 1871663 w 1990725"/>
                <a:gd name="connsiteY234" fmla="*/ 948690 h 1428750"/>
                <a:gd name="connsiteX235" fmla="*/ 1871663 w 1990725"/>
                <a:gd name="connsiteY235" fmla="*/ 954405 h 1428750"/>
                <a:gd name="connsiteX236" fmla="*/ 1874520 w 1990725"/>
                <a:gd name="connsiteY236" fmla="*/ 969645 h 1428750"/>
                <a:gd name="connsiteX237" fmla="*/ 1874520 w 1990725"/>
                <a:gd name="connsiteY237" fmla="*/ 972502 h 1428750"/>
                <a:gd name="connsiteX238" fmla="*/ 1875473 w 1990725"/>
                <a:gd name="connsiteY238" fmla="*/ 986790 h 1428750"/>
                <a:gd name="connsiteX239" fmla="*/ 1880235 w 1990725"/>
                <a:gd name="connsiteY239" fmla="*/ 991552 h 1428750"/>
                <a:gd name="connsiteX240" fmla="*/ 1899285 w 1990725"/>
                <a:gd name="connsiteY240" fmla="*/ 995363 h 1428750"/>
                <a:gd name="connsiteX241" fmla="*/ 1883093 w 1990725"/>
                <a:gd name="connsiteY241" fmla="*/ 1013460 h 1428750"/>
                <a:gd name="connsiteX242" fmla="*/ 1860232 w 1990725"/>
                <a:gd name="connsiteY242" fmla="*/ 1027747 h 1428750"/>
                <a:gd name="connsiteX243" fmla="*/ 1809750 w 1990725"/>
                <a:gd name="connsiteY243" fmla="*/ 1040130 h 1428750"/>
                <a:gd name="connsiteX244" fmla="*/ 1804988 w 1990725"/>
                <a:gd name="connsiteY244" fmla="*/ 1041082 h 1428750"/>
                <a:gd name="connsiteX245" fmla="*/ 1798320 w 1990725"/>
                <a:gd name="connsiteY245" fmla="*/ 1038225 h 1428750"/>
                <a:gd name="connsiteX246" fmla="*/ 1795463 w 1990725"/>
                <a:gd name="connsiteY246" fmla="*/ 1033463 h 1428750"/>
                <a:gd name="connsiteX247" fmla="*/ 1794510 w 1990725"/>
                <a:gd name="connsiteY247" fmla="*/ 1027747 h 1428750"/>
                <a:gd name="connsiteX248" fmla="*/ 1793557 w 1990725"/>
                <a:gd name="connsiteY248" fmla="*/ 1024890 h 1428750"/>
                <a:gd name="connsiteX249" fmla="*/ 1787843 w 1990725"/>
                <a:gd name="connsiteY249" fmla="*/ 1027747 h 1428750"/>
                <a:gd name="connsiteX250" fmla="*/ 1784032 w 1990725"/>
                <a:gd name="connsiteY250" fmla="*/ 1034415 h 1428750"/>
                <a:gd name="connsiteX251" fmla="*/ 1783080 w 1990725"/>
                <a:gd name="connsiteY251" fmla="*/ 1043940 h 1428750"/>
                <a:gd name="connsiteX252" fmla="*/ 1781175 w 1990725"/>
                <a:gd name="connsiteY252" fmla="*/ 1050607 h 1428750"/>
                <a:gd name="connsiteX253" fmla="*/ 1758315 w 1990725"/>
                <a:gd name="connsiteY253" fmla="*/ 1062038 h 1428750"/>
                <a:gd name="connsiteX254" fmla="*/ 1756410 w 1990725"/>
                <a:gd name="connsiteY254" fmla="*/ 1064895 h 1428750"/>
                <a:gd name="connsiteX255" fmla="*/ 1747838 w 1990725"/>
                <a:gd name="connsiteY255" fmla="*/ 1078230 h 1428750"/>
                <a:gd name="connsiteX256" fmla="*/ 1744980 w 1990725"/>
                <a:gd name="connsiteY256" fmla="*/ 1084897 h 1428750"/>
                <a:gd name="connsiteX257" fmla="*/ 1744028 w 1990725"/>
                <a:gd name="connsiteY257" fmla="*/ 1093470 h 1428750"/>
                <a:gd name="connsiteX258" fmla="*/ 1744980 w 1990725"/>
                <a:gd name="connsiteY258" fmla="*/ 1099185 h 1428750"/>
                <a:gd name="connsiteX259" fmla="*/ 1747838 w 1990725"/>
                <a:gd name="connsiteY259" fmla="*/ 1111568 h 1428750"/>
                <a:gd name="connsiteX260" fmla="*/ 1750695 w 1990725"/>
                <a:gd name="connsiteY260" fmla="*/ 1160145 h 1428750"/>
                <a:gd name="connsiteX261" fmla="*/ 1753553 w 1990725"/>
                <a:gd name="connsiteY261" fmla="*/ 1171575 h 1428750"/>
                <a:gd name="connsiteX262" fmla="*/ 1758315 w 1990725"/>
                <a:gd name="connsiteY262" fmla="*/ 1183957 h 1428750"/>
                <a:gd name="connsiteX263" fmla="*/ 1777365 w 1990725"/>
                <a:gd name="connsiteY263" fmla="*/ 1275397 h 1428750"/>
                <a:gd name="connsiteX264" fmla="*/ 1782128 w 1990725"/>
                <a:gd name="connsiteY264" fmla="*/ 1285875 h 1428750"/>
                <a:gd name="connsiteX265" fmla="*/ 1788795 w 1990725"/>
                <a:gd name="connsiteY265" fmla="*/ 1294447 h 1428750"/>
                <a:gd name="connsiteX266" fmla="*/ 1793557 w 1990725"/>
                <a:gd name="connsiteY266" fmla="*/ 1303972 h 1428750"/>
                <a:gd name="connsiteX267" fmla="*/ 1821180 w 1990725"/>
                <a:gd name="connsiteY267" fmla="*/ 1379220 h 1428750"/>
                <a:gd name="connsiteX268" fmla="*/ 1844993 w 1990725"/>
                <a:gd name="connsiteY268" fmla="*/ 1424940 h 1428750"/>
                <a:gd name="connsiteX269" fmla="*/ 1831657 w 1990725"/>
                <a:gd name="connsiteY269" fmla="*/ 1433513 h 1428750"/>
                <a:gd name="connsiteX270" fmla="*/ 1812607 w 1990725"/>
                <a:gd name="connsiteY270" fmla="*/ 1402080 h 1428750"/>
                <a:gd name="connsiteX271" fmla="*/ 1807845 w 1990725"/>
                <a:gd name="connsiteY271" fmla="*/ 1388745 h 1428750"/>
                <a:gd name="connsiteX272" fmla="*/ 1801178 w 1990725"/>
                <a:gd name="connsiteY272" fmla="*/ 1360170 h 1428750"/>
                <a:gd name="connsiteX273" fmla="*/ 1796415 w 1990725"/>
                <a:gd name="connsiteY273" fmla="*/ 1348740 h 1428750"/>
                <a:gd name="connsiteX274" fmla="*/ 1793557 w 1990725"/>
                <a:gd name="connsiteY274" fmla="*/ 1343025 h 1428750"/>
                <a:gd name="connsiteX275" fmla="*/ 1787843 w 1990725"/>
                <a:gd name="connsiteY275" fmla="*/ 1336357 h 1428750"/>
                <a:gd name="connsiteX276" fmla="*/ 1782128 w 1990725"/>
                <a:gd name="connsiteY276" fmla="*/ 1330643 h 1428750"/>
                <a:gd name="connsiteX277" fmla="*/ 1776413 w 1990725"/>
                <a:gd name="connsiteY277" fmla="*/ 1329690 h 1428750"/>
                <a:gd name="connsiteX278" fmla="*/ 1772603 w 1990725"/>
                <a:gd name="connsiteY278" fmla="*/ 1333500 h 1428750"/>
                <a:gd name="connsiteX279" fmla="*/ 1770698 w 1990725"/>
                <a:gd name="connsiteY279" fmla="*/ 1338263 h 1428750"/>
                <a:gd name="connsiteX280" fmla="*/ 1769745 w 1990725"/>
                <a:gd name="connsiteY280" fmla="*/ 1344930 h 1428750"/>
                <a:gd name="connsiteX281" fmla="*/ 1765935 w 1990725"/>
                <a:gd name="connsiteY281" fmla="*/ 1350645 h 1428750"/>
                <a:gd name="connsiteX282" fmla="*/ 1762125 w 1990725"/>
                <a:gd name="connsiteY282" fmla="*/ 1355407 h 1428750"/>
                <a:gd name="connsiteX283" fmla="*/ 1757363 w 1990725"/>
                <a:gd name="connsiteY283" fmla="*/ 1358265 h 1428750"/>
                <a:gd name="connsiteX284" fmla="*/ 1752600 w 1990725"/>
                <a:gd name="connsiteY284" fmla="*/ 1360170 h 1428750"/>
                <a:gd name="connsiteX285" fmla="*/ 1746885 w 1990725"/>
                <a:gd name="connsiteY285" fmla="*/ 1361122 h 1428750"/>
                <a:gd name="connsiteX286" fmla="*/ 1744028 w 1990725"/>
                <a:gd name="connsiteY286" fmla="*/ 1357313 h 1428750"/>
                <a:gd name="connsiteX287" fmla="*/ 1744980 w 1990725"/>
                <a:gd name="connsiteY287" fmla="*/ 1349693 h 1428750"/>
                <a:gd name="connsiteX288" fmla="*/ 1755457 w 1990725"/>
                <a:gd name="connsiteY288" fmla="*/ 1309688 h 1428750"/>
                <a:gd name="connsiteX289" fmla="*/ 1754505 w 1990725"/>
                <a:gd name="connsiteY289" fmla="*/ 1309688 h 1428750"/>
                <a:gd name="connsiteX290" fmla="*/ 1752600 w 1990725"/>
                <a:gd name="connsiteY290" fmla="*/ 1307782 h 1428750"/>
                <a:gd name="connsiteX291" fmla="*/ 1751648 w 1990725"/>
                <a:gd name="connsiteY291" fmla="*/ 1303020 h 1428750"/>
                <a:gd name="connsiteX292" fmla="*/ 1751648 w 1990725"/>
                <a:gd name="connsiteY292" fmla="*/ 1299210 h 1428750"/>
                <a:gd name="connsiteX293" fmla="*/ 1752600 w 1990725"/>
                <a:gd name="connsiteY293" fmla="*/ 1298257 h 1428750"/>
                <a:gd name="connsiteX294" fmla="*/ 1757363 w 1990725"/>
                <a:gd name="connsiteY294" fmla="*/ 1294447 h 1428750"/>
                <a:gd name="connsiteX295" fmla="*/ 1760220 w 1990725"/>
                <a:gd name="connsiteY295" fmla="*/ 1293495 h 1428750"/>
                <a:gd name="connsiteX296" fmla="*/ 1762125 w 1990725"/>
                <a:gd name="connsiteY296" fmla="*/ 1289685 h 1428750"/>
                <a:gd name="connsiteX297" fmla="*/ 1763078 w 1990725"/>
                <a:gd name="connsiteY297" fmla="*/ 1285875 h 1428750"/>
                <a:gd name="connsiteX298" fmla="*/ 1760220 w 1990725"/>
                <a:gd name="connsiteY298" fmla="*/ 1283018 h 1428750"/>
                <a:gd name="connsiteX299" fmla="*/ 1758315 w 1990725"/>
                <a:gd name="connsiteY299" fmla="*/ 1283018 h 1428750"/>
                <a:gd name="connsiteX300" fmla="*/ 1751648 w 1990725"/>
                <a:gd name="connsiteY300" fmla="*/ 1277302 h 1428750"/>
                <a:gd name="connsiteX301" fmla="*/ 1749743 w 1990725"/>
                <a:gd name="connsiteY301" fmla="*/ 1275397 h 1428750"/>
                <a:gd name="connsiteX302" fmla="*/ 1745932 w 1990725"/>
                <a:gd name="connsiteY302" fmla="*/ 1268730 h 1428750"/>
                <a:gd name="connsiteX303" fmla="*/ 1744980 w 1990725"/>
                <a:gd name="connsiteY303" fmla="*/ 1261110 h 1428750"/>
                <a:gd name="connsiteX304" fmla="*/ 1744980 w 1990725"/>
                <a:gd name="connsiteY304" fmla="*/ 1243965 h 1428750"/>
                <a:gd name="connsiteX305" fmla="*/ 1743075 w 1990725"/>
                <a:gd name="connsiteY305" fmla="*/ 1231582 h 1428750"/>
                <a:gd name="connsiteX306" fmla="*/ 1740218 w 1990725"/>
                <a:gd name="connsiteY306" fmla="*/ 1213485 h 1428750"/>
                <a:gd name="connsiteX307" fmla="*/ 1735455 w 1990725"/>
                <a:gd name="connsiteY307" fmla="*/ 1197293 h 1428750"/>
                <a:gd name="connsiteX308" fmla="*/ 1729740 w 1990725"/>
                <a:gd name="connsiteY308" fmla="*/ 1190625 h 1428750"/>
                <a:gd name="connsiteX309" fmla="*/ 1723073 w 1990725"/>
                <a:gd name="connsiteY309" fmla="*/ 1192530 h 1428750"/>
                <a:gd name="connsiteX310" fmla="*/ 1720215 w 1990725"/>
                <a:gd name="connsiteY310" fmla="*/ 1199197 h 1428750"/>
                <a:gd name="connsiteX311" fmla="*/ 1718310 w 1990725"/>
                <a:gd name="connsiteY311" fmla="*/ 1206818 h 1428750"/>
                <a:gd name="connsiteX312" fmla="*/ 1713548 w 1990725"/>
                <a:gd name="connsiteY312" fmla="*/ 1210627 h 1428750"/>
                <a:gd name="connsiteX313" fmla="*/ 1709738 w 1990725"/>
                <a:gd name="connsiteY313" fmla="*/ 1207770 h 1428750"/>
                <a:gd name="connsiteX314" fmla="*/ 1693545 w 1990725"/>
                <a:gd name="connsiteY314" fmla="*/ 1192530 h 1428750"/>
                <a:gd name="connsiteX315" fmla="*/ 1691640 w 1990725"/>
                <a:gd name="connsiteY315" fmla="*/ 1181100 h 1428750"/>
                <a:gd name="connsiteX316" fmla="*/ 1684020 w 1990725"/>
                <a:gd name="connsiteY316" fmla="*/ 1169670 h 1428750"/>
                <a:gd name="connsiteX317" fmla="*/ 1674495 w 1990725"/>
                <a:gd name="connsiteY317" fmla="*/ 1159193 h 1428750"/>
                <a:gd name="connsiteX318" fmla="*/ 1664970 w 1990725"/>
                <a:gd name="connsiteY318" fmla="*/ 1153477 h 1428750"/>
                <a:gd name="connsiteX319" fmla="*/ 1669732 w 1990725"/>
                <a:gd name="connsiteY319" fmla="*/ 1146810 h 1428750"/>
                <a:gd name="connsiteX320" fmla="*/ 1676400 w 1990725"/>
                <a:gd name="connsiteY320" fmla="*/ 1142047 h 1428750"/>
                <a:gd name="connsiteX321" fmla="*/ 1697355 w 1990725"/>
                <a:gd name="connsiteY321" fmla="*/ 1136332 h 1428750"/>
                <a:gd name="connsiteX322" fmla="*/ 1709738 w 1990725"/>
                <a:gd name="connsiteY322" fmla="*/ 1137285 h 1428750"/>
                <a:gd name="connsiteX323" fmla="*/ 1713548 w 1990725"/>
                <a:gd name="connsiteY323" fmla="*/ 1140143 h 1428750"/>
                <a:gd name="connsiteX324" fmla="*/ 1720215 w 1990725"/>
                <a:gd name="connsiteY324" fmla="*/ 1150620 h 1428750"/>
                <a:gd name="connsiteX325" fmla="*/ 1724978 w 1990725"/>
                <a:gd name="connsiteY325" fmla="*/ 1153477 h 1428750"/>
                <a:gd name="connsiteX326" fmla="*/ 1731645 w 1990725"/>
                <a:gd name="connsiteY326" fmla="*/ 1147763 h 1428750"/>
                <a:gd name="connsiteX327" fmla="*/ 1731645 w 1990725"/>
                <a:gd name="connsiteY327" fmla="*/ 1135380 h 1428750"/>
                <a:gd name="connsiteX328" fmla="*/ 1726882 w 1990725"/>
                <a:gd name="connsiteY328" fmla="*/ 1121093 h 1428750"/>
                <a:gd name="connsiteX329" fmla="*/ 1723073 w 1990725"/>
                <a:gd name="connsiteY329" fmla="*/ 1111568 h 1428750"/>
                <a:gd name="connsiteX330" fmla="*/ 1707832 w 1990725"/>
                <a:gd name="connsiteY330" fmla="*/ 1096327 h 1428750"/>
                <a:gd name="connsiteX331" fmla="*/ 1684020 w 1990725"/>
                <a:gd name="connsiteY331" fmla="*/ 1082040 h 1428750"/>
                <a:gd name="connsiteX332" fmla="*/ 1660207 w 1990725"/>
                <a:gd name="connsiteY332" fmla="*/ 1079182 h 1428750"/>
                <a:gd name="connsiteX333" fmla="*/ 1643063 w 1990725"/>
                <a:gd name="connsiteY333" fmla="*/ 1096327 h 1428750"/>
                <a:gd name="connsiteX334" fmla="*/ 1641157 w 1990725"/>
                <a:gd name="connsiteY334" fmla="*/ 1112520 h 1428750"/>
                <a:gd name="connsiteX335" fmla="*/ 1644015 w 1990725"/>
                <a:gd name="connsiteY335" fmla="*/ 1127760 h 1428750"/>
                <a:gd name="connsiteX336" fmla="*/ 1647825 w 1990725"/>
                <a:gd name="connsiteY336" fmla="*/ 1142047 h 1428750"/>
                <a:gd name="connsiteX337" fmla="*/ 1650682 w 1990725"/>
                <a:gd name="connsiteY337" fmla="*/ 1155382 h 1428750"/>
                <a:gd name="connsiteX338" fmla="*/ 1647825 w 1990725"/>
                <a:gd name="connsiteY338" fmla="*/ 1165860 h 1428750"/>
                <a:gd name="connsiteX339" fmla="*/ 1620203 w 1990725"/>
                <a:gd name="connsiteY339" fmla="*/ 1222057 h 1428750"/>
                <a:gd name="connsiteX340" fmla="*/ 1608773 w 1990725"/>
                <a:gd name="connsiteY340" fmla="*/ 1232535 h 1428750"/>
                <a:gd name="connsiteX341" fmla="*/ 1587818 w 1990725"/>
                <a:gd name="connsiteY341" fmla="*/ 1223963 h 1428750"/>
                <a:gd name="connsiteX342" fmla="*/ 1570673 w 1990725"/>
                <a:gd name="connsiteY342" fmla="*/ 1244918 h 1428750"/>
                <a:gd name="connsiteX343" fmla="*/ 1560195 w 1990725"/>
                <a:gd name="connsiteY343" fmla="*/ 1242060 h 1428750"/>
                <a:gd name="connsiteX344" fmla="*/ 1565910 w 1990725"/>
                <a:gd name="connsiteY344" fmla="*/ 1224915 h 1428750"/>
                <a:gd name="connsiteX345" fmla="*/ 1560195 w 1990725"/>
                <a:gd name="connsiteY345" fmla="*/ 1217295 h 1428750"/>
                <a:gd name="connsiteX346" fmla="*/ 1546860 w 1990725"/>
                <a:gd name="connsiteY346" fmla="*/ 1215390 h 1428750"/>
                <a:gd name="connsiteX347" fmla="*/ 1532573 w 1990725"/>
                <a:gd name="connsiteY347" fmla="*/ 1215390 h 1428750"/>
                <a:gd name="connsiteX348" fmla="*/ 1527810 w 1990725"/>
                <a:gd name="connsiteY348" fmla="*/ 1210627 h 1428750"/>
                <a:gd name="connsiteX349" fmla="*/ 1530668 w 1990725"/>
                <a:gd name="connsiteY349" fmla="*/ 1201102 h 1428750"/>
                <a:gd name="connsiteX350" fmla="*/ 1536382 w 1990725"/>
                <a:gd name="connsiteY350" fmla="*/ 1189672 h 1428750"/>
                <a:gd name="connsiteX351" fmla="*/ 1542098 w 1990725"/>
                <a:gd name="connsiteY351" fmla="*/ 1184910 h 1428750"/>
                <a:gd name="connsiteX352" fmla="*/ 1548765 w 1990725"/>
                <a:gd name="connsiteY352" fmla="*/ 1185863 h 1428750"/>
                <a:gd name="connsiteX353" fmla="*/ 1554480 w 1990725"/>
                <a:gd name="connsiteY353" fmla="*/ 1191577 h 1428750"/>
                <a:gd name="connsiteX354" fmla="*/ 1559243 w 1990725"/>
                <a:gd name="connsiteY354" fmla="*/ 1193482 h 1428750"/>
                <a:gd name="connsiteX355" fmla="*/ 1564005 w 1990725"/>
                <a:gd name="connsiteY355" fmla="*/ 1184910 h 1428750"/>
                <a:gd name="connsiteX356" fmla="*/ 1553528 w 1990725"/>
                <a:gd name="connsiteY356" fmla="*/ 1176338 h 1428750"/>
                <a:gd name="connsiteX357" fmla="*/ 1547813 w 1990725"/>
                <a:gd name="connsiteY357" fmla="*/ 1163955 h 1428750"/>
                <a:gd name="connsiteX358" fmla="*/ 1547813 w 1990725"/>
                <a:gd name="connsiteY358" fmla="*/ 1150620 h 1428750"/>
                <a:gd name="connsiteX359" fmla="*/ 1552575 w 1990725"/>
                <a:gd name="connsiteY359" fmla="*/ 1137285 h 1428750"/>
                <a:gd name="connsiteX360" fmla="*/ 1570673 w 1990725"/>
                <a:gd name="connsiteY360" fmla="*/ 1122045 h 1428750"/>
                <a:gd name="connsiteX361" fmla="*/ 1577340 w 1990725"/>
                <a:gd name="connsiteY361" fmla="*/ 1122997 h 1428750"/>
                <a:gd name="connsiteX362" fmla="*/ 1577340 w 1990725"/>
                <a:gd name="connsiteY362" fmla="*/ 1126807 h 1428750"/>
                <a:gd name="connsiteX363" fmla="*/ 1575435 w 1990725"/>
                <a:gd name="connsiteY363" fmla="*/ 1130618 h 1428750"/>
                <a:gd name="connsiteX364" fmla="*/ 1574482 w 1990725"/>
                <a:gd name="connsiteY364" fmla="*/ 1134427 h 1428750"/>
                <a:gd name="connsiteX365" fmla="*/ 1576388 w 1990725"/>
                <a:gd name="connsiteY365" fmla="*/ 1147763 h 1428750"/>
                <a:gd name="connsiteX366" fmla="*/ 1580198 w 1990725"/>
                <a:gd name="connsiteY366" fmla="*/ 1140143 h 1428750"/>
                <a:gd name="connsiteX367" fmla="*/ 1586865 w 1990725"/>
                <a:gd name="connsiteY367" fmla="*/ 1126807 h 1428750"/>
                <a:gd name="connsiteX368" fmla="*/ 1592580 w 1990725"/>
                <a:gd name="connsiteY368" fmla="*/ 1122045 h 1428750"/>
                <a:gd name="connsiteX369" fmla="*/ 1594485 w 1990725"/>
                <a:gd name="connsiteY369" fmla="*/ 1129665 h 1428750"/>
                <a:gd name="connsiteX370" fmla="*/ 1600200 w 1990725"/>
                <a:gd name="connsiteY370" fmla="*/ 1144905 h 1428750"/>
                <a:gd name="connsiteX371" fmla="*/ 1607820 w 1990725"/>
                <a:gd name="connsiteY371" fmla="*/ 1154430 h 1428750"/>
                <a:gd name="connsiteX372" fmla="*/ 1610678 w 1990725"/>
                <a:gd name="connsiteY372" fmla="*/ 1144905 h 1428750"/>
                <a:gd name="connsiteX373" fmla="*/ 1611630 w 1990725"/>
                <a:gd name="connsiteY373" fmla="*/ 1137285 h 1428750"/>
                <a:gd name="connsiteX374" fmla="*/ 1617345 w 1990725"/>
                <a:gd name="connsiteY374" fmla="*/ 1127760 h 1428750"/>
                <a:gd name="connsiteX375" fmla="*/ 1618298 w 1990725"/>
                <a:gd name="connsiteY375" fmla="*/ 1119188 h 1428750"/>
                <a:gd name="connsiteX376" fmla="*/ 1618298 w 1990725"/>
                <a:gd name="connsiteY376" fmla="*/ 1098232 h 1428750"/>
                <a:gd name="connsiteX377" fmla="*/ 1616393 w 1990725"/>
                <a:gd name="connsiteY377" fmla="*/ 1090613 h 1428750"/>
                <a:gd name="connsiteX378" fmla="*/ 1609725 w 1990725"/>
                <a:gd name="connsiteY378" fmla="*/ 1082993 h 1428750"/>
                <a:gd name="connsiteX379" fmla="*/ 1603057 w 1990725"/>
                <a:gd name="connsiteY379" fmla="*/ 1077277 h 1428750"/>
                <a:gd name="connsiteX380" fmla="*/ 1597343 w 1990725"/>
                <a:gd name="connsiteY380" fmla="*/ 1074420 h 1428750"/>
                <a:gd name="connsiteX381" fmla="*/ 1594485 w 1990725"/>
                <a:gd name="connsiteY381" fmla="*/ 1078230 h 1428750"/>
                <a:gd name="connsiteX382" fmla="*/ 1591628 w 1990725"/>
                <a:gd name="connsiteY382" fmla="*/ 1083945 h 1428750"/>
                <a:gd name="connsiteX383" fmla="*/ 1588770 w 1990725"/>
                <a:gd name="connsiteY383" fmla="*/ 1096327 h 1428750"/>
                <a:gd name="connsiteX384" fmla="*/ 1571625 w 1990725"/>
                <a:gd name="connsiteY384" fmla="*/ 1108710 h 1428750"/>
                <a:gd name="connsiteX385" fmla="*/ 1552575 w 1990725"/>
                <a:gd name="connsiteY385" fmla="*/ 1103947 h 1428750"/>
                <a:gd name="connsiteX386" fmla="*/ 1516380 w 1990725"/>
                <a:gd name="connsiteY386" fmla="*/ 1074420 h 1428750"/>
                <a:gd name="connsiteX387" fmla="*/ 1484948 w 1990725"/>
                <a:gd name="connsiteY387" fmla="*/ 1058227 h 1428750"/>
                <a:gd name="connsiteX388" fmla="*/ 1480185 w 1990725"/>
                <a:gd name="connsiteY388" fmla="*/ 1056322 h 1428750"/>
                <a:gd name="connsiteX389" fmla="*/ 1478280 w 1990725"/>
                <a:gd name="connsiteY389" fmla="*/ 1061085 h 1428750"/>
                <a:gd name="connsiteX390" fmla="*/ 1474470 w 1990725"/>
                <a:gd name="connsiteY390" fmla="*/ 1064895 h 1428750"/>
                <a:gd name="connsiteX391" fmla="*/ 1470660 w 1990725"/>
                <a:gd name="connsiteY391" fmla="*/ 1069657 h 1428750"/>
                <a:gd name="connsiteX392" fmla="*/ 1469707 w 1990725"/>
                <a:gd name="connsiteY392" fmla="*/ 1074420 h 1428750"/>
                <a:gd name="connsiteX393" fmla="*/ 1473518 w 1990725"/>
                <a:gd name="connsiteY393" fmla="*/ 1079182 h 1428750"/>
                <a:gd name="connsiteX394" fmla="*/ 1485900 w 1990725"/>
                <a:gd name="connsiteY394" fmla="*/ 1081088 h 1428750"/>
                <a:gd name="connsiteX395" fmla="*/ 1490663 w 1990725"/>
                <a:gd name="connsiteY395" fmla="*/ 1084897 h 1428750"/>
                <a:gd name="connsiteX396" fmla="*/ 1490663 w 1990725"/>
                <a:gd name="connsiteY396" fmla="*/ 1095375 h 1428750"/>
                <a:gd name="connsiteX397" fmla="*/ 1488757 w 1990725"/>
                <a:gd name="connsiteY397" fmla="*/ 1115377 h 1428750"/>
                <a:gd name="connsiteX398" fmla="*/ 1483995 w 1990725"/>
                <a:gd name="connsiteY398" fmla="*/ 1134427 h 1428750"/>
                <a:gd name="connsiteX399" fmla="*/ 1478280 w 1990725"/>
                <a:gd name="connsiteY399" fmla="*/ 1142047 h 1428750"/>
                <a:gd name="connsiteX400" fmla="*/ 1473518 w 1990725"/>
                <a:gd name="connsiteY400" fmla="*/ 1139190 h 1428750"/>
                <a:gd name="connsiteX401" fmla="*/ 1472565 w 1990725"/>
                <a:gd name="connsiteY401" fmla="*/ 1130618 h 1428750"/>
                <a:gd name="connsiteX402" fmla="*/ 1472565 w 1990725"/>
                <a:gd name="connsiteY402" fmla="*/ 1111568 h 1428750"/>
                <a:gd name="connsiteX403" fmla="*/ 1470660 w 1990725"/>
                <a:gd name="connsiteY403" fmla="*/ 1102043 h 1428750"/>
                <a:gd name="connsiteX404" fmla="*/ 1468755 w 1990725"/>
                <a:gd name="connsiteY404" fmla="*/ 1097280 h 1428750"/>
                <a:gd name="connsiteX405" fmla="*/ 1441132 w 1990725"/>
                <a:gd name="connsiteY405" fmla="*/ 1041082 h 1428750"/>
                <a:gd name="connsiteX406" fmla="*/ 1428750 w 1990725"/>
                <a:gd name="connsiteY406" fmla="*/ 1021080 h 1428750"/>
                <a:gd name="connsiteX407" fmla="*/ 1412557 w 1990725"/>
                <a:gd name="connsiteY407" fmla="*/ 1006793 h 1428750"/>
                <a:gd name="connsiteX408" fmla="*/ 1402080 w 1990725"/>
                <a:gd name="connsiteY408" fmla="*/ 1003935 h 1428750"/>
                <a:gd name="connsiteX409" fmla="*/ 1396365 w 1990725"/>
                <a:gd name="connsiteY409" fmla="*/ 1009650 h 1428750"/>
                <a:gd name="connsiteX410" fmla="*/ 1394460 w 1990725"/>
                <a:gd name="connsiteY410" fmla="*/ 1022032 h 1428750"/>
                <a:gd name="connsiteX411" fmla="*/ 1394460 w 1990725"/>
                <a:gd name="connsiteY411" fmla="*/ 1041082 h 1428750"/>
                <a:gd name="connsiteX412" fmla="*/ 1397318 w 1990725"/>
                <a:gd name="connsiteY412" fmla="*/ 1052513 h 1428750"/>
                <a:gd name="connsiteX413" fmla="*/ 1403985 w 1990725"/>
                <a:gd name="connsiteY413" fmla="*/ 1062038 h 1428750"/>
                <a:gd name="connsiteX414" fmla="*/ 1423035 w 1990725"/>
                <a:gd name="connsiteY414" fmla="*/ 1080135 h 1428750"/>
                <a:gd name="connsiteX415" fmla="*/ 1401128 w 1990725"/>
                <a:gd name="connsiteY415" fmla="*/ 1102995 h 1428750"/>
                <a:gd name="connsiteX416" fmla="*/ 1400175 w 1990725"/>
                <a:gd name="connsiteY416" fmla="*/ 1107757 h 1428750"/>
                <a:gd name="connsiteX417" fmla="*/ 1398270 w 1990725"/>
                <a:gd name="connsiteY417" fmla="*/ 1104900 h 1428750"/>
                <a:gd name="connsiteX418" fmla="*/ 1394460 w 1990725"/>
                <a:gd name="connsiteY418" fmla="*/ 1096327 h 1428750"/>
                <a:gd name="connsiteX419" fmla="*/ 1397318 w 1990725"/>
                <a:gd name="connsiteY419" fmla="*/ 1080135 h 1428750"/>
                <a:gd name="connsiteX420" fmla="*/ 1397318 w 1990725"/>
                <a:gd name="connsiteY420" fmla="*/ 1074420 h 1428750"/>
                <a:gd name="connsiteX421" fmla="*/ 1393507 w 1990725"/>
                <a:gd name="connsiteY421" fmla="*/ 1067752 h 1428750"/>
                <a:gd name="connsiteX422" fmla="*/ 1387793 w 1990725"/>
                <a:gd name="connsiteY422" fmla="*/ 1061085 h 1428750"/>
                <a:gd name="connsiteX423" fmla="*/ 1382078 w 1990725"/>
                <a:gd name="connsiteY423" fmla="*/ 1060132 h 1428750"/>
                <a:gd name="connsiteX424" fmla="*/ 1379220 w 1990725"/>
                <a:gd name="connsiteY424" fmla="*/ 1066800 h 1428750"/>
                <a:gd name="connsiteX425" fmla="*/ 1377315 w 1990725"/>
                <a:gd name="connsiteY425" fmla="*/ 1075372 h 1428750"/>
                <a:gd name="connsiteX426" fmla="*/ 1371600 w 1990725"/>
                <a:gd name="connsiteY426" fmla="*/ 1078230 h 1428750"/>
                <a:gd name="connsiteX427" fmla="*/ 1357313 w 1990725"/>
                <a:gd name="connsiteY427" fmla="*/ 1074420 h 1428750"/>
                <a:gd name="connsiteX428" fmla="*/ 1357313 w 1990725"/>
                <a:gd name="connsiteY428" fmla="*/ 1080135 h 1428750"/>
                <a:gd name="connsiteX429" fmla="*/ 1365885 w 1990725"/>
                <a:gd name="connsiteY429" fmla="*/ 1085850 h 1428750"/>
                <a:gd name="connsiteX430" fmla="*/ 1371600 w 1990725"/>
                <a:gd name="connsiteY430" fmla="*/ 1089660 h 1428750"/>
                <a:gd name="connsiteX431" fmla="*/ 1377315 w 1990725"/>
                <a:gd name="connsiteY431" fmla="*/ 1090613 h 1428750"/>
                <a:gd name="connsiteX432" fmla="*/ 1381125 w 1990725"/>
                <a:gd name="connsiteY432" fmla="*/ 1094422 h 1428750"/>
                <a:gd name="connsiteX433" fmla="*/ 1385888 w 1990725"/>
                <a:gd name="connsiteY433" fmla="*/ 1111568 h 1428750"/>
                <a:gd name="connsiteX434" fmla="*/ 1388745 w 1990725"/>
                <a:gd name="connsiteY434" fmla="*/ 1119188 h 1428750"/>
                <a:gd name="connsiteX435" fmla="*/ 1388745 w 1990725"/>
                <a:gd name="connsiteY435" fmla="*/ 1124902 h 1428750"/>
                <a:gd name="connsiteX436" fmla="*/ 1383030 w 1990725"/>
                <a:gd name="connsiteY436" fmla="*/ 1124902 h 1428750"/>
                <a:gd name="connsiteX437" fmla="*/ 1372553 w 1990725"/>
                <a:gd name="connsiteY437" fmla="*/ 1122045 h 1428750"/>
                <a:gd name="connsiteX438" fmla="*/ 1369695 w 1990725"/>
                <a:gd name="connsiteY438" fmla="*/ 1122045 h 1428750"/>
                <a:gd name="connsiteX439" fmla="*/ 1363980 w 1990725"/>
                <a:gd name="connsiteY439" fmla="*/ 1122997 h 1428750"/>
                <a:gd name="connsiteX440" fmla="*/ 1361123 w 1990725"/>
                <a:gd name="connsiteY440" fmla="*/ 1122045 h 1428750"/>
                <a:gd name="connsiteX441" fmla="*/ 1360170 w 1990725"/>
                <a:gd name="connsiteY441" fmla="*/ 1118235 h 1428750"/>
                <a:gd name="connsiteX442" fmla="*/ 1357313 w 1990725"/>
                <a:gd name="connsiteY442" fmla="*/ 1107757 h 1428750"/>
                <a:gd name="connsiteX443" fmla="*/ 1357313 w 1990725"/>
                <a:gd name="connsiteY443" fmla="*/ 1105852 h 1428750"/>
                <a:gd name="connsiteX444" fmla="*/ 1351598 w 1990725"/>
                <a:gd name="connsiteY444" fmla="*/ 1104900 h 1428750"/>
                <a:gd name="connsiteX445" fmla="*/ 1347788 w 1990725"/>
                <a:gd name="connsiteY445" fmla="*/ 1106805 h 1428750"/>
                <a:gd name="connsiteX446" fmla="*/ 1344930 w 1990725"/>
                <a:gd name="connsiteY446" fmla="*/ 1109663 h 1428750"/>
                <a:gd name="connsiteX447" fmla="*/ 1340168 w 1990725"/>
                <a:gd name="connsiteY447" fmla="*/ 1112520 h 1428750"/>
                <a:gd name="connsiteX448" fmla="*/ 1337310 w 1990725"/>
                <a:gd name="connsiteY448" fmla="*/ 1115377 h 1428750"/>
                <a:gd name="connsiteX449" fmla="*/ 1334453 w 1990725"/>
                <a:gd name="connsiteY449" fmla="*/ 1116330 h 1428750"/>
                <a:gd name="connsiteX450" fmla="*/ 1332548 w 1990725"/>
                <a:gd name="connsiteY450" fmla="*/ 1114425 h 1428750"/>
                <a:gd name="connsiteX451" fmla="*/ 1329690 w 1990725"/>
                <a:gd name="connsiteY451" fmla="*/ 1107757 h 1428750"/>
                <a:gd name="connsiteX452" fmla="*/ 1326832 w 1990725"/>
                <a:gd name="connsiteY452" fmla="*/ 1105852 h 1428750"/>
                <a:gd name="connsiteX453" fmla="*/ 1320165 w 1990725"/>
                <a:gd name="connsiteY453" fmla="*/ 1098232 h 1428750"/>
                <a:gd name="connsiteX454" fmla="*/ 1306830 w 1990725"/>
                <a:gd name="connsiteY454" fmla="*/ 1066800 h 1428750"/>
                <a:gd name="connsiteX455" fmla="*/ 1302068 w 1990725"/>
                <a:gd name="connsiteY455" fmla="*/ 1059180 h 1428750"/>
                <a:gd name="connsiteX456" fmla="*/ 1290638 w 1990725"/>
                <a:gd name="connsiteY456" fmla="*/ 1057275 h 1428750"/>
                <a:gd name="connsiteX457" fmla="*/ 1260157 w 1990725"/>
                <a:gd name="connsiteY457" fmla="*/ 1043940 h 1428750"/>
                <a:gd name="connsiteX458" fmla="*/ 1253490 w 1990725"/>
                <a:gd name="connsiteY458" fmla="*/ 1043940 h 1428750"/>
                <a:gd name="connsiteX459" fmla="*/ 1245870 w 1990725"/>
                <a:gd name="connsiteY459" fmla="*/ 1047750 h 1428750"/>
                <a:gd name="connsiteX460" fmla="*/ 1240155 w 1990725"/>
                <a:gd name="connsiteY460" fmla="*/ 1049655 h 1428750"/>
                <a:gd name="connsiteX461" fmla="*/ 1228725 w 1990725"/>
                <a:gd name="connsiteY461" fmla="*/ 1049655 h 1428750"/>
                <a:gd name="connsiteX462" fmla="*/ 1223010 w 1990725"/>
                <a:gd name="connsiteY462" fmla="*/ 1048702 h 1428750"/>
                <a:gd name="connsiteX463" fmla="*/ 1220153 w 1990725"/>
                <a:gd name="connsiteY463" fmla="*/ 1046797 h 1428750"/>
                <a:gd name="connsiteX464" fmla="*/ 1216343 w 1990725"/>
                <a:gd name="connsiteY464" fmla="*/ 1038225 h 1428750"/>
                <a:gd name="connsiteX465" fmla="*/ 1206818 w 1990725"/>
                <a:gd name="connsiteY465" fmla="*/ 1033463 h 1428750"/>
                <a:gd name="connsiteX466" fmla="*/ 1195388 w 1990725"/>
                <a:gd name="connsiteY466" fmla="*/ 1031557 h 1428750"/>
                <a:gd name="connsiteX467" fmla="*/ 1187768 w 1990725"/>
                <a:gd name="connsiteY467" fmla="*/ 1032510 h 1428750"/>
                <a:gd name="connsiteX468" fmla="*/ 1179195 w 1990725"/>
                <a:gd name="connsiteY468" fmla="*/ 1039177 h 1428750"/>
                <a:gd name="connsiteX469" fmla="*/ 1172528 w 1990725"/>
                <a:gd name="connsiteY469" fmla="*/ 1047750 h 1428750"/>
                <a:gd name="connsiteX470" fmla="*/ 1165860 w 1990725"/>
                <a:gd name="connsiteY470" fmla="*/ 1052513 h 1428750"/>
                <a:gd name="connsiteX471" fmla="*/ 1155382 w 1990725"/>
                <a:gd name="connsiteY471" fmla="*/ 1049655 h 1428750"/>
                <a:gd name="connsiteX472" fmla="*/ 1141095 w 1990725"/>
                <a:gd name="connsiteY472" fmla="*/ 1049655 h 1428750"/>
                <a:gd name="connsiteX473" fmla="*/ 1141095 w 1990725"/>
                <a:gd name="connsiteY473" fmla="*/ 1054418 h 1428750"/>
                <a:gd name="connsiteX474" fmla="*/ 1142048 w 1990725"/>
                <a:gd name="connsiteY474" fmla="*/ 1054418 h 1428750"/>
                <a:gd name="connsiteX475" fmla="*/ 1138238 w 1990725"/>
                <a:gd name="connsiteY475" fmla="*/ 1060132 h 1428750"/>
                <a:gd name="connsiteX476" fmla="*/ 1143000 w 1990725"/>
                <a:gd name="connsiteY476" fmla="*/ 1087755 h 1428750"/>
                <a:gd name="connsiteX477" fmla="*/ 1137285 w 1990725"/>
                <a:gd name="connsiteY477" fmla="*/ 1106805 h 1428750"/>
                <a:gd name="connsiteX478" fmla="*/ 1120140 w 1990725"/>
                <a:gd name="connsiteY478" fmla="*/ 1124902 h 1428750"/>
                <a:gd name="connsiteX479" fmla="*/ 1112520 w 1990725"/>
                <a:gd name="connsiteY479" fmla="*/ 1109663 h 1428750"/>
                <a:gd name="connsiteX480" fmla="*/ 1103948 w 1990725"/>
                <a:gd name="connsiteY480" fmla="*/ 1101090 h 1428750"/>
                <a:gd name="connsiteX481" fmla="*/ 1090613 w 1990725"/>
                <a:gd name="connsiteY481" fmla="*/ 1105852 h 1428750"/>
                <a:gd name="connsiteX482" fmla="*/ 1079182 w 1990725"/>
                <a:gd name="connsiteY482" fmla="*/ 1116330 h 1428750"/>
                <a:gd name="connsiteX483" fmla="*/ 1069657 w 1990725"/>
                <a:gd name="connsiteY483" fmla="*/ 1126807 h 1428750"/>
                <a:gd name="connsiteX484" fmla="*/ 1068705 w 1990725"/>
                <a:gd name="connsiteY484" fmla="*/ 1138238 h 1428750"/>
                <a:gd name="connsiteX485" fmla="*/ 1082993 w 1990725"/>
                <a:gd name="connsiteY485" fmla="*/ 1147763 h 1428750"/>
                <a:gd name="connsiteX486" fmla="*/ 1082993 w 1990725"/>
                <a:gd name="connsiteY486" fmla="*/ 1153477 h 1428750"/>
                <a:gd name="connsiteX487" fmla="*/ 1068705 w 1990725"/>
                <a:gd name="connsiteY487" fmla="*/ 1154430 h 1428750"/>
                <a:gd name="connsiteX488" fmla="*/ 1055370 w 1990725"/>
                <a:gd name="connsiteY488" fmla="*/ 1158240 h 1428750"/>
                <a:gd name="connsiteX489" fmla="*/ 1050607 w 1990725"/>
                <a:gd name="connsiteY489" fmla="*/ 1167765 h 1428750"/>
                <a:gd name="connsiteX490" fmla="*/ 1061085 w 1990725"/>
                <a:gd name="connsiteY490" fmla="*/ 1183957 h 1428750"/>
                <a:gd name="connsiteX491" fmla="*/ 1056323 w 1990725"/>
                <a:gd name="connsiteY491" fmla="*/ 1183957 h 1428750"/>
                <a:gd name="connsiteX492" fmla="*/ 1044893 w 1990725"/>
                <a:gd name="connsiteY492" fmla="*/ 1179195 h 1428750"/>
                <a:gd name="connsiteX493" fmla="*/ 1012507 w 1990725"/>
                <a:gd name="connsiteY493" fmla="*/ 1179195 h 1428750"/>
                <a:gd name="connsiteX494" fmla="*/ 1007745 w 1990725"/>
                <a:gd name="connsiteY494" fmla="*/ 1175385 h 1428750"/>
                <a:gd name="connsiteX495" fmla="*/ 991553 w 1990725"/>
                <a:gd name="connsiteY495" fmla="*/ 1153477 h 1428750"/>
                <a:gd name="connsiteX496" fmla="*/ 977265 w 1990725"/>
                <a:gd name="connsiteY496" fmla="*/ 1141095 h 1428750"/>
                <a:gd name="connsiteX497" fmla="*/ 963930 w 1990725"/>
                <a:gd name="connsiteY497" fmla="*/ 1138238 h 1428750"/>
                <a:gd name="connsiteX498" fmla="*/ 952500 w 1990725"/>
                <a:gd name="connsiteY498" fmla="*/ 1153477 h 1428750"/>
                <a:gd name="connsiteX499" fmla="*/ 950595 w 1990725"/>
                <a:gd name="connsiteY499" fmla="*/ 1149668 h 1428750"/>
                <a:gd name="connsiteX500" fmla="*/ 947738 w 1990725"/>
                <a:gd name="connsiteY500" fmla="*/ 1148715 h 1428750"/>
                <a:gd name="connsiteX501" fmla="*/ 944880 w 1990725"/>
                <a:gd name="connsiteY501" fmla="*/ 1148715 h 1428750"/>
                <a:gd name="connsiteX502" fmla="*/ 942023 w 1990725"/>
                <a:gd name="connsiteY502" fmla="*/ 1147763 h 1428750"/>
                <a:gd name="connsiteX503" fmla="*/ 950595 w 1990725"/>
                <a:gd name="connsiteY503" fmla="*/ 1139190 h 1428750"/>
                <a:gd name="connsiteX504" fmla="*/ 956310 w 1990725"/>
                <a:gd name="connsiteY504" fmla="*/ 1128713 h 1428750"/>
                <a:gd name="connsiteX505" fmla="*/ 955357 w 1990725"/>
                <a:gd name="connsiteY505" fmla="*/ 1120140 h 1428750"/>
                <a:gd name="connsiteX506" fmla="*/ 943928 w 1990725"/>
                <a:gd name="connsiteY506" fmla="*/ 1116330 h 1428750"/>
                <a:gd name="connsiteX507" fmla="*/ 902018 w 1990725"/>
                <a:gd name="connsiteY507" fmla="*/ 1122045 h 1428750"/>
                <a:gd name="connsiteX508" fmla="*/ 905828 w 1990725"/>
                <a:gd name="connsiteY508" fmla="*/ 1111568 h 1428750"/>
                <a:gd name="connsiteX509" fmla="*/ 907732 w 1990725"/>
                <a:gd name="connsiteY509" fmla="*/ 1102043 h 1428750"/>
                <a:gd name="connsiteX510" fmla="*/ 912495 w 1990725"/>
                <a:gd name="connsiteY510" fmla="*/ 1049655 h 1428750"/>
                <a:gd name="connsiteX511" fmla="*/ 901065 w 1990725"/>
                <a:gd name="connsiteY511" fmla="*/ 1062990 h 1428750"/>
                <a:gd name="connsiteX512" fmla="*/ 891540 w 1990725"/>
                <a:gd name="connsiteY512" fmla="*/ 1083945 h 1428750"/>
                <a:gd name="connsiteX513" fmla="*/ 881063 w 1990725"/>
                <a:gd name="connsiteY513" fmla="*/ 1102995 h 1428750"/>
                <a:gd name="connsiteX514" fmla="*/ 864870 w 1990725"/>
                <a:gd name="connsiteY514" fmla="*/ 1111568 h 1428750"/>
                <a:gd name="connsiteX515" fmla="*/ 860107 w 1990725"/>
                <a:gd name="connsiteY515" fmla="*/ 1112520 h 1428750"/>
                <a:gd name="connsiteX516" fmla="*/ 853440 w 1990725"/>
                <a:gd name="connsiteY516" fmla="*/ 1116330 h 1428750"/>
                <a:gd name="connsiteX517" fmla="*/ 848678 w 1990725"/>
                <a:gd name="connsiteY517" fmla="*/ 1116330 h 1428750"/>
                <a:gd name="connsiteX518" fmla="*/ 842963 w 1990725"/>
                <a:gd name="connsiteY518" fmla="*/ 1114425 h 1428750"/>
                <a:gd name="connsiteX519" fmla="*/ 832485 w 1990725"/>
                <a:gd name="connsiteY519" fmla="*/ 1105852 h 1428750"/>
                <a:gd name="connsiteX520" fmla="*/ 801053 w 1990725"/>
                <a:gd name="connsiteY520" fmla="*/ 1090613 h 1428750"/>
                <a:gd name="connsiteX521" fmla="*/ 805815 w 1990725"/>
                <a:gd name="connsiteY521" fmla="*/ 1112520 h 1428750"/>
                <a:gd name="connsiteX522" fmla="*/ 798195 w 1990725"/>
                <a:gd name="connsiteY522" fmla="*/ 1122997 h 1428750"/>
                <a:gd name="connsiteX523" fmla="*/ 742950 w 1990725"/>
                <a:gd name="connsiteY523" fmla="*/ 1132522 h 1428750"/>
                <a:gd name="connsiteX524" fmla="*/ 736282 w 1990725"/>
                <a:gd name="connsiteY524" fmla="*/ 1131570 h 1428750"/>
                <a:gd name="connsiteX525" fmla="*/ 731520 w 1990725"/>
                <a:gd name="connsiteY525" fmla="*/ 1130618 h 1428750"/>
                <a:gd name="connsiteX526" fmla="*/ 726757 w 1990725"/>
                <a:gd name="connsiteY526" fmla="*/ 1127760 h 1428750"/>
                <a:gd name="connsiteX527" fmla="*/ 723900 w 1990725"/>
                <a:gd name="connsiteY527" fmla="*/ 1127760 h 1428750"/>
                <a:gd name="connsiteX528" fmla="*/ 711518 w 1990725"/>
                <a:gd name="connsiteY528" fmla="*/ 1127760 h 1428750"/>
                <a:gd name="connsiteX529" fmla="*/ 706755 w 1990725"/>
                <a:gd name="connsiteY529" fmla="*/ 1127760 h 1428750"/>
                <a:gd name="connsiteX530" fmla="*/ 678180 w 1990725"/>
                <a:gd name="connsiteY530" fmla="*/ 1117282 h 1428750"/>
                <a:gd name="connsiteX531" fmla="*/ 665798 w 1990725"/>
                <a:gd name="connsiteY531" fmla="*/ 1116330 h 1428750"/>
                <a:gd name="connsiteX532" fmla="*/ 658178 w 1990725"/>
                <a:gd name="connsiteY532" fmla="*/ 1118235 h 1428750"/>
                <a:gd name="connsiteX533" fmla="*/ 638175 w 1990725"/>
                <a:gd name="connsiteY533" fmla="*/ 1128713 h 1428750"/>
                <a:gd name="connsiteX534" fmla="*/ 571500 w 1990725"/>
                <a:gd name="connsiteY534" fmla="*/ 1140143 h 1428750"/>
                <a:gd name="connsiteX535" fmla="*/ 566738 w 1990725"/>
                <a:gd name="connsiteY535" fmla="*/ 1142047 h 1428750"/>
                <a:gd name="connsiteX536" fmla="*/ 561023 w 1990725"/>
                <a:gd name="connsiteY536" fmla="*/ 1145857 h 1428750"/>
                <a:gd name="connsiteX537" fmla="*/ 552450 w 1990725"/>
                <a:gd name="connsiteY537" fmla="*/ 1155382 h 1428750"/>
                <a:gd name="connsiteX538" fmla="*/ 548640 w 1990725"/>
                <a:gd name="connsiteY538" fmla="*/ 1158240 h 1428750"/>
                <a:gd name="connsiteX539" fmla="*/ 526732 w 1990725"/>
                <a:gd name="connsiteY539" fmla="*/ 1162050 h 1428750"/>
                <a:gd name="connsiteX540" fmla="*/ 421005 w 1990725"/>
                <a:gd name="connsiteY540" fmla="*/ 1130618 h 1428750"/>
                <a:gd name="connsiteX541" fmla="*/ 409575 w 1990725"/>
                <a:gd name="connsiteY541" fmla="*/ 1122997 h 1428750"/>
                <a:gd name="connsiteX542" fmla="*/ 402907 w 1990725"/>
                <a:gd name="connsiteY542" fmla="*/ 1122997 h 1428750"/>
                <a:gd name="connsiteX543" fmla="*/ 400050 w 1990725"/>
                <a:gd name="connsiteY543" fmla="*/ 1122045 h 1428750"/>
                <a:gd name="connsiteX544" fmla="*/ 399098 w 1990725"/>
                <a:gd name="connsiteY544" fmla="*/ 1119188 h 1428750"/>
                <a:gd name="connsiteX545" fmla="*/ 397193 w 1990725"/>
                <a:gd name="connsiteY545" fmla="*/ 1109663 h 1428750"/>
                <a:gd name="connsiteX546" fmla="*/ 394335 w 1990725"/>
                <a:gd name="connsiteY546" fmla="*/ 1100138 h 1428750"/>
                <a:gd name="connsiteX547" fmla="*/ 392430 w 1990725"/>
                <a:gd name="connsiteY547" fmla="*/ 1089660 h 1428750"/>
                <a:gd name="connsiteX548" fmla="*/ 389573 w 1990725"/>
                <a:gd name="connsiteY548" fmla="*/ 1084897 h 1428750"/>
                <a:gd name="connsiteX549" fmla="*/ 399098 w 1990725"/>
                <a:gd name="connsiteY549" fmla="*/ 1076325 h 1428750"/>
                <a:gd name="connsiteX550" fmla="*/ 401955 w 1990725"/>
                <a:gd name="connsiteY550" fmla="*/ 1071563 h 1428750"/>
                <a:gd name="connsiteX551" fmla="*/ 403860 w 1990725"/>
                <a:gd name="connsiteY551" fmla="*/ 1063943 h 1428750"/>
                <a:gd name="connsiteX552" fmla="*/ 387668 w 1990725"/>
                <a:gd name="connsiteY552" fmla="*/ 1070610 h 1428750"/>
                <a:gd name="connsiteX553" fmla="*/ 374332 w 1990725"/>
                <a:gd name="connsiteY553" fmla="*/ 1072515 h 1428750"/>
                <a:gd name="connsiteX554" fmla="*/ 360045 w 1990725"/>
                <a:gd name="connsiteY554" fmla="*/ 1069657 h 1428750"/>
                <a:gd name="connsiteX555" fmla="*/ 337185 w 1990725"/>
                <a:gd name="connsiteY555" fmla="*/ 1061085 h 1428750"/>
                <a:gd name="connsiteX556" fmla="*/ 329565 w 1990725"/>
                <a:gd name="connsiteY556" fmla="*/ 1060132 h 1428750"/>
                <a:gd name="connsiteX557" fmla="*/ 322898 w 1990725"/>
                <a:gd name="connsiteY557" fmla="*/ 1056322 h 1428750"/>
                <a:gd name="connsiteX558" fmla="*/ 302895 w 1990725"/>
                <a:gd name="connsiteY558" fmla="*/ 1029652 h 1428750"/>
                <a:gd name="connsiteX559" fmla="*/ 287655 w 1990725"/>
                <a:gd name="connsiteY559" fmla="*/ 1017270 h 1428750"/>
                <a:gd name="connsiteX560" fmla="*/ 271463 w 1990725"/>
                <a:gd name="connsiteY560" fmla="*/ 1023938 h 1428750"/>
                <a:gd name="connsiteX561" fmla="*/ 244793 w 1990725"/>
                <a:gd name="connsiteY561" fmla="*/ 1009650 h 1428750"/>
                <a:gd name="connsiteX562" fmla="*/ 200978 w 1990725"/>
                <a:gd name="connsiteY562" fmla="*/ 976313 h 1428750"/>
                <a:gd name="connsiteX563" fmla="*/ 200025 w 1990725"/>
                <a:gd name="connsiteY563" fmla="*/ 984885 h 1428750"/>
                <a:gd name="connsiteX564" fmla="*/ 202882 w 1990725"/>
                <a:gd name="connsiteY564" fmla="*/ 994410 h 1428750"/>
                <a:gd name="connsiteX565" fmla="*/ 203835 w 1990725"/>
                <a:gd name="connsiteY565" fmla="*/ 1003935 h 1428750"/>
                <a:gd name="connsiteX566" fmla="*/ 200025 w 1990725"/>
                <a:gd name="connsiteY566" fmla="*/ 1006793 h 1428750"/>
                <a:gd name="connsiteX567" fmla="*/ 166688 w 1990725"/>
                <a:gd name="connsiteY567" fmla="*/ 1005840 h 1428750"/>
                <a:gd name="connsiteX568" fmla="*/ 157163 w 1990725"/>
                <a:gd name="connsiteY568" fmla="*/ 1002982 h 1428750"/>
                <a:gd name="connsiteX569" fmla="*/ 148590 w 1990725"/>
                <a:gd name="connsiteY569" fmla="*/ 997268 h 1428750"/>
                <a:gd name="connsiteX570" fmla="*/ 141923 w 1990725"/>
                <a:gd name="connsiteY570" fmla="*/ 988695 h 1428750"/>
                <a:gd name="connsiteX571" fmla="*/ 139065 w 1990725"/>
                <a:gd name="connsiteY571" fmla="*/ 977265 h 1428750"/>
                <a:gd name="connsiteX572" fmla="*/ 145732 w 1990725"/>
                <a:gd name="connsiteY572" fmla="*/ 966788 h 1428750"/>
                <a:gd name="connsiteX573" fmla="*/ 156210 w 1990725"/>
                <a:gd name="connsiteY573" fmla="*/ 959168 h 1428750"/>
                <a:gd name="connsiteX574" fmla="*/ 164782 w 1990725"/>
                <a:gd name="connsiteY574" fmla="*/ 954405 h 1428750"/>
                <a:gd name="connsiteX575" fmla="*/ 176213 w 1990725"/>
                <a:gd name="connsiteY575" fmla="*/ 953452 h 1428750"/>
                <a:gd name="connsiteX576" fmla="*/ 204788 w 1990725"/>
                <a:gd name="connsiteY576" fmla="*/ 960120 h 1428750"/>
                <a:gd name="connsiteX577" fmla="*/ 244793 w 1990725"/>
                <a:gd name="connsiteY577" fmla="*/ 952500 h 1428750"/>
                <a:gd name="connsiteX578" fmla="*/ 249555 w 1990725"/>
                <a:gd name="connsiteY578" fmla="*/ 948690 h 1428750"/>
                <a:gd name="connsiteX579" fmla="*/ 277178 w 1990725"/>
                <a:gd name="connsiteY579" fmla="*/ 922972 h 1428750"/>
                <a:gd name="connsiteX580" fmla="*/ 283845 w 1990725"/>
                <a:gd name="connsiteY580" fmla="*/ 922020 h 1428750"/>
                <a:gd name="connsiteX581" fmla="*/ 290513 w 1990725"/>
                <a:gd name="connsiteY581" fmla="*/ 922020 h 1428750"/>
                <a:gd name="connsiteX582" fmla="*/ 294323 w 1990725"/>
                <a:gd name="connsiteY582" fmla="*/ 919163 h 1428750"/>
                <a:gd name="connsiteX583" fmla="*/ 289560 w 1990725"/>
                <a:gd name="connsiteY583" fmla="*/ 910590 h 1428750"/>
                <a:gd name="connsiteX584" fmla="*/ 265748 w 1990725"/>
                <a:gd name="connsiteY584" fmla="*/ 877252 h 1428750"/>
                <a:gd name="connsiteX585" fmla="*/ 257175 w 1990725"/>
                <a:gd name="connsiteY585" fmla="*/ 873442 h 1428750"/>
                <a:gd name="connsiteX586" fmla="*/ 238125 w 1990725"/>
                <a:gd name="connsiteY586" fmla="*/ 875347 h 1428750"/>
                <a:gd name="connsiteX587" fmla="*/ 214313 w 1990725"/>
                <a:gd name="connsiteY587" fmla="*/ 871538 h 1428750"/>
                <a:gd name="connsiteX588" fmla="*/ 164782 w 1990725"/>
                <a:gd name="connsiteY588" fmla="*/ 851535 h 1428750"/>
                <a:gd name="connsiteX589" fmla="*/ 183832 w 1990725"/>
                <a:gd name="connsiteY589" fmla="*/ 821055 h 1428750"/>
                <a:gd name="connsiteX590" fmla="*/ 188595 w 1990725"/>
                <a:gd name="connsiteY590" fmla="*/ 822960 h 1428750"/>
                <a:gd name="connsiteX591" fmla="*/ 233363 w 1990725"/>
                <a:gd name="connsiteY591" fmla="*/ 822960 h 1428750"/>
                <a:gd name="connsiteX592" fmla="*/ 279082 w 1990725"/>
                <a:gd name="connsiteY592" fmla="*/ 833438 h 1428750"/>
                <a:gd name="connsiteX593" fmla="*/ 309563 w 1990725"/>
                <a:gd name="connsiteY593" fmla="*/ 828675 h 1428750"/>
                <a:gd name="connsiteX594" fmla="*/ 320993 w 1990725"/>
                <a:gd name="connsiteY594" fmla="*/ 828675 h 1428750"/>
                <a:gd name="connsiteX595" fmla="*/ 378143 w 1990725"/>
                <a:gd name="connsiteY595" fmla="*/ 842010 h 1428750"/>
                <a:gd name="connsiteX596" fmla="*/ 407670 w 1990725"/>
                <a:gd name="connsiteY596" fmla="*/ 860107 h 1428750"/>
                <a:gd name="connsiteX597" fmla="*/ 428625 w 1990725"/>
                <a:gd name="connsiteY597" fmla="*/ 865822 h 1428750"/>
                <a:gd name="connsiteX598" fmla="*/ 452438 w 1990725"/>
                <a:gd name="connsiteY598" fmla="*/ 863917 h 1428750"/>
                <a:gd name="connsiteX599" fmla="*/ 472440 w 1990725"/>
                <a:gd name="connsiteY599" fmla="*/ 854392 h 1428750"/>
                <a:gd name="connsiteX600" fmla="*/ 486728 w 1990725"/>
                <a:gd name="connsiteY600" fmla="*/ 839152 h 1428750"/>
                <a:gd name="connsiteX601" fmla="*/ 477203 w 1990725"/>
                <a:gd name="connsiteY601" fmla="*/ 824865 h 1428750"/>
                <a:gd name="connsiteX602" fmla="*/ 491490 w 1990725"/>
                <a:gd name="connsiteY602" fmla="*/ 804863 h 1428750"/>
                <a:gd name="connsiteX603" fmla="*/ 528638 w 1990725"/>
                <a:gd name="connsiteY603" fmla="*/ 773430 h 1428750"/>
                <a:gd name="connsiteX604" fmla="*/ 538163 w 1990725"/>
                <a:gd name="connsiteY604" fmla="*/ 766763 h 1428750"/>
                <a:gd name="connsiteX605" fmla="*/ 562928 w 1990725"/>
                <a:gd name="connsiteY605" fmla="*/ 763905 h 1428750"/>
                <a:gd name="connsiteX606" fmla="*/ 571500 w 1990725"/>
                <a:gd name="connsiteY606" fmla="*/ 758190 h 1428750"/>
                <a:gd name="connsiteX607" fmla="*/ 580073 w 1990725"/>
                <a:gd name="connsiteY607" fmla="*/ 749617 h 1428750"/>
                <a:gd name="connsiteX608" fmla="*/ 588645 w 1990725"/>
                <a:gd name="connsiteY608" fmla="*/ 742950 h 1428750"/>
                <a:gd name="connsiteX609" fmla="*/ 596265 w 1990725"/>
                <a:gd name="connsiteY609" fmla="*/ 736282 h 1428750"/>
                <a:gd name="connsiteX610" fmla="*/ 601980 w 1990725"/>
                <a:gd name="connsiteY610" fmla="*/ 722947 h 1428750"/>
                <a:gd name="connsiteX611" fmla="*/ 589598 w 1990725"/>
                <a:gd name="connsiteY611" fmla="*/ 729615 h 1428750"/>
                <a:gd name="connsiteX612" fmla="*/ 575310 w 1990725"/>
                <a:gd name="connsiteY612" fmla="*/ 740092 h 1428750"/>
                <a:gd name="connsiteX613" fmla="*/ 561023 w 1990725"/>
                <a:gd name="connsiteY613" fmla="*/ 747713 h 1428750"/>
                <a:gd name="connsiteX614" fmla="*/ 548640 w 1990725"/>
                <a:gd name="connsiteY614" fmla="*/ 744855 h 1428750"/>
                <a:gd name="connsiteX615" fmla="*/ 477203 w 1990725"/>
                <a:gd name="connsiteY615" fmla="*/ 784860 h 1428750"/>
                <a:gd name="connsiteX616" fmla="*/ 439103 w 1990725"/>
                <a:gd name="connsiteY616" fmla="*/ 790575 h 1428750"/>
                <a:gd name="connsiteX617" fmla="*/ 403860 w 1990725"/>
                <a:gd name="connsiteY617" fmla="*/ 770572 h 1428750"/>
                <a:gd name="connsiteX618" fmla="*/ 395288 w 1990725"/>
                <a:gd name="connsiteY618" fmla="*/ 758190 h 1428750"/>
                <a:gd name="connsiteX619" fmla="*/ 392430 w 1990725"/>
                <a:gd name="connsiteY619" fmla="*/ 755332 h 1428750"/>
                <a:gd name="connsiteX620" fmla="*/ 386715 w 1990725"/>
                <a:gd name="connsiteY620" fmla="*/ 758190 h 1428750"/>
                <a:gd name="connsiteX621" fmla="*/ 378143 w 1990725"/>
                <a:gd name="connsiteY621" fmla="*/ 768667 h 1428750"/>
                <a:gd name="connsiteX622" fmla="*/ 372428 w 1990725"/>
                <a:gd name="connsiteY622" fmla="*/ 770572 h 1428750"/>
                <a:gd name="connsiteX623" fmla="*/ 366713 w 1990725"/>
                <a:gd name="connsiteY623" fmla="*/ 771525 h 1428750"/>
                <a:gd name="connsiteX624" fmla="*/ 356235 w 1990725"/>
                <a:gd name="connsiteY624" fmla="*/ 775335 h 1428750"/>
                <a:gd name="connsiteX625" fmla="*/ 351473 w 1990725"/>
                <a:gd name="connsiteY625" fmla="*/ 776288 h 1428750"/>
                <a:gd name="connsiteX626" fmla="*/ 339090 w 1990725"/>
                <a:gd name="connsiteY626" fmla="*/ 791527 h 1428750"/>
                <a:gd name="connsiteX627" fmla="*/ 331470 w 1990725"/>
                <a:gd name="connsiteY627" fmla="*/ 783907 h 1428750"/>
                <a:gd name="connsiteX628" fmla="*/ 323850 w 1990725"/>
                <a:gd name="connsiteY628" fmla="*/ 756285 h 1428750"/>
                <a:gd name="connsiteX629" fmla="*/ 315278 w 1990725"/>
                <a:gd name="connsiteY629" fmla="*/ 749617 h 1428750"/>
                <a:gd name="connsiteX630" fmla="*/ 282893 w 1990725"/>
                <a:gd name="connsiteY630" fmla="*/ 742950 h 1428750"/>
                <a:gd name="connsiteX631" fmla="*/ 273368 w 1990725"/>
                <a:gd name="connsiteY631" fmla="*/ 739140 h 1428750"/>
                <a:gd name="connsiteX632" fmla="*/ 266700 w 1990725"/>
                <a:gd name="connsiteY632" fmla="*/ 730567 h 1428750"/>
                <a:gd name="connsiteX633" fmla="*/ 258128 w 1990725"/>
                <a:gd name="connsiteY633" fmla="*/ 717232 h 1428750"/>
                <a:gd name="connsiteX634" fmla="*/ 251460 w 1990725"/>
                <a:gd name="connsiteY634" fmla="*/ 701992 h 1428750"/>
                <a:gd name="connsiteX635" fmla="*/ 248603 w 1990725"/>
                <a:gd name="connsiteY635" fmla="*/ 689610 h 1428750"/>
                <a:gd name="connsiteX636" fmla="*/ 245745 w 1990725"/>
                <a:gd name="connsiteY636" fmla="*/ 674370 h 1428750"/>
                <a:gd name="connsiteX637" fmla="*/ 242888 w 1990725"/>
                <a:gd name="connsiteY637" fmla="*/ 667702 h 1428750"/>
                <a:gd name="connsiteX638" fmla="*/ 243840 w 1990725"/>
                <a:gd name="connsiteY638" fmla="*/ 663892 h 1428750"/>
                <a:gd name="connsiteX639" fmla="*/ 270510 w 1990725"/>
                <a:gd name="connsiteY639" fmla="*/ 664845 h 1428750"/>
                <a:gd name="connsiteX640" fmla="*/ 278130 w 1990725"/>
                <a:gd name="connsiteY640" fmla="*/ 661988 h 1428750"/>
                <a:gd name="connsiteX641" fmla="*/ 282893 w 1990725"/>
                <a:gd name="connsiteY641" fmla="*/ 657225 h 1428750"/>
                <a:gd name="connsiteX642" fmla="*/ 291465 w 1990725"/>
                <a:gd name="connsiteY642" fmla="*/ 650557 h 1428750"/>
                <a:gd name="connsiteX643" fmla="*/ 296228 w 1990725"/>
                <a:gd name="connsiteY643" fmla="*/ 649605 h 1428750"/>
                <a:gd name="connsiteX644" fmla="*/ 300038 w 1990725"/>
                <a:gd name="connsiteY644" fmla="*/ 648652 h 1428750"/>
                <a:gd name="connsiteX645" fmla="*/ 305753 w 1990725"/>
                <a:gd name="connsiteY645" fmla="*/ 649605 h 1428750"/>
                <a:gd name="connsiteX646" fmla="*/ 314325 w 1990725"/>
                <a:gd name="connsiteY646" fmla="*/ 655320 h 1428750"/>
                <a:gd name="connsiteX647" fmla="*/ 320993 w 1990725"/>
                <a:gd name="connsiteY647" fmla="*/ 657225 h 1428750"/>
                <a:gd name="connsiteX648" fmla="*/ 326707 w 1990725"/>
                <a:gd name="connsiteY648" fmla="*/ 657225 h 1428750"/>
                <a:gd name="connsiteX649" fmla="*/ 342900 w 1990725"/>
                <a:gd name="connsiteY649" fmla="*/ 652463 h 1428750"/>
                <a:gd name="connsiteX650" fmla="*/ 352425 w 1990725"/>
                <a:gd name="connsiteY650" fmla="*/ 648652 h 1428750"/>
                <a:gd name="connsiteX651" fmla="*/ 356235 w 1990725"/>
                <a:gd name="connsiteY651" fmla="*/ 645795 h 1428750"/>
                <a:gd name="connsiteX652" fmla="*/ 359093 w 1990725"/>
                <a:gd name="connsiteY652" fmla="*/ 641985 h 1428750"/>
                <a:gd name="connsiteX653" fmla="*/ 360998 w 1990725"/>
                <a:gd name="connsiteY653" fmla="*/ 639127 h 1428750"/>
                <a:gd name="connsiteX654" fmla="*/ 365760 w 1990725"/>
                <a:gd name="connsiteY654" fmla="*/ 629602 h 1428750"/>
                <a:gd name="connsiteX655" fmla="*/ 371475 w 1990725"/>
                <a:gd name="connsiteY655" fmla="*/ 615315 h 1428750"/>
                <a:gd name="connsiteX656" fmla="*/ 372428 w 1990725"/>
                <a:gd name="connsiteY656" fmla="*/ 611505 h 1428750"/>
                <a:gd name="connsiteX657" fmla="*/ 374332 w 1990725"/>
                <a:gd name="connsiteY657" fmla="*/ 607695 h 1428750"/>
                <a:gd name="connsiteX658" fmla="*/ 379095 w 1990725"/>
                <a:gd name="connsiteY658" fmla="*/ 603885 h 1428750"/>
                <a:gd name="connsiteX659" fmla="*/ 381953 w 1990725"/>
                <a:gd name="connsiteY659" fmla="*/ 601980 h 1428750"/>
                <a:gd name="connsiteX660" fmla="*/ 385763 w 1990725"/>
                <a:gd name="connsiteY660" fmla="*/ 600075 h 1428750"/>
                <a:gd name="connsiteX661" fmla="*/ 392430 w 1990725"/>
                <a:gd name="connsiteY661" fmla="*/ 599122 h 1428750"/>
                <a:gd name="connsiteX662" fmla="*/ 398145 w 1990725"/>
                <a:gd name="connsiteY662" fmla="*/ 599122 h 1428750"/>
                <a:gd name="connsiteX663" fmla="*/ 428625 w 1990725"/>
                <a:gd name="connsiteY663" fmla="*/ 610552 h 1428750"/>
                <a:gd name="connsiteX664" fmla="*/ 442913 w 1990725"/>
                <a:gd name="connsiteY664" fmla="*/ 611505 h 1428750"/>
                <a:gd name="connsiteX665" fmla="*/ 446723 w 1990725"/>
                <a:gd name="connsiteY665" fmla="*/ 610552 h 1428750"/>
                <a:gd name="connsiteX666" fmla="*/ 449580 w 1990725"/>
                <a:gd name="connsiteY666" fmla="*/ 608647 h 1428750"/>
                <a:gd name="connsiteX667" fmla="*/ 450532 w 1990725"/>
                <a:gd name="connsiteY667" fmla="*/ 606742 h 1428750"/>
                <a:gd name="connsiteX668" fmla="*/ 457200 w 1990725"/>
                <a:gd name="connsiteY668" fmla="*/ 587692 h 1428750"/>
                <a:gd name="connsiteX669" fmla="*/ 459105 w 1990725"/>
                <a:gd name="connsiteY669" fmla="*/ 583882 h 1428750"/>
                <a:gd name="connsiteX670" fmla="*/ 462915 w 1990725"/>
                <a:gd name="connsiteY670" fmla="*/ 579120 h 1428750"/>
                <a:gd name="connsiteX671" fmla="*/ 466725 w 1990725"/>
                <a:gd name="connsiteY671" fmla="*/ 577215 h 1428750"/>
                <a:gd name="connsiteX672" fmla="*/ 484823 w 1990725"/>
                <a:gd name="connsiteY672" fmla="*/ 572452 h 1428750"/>
                <a:gd name="connsiteX673" fmla="*/ 496253 w 1990725"/>
                <a:gd name="connsiteY673" fmla="*/ 571500 h 1428750"/>
                <a:gd name="connsiteX674" fmla="*/ 499110 w 1990725"/>
                <a:gd name="connsiteY674" fmla="*/ 571500 h 1428750"/>
                <a:gd name="connsiteX675" fmla="*/ 501015 w 1990725"/>
                <a:gd name="connsiteY675" fmla="*/ 572452 h 1428750"/>
                <a:gd name="connsiteX676" fmla="*/ 502920 w 1990725"/>
                <a:gd name="connsiteY676" fmla="*/ 574357 h 1428750"/>
                <a:gd name="connsiteX677" fmla="*/ 505778 w 1990725"/>
                <a:gd name="connsiteY677" fmla="*/ 581977 h 1428750"/>
                <a:gd name="connsiteX678" fmla="*/ 509588 w 1990725"/>
                <a:gd name="connsiteY678" fmla="*/ 583882 h 1428750"/>
                <a:gd name="connsiteX679" fmla="*/ 514350 w 1990725"/>
                <a:gd name="connsiteY679" fmla="*/ 584835 h 1428750"/>
                <a:gd name="connsiteX680" fmla="*/ 533400 w 1990725"/>
                <a:gd name="connsiteY680" fmla="*/ 582930 h 1428750"/>
                <a:gd name="connsiteX681" fmla="*/ 537210 w 1990725"/>
                <a:gd name="connsiteY681" fmla="*/ 581977 h 1428750"/>
                <a:gd name="connsiteX682" fmla="*/ 540068 w 1990725"/>
                <a:gd name="connsiteY682" fmla="*/ 580072 h 1428750"/>
                <a:gd name="connsiteX683" fmla="*/ 542925 w 1990725"/>
                <a:gd name="connsiteY683" fmla="*/ 576263 h 1428750"/>
                <a:gd name="connsiteX684" fmla="*/ 544830 w 1990725"/>
                <a:gd name="connsiteY684" fmla="*/ 569595 h 1428750"/>
                <a:gd name="connsiteX685" fmla="*/ 544830 w 1990725"/>
                <a:gd name="connsiteY685" fmla="*/ 566738 h 1428750"/>
                <a:gd name="connsiteX686" fmla="*/ 544830 w 1990725"/>
                <a:gd name="connsiteY686" fmla="*/ 555307 h 1428750"/>
                <a:gd name="connsiteX687" fmla="*/ 545782 w 1990725"/>
                <a:gd name="connsiteY687" fmla="*/ 551497 h 1428750"/>
                <a:gd name="connsiteX688" fmla="*/ 547688 w 1990725"/>
                <a:gd name="connsiteY688" fmla="*/ 550545 h 1428750"/>
                <a:gd name="connsiteX689" fmla="*/ 550545 w 1990725"/>
                <a:gd name="connsiteY689" fmla="*/ 550545 h 1428750"/>
                <a:gd name="connsiteX690" fmla="*/ 552450 w 1990725"/>
                <a:gd name="connsiteY690" fmla="*/ 551497 h 1428750"/>
                <a:gd name="connsiteX691" fmla="*/ 556260 w 1990725"/>
                <a:gd name="connsiteY691" fmla="*/ 555307 h 1428750"/>
                <a:gd name="connsiteX692" fmla="*/ 558165 w 1990725"/>
                <a:gd name="connsiteY692" fmla="*/ 556260 h 1428750"/>
                <a:gd name="connsiteX693" fmla="*/ 562928 w 1990725"/>
                <a:gd name="connsiteY693" fmla="*/ 557213 h 1428750"/>
                <a:gd name="connsiteX694" fmla="*/ 564832 w 1990725"/>
                <a:gd name="connsiteY694" fmla="*/ 558165 h 1428750"/>
                <a:gd name="connsiteX695" fmla="*/ 568643 w 1990725"/>
                <a:gd name="connsiteY695" fmla="*/ 560070 h 1428750"/>
                <a:gd name="connsiteX696" fmla="*/ 574357 w 1990725"/>
                <a:gd name="connsiteY696" fmla="*/ 561022 h 1428750"/>
                <a:gd name="connsiteX697" fmla="*/ 595313 w 1990725"/>
                <a:gd name="connsiteY697" fmla="*/ 561022 h 1428750"/>
                <a:gd name="connsiteX698" fmla="*/ 599123 w 1990725"/>
                <a:gd name="connsiteY698" fmla="*/ 561975 h 1428750"/>
                <a:gd name="connsiteX699" fmla="*/ 602932 w 1990725"/>
                <a:gd name="connsiteY699" fmla="*/ 564832 h 1428750"/>
                <a:gd name="connsiteX700" fmla="*/ 605790 w 1990725"/>
                <a:gd name="connsiteY700" fmla="*/ 566738 h 1428750"/>
                <a:gd name="connsiteX701" fmla="*/ 617220 w 1990725"/>
                <a:gd name="connsiteY701" fmla="*/ 570547 h 1428750"/>
                <a:gd name="connsiteX702" fmla="*/ 620078 w 1990725"/>
                <a:gd name="connsiteY702" fmla="*/ 571500 h 1428750"/>
                <a:gd name="connsiteX703" fmla="*/ 622935 w 1990725"/>
                <a:gd name="connsiteY703" fmla="*/ 575310 h 1428750"/>
                <a:gd name="connsiteX704" fmla="*/ 626745 w 1990725"/>
                <a:gd name="connsiteY704" fmla="*/ 581977 h 1428750"/>
                <a:gd name="connsiteX705" fmla="*/ 629603 w 1990725"/>
                <a:gd name="connsiteY705" fmla="*/ 585788 h 1428750"/>
                <a:gd name="connsiteX706" fmla="*/ 631507 w 1990725"/>
                <a:gd name="connsiteY706" fmla="*/ 587692 h 1428750"/>
                <a:gd name="connsiteX707" fmla="*/ 635318 w 1990725"/>
                <a:gd name="connsiteY707" fmla="*/ 589597 h 1428750"/>
                <a:gd name="connsiteX708" fmla="*/ 641032 w 1990725"/>
                <a:gd name="connsiteY708" fmla="*/ 589597 h 1428750"/>
                <a:gd name="connsiteX709" fmla="*/ 669607 w 1990725"/>
                <a:gd name="connsiteY709" fmla="*/ 585788 h 1428750"/>
                <a:gd name="connsiteX710" fmla="*/ 695325 w 1990725"/>
                <a:gd name="connsiteY710" fmla="*/ 586740 h 1428750"/>
                <a:gd name="connsiteX711" fmla="*/ 698182 w 1990725"/>
                <a:gd name="connsiteY711" fmla="*/ 585788 h 1428750"/>
                <a:gd name="connsiteX712" fmla="*/ 702945 w 1990725"/>
                <a:gd name="connsiteY712" fmla="*/ 582930 h 1428750"/>
                <a:gd name="connsiteX713" fmla="*/ 743903 w 1990725"/>
                <a:gd name="connsiteY713" fmla="*/ 568642 h 1428750"/>
                <a:gd name="connsiteX714" fmla="*/ 752475 w 1990725"/>
                <a:gd name="connsiteY714" fmla="*/ 563880 h 1428750"/>
                <a:gd name="connsiteX715" fmla="*/ 758190 w 1990725"/>
                <a:gd name="connsiteY715" fmla="*/ 560070 h 1428750"/>
                <a:gd name="connsiteX716" fmla="*/ 756285 w 1990725"/>
                <a:gd name="connsiteY716" fmla="*/ 558165 h 1428750"/>
                <a:gd name="connsiteX717" fmla="*/ 754380 w 1990725"/>
                <a:gd name="connsiteY717" fmla="*/ 557213 h 1428750"/>
                <a:gd name="connsiteX718" fmla="*/ 749618 w 1990725"/>
                <a:gd name="connsiteY718" fmla="*/ 558165 h 1428750"/>
                <a:gd name="connsiteX719" fmla="*/ 746760 w 1990725"/>
                <a:gd name="connsiteY719" fmla="*/ 557213 h 1428750"/>
                <a:gd name="connsiteX720" fmla="*/ 741998 w 1990725"/>
                <a:gd name="connsiteY720" fmla="*/ 554355 h 1428750"/>
                <a:gd name="connsiteX721" fmla="*/ 738188 w 1990725"/>
                <a:gd name="connsiteY721" fmla="*/ 553402 h 1428750"/>
                <a:gd name="connsiteX722" fmla="*/ 709613 w 1990725"/>
                <a:gd name="connsiteY722" fmla="*/ 556260 h 1428750"/>
                <a:gd name="connsiteX723" fmla="*/ 697230 w 1990725"/>
                <a:gd name="connsiteY723" fmla="*/ 555307 h 1428750"/>
                <a:gd name="connsiteX724" fmla="*/ 693420 w 1990725"/>
                <a:gd name="connsiteY724" fmla="*/ 553402 h 1428750"/>
                <a:gd name="connsiteX725" fmla="*/ 689610 w 1990725"/>
                <a:gd name="connsiteY725" fmla="*/ 551497 h 1428750"/>
                <a:gd name="connsiteX726" fmla="*/ 687705 w 1990725"/>
                <a:gd name="connsiteY726" fmla="*/ 549592 h 1428750"/>
                <a:gd name="connsiteX727" fmla="*/ 686753 w 1990725"/>
                <a:gd name="connsiteY727" fmla="*/ 546735 h 1428750"/>
                <a:gd name="connsiteX728" fmla="*/ 686753 w 1990725"/>
                <a:gd name="connsiteY728" fmla="*/ 543877 h 1428750"/>
                <a:gd name="connsiteX729" fmla="*/ 689610 w 1990725"/>
                <a:gd name="connsiteY729" fmla="*/ 540067 h 1428750"/>
                <a:gd name="connsiteX730" fmla="*/ 692468 w 1990725"/>
                <a:gd name="connsiteY730" fmla="*/ 539115 h 1428750"/>
                <a:gd name="connsiteX731" fmla="*/ 743903 w 1990725"/>
                <a:gd name="connsiteY731" fmla="*/ 530542 h 1428750"/>
                <a:gd name="connsiteX732" fmla="*/ 748665 w 1990725"/>
                <a:gd name="connsiteY732" fmla="*/ 528638 h 1428750"/>
                <a:gd name="connsiteX733" fmla="*/ 760095 w 1990725"/>
                <a:gd name="connsiteY733" fmla="*/ 515302 h 1428750"/>
                <a:gd name="connsiteX734" fmla="*/ 767715 w 1990725"/>
                <a:gd name="connsiteY734" fmla="*/ 511492 h 1428750"/>
                <a:gd name="connsiteX735" fmla="*/ 788670 w 1990725"/>
                <a:gd name="connsiteY735" fmla="*/ 505777 h 1428750"/>
                <a:gd name="connsiteX736" fmla="*/ 794385 w 1990725"/>
                <a:gd name="connsiteY736" fmla="*/ 502920 h 1428750"/>
                <a:gd name="connsiteX737" fmla="*/ 797243 w 1990725"/>
                <a:gd name="connsiteY737" fmla="*/ 499110 h 1428750"/>
                <a:gd name="connsiteX738" fmla="*/ 796290 w 1990725"/>
                <a:gd name="connsiteY738" fmla="*/ 497205 h 1428750"/>
                <a:gd name="connsiteX739" fmla="*/ 793432 w 1990725"/>
                <a:gd name="connsiteY739" fmla="*/ 493395 h 1428750"/>
                <a:gd name="connsiteX740" fmla="*/ 789623 w 1990725"/>
                <a:gd name="connsiteY740" fmla="*/ 491490 h 1428750"/>
                <a:gd name="connsiteX741" fmla="*/ 770573 w 1990725"/>
                <a:gd name="connsiteY741" fmla="*/ 491490 h 1428750"/>
                <a:gd name="connsiteX742" fmla="*/ 768668 w 1990725"/>
                <a:gd name="connsiteY742" fmla="*/ 490538 h 1428750"/>
                <a:gd name="connsiteX743" fmla="*/ 764857 w 1990725"/>
                <a:gd name="connsiteY743" fmla="*/ 486727 h 1428750"/>
                <a:gd name="connsiteX744" fmla="*/ 762953 w 1990725"/>
                <a:gd name="connsiteY744" fmla="*/ 481965 h 1428750"/>
                <a:gd name="connsiteX745" fmla="*/ 762953 w 1990725"/>
                <a:gd name="connsiteY745" fmla="*/ 476250 h 1428750"/>
                <a:gd name="connsiteX746" fmla="*/ 762000 w 1990725"/>
                <a:gd name="connsiteY746" fmla="*/ 467677 h 1428750"/>
                <a:gd name="connsiteX747" fmla="*/ 762953 w 1990725"/>
                <a:gd name="connsiteY747" fmla="*/ 463867 h 1428750"/>
                <a:gd name="connsiteX748" fmla="*/ 764857 w 1990725"/>
                <a:gd name="connsiteY748" fmla="*/ 460057 h 1428750"/>
                <a:gd name="connsiteX749" fmla="*/ 770573 w 1990725"/>
                <a:gd name="connsiteY749" fmla="*/ 455295 h 1428750"/>
                <a:gd name="connsiteX750" fmla="*/ 775335 w 1990725"/>
                <a:gd name="connsiteY750" fmla="*/ 453390 h 1428750"/>
                <a:gd name="connsiteX751" fmla="*/ 779145 w 1990725"/>
                <a:gd name="connsiteY751" fmla="*/ 456247 h 1428750"/>
                <a:gd name="connsiteX752" fmla="*/ 782003 w 1990725"/>
                <a:gd name="connsiteY752" fmla="*/ 460057 h 1428750"/>
                <a:gd name="connsiteX753" fmla="*/ 784860 w 1990725"/>
                <a:gd name="connsiteY753" fmla="*/ 463867 h 1428750"/>
                <a:gd name="connsiteX754" fmla="*/ 787718 w 1990725"/>
                <a:gd name="connsiteY754" fmla="*/ 466725 h 1428750"/>
                <a:gd name="connsiteX755" fmla="*/ 802005 w 1990725"/>
                <a:gd name="connsiteY755" fmla="*/ 476250 h 1428750"/>
                <a:gd name="connsiteX756" fmla="*/ 802957 w 1990725"/>
                <a:gd name="connsiteY756" fmla="*/ 475297 h 1428750"/>
                <a:gd name="connsiteX757" fmla="*/ 802957 w 1990725"/>
                <a:gd name="connsiteY757" fmla="*/ 470535 h 1428750"/>
                <a:gd name="connsiteX758" fmla="*/ 803910 w 1990725"/>
                <a:gd name="connsiteY758" fmla="*/ 466725 h 1428750"/>
                <a:gd name="connsiteX759" fmla="*/ 805815 w 1990725"/>
                <a:gd name="connsiteY759" fmla="*/ 463867 h 1428750"/>
                <a:gd name="connsiteX760" fmla="*/ 815340 w 1990725"/>
                <a:gd name="connsiteY760" fmla="*/ 453390 h 1428750"/>
                <a:gd name="connsiteX761" fmla="*/ 819150 w 1990725"/>
                <a:gd name="connsiteY761" fmla="*/ 446722 h 1428750"/>
                <a:gd name="connsiteX762" fmla="*/ 821055 w 1990725"/>
                <a:gd name="connsiteY762" fmla="*/ 441007 h 1428750"/>
                <a:gd name="connsiteX763" fmla="*/ 821055 w 1990725"/>
                <a:gd name="connsiteY763" fmla="*/ 439102 h 1428750"/>
                <a:gd name="connsiteX764" fmla="*/ 820103 w 1990725"/>
                <a:gd name="connsiteY764" fmla="*/ 436245 h 1428750"/>
                <a:gd name="connsiteX765" fmla="*/ 796290 w 1990725"/>
                <a:gd name="connsiteY765" fmla="*/ 413385 h 1428750"/>
                <a:gd name="connsiteX766" fmla="*/ 765810 w 1990725"/>
                <a:gd name="connsiteY766" fmla="*/ 395288 h 1428750"/>
                <a:gd name="connsiteX767" fmla="*/ 760095 w 1990725"/>
                <a:gd name="connsiteY767" fmla="*/ 394335 h 1428750"/>
                <a:gd name="connsiteX768" fmla="*/ 752475 w 1990725"/>
                <a:gd name="connsiteY768" fmla="*/ 395288 h 1428750"/>
                <a:gd name="connsiteX769" fmla="*/ 749618 w 1990725"/>
                <a:gd name="connsiteY769" fmla="*/ 395288 h 1428750"/>
                <a:gd name="connsiteX770" fmla="*/ 747713 w 1990725"/>
                <a:gd name="connsiteY770" fmla="*/ 393382 h 1428750"/>
                <a:gd name="connsiteX771" fmla="*/ 746760 w 1990725"/>
                <a:gd name="connsiteY771" fmla="*/ 391477 h 1428750"/>
                <a:gd name="connsiteX772" fmla="*/ 745807 w 1990725"/>
                <a:gd name="connsiteY772" fmla="*/ 383857 h 1428750"/>
                <a:gd name="connsiteX773" fmla="*/ 744855 w 1990725"/>
                <a:gd name="connsiteY773" fmla="*/ 378142 h 1428750"/>
                <a:gd name="connsiteX774" fmla="*/ 743903 w 1990725"/>
                <a:gd name="connsiteY774" fmla="*/ 373380 h 1428750"/>
                <a:gd name="connsiteX775" fmla="*/ 745807 w 1990725"/>
                <a:gd name="connsiteY775" fmla="*/ 367665 h 1428750"/>
                <a:gd name="connsiteX776" fmla="*/ 755332 w 1990725"/>
                <a:gd name="connsiteY776" fmla="*/ 355282 h 1428750"/>
                <a:gd name="connsiteX777" fmla="*/ 768668 w 1990725"/>
                <a:gd name="connsiteY777" fmla="*/ 325755 h 1428750"/>
                <a:gd name="connsiteX778" fmla="*/ 773430 w 1990725"/>
                <a:gd name="connsiteY778" fmla="*/ 312420 h 1428750"/>
                <a:gd name="connsiteX779" fmla="*/ 776288 w 1990725"/>
                <a:gd name="connsiteY779" fmla="*/ 308610 h 1428750"/>
                <a:gd name="connsiteX780" fmla="*/ 779145 w 1990725"/>
                <a:gd name="connsiteY780" fmla="*/ 307657 h 1428750"/>
                <a:gd name="connsiteX781" fmla="*/ 781050 w 1990725"/>
                <a:gd name="connsiteY781" fmla="*/ 308610 h 1428750"/>
                <a:gd name="connsiteX782" fmla="*/ 786765 w 1990725"/>
                <a:gd name="connsiteY782" fmla="*/ 315277 h 1428750"/>
                <a:gd name="connsiteX783" fmla="*/ 787718 w 1990725"/>
                <a:gd name="connsiteY783" fmla="*/ 316230 h 1428750"/>
                <a:gd name="connsiteX784" fmla="*/ 800100 w 1990725"/>
                <a:gd name="connsiteY784" fmla="*/ 316230 h 1428750"/>
                <a:gd name="connsiteX785" fmla="*/ 807720 w 1990725"/>
                <a:gd name="connsiteY785" fmla="*/ 315277 h 1428750"/>
                <a:gd name="connsiteX786" fmla="*/ 811530 w 1990725"/>
                <a:gd name="connsiteY786" fmla="*/ 313372 h 1428750"/>
                <a:gd name="connsiteX787" fmla="*/ 814388 w 1990725"/>
                <a:gd name="connsiteY787" fmla="*/ 311467 h 1428750"/>
                <a:gd name="connsiteX788" fmla="*/ 829628 w 1990725"/>
                <a:gd name="connsiteY788" fmla="*/ 293370 h 1428750"/>
                <a:gd name="connsiteX789" fmla="*/ 833438 w 1990725"/>
                <a:gd name="connsiteY789" fmla="*/ 291465 h 1428750"/>
                <a:gd name="connsiteX790" fmla="*/ 836295 w 1990725"/>
                <a:gd name="connsiteY790" fmla="*/ 290513 h 1428750"/>
                <a:gd name="connsiteX791" fmla="*/ 839153 w 1990725"/>
                <a:gd name="connsiteY791" fmla="*/ 291465 h 1428750"/>
                <a:gd name="connsiteX792" fmla="*/ 845820 w 1990725"/>
                <a:gd name="connsiteY792" fmla="*/ 295275 h 1428750"/>
                <a:gd name="connsiteX793" fmla="*/ 848678 w 1990725"/>
                <a:gd name="connsiteY793" fmla="*/ 296227 h 1428750"/>
                <a:gd name="connsiteX794" fmla="*/ 852488 w 1990725"/>
                <a:gd name="connsiteY794" fmla="*/ 296227 h 1428750"/>
                <a:gd name="connsiteX795" fmla="*/ 855345 w 1990725"/>
                <a:gd name="connsiteY795" fmla="*/ 294322 h 1428750"/>
                <a:gd name="connsiteX796" fmla="*/ 856298 w 1990725"/>
                <a:gd name="connsiteY796" fmla="*/ 291465 h 1428750"/>
                <a:gd name="connsiteX797" fmla="*/ 858203 w 1990725"/>
                <a:gd name="connsiteY797" fmla="*/ 285750 h 1428750"/>
                <a:gd name="connsiteX798" fmla="*/ 861060 w 1990725"/>
                <a:gd name="connsiteY798" fmla="*/ 279082 h 1428750"/>
                <a:gd name="connsiteX799" fmla="*/ 861060 w 1990725"/>
                <a:gd name="connsiteY799" fmla="*/ 277177 h 1428750"/>
                <a:gd name="connsiteX800" fmla="*/ 860107 w 1990725"/>
                <a:gd name="connsiteY800" fmla="*/ 274320 h 1428750"/>
                <a:gd name="connsiteX801" fmla="*/ 848678 w 1990725"/>
                <a:gd name="connsiteY801" fmla="*/ 254317 h 1428750"/>
                <a:gd name="connsiteX802" fmla="*/ 845820 w 1990725"/>
                <a:gd name="connsiteY802" fmla="*/ 246697 h 1428750"/>
                <a:gd name="connsiteX803" fmla="*/ 843915 w 1990725"/>
                <a:gd name="connsiteY803" fmla="*/ 241935 h 1428750"/>
                <a:gd name="connsiteX804" fmla="*/ 843915 w 1990725"/>
                <a:gd name="connsiteY804" fmla="*/ 236220 h 1428750"/>
                <a:gd name="connsiteX805" fmla="*/ 844868 w 1990725"/>
                <a:gd name="connsiteY805" fmla="*/ 229552 h 1428750"/>
                <a:gd name="connsiteX806" fmla="*/ 847725 w 1990725"/>
                <a:gd name="connsiteY806" fmla="*/ 220027 h 1428750"/>
                <a:gd name="connsiteX807" fmla="*/ 852488 w 1990725"/>
                <a:gd name="connsiteY807" fmla="*/ 205740 h 1428750"/>
                <a:gd name="connsiteX808" fmla="*/ 854393 w 1990725"/>
                <a:gd name="connsiteY808" fmla="*/ 199072 h 1428750"/>
                <a:gd name="connsiteX809" fmla="*/ 854393 w 1990725"/>
                <a:gd name="connsiteY809" fmla="*/ 194310 h 1428750"/>
                <a:gd name="connsiteX810" fmla="*/ 854393 w 1990725"/>
                <a:gd name="connsiteY810" fmla="*/ 189547 h 1428750"/>
                <a:gd name="connsiteX811" fmla="*/ 852488 w 1990725"/>
                <a:gd name="connsiteY811" fmla="*/ 181927 h 1428750"/>
                <a:gd name="connsiteX812" fmla="*/ 841057 w 1990725"/>
                <a:gd name="connsiteY812" fmla="*/ 156210 h 1428750"/>
                <a:gd name="connsiteX813" fmla="*/ 840105 w 1990725"/>
                <a:gd name="connsiteY813" fmla="*/ 154305 h 1428750"/>
                <a:gd name="connsiteX814" fmla="*/ 837248 w 1990725"/>
                <a:gd name="connsiteY814" fmla="*/ 153352 h 1428750"/>
                <a:gd name="connsiteX815" fmla="*/ 835343 w 1990725"/>
                <a:gd name="connsiteY815" fmla="*/ 152400 h 1428750"/>
                <a:gd name="connsiteX816" fmla="*/ 817245 w 1990725"/>
                <a:gd name="connsiteY816" fmla="*/ 152400 h 1428750"/>
                <a:gd name="connsiteX817" fmla="*/ 811530 w 1990725"/>
                <a:gd name="connsiteY817" fmla="*/ 150495 h 1428750"/>
                <a:gd name="connsiteX818" fmla="*/ 807720 w 1990725"/>
                <a:gd name="connsiteY818" fmla="*/ 146685 h 1428750"/>
                <a:gd name="connsiteX819" fmla="*/ 804863 w 1990725"/>
                <a:gd name="connsiteY819" fmla="*/ 142875 h 1428750"/>
                <a:gd name="connsiteX820" fmla="*/ 802957 w 1990725"/>
                <a:gd name="connsiteY820" fmla="*/ 138113 h 1428750"/>
                <a:gd name="connsiteX821" fmla="*/ 802957 w 1990725"/>
                <a:gd name="connsiteY821" fmla="*/ 136207 h 1428750"/>
                <a:gd name="connsiteX822" fmla="*/ 805815 w 1990725"/>
                <a:gd name="connsiteY822" fmla="*/ 129540 h 1428750"/>
                <a:gd name="connsiteX823" fmla="*/ 813435 w 1990725"/>
                <a:gd name="connsiteY823" fmla="*/ 118110 h 1428750"/>
                <a:gd name="connsiteX824" fmla="*/ 815340 w 1990725"/>
                <a:gd name="connsiteY824" fmla="*/ 114300 h 1428750"/>
                <a:gd name="connsiteX825" fmla="*/ 817245 w 1990725"/>
                <a:gd name="connsiteY825" fmla="*/ 107632 h 1428750"/>
                <a:gd name="connsiteX826" fmla="*/ 818198 w 1990725"/>
                <a:gd name="connsiteY826" fmla="*/ 102870 h 1428750"/>
                <a:gd name="connsiteX827" fmla="*/ 820103 w 1990725"/>
                <a:gd name="connsiteY827" fmla="*/ 101917 h 1428750"/>
                <a:gd name="connsiteX828" fmla="*/ 822007 w 1990725"/>
                <a:gd name="connsiteY828" fmla="*/ 102870 h 1428750"/>
                <a:gd name="connsiteX829" fmla="*/ 822960 w 1990725"/>
                <a:gd name="connsiteY829" fmla="*/ 104775 h 1428750"/>
                <a:gd name="connsiteX830" fmla="*/ 828675 w 1990725"/>
                <a:gd name="connsiteY830" fmla="*/ 116205 h 1428750"/>
                <a:gd name="connsiteX831" fmla="*/ 831532 w 1990725"/>
                <a:gd name="connsiteY831" fmla="*/ 126682 h 1428750"/>
                <a:gd name="connsiteX832" fmla="*/ 832485 w 1990725"/>
                <a:gd name="connsiteY832" fmla="*/ 128588 h 1428750"/>
                <a:gd name="connsiteX833" fmla="*/ 833438 w 1990725"/>
                <a:gd name="connsiteY833" fmla="*/ 130492 h 1428750"/>
                <a:gd name="connsiteX834" fmla="*/ 839153 w 1990725"/>
                <a:gd name="connsiteY834" fmla="*/ 132397 h 1428750"/>
                <a:gd name="connsiteX835" fmla="*/ 849630 w 1990725"/>
                <a:gd name="connsiteY835" fmla="*/ 131445 h 1428750"/>
                <a:gd name="connsiteX836" fmla="*/ 854393 w 1990725"/>
                <a:gd name="connsiteY836" fmla="*/ 129540 h 1428750"/>
                <a:gd name="connsiteX837" fmla="*/ 856298 w 1990725"/>
                <a:gd name="connsiteY837" fmla="*/ 127635 h 1428750"/>
                <a:gd name="connsiteX838" fmla="*/ 857250 w 1990725"/>
                <a:gd name="connsiteY838" fmla="*/ 124777 h 1428750"/>
                <a:gd name="connsiteX839" fmla="*/ 857250 w 1990725"/>
                <a:gd name="connsiteY839" fmla="*/ 119063 h 1428750"/>
                <a:gd name="connsiteX840" fmla="*/ 853440 w 1990725"/>
                <a:gd name="connsiteY840" fmla="*/ 110490 h 1428750"/>
                <a:gd name="connsiteX841" fmla="*/ 852488 w 1990725"/>
                <a:gd name="connsiteY841" fmla="*/ 104775 h 1428750"/>
                <a:gd name="connsiteX842" fmla="*/ 852488 w 1990725"/>
                <a:gd name="connsiteY842" fmla="*/ 100965 h 1428750"/>
                <a:gd name="connsiteX843" fmla="*/ 853440 w 1990725"/>
                <a:gd name="connsiteY843" fmla="*/ 94297 h 1428750"/>
                <a:gd name="connsiteX844" fmla="*/ 855345 w 1990725"/>
                <a:gd name="connsiteY844" fmla="*/ 88582 h 1428750"/>
                <a:gd name="connsiteX845" fmla="*/ 855345 w 1990725"/>
                <a:gd name="connsiteY845" fmla="*/ 81915 h 1428750"/>
                <a:gd name="connsiteX846" fmla="*/ 853440 w 1990725"/>
                <a:gd name="connsiteY846" fmla="*/ 78105 h 1428750"/>
                <a:gd name="connsiteX847" fmla="*/ 851535 w 1990725"/>
                <a:gd name="connsiteY847" fmla="*/ 72390 h 1428750"/>
                <a:gd name="connsiteX848" fmla="*/ 847725 w 1990725"/>
                <a:gd name="connsiteY848" fmla="*/ 64770 h 1428750"/>
                <a:gd name="connsiteX849" fmla="*/ 847725 w 1990725"/>
                <a:gd name="connsiteY849" fmla="*/ 60007 h 1428750"/>
                <a:gd name="connsiteX850" fmla="*/ 847725 w 1990725"/>
                <a:gd name="connsiteY850" fmla="*/ 57150 h 1428750"/>
                <a:gd name="connsiteX851" fmla="*/ 851535 w 1990725"/>
                <a:gd name="connsiteY851" fmla="*/ 48577 h 1428750"/>
                <a:gd name="connsiteX852" fmla="*/ 851535 w 1990725"/>
                <a:gd name="connsiteY852" fmla="*/ 45720 h 1428750"/>
                <a:gd name="connsiteX853" fmla="*/ 849630 w 1990725"/>
                <a:gd name="connsiteY853" fmla="*/ 40957 h 1428750"/>
                <a:gd name="connsiteX854" fmla="*/ 846773 w 1990725"/>
                <a:gd name="connsiteY854" fmla="*/ 38100 h 1428750"/>
                <a:gd name="connsiteX855" fmla="*/ 839153 w 1990725"/>
                <a:gd name="connsiteY855" fmla="*/ 31432 h 1428750"/>
                <a:gd name="connsiteX856" fmla="*/ 836295 w 1990725"/>
                <a:gd name="connsiteY856" fmla="*/ 26670 h 1428750"/>
                <a:gd name="connsiteX857" fmla="*/ 835343 w 1990725"/>
                <a:gd name="connsiteY857" fmla="*/ 21907 h 1428750"/>
                <a:gd name="connsiteX858" fmla="*/ 834390 w 1990725"/>
                <a:gd name="connsiteY858" fmla="*/ 16192 h 1428750"/>
                <a:gd name="connsiteX859" fmla="*/ 835343 w 1990725"/>
                <a:gd name="connsiteY859" fmla="*/ 6667 h 1428750"/>
                <a:gd name="connsiteX860" fmla="*/ 836295 w 1990725"/>
                <a:gd name="connsiteY860" fmla="*/ 0 h 1428750"/>
                <a:gd name="connsiteX861" fmla="*/ 876300 w 1990725"/>
                <a:gd name="connsiteY861" fmla="*/ 11430 h 1428750"/>
                <a:gd name="connsiteX862" fmla="*/ 879157 w 1990725"/>
                <a:gd name="connsiteY862" fmla="*/ 12382 h 1428750"/>
                <a:gd name="connsiteX863" fmla="*/ 886778 w 1990725"/>
                <a:gd name="connsiteY863" fmla="*/ 19050 h 1428750"/>
                <a:gd name="connsiteX864" fmla="*/ 890588 w 1990725"/>
                <a:gd name="connsiteY864" fmla="*/ 22860 h 1428750"/>
                <a:gd name="connsiteX865" fmla="*/ 929640 w 1990725"/>
                <a:gd name="connsiteY865" fmla="*/ 30480 h 1428750"/>
                <a:gd name="connsiteX866" fmla="*/ 938213 w 1990725"/>
                <a:gd name="connsiteY866" fmla="*/ 34290 h 1428750"/>
                <a:gd name="connsiteX867" fmla="*/ 943928 w 1990725"/>
                <a:gd name="connsiteY867" fmla="*/ 37147 h 1428750"/>
                <a:gd name="connsiteX868" fmla="*/ 945832 w 1990725"/>
                <a:gd name="connsiteY868" fmla="*/ 41910 h 1428750"/>
                <a:gd name="connsiteX869" fmla="*/ 947738 w 1990725"/>
                <a:gd name="connsiteY869" fmla="*/ 49530 h 1428750"/>
                <a:gd name="connsiteX870" fmla="*/ 949643 w 1990725"/>
                <a:gd name="connsiteY870" fmla="*/ 54292 h 1428750"/>
                <a:gd name="connsiteX871" fmla="*/ 950595 w 1990725"/>
                <a:gd name="connsiteY871" fmla="*/ 56197 h 1428750"/>
                <a:gd name="connsiteX872" fmla="*/ 954405 w 1990725"/>
                <a:gd name="connsiteY872" fmla="*/ 60007 h 1428750"/>
                <a:gd name="connsiteX873" fmla="*/ 959168 w 1990725"/>
                <a:gd name="connsiteY873" fmla="*/ 64770 h 1428750"/>
                <a:gd name="connsiteX874" fmla="*/ 964882 w 1990725"/>
                <a:gd name="connsiteY874" fmla="*/ 67627 h 1428750"/>
                <a:gd name="connsiteX875" fmla="*/ 967740 w 1990725"/>
                <a:gd name="connsiteY875" fmla="*/ 68580 h 1428750"/>
                <a:gd name="connsiteX876" fmla="*/ 971550 w 1990725"/>
                <a:gd name="connsiteY876" fmla="*/ 68580 h 1428750"/>
                <a:gd name="connsiteX877" fmla="*/ 974407 w 1990725"/>
                <a:gd name="connsiteY877" fmla="*/ 65722 h 1428750"/>
                <a:gd name="connsiteX878" fmla="*/ 976313 w 1990725"/>
                <a:gd name="connsiteY878" fmla="*/ 63817 h 1428750"/>
                <a:gd name="connsiteX879" fmla="*/ 977265 w 1990725"/>
                <a:gd name="connsiteY879" fmla="*/ 59055 h 1428750"/>
                <a:gd name="connsiteX880" fmla="*/ 980123 w 1990725"/>
                <a:gd name="connsiteY880" fmla="*/ 54292 h 1428750"/>
                <a:gd name="connsiteX881" fmla="*/ 983932 w 1990725"/>
                <a:gd name="connsiteY881" fmla="*/ 52388 h 1428750"/>
                <a:gd name="connsiteX882" fmla="*/ 1040130 w 1990725"/>
                <a:gd name="connsiteY882" fmla="*/ 40957 h 1428750"/>
                <a:gd name="connsiteX883" fmla="*/ 1044893 w 1990725"/>
                <a:gd name="connsiteY883" fmla="*/ 39052 h 1428750"/>
                <a:gd name="connsiteX884" fmla="*/ 1048703 w 1990725"/>
                <a:gd name="connsiteY884" fmla="*/ 35242 h 1428750"/>
                <a:gd name="connsiteX885" fmla="*/ 1049655 w 1990725"/>
                <a:gd name="connsiteY885" fmla="*/ 32385 h 1428750"/>
                <a:gd name="connsiteX886" fmla="*/ 1049655 w 1990725"/>
                <a:gd name="connsiteY886" fmla="*/ 26670 h 1428750"/>
                <a:gd name="connsiteX887" fmla="*/ 1047750 w 1990725"/>
                <a:gd name="connsiteY887" fmla="*/ 19050 h 1428750"/>
                <a:gd name="connsiteX888" fmla="*/ 1048703 w 1990725"/>
                <a:gd name="connsiteY888" fmla="*/ 16192 h 1428750"/>
                <a:gd name="connsiteX889" fmla="*/ 1049655 w 1990725"/>
                <a:gd name="connsiteY889" fmla="*/ 14288 h 1428750"/>
                <a:gd name="connsiteX890" fmla="*/ 1054418 w 1990725"/>
                <a:gd name="connsiteY890" fmla="*/ 12382 h 1428750"/>
                <a:gd name="connsiteX891" fmla="*/ 1085850 w 1990725"/>
                <a:gd name="connsiteY891" fmla="*/ 5715 h 1428750"/>
                <a:gd name="connsiteX892" fmla="*/ 1088707 w 1990725"/>
                <a:gd name="connsiteY892" fmla="*/ 6667 h 1428750"/>
                <a:gd name="connsiteX893" fmla="*/ 1092518 w 1990725"/>
                <a:gd name="connsiteY893" fmla="*/ 7620 h 1428750"/>
                <a:gd name="connsiteX894" fmla="*/ 1096328 w 1990725"/>
                <a:gd name="connsiteY894" fmla="*/ 11430 h 1428750"/>
                <a:gd name="connsiteX895" fmla="*/ 1098232 w 1990725"/>
                <a:gd name="connsiteY895" fmla="*/ 14288 h 1428750"/>
                <a:gd name="connsiteX896" fmla="*/ 1099185 w 1990725"/>
                <a:gd name="connsiteY896" fmla="*/ 18097 h 1428750"/>
                <a:gd name="connsiteX897" fmla="*/ 1099185 w 1990725"/>
                <a:gd name="connsiteY897" fmla="*/ 20002 h 1428750"/>
                <a:gd name="connsiteX898" fmla="*/ 1094423 w 1990725"/>
                <a:gd name="connsiteY898" fmla="*/ 29527 h 1428750"/>
                <a:gd name="connsiteX899" fmla="*/ 1092518 w 1990725"/>
                <a:gd name="connsiteY899" fmla="*/ 35242 h 1428750"/>
                <a:gd name="connsiteX900" fmla="*/ 1092518 w 1990725"/>
                <a:gd name="connsiteY900" fmla="*/ 38100 h 1428750"/>
                <a:gd name="connsiteX901" fmla="*/ 1094423 w 1990725"/>
                <a:gd name="connsiteY901" fmla="*/ 42863 h 1428750"/>
                <a:gd name="connsiteX902" fmla="*/ 1097280 w 1990725"/>
                <a:gd name="connsiteY902" fmla="*/ 53340 h 1428750"/>
                <a:gd name="connsiteX903" fmla="*/ 1099185 w 1990725"/>
                <a:gd name="connsiteY903" fmla="*/ 55245 h 1428750"/>
                <a:gd name="connsiteX904" fmla="*/ 1102043 w 1990725"/>
                <a:gd name="connsiteY904" fmla="*/ 56197 h 1428750"/>
                <a:gd name="connsiteX905" fmla="*/ 1114425 w 1990725"/>
                <a:gd name="connsiteY905" fmla="*/ 55245 h 1428750"/>
                <a:gd name="connsiteX906" fmla="*/ 1118235 w 1990725"/>
                <a:gd name="connsiteY906" fmla="*/ 55245 h 1428750"/>
                <a:gd name="connsiteX907" fmla="*/ 1121093 w 1990725"/>
                <a:gd name="connsiteY907" fmla="*/ 58102 h 1428750"/>
                <a:gd name="connsiteX908" fmla="*/ 1123950 w 1990725"/>
                <a:gd name="connsiteY908" fmla="*/ 62865 h 1428750"/>
                <a:gd name="connsiteX909" fmla="*/ 1126807 w 1990725"/>
                <a:gd name="connsiteY909" fmla="*/ 71438 h 1428750"/>
                <a:gd name="connsiteX910" fmla="*/ 1127760 w 1990725"/>
                <a:gd name="connsiteY910" fmla="*/ 73342 h 1428750"/>
                <a:gd name="connsiteX911" fmla="*/ 1134428 w 1990725"/>
                <a:gd name="connsiteY911" fmla="*/ 75247 h 1428750"/>
                <a:gd name="connsiteX912" fmla="*/ 1185863 w 1990725"/>
                <a:gd name="connsiteY912" fmla="*/ 71438 h 1428750"/>
                <a:gd name="connsiteX913" fmla="*/ 1252538 w 1990725"/>
                <a:gd name="connsiteY913" fmla="*/ 53340 h 1428750"/>
                <a:gd name="connsiteX914" fmla="*/ 1264920 w 1990725"/>
                <a:gd name="connsiteY914" fmla="*/ 53340 h 1428750"/>
                <a:gd name="connsiteX915" fmla="*/ 1346835 w 1990725"/>
                <a:gd name="connsiteY915" fmla="*/ 80010 h 1428750"/>
                <a:gd name="connsiteX916" fmla="*/ 1399223 w 1990725"/>
                <a:gd name="connsiteY916" fmla="*/ 84772 h 1428750"/>
                <a:gd name="connsiteX917" fmla="*/ 1423988 w 1990725"/>
                <a:gd name="connsiteY917" fmla="*/ 80963 h 1428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</a:cxnLst>
              <a:rect l="l" t="t" r="r" b="b"/>
              <a:pathLst>
                <a:path w="1990725" h="1428750">
                  <a:moveTo>
                    <a:pt x="599123" y="1174432"/>
                  </a:moveTo>
                  <a:lnTo>
                    <a:pt x="674370" y="1183957"/>
                  </a:lnTo>
                  <a:lnTo>
                    <a:pt x="710565" y="1177290"/>
                  </a:lnTo>
                  <a:lnTo>
                    <a:pt x="726757" y="1177290"/>
                  </a:lnTo>
                  <a:lnTo>
                    <a:pt x="742950" y="1190625"/>
                  </a:lnTo>
                  <a:lnTo>
                    <a:pt x="764857" y="1180147"/>
                  </a:lnTo>
                  <a:lnTo>
                    <a:pt x="778193" y="1179195"/>
                  </a:lnTo>
                  <a:lnTo>
                    <a:pt x="782955" y="1186815"/>
                  </a:lnTo>
                  <a:lnTo>
                    <a:pt x="788670" y="1192530"/>
                  </a:lnTo>
                  <a:lnTo>
                    <a:pt x="812482" y="1190625"/>
                  </a:lnTo>
                  <a:lnTo>
                    <a:pt x="819150" y="1200150"/>
                  </a:lnTo>
                  <a:lnTo>
                    <a:pt x="809625" y="1210627"/>
                  </a:lnTo>
                  <a:lnTo>
                    <a:pt x="588645" y="1174432"/>
                  </a:lnTo>
                  <a:lnTo>
                    <a:pt x="592455" y="1169670"/>
                  </a:lnTo>
                  <a:lnTo>
                    <a:pt x="594360" y="1169670"/>
                  </a:lnTo>
                  <a:lnTo>
                    <a:pt x="599123" y="1174432"/>
                  </a:lnTo>
                  <a:close/>
                  <a:moveTo>
                    <a:pt x="1983105" y="1021080"/>
                  </a:moveTo>
                  <a:lnTo>
                    <a:pt x="1990725" y="1025843"/>
                  </a:lnTo>
                  <a:lnTo>
                    <a:pt x="1982153" y="1035368"/>
                  </a:lnTo>
                  <a:lnTo>
                    <a:pt x="1954530" y="1090613"/>
                  </a:lnTo>
                  <a:lnTo>
                    <a:pt x="1941195" y="1108710"/>
                  </a:lnTo>
                  <a:lnTo>
                    <a:pt x="1928813" y="1122045"/>
                  </a:lnTo>
                  <a:lnTo>
                    <a:pt x="1907857" y="1129665"/>
                  </a:lnTo>
                  <a:lnTo>
                    <a:pt x="1894523" y="1140143"/>
                  </a:lnTo>
                  <a:lnTo>
                    <a:pt x="1876425" y="1144905"/>
                  </a:lnTo>
                  <a:lnTo>
                    <a:pt x="1864043" y="1154430"/>
                  </a:lnTo>
                  <a:lnTo>
                    <a:pt x="1844040" y="1163955"/>
                  </a:lnTo>
                  <a:lnTo>
                    <a:pt x="1834515" y="1160145"/>
                  </a:lnTo>
                  <a:lnTo>
                    <a:pt x="1835468" y="1153477"/>
                  </a:lnTo>
                  <a:lnTo>
                    <a:pt x="1852613" y="1133475"/>
                  </a:lnTo>
                  <a:lnTo>
                    <a:pt x="1870710" y="1122045"/>
                  </a:lnTo>
                  <a:lnTo>
                    <a:pt x="1869757" y="1119188"/>
                  </a:lnTo>
                  <a:lnTo>
                    <a:pt x="1866900" y="1111568"/>
                  </a:lnTo>
                  <a:lnTo>
                    <a:pt x="1922145" y="1094422"/>
                  </a:lnTo>
                  <a:lnTo>
                    <a:pt x="1949768" y="1080135"/>
                  </a:lnTo>
                  <a:lnTo>
                    <a:pt x="1964055" y="1050607"/>
                  </a:lnTo>
                  <a:lnTo>
                    <a:pt x="1976438" y="1036320"/>
                  </a:lnTo>
                  <a:lnTo>
                    <a:pt x="1982153" y="1023938"/>
                  </a:lnTo>
                  <a:lnTo>
                    <a:pt x="1983105" y="1021080"/>
                  </a:lnTo>
                  <a:close/>
                  <a:moveTo>
                    <a:pt x="341948" y="1101090"/>
                  </a:moveTo>
                  <a:lnTo>
                    <a:pt x="349568" y="1105852"/>
                  </a:lnTo>
                  <a:lnTo>
                    <a:pt x="337185" y="1103947"/>
                  </a:lnTo>
                  <a:lnTo>
                    <a:pt x="315278" y="1092518"/>
                  </a:lnTo>
                  <a:lnTo>
                    <a:pt x="122873" y="1051560"/>
                  </a:lnTo>
                  <a:lnTo>
                    <a:pt x="40005" y="1019175"/>
                  </a:lnTo>
                  <a:lnTo>
                    <a:pt x="23813" y="1004888"/>
                  </a:lnTo>
                  <a:lnTo>
                    <a:pt x="9525" y="981075"/>
                  </a:lnTo>
                  <a:lnTo>
                    <a:pt x="5715" y="968693"/>
                  </a:lnTo>
                  <a:lnTo>
                    <a:pt x="953" y="949643"/>
                  </a:lnTo>
                  <a:lnTo>
                    <a:pt x="0" y="935355"/>
                  </a:lnTo>
                  <a:lnTo>
                    <a:pt x="9525" y="939165"/>
                  </a:lnTo>
                  <a:lnTo>
                    <a:pt x="18098" y="971550"/>
                  </a:lnTo>
                  <a:lnTo>
                    <a:pt x="26670" y="994410"/>
                  </a:lnTo>
                  <a:lnTo>
                    <a:pt x="39053" y="1009650"/>
                  </a:lnTo>
                  <a:lnTo>
                    <a:pt x="60007" y="1022032"/>
                  </a:lnTo>
                  <a:lnTo>
                    <a:pt x="230505" y="1063943"/>
                  </a:lnTo>
                  <a:lnTo>
                    <a:pt x="299085" y="1081088"/>
                  </a:lnTo>
                  <a:lnTo>
                    <a:pt x="341948" y="1101090"/>
                  </a:lnTo>
                  <a:close/>
                  <a:moveTo>
                    <a:pt x="1423988" y="80963"/>
                  </a:moveTo>
                  <a:lnTo>
                    <a:pt x="1437323" y="118110"/>
                  </a:lnTo>
                  <a:lnTo>
                    <a:pt x="1463993" y="205740"/>
                  </a:lnTo>
                  <a:lnTo>
                    <a:pt x="1469707" y="219075"/>
                  </a:lnTo>
                  <a:lnTo>
                    <a:pt x="1470660" y="224790"/>
                  </a:lnTo>
                  <a:lnTo>
                    <a:pt x="1471613" y="237172"/>
                  </a:lnTo>
                  <a:lnTo>
                    <a:pt x="1472565" y="240030"/>
                  </a:lnTo>
                  <a:lnTo>
                    <a:pt x="1473518" y="241935"/>
                  </a:lnTo>
                  <a:lnTo>
                    <a:pt x="1477328" y="243840"/>
                  </a:lnTo>
                  <a:lnTo>
                    <a:pt x="1480185" y="243840"/>
                  </a:lnTo>
                  <a:lnTo>
                    <a:pt x="1483043" y="243840"/>
                  </a:lnTo>
                  <a:lnTo>
                    <a:pt x="1487805" y="241935"/>
                  </a:lnTo>
                  <a:lnTo>
                    <a:pt x="1493520" y="237172"/>
                  </a:lnTo>
                  <a:lnTo>
                    <a:pt x="1495425" y="236220"/>
                  </a:lnTo>
                  <a:lnTo>
                    <a:pt x="1503045" y="235267"/>
                  </a:lnTo>
                  <a:lnTo>
                    <a:pt x="1505903" y="236220"/>
                  </a:lnTo>
                  <a:lnTo>
                    <a:pt x="1513523" y="240030"/>
                  </a:lnTo>
                  <a:lnTo>
                    <a:pt x="1519238" y="241935"/>
                  </a:lnTo>
                  <a:lnTo>
                    <a:pt x="1524000" y="240030"/>
                  </a:lnTo>
                  <a:lnTo>
                    <a:pt x="1524953" y="238125"/>
                  </a:lnTo>
                  <a:lnTo>
                    <a:pt x="1527810" y="232410"/>
                  </a:lnTo>
                  <a:lnTo>
                    <a:pt x="1532573" y="225742"/>
                  </a:lnTo>
                  <a:lnTo>
                    <a:pt x="1533525" y="222885"/>
                  </a:lnTo>
                  <a:lnTo>
                    <a:pt x="1534478" y="217170"/>
                  </a:lnTo>
                  <a:lnTo>
                    <a:pt x="1535430" y="214313"/>
                  </a:lnTo>
                  <a:lnTo>
                    <a:pt x="1537335" y="212407"/>
                  </a:lnTo>
                  <a:lnTo>
                    <a:pt x="1542098" y="210502"/>
                  </a:lnTo>
                  <a:lnTo>
                    <a:pt x="1578293" y="206692"/>
                  </a:lnTo>
                  <a:lnTo>
                    <a:pt x="1582103" y="207645"/>
                  </a:lnTo>
                  <a:lnTo>
                    <a:pt x="1584007" y="211455"/>
                  </a:lnTo>
                  <a:lnTo>
                    <a:pt x="1583055" y="215265"/>
                  </a:lnTo>
                  <a:lnTo>
                    <a:pt x="1580198" y="218122"/>
                  </a:lnTo>
                  <a:lnTo>
                    <a:pt x="1572578" y="220980"/>
                  </a:lnTo>
                  <a:lnTo>
                    <a:pt x="1568768" y="224790"/>
                  </a:lnTo>
                  <a:lnTo>
                    <a:pt x="1567815" y="231457"/>
                  </a:lnTo>
                  <a:lnTo>
                    <a:pt x="1566863" y="238125"/>
                  </a:lnTo>
                  <a:lnTo>
                    <a:pt x="1567815" y="243840"/>
                  </a:lnTo>
                  <a:lnTo>
                    <a:pt x="1568768" y="246697"/>
                  </a:lnTo>
                  <a:lnTo>
                    <a:pt x="1572578" y="250507"/>
                  </a:lnTo>
                  <a:lnTo>
                    <a:pt x="1580198" y="256222"/>
                  </a:lnTo>
                  <a:lnTo>
                    <a:pt x="1581150" y="259080"/>
                  </a:lnTo>
                  <a:lnTo>
                    <a:pt x="1582103" y="261938"/>
                  </a:lnTo>
                  <a:lnTo>
                    <a:pt x="1582103" y="267652"/>
                  </a:lnTo>
                  <a:lnTo>
                    <a:pt x="1581150" y="271463"/>
                  </a:lnTo>
                  <a:lnTo>
                    <a:pt x="1580198" y="273367"/>
                  </a:lnTo>
                  <a:lnTo>
                    <a:pt x="1577340" y="276225"/>
                  </a:lnTo>
                  <a:lnTo>
                    <a:pt x="1576388" y="278130"/>
                  </a:lnTo>
                  <a:lnTo>
                    <a:pt x="1575435" y="280988"/>
                  </a:lnTo>
                  <a:lnTo>
                    <a:pt x="1575435" y="286702"/>
                  </a:lnTo>
                  <a:lnTo>
                    <a:pt x="1580198" y="307657"/>
                  </a:lnTo>
                  <a:lnTo>
                    <a:pt x="1580198" y="313372"/>
                  </a:lnTo>
                  <a:lnTo>
                    <a:pt x="1578293" y="329565"/>
                  </a:lnTo>
                  <a:lnTo>
                    <a:pt x="1579245" y="338138"/>
                  </a:lnTo>
                  <a:lnTo>
                    <a:pt x="1579245" y="343852"/>
                  </a:lnTo>
                  <a:lnTo>
                    <a:pt x="1582103" y="354330"/>
                  </a:lnTo>
                  <a:lnTo>
                    <a:pt x="1582103" y="360045"/>
                  </a:lnTo>
                  <a:lnTo>
                    <a:pt x="1583055" y="362902"/>
                  </a:lnTo>
                  <a:lnTo>
                    <a:pt x="1584960" y="365760"/>
                  </a:lnTo>
                  <a:lnTo>
                    <a:pt x="1589723" y="368617"/>
                  </a:lnTo>
                  <a:lnTo>
                    <a:pt x="1596390" y="370522"/>
                  </a:lnTo>
                  <a:lnTo>
                    <a:pt x="1599248" y="372427"/>
                  </a:lnTo>
                  <a:lnTo>
                    <a:pt x="1601153" y="376238"/>
                  </a:lnTo>
                  <a:lnTo>
                    <a:pt x="1609725" y="412432"/>
                  </a:lnTo>
                  <a:lnTo>
                    <a:pt x="1610678" y="439102"/>
                  </a:lnTo>
                  <a:lnTo>
                    <a:pt x="1611630" y="443865"/>
                  </a:lnTo>
                  <a:lnTo>
                    <a:pt x="1612582" y="446722"/>
                  </a:lnTo>
                  <a:lnTo>
                    <a:pt x="1614488" y="448627"/>
                  </a:lnTo>
                  <a:lnTo>
                    <a:pt x="1619250" y="451485"/>
                  </a:lnTo>
                  <a:lnTo>
                    <a:pt x="1625918" y="452438"/>
                  </a:lnTo>
                  <a:lnTo>
                    <a:pt x="1628775" y="454342"/>
                  </a:lnTo>
                  <a:lnTo>
                    <a:pt x="1629728" y="457200"/>
                  </a:lnTo>
                  <a:lnTo>
                    <a:pt x="1631632" y="461010"/>
                  </a:lnTo>
                  <a:lnTo>
                    <a:pt x="1633538" y="468630"/>
                  </a:lnTo>
                  <a:lnTo>
                    <a:pt x="1634490" y="480060"/>
                  </a:lnTo>
                  <a:lnTo>
                    <a:pt x="1635443" y="481965"/>
                  </a:lnTo>
                  <a:lnTo>
                    <a:pt x="1637348" y="484822"/>
                  </a:lnTo>
                  <a:lnTo>
                    <a:pt x="1640205" y="486727"/>
                  </a:lnTo>
                  <a:lnTo>
                    <a:pt x="1653540" y="489585"/>
                  </a:lnTo>
                  <a:lnTo>
                    <a:pt x="1658303" y="492442"/>
                  </a:lnTo>
                  <a:lnTo>
                    <a:pt x="1664970" y="497205"/>
                  </a:lnTo>
                  <a:lnTo>
                    <a:pt x="1669732" y="500063"/>
                  </a:lnTo>
                  <a:lnTo>
                    <a:pt x="1694498" y="508635"/>
                  </a:lnTo>
                  <a:lnTo>
                    <a:pt x="1697355" y="509588"/>
                  </a:lnTo>
                  <a:lnTo>
                    <a:pt x="1699260" y="512445"/>
                  </a:lnTo>
                  <a:lnTo>
                    <a:pt x="1701165" y="517207"/>
                  </a:lnTo>
                  <a:lnTo>
                    <a:pt x="1706880" y="541972"/>
                  </a:lnTo>
                  <a:lnTo>
                    <a:pt x="1709738" y="546735"/>
                  </a:lnTo>
                  <a:lnTo>
                    <a:pt x="1713548" y="549592"/>
                  </a:lnTo>
                  <a:lnTo>
                    <a:pt x="1717357" y="550545"/>
                  </a:lnTo>
                  <a:lnTo>
                    <a:pt x="1723073" y="551497"/>
                  </a:lnTo>
                  <a:lnTo>
                    <a:pt x="1725930" y="552450"/>
                  </a:lnTo>
                  <a:lnTo>
                    <a:pt x="1729740" y="555307"/>
                  </a:lnTo>
                  <a:lnTo>
                    <a:pt x="1731645" y="560070"/>
                  </a:lnTo>
                  <a:lnTo>
                    <a:pt x="1733550" y="564832"/>
                  </a:lnTo>
                  <a:lnTo>
                    <a:pt x="1736407" y="577215"/>
                  </a:lnTo>
                  <a:lnTo>
                    <a:pt x="1736407" y="582930"/>
                  </a:lnTo>
                  <a:lnTo>
                    <a:pt x="1735455" y="586740"/>
                  </a:lnTo>
                  <a:lnTo>
                    <a:pt x="1733550" y="588645"/>
                  </a:lnTo>
                  <a:lnTo>
                    <a:pt x="1719263" y="594360"/>
                  </a:lnTo>
                  <a:lnTo>
                    <a:pt x="1714500" y="595313"/>
                  </a:lnTo>
                  <a:lnTo>
                    <a:pt x="1711643" y="597217"/>
                  </a:lnTo>
                  <a:lnTo>
                    <a:pt x="1710690" y="598170"/>
                  </a:lnTo>
                  <a:lnTo>
                    <a:pt x="1708785" y="603885"/>
                  </a:lnTo>
                  <a:lnTo>
                    <a:pt x="1708785" y="621982"/>
                  </a:lnTo>
                  <a:lnTo>
                    <a:pt x="1706880" y="626745"/>
                  </a:lnTo>
                  <a:lnTo>
                    <a:pt x="1703070" y="631507"/>
                  </a:lnTo>
                  <a:lnTo>
                    <a:pt x="1701165" y="636270"/>
                  </a:lnTo>
                  <a:lnTo>
                    <a:pt x="1698307" y="645795"/>
                  </a:lnTo>
                  <a:lnTo>
                    <a:pt x="1694498" y="650557"/>
                  </a:lnTo>
                  <a:lnTo>
                    <a:pt x="1692593" y="651510"/>
                  </a:lnTo>
                  <a:lnTo>
                    <a:pt x="1687830" y="653415"/>
                  </a:lnTo>
                  <a:lnTo>
                    <a:pt x="1684020" y="656272"/>
                  </a:lnTo>
                  <a:lnTo>
                    <a:pt x="1681163" y="661035"/>
                  </a:lnTo>
                  <a:lnTo>
                    <a:pt x="1678305" y="665797"/>
                  </a:lnTo>
                  <a:lnTo>
                    <a:pt x="1676400" y="667702"/>
                  </a:lnTo>
                  <a:lnTo>
                    <a:pt x="1671638" y="668655"/>
                  </a:lnTo>
                  <a:lnTo>
                    <a:pt x="1657350" y="669607"/>
                  </a:lnTo>
                  <a:lnTo>
                    <a:pt x="1652588" y="670560"/>
                  </a:lnTo>
                  <a:lnTo>
                    <a:pt x="1650682" y="672465"/>
                  </a:lnTo>
                  <a:lnTo>
                    <a:pt x="1647825" y="676275"/>
                  </a:lnTo>
                  <a:lnTo>
                    <a:pt x="1646873" y="681990"/>
                  </a:lnTo>
                  <a:lnTo>
                    <a:pt x="1647825" y="690563"/>
                  </a:lnTo>
                  <a:lnTo>
                    <a:pt x="1648778" y="693420"/>
                  </a:lnTo>
                  <a:lnTo>
                    <a:pt x="1651635" y="695325"/>
                  </a:lnTo>
                  <a:lnTo>
                    <a:pt x="1656398" y="697230"/>
                  </a:lnTo>
                  <a:lnTo>
                    <a:pt x="1660207" y="697230"/>
                  </a:lnTo>
                  <a:lnTo>
                    <a:pt x="1664970" y="695325"/>
                  </a:lnTo>
                  <a:lnTo>
                    <a:pt x="1667828" y="696277"/>
                  </a:lnTo>
                  <a:lnTo>
                    <a:pt x="1677353" y="703897"/>
                  </a:lnTo>
                  <a:lnTo>
                    <a:pt x="1681163" y="705802"/>
                  </a:lnTo>
                  <a:lnTo>
                    <a:pt x="1684973" y="706755"/>
                  </a:lnTo>
                  <a:lnTo>
                    <a:pt x="1696403" y="708660"/>
                  </a:lnTo>
                  <a:lnTo>
                    <a:pt x="1700213" y="710565"/>
                  </a:lnTo>
                  <a:lnTo>
                    <a:pt x="1703070" y="713422"/>
                  </a:lnTo>
                  <a:lnTo>
                    <a:pt x="1705928" y="720090"/>
                  </a:lnTo>
                  <a:lnTo>
                    <a:pt x="1707832" y="727710"/>
                  </a:lnTo>
                  <a:lnTo>
                    <a:pt x="1708785" y="735330"/>
                  </a:lnTo>
                  <a:lnTo>
                    <a:pt x="1707832" y="741045"/>
                  </a:lnTo>
                  <a:lnTo>
                    <a:pt x="1706880" y="743902"/>
                  </a:lnTo>
                  <a:lnTo>
                    <a:pt x="1701165" y="749617"/>
                  </a:lnTo>
                  <a:lnTo>
                    <a:pt x="1698307" y="754380"/>
                  </a:lnTo>
                  <a:lnTo>
                    <a:pt x="1697355" y="759142"/>
                  </a:lnTo>
                  <a:lnTo>
                    <a:pt x="1697355" y="764857"/>
                  </a:lnTo>
                  <a:lnTo>
                    <a:pt x="1701165" y="771525"/>
                  </a:lnTo>
                  <a:lnTo>
                    <a:pt x="1713548" y="791527"/>
                  </a:lnTo>
                  <a:lnTo>
                    <a:pt x="1716405" y="800100"/>
                  </a:lnTo>
                  <a:lnTo>
                    <a:pt x="1718310" y="802005"/>
                  </a:lnTo>
                  <a:lnTo>
                    <a:pt x="1721168" y="803910"/>
                  </a:lnTo>
                  <a:lnTo>
                    <a:pt x="1725930" y="804863"/>
                  </a:lnTo>
                  <a:lnTo>
                    <a:pt x="1744028" y="803910"/>
                  </a:lnTo>
                  <a:lnTo>
                    <a:pt x="1768793" y="805815"/>
                  </a:lnTo>
                  <a:lnTo>
                    <a:pt x="1771650" y="807720"/>
                  </a:lnTo>
                  <a:lnTo>
                    <a:pt x="1773555" y="809625"/>
                  </a:lnTo>
                  <a:lnTo>
                    <a:pt x="1773555" y="814388"/>
                  </a:lnTo>
                  <a:lnTo>
                    <a:pt x="1772603" y="817245"/>
                  </a:lnTo>
                  <a:lnTo>
                    <a:pt x="1770698" y="820102"/>
                  </a:lnTo>
                  <a:lnTo>
                    <a:pt x="1766888" y="822960"/>
                  </a:lnTo>
                  <a:lnTo>
                    <a:pt x="1765935" y="825817"/>
                  </a:lnTo>
                  <a:lnTo>
                    <a:pt x="1765935" y="836295"/>
                  </a:lnTo>
                  <a:lnTo>
                    <a:pt x="1766888" y="838200"/>
                  </a:lnTo>
                  <a:lnTo>
                    <a:pt x="1768793" y="839152"/>
                  </a:lnTo>
                  <a:lnTo>
                    <a:pt x="1775460" y="840105"/>
                  </a:lnTo>
                  <a:lnTo>
                    <a:pt x="1800225" y="837247"/>
                  </a:lnTo>
                  <a:lnTo>
                    <a:pt x="1804035" y="838200"/>
                  </a:lnTo>
                  <a:lnTo>
                    <a:pt x="1815465" y="848677"/>
                  </a:lnTo>
                  <a:lnTo>
                    <a:pt x="1823085" y="853440"/>
                  </a:lnTo>
                  <a:lnTo>
                    <a:pt x="1826895" y="854392"/>
                  </a:lnTo>
                  <a:lnTo>
                    <a:pt x="1835468" y="859155"/>
                  </a:lnTo>
                  <a:lnTo>
                    <a:pt x="1841182" y="862013"/>
                  </a:lnTo>
                  <a:lnTo>
                    <a:pt x="1855470" y="862013"/>
                  </a:lnTo>
                  <a:lnTo>
                    <a:pt x="1859280" y="864870"/>
                  </a:lnTo>
                  <a:lnTo>
                    <a:pt x="1862138" y="871538"/>
                  </a:lnTo>
                  <a:lnTo>
                    <a:pt x="1875473" y="926782"/>
                  </a:lnTo>
                  <a:lnTo>
                    <a:pt x="1875473" y="930592"/>
                  </a:lnTo>
                  <a:lnTo>
                    <a:pt x="1875473" y="934402"/>
                  </a:lnTo>
                  <a:lnTo>
                    <a:pt x="1872615" y="942975"/>
                  </a:lnTo>
                  <a:lnTo>
                    <a:pt x="1871663" y="948690"/>
                  </a:lnTo>
                  <a:lnTo>
                    <a:pt x="1871663" y="954405"/>
                  </a:lnTo>
                  <a:lnTo>
                    <a:pt x="1874520" y="969645"/>
                  </a:lnTo>
                  <a:lnTo>
                    <a:pt x="1874520" y="972502"/>
                  </a:lnTo>
                  <a:lnTo>
                    <a:pt x="1875473" y="986790"/>
                  </a:lnTo>
                  <a:lnTo>
                    <a:pt x="1880235" y="991552"/>
                  </a:lnTo>
                  <a:lnTo>
                    <a:pt x="1899285" y="995363"/>
                  </a:lnTo>
                  <a:lnTo>
                    <a:pt x="1883093" y="1013460"/>
                  </a:lnTo>
                  <a:lnTo>
                    <a:pt x="1860232" y="1027747"/>
                  </a:lnTo>
                  <a:lnTo>
                    <a:pt x="1809750" y="1040130"/>
                  </a:lnTo>
                  <a:lnTo>
                    <a:pt x="1804988" y="1041082"/>
                  </a:lnTo>
                  <a:lnTo>
                    <a:pt x="1798320" y="1038225"/>
                  </a:lnTo>
                  <a:lnTo>
                    <a:pt x="1795463" y="1033463"/>
                  </a:lnTo>
                  <a:lnTo>
                    <a:pt x="1794510" y="1027747"/>
                  </a:lnTo>
                  <a:lnTo>
                    <a:pt x="1793557" y="1024890"/>
                  </a:lnTo>
                  <a:lnTo>
                    <a:pt x="1787843" y="1027747"/>
                  </a:lnTo>
                  <a:lnTo>
                    <a:pt x="1784032" y="1034415"/>
                  </a:lnTo>
                  <a:lnTo>
                    <a:pt x="1783080" y="1043940"/>
                  </a:lnTo>
                  <a:lnTo>
                    <a:pt x="1781175" y="1050607"/>
                  </a:lnTo>
                  <a:lnTo>
                    <a:pt x="1758315" y="1062038"/>
                  </a:lnTo>
                  <a:lnTo>
                    <a:pt x="1756410" y="1064895"/>
                  </a:lnTo>
                  <a:lnTo>
                    <a:pt x="1747838" y="1078230"/>
                  </a:lnTo>
                  <a:lnTo>
                    <a:pt x="1744980" y="1084897"/>
                  </a:lnTo>
                  <a:lnTo>
                    <a:pt x="1744028" y="1093470"/>
                  </a:lnTo>
                  <a:lnTo>
                    <a:pt x="1744980" y="1099185"/>
                  </a:lnTo>
                  <a:lnTo>
                    <a:pt x="1747838" y="1111568"/>
                  </a:lnTo>
                  <a:lnTo>
                    <a:pt x="1750695" y="1160145"/>
                  </a:lnTo>
                  <a:lnTo>
                    <a:pt x="1753553" y="1171575"/>
                  </a:lnTo>
                  <a:lnTo>
                    <a:pt x="1758315" y="1183957"/>
                  </a:lnTo>
                  <a:lnTo>
                    <a:pt x="1777365" y="1275397"/>
                  </a:lnTo>
                  <a:lnTo>
                    <a:pt x="1782128" y="1285875"/>
                  </a:lnTo>
                  <a:lnTo>
                    <a:pt x="1788795" y="1294447"/>
                  </a:lnTo>
                  <a:lnTo>
                    <a:pt x="1793557" y="1303972"/>
                  </a:lnTo>
                  <a:lnTo>
                    <a:pt x="1821180" y="1379220"/>
                  </a:lnTo>
                  <a:lnTo>
                    <a:pt x="1844993" y="1424940"/>
                  </a:lnTo>
                  <a:lnTo>
                    <a:pt x="1831657" y="1433513"/>
                  </a:lnTo>
                  <a:lnTo>
                    <a:pt x="1812607" y="1402080"/>
                  </a:lnTo>
                  <a:lnTo>
                    <a:pt x="1807845" y="1388745"/>
                  </a:lnTo>
                  <a:lnTo>
                    <a:pt x="1801178" y="1360170"/>
                  </a:lnTo>
                  <a:lnTo>
                    <a:pt x="1796415" y="1348740"/>
                  </a:lnTo>
                  <a:lnTo>
                    <a:pt x="1793557" y="1343025"/>
                  </a:lnTo>
                  <a:lnTo>
                    <a:pt x="1787843" y="1336357"/>
                  </a:lnTo>
                  <a:lnTo>
                    <a:pt x="1782128" y="1330643"/>
                  </a:lnTo>
                  <a:lnTo>
                    <a:pt x="1776413" y="1329690"/>
                  </a:lnTo>
                  <a:lnTo>
                    <a:pt x="1772603" y="1333500"/>
                  </a:lnTo>
                  <a:lnTo>
                    <a:pt x="1770698" y="1338263"/>
                  </a:lnTo>
                  <a:lnTo>
                    <a:pt x="1769745" y="1344930"/>
                  </a:lnTo>
                  <a:lnTo>
                    <a:pt x="1765935" y="1350645"/>
                  </a:lnTo>
                  <a:lnTo>
                    <a:pt x="1762125" y="1355407"/>
                  </a:lnTo>
                  <a:lnTo>
                    <a:pt x="1757363" y="1358265"/>
                  </a:lnTo>
                  <a:lnTo>
                    <a:pt x="1752600" y="1360170"/>
                  </a:lnTo>
                  <a:lnTo>
                    <a:pt x="1746885" y="1361122"/>
                  </a:lnTo>
                  <a:lnTo>
                    <a:pt x="1744028" y="1357313"/>
                  </a:lnTo>
                  <a:lnTo>
                    <a:pt x="1744980" y="1349693"/>
                  </a:lnTo>
                  <a:lnTo>
                    <a:pt x="1755457" y="1309688"/>
                  </a:lnTo>
                  <a:lnTo>
                    <a:pt x="1754505" y="1309688"/>
                  </a:lnTo>
                  <a:lnTo>
                    <a:pt x="1752600" y="1307782"/>
                  </a:lnTo>
                  <a:lnTo>
                    <a:pt x="1751648" y="1303020"/>
                  </a:lnTo>
                  <a:lnTo>
                    <a:pt x="1751648" y="1299210"/>
                  </a:lnTo>
                  <a:lnTo>
                    <a:pt x="1752600" y="1298257"/>
                  </a:lnTo>
                  <a:lnTo>
                    <a:pt x="1757363" y="1294447"/>
                  </a:lnTo>
                  <a:lnTo>
                    <a:pt x="1760220" y="1293495"/>
                  </a:lnTo>
                  <a:lnTo>
                    <a:pt x="1762125" y="1289685"/>
                  </a:lnTo>
                  <a:lnTo>
                    <a:pt x="1763078" y="1285875"/>
                  </a:lnTo>
                  <a:lnTo>
                    <a:pt x="1760220" y="1283018"/>
                  </a:lnTo>
                  <a:lnTo>
                    <a:pt x="1758315" y="1283018"/>
                  </a:lnTo>
                  <a:lnTo>
                    <a:pt x="1751648" y="1277302"/>
                  </a:lnTo>
                  <a:lnTo>
                    <a:pt x="1749743" y="1275397"/>
                  </a:lnTo>
                  <a:lnTo>
                    <a:pt x="1745932" y="1268730"/>
                  </a:lnTo>
                  <a:lnTo>
                    <a:pt x="1744980" y="1261110"/>
                  </a:lnTo>
                  <a:lnTo>
                    <a:pt x="1744980" y="1243965"/>
                  </a:lnTo>
                  <a:lnTo>
                    <a:pt x="1743075" y="1231582"/>
                  </a:lnTo>
                  <a:lnTo>
                    <a:pt x="1740218" y="1213485"/>
                  </a:lnTo>
                  <a:lnTo>
                    <a:pt x="1735455" y="1197293"/>
                  </a:lnTo>
                  <a:lnTo>
                    <a:pt x="1729740" y="1190625"/>
                  </a:lnTo>
                  <a:lnTo>
                    <a:pt x="1723073" y="1192530"/>
                  </a:lnTo>
                  <a:lnTo>
                    <a:pt x="1720215" y="1199197"/>
                  </a:lnTo>
                  <a:lnTo>
                    <a:pt x="1718310" y="1206818"/>
                  </a:lnTo>
                  <a:lnTo>
                    <a:pt x="1713548" y="1210627"/>
                  </a:lnTo>
                  <a:lnTo>
                    <a:pt x="1709738" y="1207770"/>
                  </a:lnTo>
                  <a:lnTo>
                    <a:pt x="1693545" y="1192530"/>
                  </a:lnTo>
                  <a:lnTo>
                    <a:pt x="1691640" y="1181100"/>
                  </a:lnTo>
                  <a:lnTo>
                    <a:pt x="1684020" y="1169670"/>
                  </a:lnTo>
                  <a:lnTo>
                    <a:pt x="1674495" y="1159193"/>
                  </a:lnTo>
                  <a:lnTo>
                    <a:pt x="1664970" y="1153477"/>
                  </a:lnTo>
                  <a:lnTo>
                    <a:pt x="1669732" y="1146810"/>
                  </a:lnTo>
                  <a:lnTo>
                    <a:pt x="1676400" y="1142047"/>
                  </a:lnTo>
                  <a:lnTo>
                    <a:pt x="1697355" y="1136332"/>
                  </a:lnTo>
                  <a:lnTo>
                    <a:pt x="1709738" y="1137285"/>
                  </a:lnTo>
                  <a:lnTo>
                    <a:pt x="1713548" y="1140143"/>
                  </a:lnTo>
                  <a:lnTo>
                    <a:pt x="1720215" y="1150620"/>
                  </a:lnTo>
                  <a:lnTo>
                    <a:pt x="1724978" y="1153477"/>
                  </a:lnTo>
                  <a:lnTo>
                    <a:pt x="1731645" y="1147763"/>
                  </a:lnTo>
                  <a:lnTo>
                    <a:pt x="1731645" y="1135380"/>
                  </a:lnTo>
                  <a:lnTo>
                    <a:pt x="1726882" y="1121093"/>
                  </a:lnTo>
                  <a:lnTo>
                    <a:pt x="1723073" y="1111568"/>
                  </a:lnTo>
                  <a:lnTo>
                    <a:pt x="1707832" y="1096327"/>
                  </a:lnTo>
                  <a:lnTo>
                    <a:pt x="1684020" y="1082040"/>
                  </a:lnTo>
                  <a:lnTo>
                    <a:pt x="1660207" y="1079182"/>
                  </a:lnTo>
                  <a:lnTo>
                    <a:pt x="1643063" y="1096327"/>
                  </a:lnTo>
                  <a:lnTo>
                    <a:pt x="1641157" y="1112520"/>
                  </a:lnTo>
                  <a:lnTo>
                    <a:pt x="1644015" y="1127760"/>
                  </a:lnTo>
                  <a:lnTo>
                    <a:pt x="1647825" y="1142047"/>
                  </a:lnTo>
                  <a:lnTo>
                    <a:pt x="1650682" y="1155382"/>
                  </a:lnTo>
                  <a:lnTo>
                    <a:pt x="1647825" y="1165860"/>
                  </a:lnTo>
                  <a:lnTo>
                    <a:pt x="1620203" y="1222057"/>
                  </a:lnTo>
                  <a:lnTo>
                    <a:pt x="1608773" y="1232535"/>
                  </a:lnTo>
                  <a:lnTo>
                    <a:pt x="1587818" y="1223963"/>
                  </a:lnTo>
                  <a:lnTo>
                    <a:pt x="1570673" y="1244918"/>
                  </a:lnTo>
                  <a:lnTo>
                    <a:pt x="1560195" y="1242060"/>
                  </a:lnTo>
                  <a:lnTo>
                    <a:pt x="1565910" y="1224915"/>
                  </a:lnTo>
                  <a:lnTo>
                    <a:pt x="1560195" y="1217295"/>
                  </a:lnTo>
                  <a:lnTo>
                    <a:pt x="1546860" y="1215390"/>
                  </a:lnTo>
                  <a:lnTo>
                    <a:pt x="1532573" y="1215390"/>
                  </a:lnTo>
                  <a:lnTo>
                    <a:pt x="1527810" y="1210627"/>
                  </a:lnTo>
                  <a:lnTo>
                    <a:pt x="1530668" y="1201102"/>
                  </a:lnTo>
                  <a:lnTo>
                    <a:pt x="1536382" y="1189672"/>
                  </a:lnTo>
                  <a:lnTo>
                    <a:pt x="1542098" y="1184910"/>
                  </a:lnTo>
                  <a:lnTo>
                    <a:pt x="1548765" y="1185863"/>
                  </a:lnTo>
                  <a:lnTo>
                    <a:pt x="1554480" y="1191577"/>
                  </a:lnTo>
                  <a:lnTo>
                    <a:pt x="1559243" y="1193482"/>
                  </a:lnTo>
                  <a:lnTo>
                    <a:pt x="1564005" y="1184910"/>
                  </a:lnTo>
                  <a:lnTo>
                    <a:pt x="1553528" y="1176338"/>
                  </a:lnTo>
                  <a:lnTo>
                    <a:pt x="1547813" y="1163955"/>
                  </a:lnTo>
                  <a:lnTo>
                    <a:pt x="1547813" y="1150620"/>
                  </a:lnTo>
                  <a:lnTo>
                    <a:pt x="1552575" y="1137285"/>
                  </a:lnTo>
                  <a:lnTo>
                    <a:pt x="1570673" y="1122045"/>
                  </a:lnTo>
                  <a:lnTo>
                    <a:pt x="1577340" y="1122997"/>
                  </a:lnTo>
                  <a:lnTo>
                    <a:pt x="1577340" y="1126807"/>
                  </a:lnTo>
                  <a:lnTo>
                    <a:pt x="1575435" y="1130618"/>
                  </a:lnTo>
                  <a:lnTo>
                    <a:pt x="1574482" y="1134427"/>
                  </a:lnTo>
                  <a:lnTo>
                    <a:pt x="1576388" y="1147763"/>
                  </a:lnTo>
                  <a:lnTo>
                    <a:pt x="1580198" y="1140143"/>
                  </a:lnTo>
                  <a:lnTo>
                    <a:pt x="1586865" y="1126807"/>
                  </a:lnTo>
                  <a:lnTo>
                    <a:pt x="1592580" y="1122045"/>
                  </a:lnTo>
                  <a:lnTo>
                    <a:pt x="1594485" y="1129665"/>
                  </a:lnTo>
                  <a:lnTo>
                    <a:pt x="1600200" y="1144905"/>
                  </a:lnTo>
                  <a:lnTo>
                    <a:pt x="1607820" y="1154430"/>
                  </a:lnTo>
                  <a:lnTo>
                    <a:pt x="1610678" y="1144905"/>
                  </a:lnTo>
                  <a:lnTo>
                    <a:pt x="1611630" y="1137285"/>
                  </a:lnTo>
                  <a:lnTo>
                    <a:pt x="1617345" y="1127760"/>
                  </a:lnTo>
                  <a:lnTo>
                    <a:pt x="1618298" y="1119188"/>
                  </a:lnTo>
                  <a:lnTo>
                    <a:pt x="1618298" y="1098232"/>
                  </a:lnTo>
                  <a:lnTo>
                    <a:pt x="1616393" y="1090613"/>
                  </a:lnTo>
                  <a:lnTo>
                    <a:pt x="1609725" y="1082993"/>
                  </a:lnTo>
                  <a:lnTo>
                    <a:pt x="1603057" y="1077277"/>
                  </a:lnTo>
                  <a:lnTo>
                    <a:pt x="1597343" y="1074420"/>
                  </a:lnTo>
                  <a:lnTo>
                    <a:pt x="1594485" y="1078230"/>
                  </a:lnTo>
                  <a:lnTo>
                    <a:pt x="1591628" y="1083945"/>
                  </a:lnTo>
                  <a:lnTo>
                    <a:pt x="1588770" y="1096327"/>
                  </a:lnTo>
                  <a:lnTo>
                    <a:pt x="1571625" y="1108710"/>
                  </a:lnTo>
                  <a:lnTo>
                    <a:pt x="1552575" y="1103947"/>
                  </a:lnTo>
                  <a:lnTo>
                    <a:pt x="1516380" y="1074420"/>
                  </a:lnTo>
                  <a:lnTo>
                    <a:pt x="1484948" y="1058227"/>
                  </a:lnTo>
                  <a:lnTo>
                    <a:pt x="1480185" y="1056322"/>
                  </a:lnTo>
                  <a:lnTo>
                    <a:pt x="1478280" y="1061085"/>
                  </a:lnTo>
                  <a:lnTo>
                    <a:pt x="1474470" y="1064895"/>
                  </a:lnTo>
                  <a:lnTo>
                    <a:pt x="1470660" y="1069657"/>
                  </a:lnTo>
                  <a:lnTo>
                    <a:pt x="1469707" y="1074420"/>
                  </a:lnTo>
                  <a:lnTo>
                    <a:pt x="1473518" y="1079182"/>
                  </a:lnTo>
                  <a:lnTo>
                    <a:pt x="1485900" y="1081088"/>
                  </a:lnTo>
                  <a:lnTo>
                    <a:pt x="1490663" y="1084897"/>
                  </a:lnTo>
                  <a:lnTo>
                    <a:pt x="1490663" y="1095375"/>
                  </a:lnTo>
                  <a:lnTo>
                    <a:pt x="1488757" y="1115377"/>
                  </a:lnTo>
                  <a:lnTo>
                    <a:pt x="1483995" y="1134427"/>
                  </a:lnTo>
                  <a:lnTo>
                    <a:pt x="1478280" y="1142047"/>
                  </a:lnTo>
                  <a:lnTo>
                    <a:pt x="1473518" y="1139190"/>
                  </a:lnTo>
                  <a:lnTo>
                    <a:pt x="1472565" y="1130618"/>
                  </a:lnTo>
                  <a:lnTo>
                    <a:pt x="1472565" y="1111568"/>
                  </a:lnTo>
                  <a:lnTo>
                    <a:pt x="1470660" y="1102043"/>
                  </a:lnTo>
                  <a:lnTo>
                    <a:pt x="1468755" y="1097280"/>
                  </a:lnTo>
                  <a:lnTo>
                    <a:pt x="1441132" y="1041082"/>
                  </a:lnTo>
                  <a:lnTo>
                    <a:pt x="1428750" y="1021080"/>
                  </a:lnTo>
                  <a:lnTo>
                    <a:pt x="1412557" y="1006793"/>
                  </a:lnTo>
                  <a:lnTo>
                    <a:pt x="1402080" y="1003935"/>
                  </a:lnTo>
                  <a:lnTo>
                    <a:pt x="1396365" y="1009650"/>
                  </a:lnTo>
                  <a:lnTo>
                    <a:pt x="1394460" y="1022032"/>
                  </a:lnTo>
                  <a:lnTo>
                    <a:pt x="1394460" y="1041082"/>
                  </a:lnTo>
                  <a:lnTo>
                    <a:pt x="1397318" y="1052513"/>
                  </a:lnTo>
                  <a:lnTo>
                    <a:pt x="1403985" y="1062038"/>
                  </a:lnTo>
                  <a:lnTo>
                    <a:pt x="1423035" y="1080135"/>
                  </a:lnTo>
                  <a:lnTo>
                    <a:pt x="1401128" y="1102995"/>
                  </a:lnTo>
                  <a:lnTo>
                    <a:pt x="1400175" y="1107757"/>
                  </a:lnTo>
                  <a:lnTo>
                    <a:pt x="1398270" y="1104900"/>
                  </a:lnTo>
                  <a:lnTo>
                    <a:pt x="1394460" y="1096327"/>
                  </a:lnTo>
                  <a:lnTo>
                    <a:pt x="1397318" y="1080135"/>
                  </a:lnTo>
                  <a:lnTo>
                    <a:pt x="1397318" y="1074420"/>
                  </a:lnTo>
                  <a:lnTo>
                    <a:pt x="1393507" y="1067752"/>
                  </a:lnTo>
                  <a:lnTo>
                    <a:pt x="1387793" y="1061085"/>
                  </a:lnTo>
                  <a:lnTo>
                    <a:pt x="1382078" y="1060132"/>
                  </a:lnTo>
                  <a:lnTo>
                    <a:pt x="1379220" y="1066800"/>
                  </a:lnTo>
                  <a:lnTo>
                    <a:pt x="1377315" y="1075372"/>
                  </a:lnTo>
                  <a:lnTo>
                    <a:pt x="1371600" y="1078230"/>
                  </a:lnTo>
                  <a:lnTo>
                    <a:pt x="1357313" y="1074420"/>
                  </a:lnTo>
                  <a:lnTo>
                    <a:pt x="1357313" y="1080135"/>
                  </a:lnTo>
                  <a:lnTo>
                    <a:pt x="1365885" y="1085850"/>
                  </a:lnTo>
                  <a:lnTo>
                    <a:pt x="1371600" y="1089660"/>
                  </a:lnTo>
                  <a:lnTo>
                    <a:pt x="1377315" y="1090613"/>
                  </a:lnTo>
                  <a:lnTo>
                    <a:pt x="1381125" y="1094422"/>
                  </a:lnTo>
                  <a:lnTo>
                    <a:pt x="1385888" y="1111568"/>
                  </a:lnTo>
                  <a:lnTo>
                    <a:pt x="1388745" y="1119188"/>
                  </a:lnTo>
                  <a:lnTo>
                    <a:pt x="1388745" y="1124902"/>
                  </a:lnTo>
                  <a:lnTo>
                    <a:pt x="1383030" y="1124902"/>
                  </a:lnTo>
                  <a:lnTo>
                    <a:pt x="1372553" y="1122045"/>
                  </a:lnTo>
                  <a:lnTo>
                    <a:pt x="1369695" y="1122045"/>
                  </a:lnTo>
                  <a:lnTo>
                    <a:pt x="1363980" y="1122997"/>
                  </a:lnTo>
                  <a:lnTo>
                    <a:pt x="1361123" y="1122045"/>
                  </a:lnTo>
                  <a:lnTo>
                    <a:pt x="1360170" y="1118235"/>
                  </a:lnTo>
                  <a:lnTo>
                    <a:pt x="1357313" y="1107757"/>
                  </a:lnTo>
                  <a:lnTo>
                    <a:pt x="1357313" y="1105852"/>
                  </a:lnTo>
                  <a:lnTo>
                    <a:pt x="1351598" y="1104900"/>
                  </a:lnTo>
                  <a:lnTo>
                    <a:pt x="1347788" y="1106805"/>
                  </a:lnTo>
                  <a:lnTo>
                    <a:pt x="1344930" y="1109663"/>
                  </a:lnTo>
                  <a:lnTo>
                    <a:pt x="1340168" y="1112520"/>
                  </a:lnTo>
                  <a:lnTo>
                    <a:pt x="1337310" y="1115377"/>
                  </a:lnTo>
                  <a:lnTo>
                    <a:pt x="1334453" y="1116330"/>
                  </a:lnTo>
                  <a:lnTo>
                    <a:pt x="1332548" y="1114425"/>
                  </a:lnTo>
                  <a:lnTo>
                    <a:pt x="1329690" y="1107757"/>
                  </a:lnTo>
                  <a:lnTo>
                    <a:pt x="1326832" y="1105852"/>
                  </a:lnTo>
                  <a:lnTo>
                    <a:pt x="1320165" y="1098232"/>
                  </a:lnTo>
                  <a:lnTo>
                    <a:pt x="1306830" y="1066800"/>
                  </a:lnTo>
                  <a:lnTo>
                    <a:pt x="1302068" y="1059180"/>
                  </a:lnTo>
                  <a:lnTo>
                    <a:pt x="1290638" y="1057275"/>
                  </a:lnTo>
                  <a:lnTo>
                    <a:pt x="1260157" y="1043940"/>
                  </a:lnTo>
                  <a:lnTo>
                    <a:pt x="1253490" y="1043940"/>
                  </a:lnTo>
                  <a:lnTo>
                    <a:pt x="1245870" y="1047750"/>
                  </a:lnTo>
                  <a:lnTo>
                    <a:pt x="1240155" y="1049655"/>
                  </a:lnTo>
                  <a:lnTo>
                    <a:pt x="1228725" y="1049655"/>
                  </a:lnTo>
                  <a:lnTo>
                    <a:pt x="1223010" y="1048702"/>
                  </a:lnTo>
                  <a:lnTo>
                    <a:pt x="1220153" y="1046797"/>
                  </a:lnTo>
                  <a:lnTo>
                    <a:pt x="1216343" y="1038225"/>
                  </a:lnTo>
                  <a:lnTo>
                    <a:pt x="1206818" y="1033463"/>
                  </a:lnTo>
                  <a:lnTo>
                    <a:pt x="1195388" y="1031557"/>
                  </a:lnTo>
                  <a:lnTo>
                    <a:pt x="1187768" y="1032510"/>
                  </a:lnTo>
                  <a:lnTo>
                    <a:pt x="1179195" y="1039177"/>
                  </a:lnTo>
                  <a:lnTo>
                    <a:pt x="1172528" y="1047750"/>
                  </a:lnTo>
                  <a:lnTo>
                    <a:pt x="1165860" y="1052513"/>
                  </a:lnTo>
                  <a:lnTo>
                    <a:pt x="1155382" y="1049655"/>
                  </a:lnTo>
                  <a:lnTo>
                    <a:pt x="1141095" y="1049655"/>
                  </a:lnTo>
                  <a:lnTo>
                    <a:pt x="1141095" y="1054418"/>
                  </a:lnTo>
                  <a:lnTo>
                    <a:pt x="1142048" y="1054418"/>
                  </a:lnTo>
                  <a:lnTo>
                    <a:pt x="1138238" y="1060132"/>
                  </a:lnTo>
                  <a:lnTo>
                    <a:pt x="1143000" y="1087755"/>
                  </a:lnTo>
                  <a:lnTo>
                    <a:pt x="1137285" y="1106805"/>
                  </a:lnTo>
                  <a:lnTo>
                    <a:pt x="1120140" y="1124902"/>
                  </a:lnTo>
                  <a:lnTo>
                    <a:pt x="1112520" y="1109663"/>
                  </a:lnTo>
                  <a:lnTo>
                    <a:pt x="1103948" y="1101090"/>
                  </a:lnTo>
                  <a:lnTo>
                    <a:pt x="1090613" y="1105852"/>
                  </a:lnTo>
                  <a:lnTo>
                    <a:pt x="1079182" y="1116330"/>
                  </a:lnTo>
                  <a:lnTo>
                    <a:pt x="1069657" y="1126807"/>
                  </a:lnTo>
                  <a:lnTo>
                    <a:pt x="1068705" y="1138238"/>
                  </a:lnTo>
                  <a:lnTo>
                    <a:pt x="1082993" y="1147763"/>
                  </a:lnTo>
                  <a:lnTo>
                    <a:pt x="1082993" y="1153477"/>
                  </a:lnTo>
                  <a:lnTo>
                    <a:pt x="1068705" y="1154430"/>
                  </a:lnTo>
                  <a:lnTo>
                    <a:pt x="1055370" y="1158240"/>
                  </a:lnTo>
                  <a:lnTo>
                    <a:pt x="1050607" y="1167765"/>
                  </a:lnTo>
                  <a:lnTo>
                    <a:pt x="1061085" y="1183957"/>
                  </a:lnTo>
                  <a:lnTo>
                    <a:pt x="1056323" y="1183957"/>
                  </a:lnTo>
                  <a:lnTo>
                    <a:pt x="1044893" y="1179195"/>
                  </a:lnTo>
                  <a:lnTo>
                    <a:pt x="1012507" y="1179195"/>
                  </a:lnTo>
                  <a:lnTo>
                    <a:pt x="1007745" y="1175385"/>
                  </a:lnTo>
                  <a:lnTo>
                    <a:pt x="991553" y="1153477"/>
                  </a:lnTo>
                  <a:lnTo>
                    <a:pt x="977265" y="1141095"/>
                  </a:lnTo>
                  <a:lnTo>
                    <a:pt x="963930" y="1138238"/>
                  </a:lnTo>
                  <a:lnTo>
                    <a:pt x="952500" y="1153477"/>
                  </a:lnTo>
                  <a:lnTo>
                    <a:pt x="950595" y="1149668"/>
                  </a:lnTo>
                  <a:lnTo>
                    <a:pt x="947738" y="1148715"/>
                  </a:lnTo>
                  <a:lnTo>
                    <a:pt x="944880" y="1148715"/>
                  </a:lnTo>
                  <a:lnTo>
                    <a:pt x="942023" y="1147763"/>
                  </a:lnTo>
                  <a:lnTo>
                    <a:pt x="950595" y="1139190"/>
                  </a:lnTo>
                  <a:lnTo>
                    <a:pt x="956310" y="1128713"/>
                  </a:lnTo>
                  <a:lnTo>
                    <a:pt x="955357" y="1120140"/>
                  </a:lnTo>
                  <a:lnTo>
                    <a:pt x="943928" y="1116330"/>
                  </a:lnTo>
                  <a:lnTo>
                    <a:pt x="902018" y="1122045"/>
                  </a:lnTo>
                  <a:lnTo>
                    <a:pt x="905828" y="1111568"/>
                  </a:lnTo>
                  <a:lnTo>
                    <a:pt x="907732" y="1102043"/>
                  </a:lnTo>
                  <a:lnTo>
                    <a:pt x="912495" y="1049655"/>
                  </a:lnTo>
                  <a:lnTo>
                    <a:pt x="901065" y="1062990"/>
                  </a:lnTo>
                  <a:lnTo>
                    <a:pt x="891540" y="1083945"/>
                  </a:lnTo>
                  <a:lnTo>
                    <a:pt x="881063" y="1102995"/>
                  </a:lnTo>
                  <a:lnTo>
                    <a:pt x="864870" y="1111568"/>
                  </a:lnTo>
                  <a:lnTo>
                    <a:pt x="860107" y="1112520"/>
                  </a:lnTo>
                  <a:lnTo>
                    <a:pt x="853440" y="1116330"/>
                  </a:lnTo>
                  <a:lnTo>
                    <a:pt x="848678" y="1116330"/>
                  </a:lnTo>
                  <a:lnTo>
                    <a:pt x="842963" y="1114425"/>
                  </a:lnTo>
                  <a:lnTo>
                    <a:pt x="832485" y="1105852"/>
                  </a:lnTo>
                  <a:lnTo>
                    <a:pt x="801053" y="1090613"/>
                  </a:lnTo>
                  <a:lnTo>
                    <a:pt x="805815" y="1112520"/>
                  </a:lnTo>
                  <a:lnTo>
                    <a:pt x="798195" y="1122997"/>
                  </a:lnTo>
                  <a:lnTo>
                    <a:pt x="742950" y="1132522"/>
                  </a:lnTo>
                  <a:lnTo>
                    <a:pt x="736282" y="1131570"/>
                  </a:lnTo>
                  <a:lnTo>
                    <a:pt x="731520" y="1130618"/>
                  </a:lnTo>
                  <a:lnTo>
                    <a:pt x="726757" y="1127760"/>
                  </a:lnTo>
                  <a:lnTo>
                    <a:pt x="723900" y="1127760"/>
                  </a:lnTo>
                  <a:lnTo>
                    <a:pt x="711518" y="1127760"/>
                  </a:lnTo>
                  <a:lnTo>
                    <a:pt x="706755" y="1127760"/>
                  </a:lnTo>
                  <a:lnTo>
                    <a:pt x="678180" y="1117282"/>
                  </a:lnTo>
                  <a:lnTo>
                    <a:pt x="665798" y="1116330"/>
                  </a:lnTo>
                  <a:lnTo>
                    <a:pt x="658178" y="1118235"/>
                  </a:lnTo>
                  <a:lnTo>
                    <a:pt x="638175" y="1128713"/>
                  </a:lnTo>
                  <a:lnTo>
                    <a:pt x="571500" y="1140143"/>
                  </a:lnTo>
                  <a:lnTo>
                    <a:pt x="566738" y="1142047"/>
                  </a:lnTo>
                  <a:lnTo>
                    <a:pt x="561023" y="1145857"/>
                  </a:lnTo>
                  <a:lnTo>
                    <a:pt x="552450" y="1155382"/>
                  </a:lnTo>
                  <a:lnTo>
                    <a:pt x="548640" y="1158240"/>
                  </a:lnTo>
                  <a:lnTo>
                    <a:pt x="526732" y="1162050"/>
                  </a:lnTo>
                  <a:lnTo>
                    <a:pt x="421005" y="1130618"/>
                  </a:lnTo>
                  <a:lnTo>
                    <a:pt x="409575" y="1122997"/>
                  </a:lnTo>
                  <a:lnTo>
                    <a:pt x="402907" y="1122997"/>
                  </a:lnTo>
                  <a:lnTo>
                    <a:pt x="400050" y="1122045"/>
                  </a:lnTo>
                  <a:lnTo>
                    <a:pt x="399098" y="1119188"/>
                  </a:lnTo>
                  <a:lnTo>
                    <a:pt x="397193" y="1109663"/>
                  </a:lnTo>
                  <a:lnTo>
                    <a:pt x="394335" y="1100138"/>
                  </a:lnTo>
                  <a:lnTo>
                    <a:pt x="392430" y="1089660"/>
                  </a:lnTo>
                  <a:lnTo>
                    <a:pt x="389573" y="1084897"/>
                  </a:lnTo>
                  <a:lnTo>
                    <a:pt x="399098" y="1076325"/>
                  </a:lnTo>
                  <a:lnTo>
                    <a:pt x="401955" y="1071563"/>
                  </a:lnTo>
                  <a:lnTo>
                    <a:pt x="403860" y="1063943"/>
                  </a:lnTo>
                  <a:lnTo>
                    <a:pt x="387668" y="1070610"/>
                  </a:lnTo>
                  <a:lnTo>
                    <a:pt x="374332" y="1072515"/>
                  </a:lnTo>
                  <a:lnTo>
                    <a:pt x="360045" y="1069657"/>
                  </a:lnTo>
                  <a:lnTo>
                    <a:pt x="337185" y="1061085"/>
                  </a:lnTo>
                  <a:lnTo>
                    <a:pt x="329565" y="1060132"/>
                  </a:lnTo>
                  <a:lnTo>
                    <a:pt x="322898" y="1056322"/>
                  </a:lnTo>
                  <a:lnTo>
                    <a:pt x="302895" y="1029652"/>
                  </a:lnTo>
                  <a:lnTo>
                    <a:pt x="287655" y="1017270"/>
                  </a:lnTo>
                  <a:lnTo>
                    <a:pt x="271463" y="1023938"/>
                  </a:lnTo>
                  <a:lnTo>
                    <a:pt x="244793" y="1009650"/>
                  </a:lnTo>
                  <a:lnTo>
                    <a:pt x="200978" y="976313"/>
                  </a:lnTo>
                  <a:lnTo>
                    <a:pt x="200025" y="984885"/>
                  </a:lnTo>
                  <a:lnTo>
                    <a:pt x="202882" y="994410"/>
                  </a:lnTo>
                  <a:lnTo>
                    <a:pt x="203835" y="1003935"/>
                  </a:lnTo>
                  <a:lnTo>
                    <a:pt x="200025" y="1006793"/>
                  </a:lnTo>
                  <a:lnTo>
                    <a:pt x="166688" y="1005840"/>
                  </a:lnTo>
                  <a:lnTo>
                    <a:pt x="157163" y="1002982"/>
                  </a:lnTo>
                  <a:lnTo>
                    <a:pt x="148590" y="997268"/>
                  </a:lnTo>
                  <a:lnTo>
                    <a:pt x="141923" y="988695"/>
                  </a:lnTo>
                  <a:lnTo>
                    <a:pt x="139065" y="977265"/>
                  </a:lnTo>
                  <a:lnTo>
                    <a:pt x="145732" y="966788"/>
                  </a:lnTo>
                  <a:lnTo>
                    <a:pt x="156210" y="959168"/>
                  </a:lnTo>
                  <a:lnTo>
                    <a:pt x="164782" y="954405"/>
                  </a:lnTo>
                  <a:lnTo>
                    <a:pt x="176213" y="953452"/>
                  </a:lnTo>
                  <a:lnTo>
                    <a:pt x="204788" y="960120"/>
                  </a:lnTo>
                  <a:lnTo>
                    <a:pt x="244793" y="952500"/>
                  </a:lnTo>
                  <a:lnTo>
                    <a:pt x="249555" y="948690"/>
                  </a:lnTo>
                  <a:lnTo>
                    <a:pt x="277178" y="922972"/>
                  </a:lnTo>
                  <a:lnTo>
                    <a:pt x="283845" y="922020"/>
                  </a:lnTo>
                  <a:lnTo>
                    <a:pt x="290513" y="922020"/>
                  </a:lnTo>
                  <a:lnTo>
                    <a:pt x="294323" y="919163"/>
                  </a:lnTo>
                  <a:lnTo>
                    <a:pt x="289560" y="910590"/>
                  </a:lnTo>
                  <a:lnTo>
                    <a:pt x="265748" y="877252"/>
                  </a:lnTo>
                  <a:lnTo>
                    <a:pt x="257175" y="873442"/>
                  </a:lnTo>
                  <a:lnTo>
                    <a:pt x="238125" y="875347"/>
                  </a:lnTo>
                  <a:lnTo>
                    <a:pt x="214313" y="871538"/>
                  </a:lnTo>
                  <a:lnTo>
                    <a:pt x="164782" y="851535"/>
                  </a:lnTo>
                  <a:lnTo>
                    <a:pt x="183832" y="821055"/>
                  </a:lnTo>
                  <a:lnTo>
                    <a:pt x="188595" y="822960"/>
                  </a:lnTo>
                  <a:lnTo>
                    <a:pt x="233363" y="822960"/>
                  </a:lnTo>
                  <a:lnTo>
                    <a:pt x="279082" y="833438"/>
                  </a:lnTo>
                  <a:lnTo>
                    <a:pt x="309563" y="828675"/>
                  </a:lnTo>
                  <a:lnTo>
                    <a:pt x="320993" y="828675"/>
                  </a:lnTo>
                  <a:lnTo>
                    <a:pt x="378143" y="842010"/>
                  </a:lnTo>
                  <a:lnTo>
                    <a:pt x="407670" y="860107"/>
                  </a:lnTo>
                  <a:lnTo>
                    <a:pt x="428625" y="865822"/>
                  </a:lnTo>
                  <a:lnTo>
                    <a:pt x="452438" y="863917"/>
                  </a:lnTo>
                  <a:lnTo>
                    <a:pt x="472440" y="854392"/>
                  </a:lnTo>
                  <a:lnTo>
                    <a:pt x="486728" y="839152"/>
                  </a:lnTo>
                  <a:lnTo>
                    <a:pt x="477203" y="824865"/>
                  </a:lnTo>
                  <a:lnTo>
                    <a:pt x="491490" y="804863"/>
                  </a:lnTo>
                  <a:lnTo>
                    <a:pt x="528638" y="773430"/>
                  </a:lnTo>
                  <a:lnTo>
                    <a:pt x="538163" y="766763"/>
                  </a:lnTo>
                  <a:lnTo>
                    <a:pt x="562928" y="763905"/>
                  </a:lnTo>
                  <a:lnTo>
                    <a:pt x="571500" y="758190"/>
                  </a:lnTo>
                  <a:lnTo>
                    <a:pt x="580073" y="749617"/>
                  </a:lnTo>
                  <a:lnTo>
                    <a:pt x="588645" y="742950"/>
                  </a:lnTo>
                  <a:lnTo>
                    <a:pt x="596265" y="736282"/>
                  </a:lnTo>
                  <a:lnTo>
                    <a:pt x="601980" y="722947"/>
                  </a:lnTo>
                  <a:lnTo>
                    <a:pt x="589598" y="729615"/>
                  </a:lnTo>
                  <a:lnTo>
                    <a:pt x="575310" y="740092"/>
                  </a:lnTo>
                  <a:lnTo>
                    <a:pt x="561023" y="747713"/>
                  </a:lnTo>
                  <a:lnTo>
                    <a:pt x="548640" y="744855"/>
                  </a:lnTo>
                  <a:lnTo>
                    <a:pt x="477203" y="784860"/>
                  </a:lnTo>
                  <a:lnTo>
                    <a:pt x="439103" y="790575"/>
                  </a:lnTo>
                  <a:lnTo>
                    <a:pt x="403860" y="770572"/>
                  </a:lnTo>
                  <a:lnTo>
                    <a:pt x="395288" y="758190"/>
                  </a:lnTo>
                  <a:lnTo>
                    <a:pt x="392430" y="755332"/>
                  </a:lnTo>
                  <a:lnTo>
                    <a:pt x="386715" y="758190"/>
                  </a:lnTo>
                  <a:lnTo>
                    <a:pt x="378143" y="768667"/>
                  </a:lnTo>
                  <a:lnTo>
                    <a:pt x="372428" y="770572"/>
                  </a:lnTo>
                  <a:lnTo>
                    <a:pt x="366713" y="771525"/>
                  </a:lnTo>
                  <a:lnTo>
                    <a:pt x="356235" y="775335"/>
                  </a:lnTo>
                  <a:lnTo>
                    <a:pt x="351473" y="776288"/>
                  </a:lnTo>
                  <a:lnTo>
                    <a:pt x="339090" y="791527"/>
                  </a:lnTo>
                  <a:lnTo>
                    <a:pt x="331470" y="783907"/>
                  </a:lnTo>
                  <a:lnTo>
                    <a:pt x="323850" y="756285"/>
                  </a:lnTo>
                  <a:lnTo>
                    <a:pt x="315278" y="749617"/>
                  </a:lnTo>
                  <a:lnTo>
                    <a:pt x="282893" y="742950"/>
                  </a:lnTo>
                  <a:lnTo>
                    <a:pt x="273368" y="739140"/>
                  </a:lnTo>
                  <a:lnTo>
                    <a:pt x="266700" y="730567"/>
                  </a:lnTo>
                  <a:lnTo>
                    <a:pt x="258128" y="717232"/>
                  </a:lnTo>
                  <a:lnTo>
                    <a:pt x="251460" y="701992"/>
                  </a:lnTo>
                  <a:lnTo>
                    <a:pt x="248603" y="689610"/>
                  </a:lnTo>
                  <a:lnTo>
                    <a:pt x="245745" y="674370"/>
                  </a:lnTo>
                  <a:lnTo>
                    <a:pt x="242888" y="667702"/>
                  </a:lnTo>
                  <a:lnTo>
                    <a:pt x="243840" y="663892"/>
                  </a:lnTo>
                  <a:lnTo>
                    <a:pt x="270510" y="664845"/>
                  </a:lnTo>
                  <a:lnTo>
                    <a:pt x="278130" y="661988"/>
                  </a:lnTo>
                  <a:lnTo>
                    <a:pt x="282893" y="657225"/>
                  </a:lnTo>
                  <a:lnTo>
                    <a:pt x="291465" y="650557"/>
                  </a:lnTo>
                  <a:lnTo>
                    <a:pt x="296228" y="649605"/>
                  </a:lnTo>
                  <a:lnTo>
                    <a:pt x="300038" y="648652"/>
                  </a:lnTo>
                  <a:lnTo>
                    <a:pt x="305753" y="649605"/>
                  </a:lnTo>
                  <a:lnTo>
                    <a:pt x="314325" y="655320"/>
                  </a:lnTo>
                  <a:lnTo>
                    <a:pt x="320993" y="657225"/>
                  </a:lnTo>
                  <a:lnTo>
                    <a:pt x="326707" y="657225"/>
                  </a:lnTo>
                  <a:lnTo>
                    <a:pt x="342900" y="652463"/>
                  </a:lnTo>
                  <a:lnTo>
                    <a:pt x="352425" y="648652"/>
                  </a:lnTo>
                  <a:lnTo>
                    <a:pt x="356235" y="645795"/>
                  </a:lnTo>
                  <a:lnTo>
                    <a:pt x="359093" y="641985"/>
                  </a:lnTo>
                  <a:lnTo>
                    <a:pt x="360998" y="639127"/>
                  </a:lnTo>
                  <a:lnTo>
                    <a:pt x="365760" y="629602"/>
                  </a:lnTo>
                  <a:lnTo>
                    <a:pt x="371475" y="615315"/>
                  </a:lnTo>
                  <a:lnTo>
                    <a:pt x="372428" y="611505"/>
                  </a:lnTo>
                  <a:lnTo>
                    <a:pt x="374332" y="607695"/>
                  </a:lnTo>
                  <a:lnTo>
                    <a:pt x="379095" y="603885"/>
                  </a:lnTo>
                  <a:lnTo>
                    <a:pt x="381953" y="601980"/>
                  </a:lnTo>
                  <a:lnTo>
                    <a:pt x="385763" y="600075"/>
                  </a:lnTo>
                  <a:lnTo>
                    <a:pt x="392430" y="599122"/>
                  </a:lnTo>
                  <a:lnTo>
                    <a:pt x="398145" y="599122"/>
                  </a:lnTo>
                  <a:lnTo>
                    <a:pt x="428625" y="610552"/>
                  </a:lnTo>
                  <a:lnTo>
                    <a:pt x="442913" y="611505"/>
                  </a:lnTo>
                  <a:lnTo>
                    <a:pt x="446723" y="610552"/>
                  </a:lnTo>
                  <a:lnTo>
                    <a:pt x="449580" y="608647"/>
                  </a:lnTo>
                  <a:lnTo>
                    <a:pt x="450532" y="606742"/>
                  </a:lnTo>
                  <a:lnTo>
                    <a:pt x="457200" y="587692"/>
                  </a:lnTo>
                  <a:lnTo>
                    <a:pt x="459105" y="583882"/>
                  </a:lnTo>
                  <a:lnTo>
                    <a:pt x="462915" y="579120"/>
                  </a:lnTo>
                  <a:lnTo>
                    <a:pt x="466725" y="577215"/>
                  </a:lnTo>
                  <a:lnTo>
                    <a:pt x="484823" y="572452"/>
                  </a:lnTo>
                  <a:lnTo>
                    <a:pt x="496253" y="571500"/>
                  </a:lnTo>
                  <a:lnTo>
                    <a:pt x="499110" y="571500"/>
                  </a:lnTo>
                  <a:lnTo>
                    <a:pt x="501015" y="572452"/>
                  </a:lnTo>
                  <a:lnTo>
                    <a:pt x="502920" y="574357"/>
                  </a:lnTo>
                  <a:lnTo>
                    <a:pt x="505778" y="581977"/>
                  </a:lnTo>
                  <a:lnTo>
                    <a:pt x="509588" y="583882"/>
                  </a:lnTo>
                  <a:lnTo>
                    <a:pt x="514350" y="584835"/>
                  </a:lnTo>
                  <a:lnTo>
                    <a:pt x="533400" y="582930"/>
                  </a:lnTo>
                  <a:lnTo>
                    <a:pt x="537210" y="581977"/>
                  </a:lnTo>
                  <a:lnTo>
                    <a:pt x="540068" y="580072"/>
                  </a:lnTo>
                  <a:lnTo>
                    <a:pt x="542925" y="576263"/>
                  </a:lnTo>
                  <a:lnTo>
                    <a:pt x="544830" y="569595"/>
                  </a:lnTo>
                  <a:lnTo>
                    <a:pt x="544830" y="566738"/>
                  </a:lnTo>
                  <a:lnTo>
                    <a:pt x="544830" y="555307"/>
                  </a:lnTo>
                  <a:lnTo>
                    <a:pt x="545782" y="551497"/>
                  </a:lnTo>
                  <a:lnTo>
                    <a:pt x="547688" y="550545"/>
                  </a:lnTo>
                  <a:lnTo>
                    <a:pt x="550545" y="550545"/>
                  </a:lnTo>
                  <a:lnTo>
                    <a:pt x="552450" y="551497"/>
                  </a:lnTo>
                  <a:lnTo>
                    <a:pt x="556260" y="555307"/>
                  </a:lnTo>
                  <a:lnTo>
                    <a:pt x="558165" y="556260"/>
                  </a:lnTo>
                  <a:lnTo>
                    <a:pt x="562928" y="557213"/>
                  </a:lnTo>
                  <a:lnTo>
                    <a:pt x="564832" y="558165"/>
                  </a:lnTo>
                  <a:lnTo>
                    <a:pt x="568643" y="560070"/>
                  </a:lnTo>
                  <a:lnTo>
                    <a:pt x="574357" y="561022"/>
                  </a:lnTo>
                  <a:lnTo>
                    <a:pt x="595313" y="561022"/>
                  </a:lnTo>
                  <a:lnTo>
                    <a:pt x="599123" y="561975"/>
                  </a:lnTo>
                  <a:lnTo>
                    <a:pt x="602932" y="564832"/>
                  </a:lnTo>
                  <a:lnTo>
                    <a:pt x="605790" y="566738"/>
                  </a:lnTo>
                  <a:lnTo>
                    <a:pt x="617220" y="570547"/>
                  </a:lnTo>
                  <a:lnTo>
                    <a:pt x="620078" y="571500"/>
                  </a:lnTo>
                  <a:lnTo>
                    <a:pt x="622935" y="575310"/>
                  </a:lnTo>
                  <a:lnTo>
                    <a:pt x="626745" y="581977"/>
                  </a:lnTo>
                  <a:lnTo>
                    <a:pt x="629603" y="585788"/>
                  </a:lnTo>
                  <a:lnTo>
                    <a:pt x="631507" y="587692"/>
                  </a:lnTo>
                  <a:lnTo>
                    <a:pt x="635318" y="589597"/>
                  </a:lnTo>
                  <a:lnTo>
                    <a:pt x="641032" y="589597"/>
                  </a:lnTo>
                  <a:lnTo>
                    <a:pt x="669607" y="585788"/>
                  </a:lnTo>
                  <a:lnTo>
                    <a:pt x="695325" y="586740"/>
                  </a:lnTo>
                  <a:lnTo>
                    <a:pt x="698182" y="585788"/>
                  </a:lnTo>
                  <a:lnTo>
                    <a:pt x="702945" y="582930"/>
                  </a:lnTo>
                  <a:lnTo>
                    <a:pt x="743903" y="568642"/>
                  </a:lnTo>
                  <a:lnTo>
                    <a:pt x="752475" y="563880"/>
                  </a:lnTo>
                  <a:lnTo>
                    <a:pt x="758190" y="560070"/>
                  </a:lnTo>
                  <a:lnTo>
                    <a:pt x="756285" y="558165"/>
                  </a:lnTo>
                  <a:lnTo>
                    <a:pt x="754380" y="557213"/>
                  </a:lnTo>
                  <a:lnTo>
                    <a:pt x="749618" y="558165"/>
                  </a:lnTo>
                  <a:lnTo>
                    <a:pt x="746760" y="557213"/>
                  </a:lnTo>
                  <a:lnTo>
                    <a:pt x="741998" y="554355"/>
                  </a:lnTo>
                  <a:lnTo>
                    <a:pt x="738188" y="553402"/>
                  </a:lnTo>
                  <a:lnTo>
                    <a:pt x="709613" y="556260"/>
                  </a:lnTo>
                  <a:lnTo>
                    <a:pt x="697230" y="555307"/>
                  </a:lnTo>
                  <a:lnTo>
                    <a:pt x="693420" y="553402"/>
                  </a:lnTo>
                  <a:lnTo>
                    <a:pt x="689610" y="551497"/>
                  </a:lnTo>
                  <a:lnTo>
                    <a:pt x="687705" y="549592"/>
                  </a:lnTo>
                  <a:lnTo>
                    <a:pt x="686753" y="546735"/>
                  </a:lnTo>
                  <a:lnTo>
                    <a:pt x="686753" y="543877"/>
                  </a:lnTo>
                  <a:lnTo>
                    <a:pt x="689610" y="540067"/>
                  </a:lnTo>
                  <a:lnTo>
                    <a:pt x="692468" y="539115"/>
                  </a:lnTo>
                  <a:lnTo>
                    <a:pt x="743903" y="530542"/>
                  </a:lnTo>
                  <a:lnTo>
                    <a:pt x="748665" y="528638"/>
                  </a:lnTo>
                  <a:lnTo>
                    <a:pt x="760095" y="515302"/>
                  </a:lnTo>
                  <a:lnTo>
                    <a:pt x="767715" y="511492"/>
                  </a:lnTo>
                  <a:lnTo>
                    <a:pt x="788670" y="505777"/>
                  </a:lnTo>
                  <a:lnTo>
                    <a:pt x="794385" y="502920"/>
                  </a:lnTo>
                  <a:lnTo>
                    <a:pt x="797243" y="499110"/>
                  </a:lnTo>
                  <a:lnTo>
                    <a:pt x="796290" y="497205"/>
                  </a:lnTo>
                  <a:lnTo>
                    <a:pt x="793432" y="493395"/>
                  </a:lnTo>
                  <a:lnTo>
                    <a:pt x="789623" y="491490"/>
                  </a:lnTo>
                  <a:lnTo>
                    <a:pt x="770573" y="491490"/>
                  </a:lnTo>
                  <a:lnTo>
                    <a:pt x="768668" y="490538"/>
                  </a:lnTo>
                  <a:lnTo>
                    <a:pt x="764857" y="486727"/>
                  </a:lnTo>
                  <a:lnTo>
                    <a:pt x="762953" y="481965"/>
                  </a:lnTo>
                  <a:lnTo>
                    <a:pt x="762953" y="476250"/>
                  </a:lnTo>
                  <a:lnTo>
                    <a:pt x="762000" y="467677"/>
                  </a:lnTo>
                  <a:lnTo>
                    <a:pt x="762953" y="463867"/>
                  </a:lnTo>
                  <a:lnTo>
                    <a:pt x="764857" y="460057"/>
                  </a:lnTo>
                  <a:lnTo>
                    <a:pt x="770573" y="455295"/>
                  </a:lnTo>
                  <a:lnTo>
                    <a:pt x="775335" y="453390"/>
                  </a:lnTo>
                  <a:lnTo>
                    <a:pt x="779145" y="456247"/>
                  </a:lnTo>
                  <a:lnTo>
                    <a:pt x="782003" y="460057"/>
                  </a:lnTo>
                  <a:lnTo>
                    <a:pt x="784860" y="463867"/>
                  </a:lnTo>
                  <a:lnTo>
                    <a:pt x="787718" y="466725"/>
                  </a:lnTo>
                  <a:lnTo>
                    <a:pt x="802005" y="476250"/>
                  </a:lnTo>
                  <a:lnTo>
                    <a:pt x="802957" y="475297"/>
                  </a:lnTo>
                  <a:lnTo>
                    <a:pt x="802957" y="470535"/>
                  </a:lnTo>
                  <a:lnTo>
                    <a:pt x="803910" y="466725"/>
                  </a:lnTo>
                  <a:lnTo>
                    <a:pt x="805815" y="463867"/>
                  </a:lnTo>
                  <a:lnTo>
                    <a:pt x="815340" y="453390"/>
                  </a:lnTo>
                  <a:lnTo>
                    <a:pt x="819150" y="446722"/>
                  </a:lnTo>
                  <a:lnTo>
                    <a:pt x="821055" y="441007"/>
                  </a:lnTo>
                  <a:lnTo>
                    <a:pt x="821055" y="439102"/>
                  </a:lnTo>
                  <a:lnTo>
                    <a:pt x="820103" y="436245"/>
                  </a:lnTo>
                  <a:lnTo>
                    <a:pt x="796290" y="413385"/>
                  </a:lnTo>
                  <a:lnTo>
                    <a:pt x="765810" y="395288"/>
                  </a:lnTo>
                  <a:lnTo>
                    <a:pt x="760095" y="394335"/>
                  </a:lnTo>
                  <a:lnTo>
                    <a:pt x="752475" y="395288"/>
                  </a:lnTo>
                  <a:lnTo>
                    <a:pt x="749618" y="395288"/>
                  </a:lnTo>
                  <a:lnTo>
                    <a:pt x="747713" y="393382"/>
                  </a:lnTo>
                  <a:lnTo>
                    <a:pt x="746760" y="391477"/>
                  </a:lnTo>
                  <a:lnTo>
                    <a:pt x="745807" y="383857"/>
                  </a:lnTo>
                  <a:lnTo>
                    <a:pt x="744855" y="378142"/>
                  </a:lnTo>
                  <a:lnTo>
                    <a:pt x="743903" y="373380"/>
                  </a:lnTo>
                  <a:lnTo>
                    <a:pt x="745807" y="367665"/>
                  </a:lnTo>
                  <a:lnTo>
                    <a:pt x="755332" y="355282"/>
                  </a:lnTo>
                  <a:lnTo>
                    <a:pt x="768668" y="325755"/>
                  </a:lnTo>
                  <a:lnTo>
                    <a:pt x="773430" y="312420"/>
                  </a:lnTo>
                  <a:lnTo>
                    <a:pt x="776288" y="308610"/>
                  </a:lnTo>
                  <a:lnTo>
                    <a:pt x="779145" y="307657"/>
                  </a:lnTo>
                  <a:lnTo>
                    <a:pt x="781050" y="308610"/>
                  </a:lnTo>
                  <a:lnTo>
                    <a:pt x="786765" y="315277"/>
                  </a:lnTo>
                  <a:lnTo>
                    <a:pt x="787718" y="316230"/>
                  </a:lnTo>
                  <a:lnTo>
                    <a:pt x="800100" y="316230"/>
                  </a:lnTo>
                  <a:lnTo>
                    <a:pt x="807720" y="315277"/>
                  </a:lnTo>
                  <a:lnTo>
                    <a:pt x="811530" y="313372"/>
                  </a:lnTo>
                  <a:lnTo>
                    <a:pt x="814388" y="311467"/>
                  </a:lnTo>
                  <a:lnTo>
                    <a:pt x="829628" y="293370"/>
                  </a:lnTo>
                  <a:lnTo>
                    <a:pt x="833438" y="291465"/>
                  </a:lnTo>
                  <a:lnTo>
                    <a:pt x="836295" y="290513"/>
                  </a:lnTo>
                  <a:lnTo>
                    <a:pt x="839153" y="291465"/>
                  </a:lnTo>
                  <a:lnTo>
                    <a:pt x="845820" y="295275"/>
                  </a:lnTo>
                  <a:lnTo>
                    <a:pt x="848678" y="296227"/>
                  </a:lnTo>
                  <a:lnTo>
                    <a:pt x="852488" y="296227"/>
                  </a:lnTo>
                  <a:lnTo>
                    <a:pt x="855345" y="294322"/>
                  </a:lnTo>
                  <a:lnTo>
                    <a:pt x="856298" y="291465"/>
                  </a:lnTo>
                  <a:lnTo>
                    <a:pt x="858203" y="285750"/>
                  </a:lnTo>
                  <a:lnTo>
                    <a:pt x="861060" y="279082"/>
                  </a:lnTo>
                  <a:lnTo>
                    <a:pt x="861060" y="277177"/>
                  </a:lnTo>
                  <a:lnTo>
                    <a:pt x="860107" y="274320"/>
                  </a:lnTo>
                  <a:lnTo>
                    <a:pt x="848678" y="254317"/>
                  </a:lnTo>
                  <a:lnTo>
                    <a:pt x="845820" y="246697"/>
                  </a:lnTo>
                  <a:lnTo>
                    <a:pt x="843915" y="241935"/>
                  </a:lnTo>
                  <a:lnTo>
                    <a:pt x="843915" y="236220"/>
                  </a:lnTo>
                  <a:lnTo>
                    <a:pt x="844868" y="229552"/>
                  </a:lnTo>
                  <a:lnTo>
                    <a:pt x="847725" y="220027"/>
                  </a:lnTo>
                  <a:lnTo>
                    <a:pt x="852488" y="205740"/>
                  </a:lnTo>
                  <a:lnTo>
                    <a:pt x="854393" y="199072"/>
                  </a:lnTo>
                  <a:lnTo>
                    <a:pt x="854393" y="194310"/>
                  </a:lnTo>
                  <a:lnTo>
                    <a:pt x="854393" y="189547"/>
                  </a:lnTo>
                  <a:lnTo>
                    <a:pt x="852488" y="181927"/>
                  </a:lnTo>
                  <a:lnTo>
                    <a:pt x="841057" y="156210"/>
                  </a:lnTo>
                  <a:lnTo>
                    <a:pt x="840105" y="154305"/>
                  </a:lnTo>
                  <a:lnTo>
                    <a:pt x="837248" y="153352"/>
                  </a:lnTo>
                  <a:lnTo>
                    <a:pt x="835343" y="152400"/>
                  </a:lnTo>
                  <a:lnTo>
                    <a:pt x="817245" y="152400"/>
                  </a:lnTo>
                  <a:lnTo>
                    <a:pt x="811530" y="150495"/>
                  </a:lnTo>
                  <a:lnTo>
                    <a:pt x="807720" y="146685"/>
                  </a:lnTo>
                  <a:lnTo>
                    <a:pt x="804863" y="142875"/>
                  </a:lnTo>
                  <a:lnTo>
                    <a:pt x="802957" y="138113"/>
                  </a:lnTo>
                  <a:lnTo>
                    <a:pt x="802957" y="136207"/>
                  </a:lnTo>
                  <a:lnTo>
                    <a:pt x="805815" y="129540"/>
                  </a:lnTo>
                  <a:lnTo>
                    <a:pt x="813435" y="118110"/>
                  </a:lnTo>
                  <a:lnTo>
                    <a:pt x="815340" y="114300"/>
                  </a:lnTo>
                  <a:lnTo>
                    <a:pt x="817245" y="107632"/>
                  </a:lnTo>
                  <a:lnTo>
                    <a:pt x="818198" y="102870"/>
                  </a:lnTo>
                  <a:lnTo>
                    <a:pt x="820103" y="101917"/>
                  </a:lnTo>
                  <a:lnTo>
                    <a:pt x="822007" y="102870"/>
                  </a:lnTo>
                  <a:lnTo>
                    <a:pt x="822960" y="104775"/>
                  </a:lnTo>
                  <a:lnTo>
                    <a:pt x="828675" y="116205"/>
                  </a:lnTo>
                  <a:lnTo>
                    <a:pt x="831532" y="126682"/>
                  </a:lnTo>
                  <a:lnTo>
                    <a:pt x="832485" y="128588"/>
                  </a:lnTo>
                  <a:lnTo>
                    <a:pt x="833438" y="130492"/>
                  </a:lnTo>
                  <a:lnTo>
                    <a:pt x="839153" y="132397"/>
                  </a:lnTo>
                  <a:lnTo>
                    <a:pt x="849630" y="131445"/>
                  </a:lnTo>
                  <a:lnTo>
                    <a:pt x="854393" y="129540"/>
                  </a:lnTo>
                  <a:lnTo>
                    <a:pt x="856298" y="127635"/>
                  </a:lnTo>
                  <a:lnTo>
                    <a:pt x="857250" y="124777"/>
                  </a:lnTo>
                  <a:lnTo>
                    <a:pt x="857250" y="119063"/>
                  </a:lnTo>
                  <a:lnTo>
                    <a:pt x="853440" y="110490"/>
                  </a:lnTo>
                  <a:lnTo>
                    <a:pt x="852488" y="104775"/>
                  </a:lnTo>
                  <a:lnTo>
                    <a:pt x="852488" y="100965"/>
                  </a:lnTo>
                  <a:lnTo>
                    <a:pt x="853440" y="94297"/>
                  </a:lnTo>
                  <a:lnTo>
                    <a:pt x="855345" y="88582"/>
                  </a:lnTo>
                  <a:lnTo>
                    <a:pt x="855345" y="81915"/>
                  </a:lnTo>
                  <a:lnTo>
                    <a:pt x="853440" y="78105"/>
                  </a:lnTo>
                  <a:lnTo>
                    <a:pt x="851535" y="72390"/>
                  </a:lnTo>
                  <a:lnTo>
                    <a:pt x="847725" y="64770"/>
                  </a:lnTo>
                  <a:lnTo>
                    <a:pt x="847725" y="60007"/>
                  </a:lnTo>
                  <a:lnTo>
                    <a:pt x="847725" y="57150"/>
                  </a:lnTo>
                  <a:lnTo>
                    <a:pt x="851535" y="48577"/>
                  </a:lnTo>
                  <a:lnTo>
                    <a:pt x="851535" y="45720"/>
                  </a:lnTo>
                  <a:lnTo>
                    <a:pt x="849630" y="40957"/>
                  </a:lnTo>
                  <a:lnTo>
                    <a:pt x="846773" y="38100"/>
                  </a:lnTo>
                  <a:lnTo>
                    <a:pt x="839153" y="31432"/>
                  </a:lnTo>
                  <a:lnTo>
                    <a:pt x="836295" y="26670"/>
                  </a:lnTo>
                  <a:lnTo>
                    <a:pt x="835343" y="21907"/>
                  </a:lnTo>
                  <a:lnTo>
                    <a:pt x="834390" y="16192"/>
                  </a:lnTo>
                  <a:lnTo>
                    <a:pt x="835343" y="6667"/>
                  </a:lnTo>
                  <a:lnTo>
                    <a:pt x="836295" y="0"/>
                  </a:lnTo>
                  <a:lnTo>
                    <a:pt x="876300" y="11430"/>
                  </a:lnTo>
                  <a:lnTo>
                    <a:pt x="879157" y="12382"/>
                  </a:lnTo>
                  <a:lnTo>
                    <a:pt x="886778" y="19050"/>
                  </a:lnTo>
                  <a:lnTo>
                    <a:pt x="890588" y="22860"/>
                  </a:lnTo>
                  <a:lnTo>
                    <a:pt x="929640" y="30480"/>
                  </a:lnTo>
                  <a:lnTo>
                    <a:pt x="938213" y="34290"/>
                  </a:lnTo>
                  <a:lnTo>
                    <a:pt x="943928" y="37147"/>
                  </a:lnTo>
                  <a:lnTo>
                    <a:pt x="945832" y="41910"/>
                  </a:lnTo>
                  <a:lnTo>
                    <a:pt x="947738" y="49530"/>
                  </a:lnTo>
                  <a:lnTo>
                    <a:pt x="949643" y="54292"/>
                  </a:lnTo>
                  <a:lnTo>
                    <a:pt x="950595" y="56197"/>
                  </a:lnTo>
                  <a:lnTo>
                    <a:pt x="954405" y="60007"/>
                  </a:lnTo>
                  <a:lnTo>
                    <a:pt x="959168" y="64770"/>
                  </a:lnTo>
                  <a:lnTo>
                    <a:pt x="964882" y="67627"/>
                  </a:lnTo>
                  <a:lnTo>
                    <a:pt x="967740" y="68580"/>
                  </a:lnTo>
                  <a:lnTo>
                    <a:pt x="971550" y="68580"/>
                  </a:lnTo>
                  <a:lnTo>
                    <a:pt x="974407" y="65722"/>
                  </a:lnTo>
                  <a:lnTo>
                    <a:pt x="976313" y="63817"/>
                  </a:lnTo>
                  <a:lnTo>
                    <a:pt x="977265" y="59055"/>
                  </a:lnTo>
                  <a:lnTo>
                    <a:pt x="980123" y="54292"/>
                  </a:lnTo>
                  <a:lnTo>
                    <a:pt x="983932" y="52388"/>
                  </a:lnTo>
                  <a:lnTo>
                    <a:pt x="1040130" y="40957"/>
                  </a:lnTo>
                  <a:lnTo>
                    <a:pt x="1044893" y="39052"/>
                  </a:lnTo>
                  <a:lnTo>
                    <a:pt x="1048703" y="35242"/>
                  </a:lnTo>
                  <a:lnTo>
                    <a:pt x="1049655" y="32385"/>
                  </a:lnTo>
                  <a:lnTo>
                    <a:pt x="1049655" y="26670"/>
                  </a:lnTo>
                  <a:lnTo>
                    <a:pt x="1047750" y="19050"/>
                  </a:lnTo>
                  <a:lnTo>
                    <a:pt x="1048703" y="16192"/>
                  </a:lnTo>
                  <a:lnTo>
                    <a:pt x="1049655" y="14288"/>
                  </a:lnTo>
                  <a:lnTo>
                    <a:pt x="1054418" y="12382"/>
                  </a:lnTo>
                  <a:lnTo>
                    <a:pt x="1085850" y="5715"/>
                  </a:lnTo>
                  <a:lnTo>
                    <a:pt x="1088707" y="6667"/>
                  </a:lnTo>
                  <a:lnTo>
                    <a:pt x="1092518" y="7620"/>
                  </a:lnTo>
                  <a:lnTo>
                    <a:pt x="1096328" y="11430"/>
                  </a:lnTo>
                  <a:lnTo>
                    <a:pt x="1098232" y="14288"/>
                  </a:lnTo>
                  <a:lnTo>
                    <a:pt x="1099185" y="18097"/>
                  </a:lnTo>
                  <a:lnTo>
                    <a:pt x="1099185" y="20002"/>
                  </a:lnTo>
                  <a:lnTo>
                    <a:pt x="1094423" y="29527"/>
                  </a:lnTo>
                  <a:lnTo>
                    <a:pt x="1092518" y="35242"/>
                  </a:lnTo>
                  <a:lnTo>
                    <a:pt x="1092518" y="38100"/>
                  </a:lnTo>
                  <a:lnTo>
                    <a:pt x="1094423" y="42863"/>
                  </a:lnTo>
                  <a:lnTo>
                    <a:pt x="1097280" y="53340"/>
                  </a:lnTo>
                  <a:lnTo>
                    <a:pt x="1099185" y="55245"/>
                  </a:lnTo>
                  <a:lnTo>
                    <a:pt x="1102043" y="56197"/>
                  </a:lnTo>
                  <a:lnTo>
                    <a:pt x="1114425" y="55245"/>
                  </a:lnTo>
                  <a:lnTo>
                    <a:pt x="1118235" y="55245"/>
                  </a:lnTo>
                  <a:lnTo>
                    <a:pt x="1121093" y="58102"/>
                  </a:lnTo>
                  <a:lnTo>
                    <a:pt x="1123950" y="62865"/>
                  </a:lnTo>
                  <a:lnTo>
                    <a:pt x="1126807" y="71438"/>
                  </a:lnTo>
                  <a:lnTo>
                    <a:pt x="1127760" y="73342"/>
                  </a:lnTo>
                  <a:lnTo>
                    <a:pt x="1134428" y="75247"/>
                  </a:lnTo>
                  <a:lnTo>
                    <a:pt x="1185863" y="71438"/>
                  </a:lnTo>
                  <a:lnTo>
                    <a:pt x="1252538" y="53340"/>
                  </a:lnTo>
                  <a:lnTo>
                    <a:pt x="1264920" y="53340"/>
                  </a:lnTo>
                  <a:lnTo>
                    <a:pt x="1346835" y="80010"/>
                  </a:lnTo>
                  <a:lnTo>
                    <a:pt x="1399223" y="84772"/>
                  </a:lnTo>
                  <a:lnTo>
                    <a:pt x="1423988" y="80963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7" name="Полилиния: фигура 29">
              <a:extLst>
                <a:ext uri="{FF2B5EF4-FFF2-40B4-BE49-F238E27FC236}">
                  <a16:creationId xmlns:a16="http://schemas.microsoft.com/office/drawing/2014/main" id="{34533BD3-ABF2-6225-3155-BB303083D496}"/>
                </a:ext>
              </a:extLst>
            </p:cNvPr>
            <p:cNvSpPr/>
            <p:nvPr/>
          </p:nvSpPr>
          <p:spPr>
            <a:xfrm>
              <a:off x="7269480" y="6260782"/>
              <a:ext cx="247650" cy="333375"/>
            </a:xfrm>
            <a:custGeom>
              <a:avLst/>
              <a:gdLst>
                <a:gd name="connsiteX0" fmla="*/ 188595 w 247650"/>
                <a:gd name="connsiteY0" fmla="*/ 337185 h 333375"/>
                <a:gd name="connsiteX1" fmla="*/ 183832 w 247650"/>
                <a:gd name="connsiteY1" fmla="*/ 336232 h 333375"/>
                <a:gd name="connsiteX2" fmla="*/ 144780 w 247650"/>
                <a:gd name="connsiteY2" fmla="*/ 317182 h 333375"/>
                <a:gd name="connsiteX3" fmla="*/ 137160 w 247650"/>
                <a:gd name="connsiteY3" fmla="*/ 310515 h 333375"/>
                <a:gd name="connsiteX4" fmla="*/ 134302 w 247650"/>
                <a:gd name="connsiteY4" fmla="*/ 296228 h 333375"/>
                <a:gd name="connsiteX5" fmla="*/ 131445 w 247650"/>
                <a:gd name="connsiteY5" fmla="*/ 289560 h 333375"/>
                <a:gd name="connsiteX6" fmla="*/ 115252 w 247650"/>
                <a:gd name="connsiteY6" fmla="*/ 268605 h 333375"/>
                <a:gd name="connsiteX7" fmla="*/ 109538 w 247650"/>
                <a:gd name="connsiteY7" fmla="*/ 263843 h 333375"/>
                <a:gd name="connsiteX8" fmla="*/ 100013 w 247650"/>
                <a:gd name="connsiteY8" fmla="*/ 264795 h 333375"/>
                <a:gd name="connsiteX9" fmla="*/ 88582 w 247650"/>
                <a:gd name="connsiteY9" fmla="*/ 267653 h 333375"/>
                <a:gd name="connsiteX10" fmla="*/ 77152 w 247650"/>
                <a:gd name="connsiteY10" fmla="*/ 268605 h 333375"/>
                <a:gd name="connsiteX11" fmla="*/ 67627 w 247650"/>
                <a:gd name="connsiteY11" fmla="*/ 260985 h 333375"/>
                <a:gd name="connsiteX12" fmla="*/ 60960 w 247650"/>
                <a:gd name="connsiteY12" fmla="*/ 254318 h 333375"/>
                <a:gd name="connsiteX13" fmla="*/ 3810 w 247650"/>
                <a:gd name="connsiteY13" fmla="*/ 214313 h 333375"/>
                <a:gd name="connsiteX14" fmla="*/ 0 w 247650"/>
                <a:gd name="connsiteY14" fmla="*/ 204788 h 333375"/>
                <a:gd name="connsiteX15" fmla="*/ 0 w 247650"/>
                <a:gd name="connsiteY15" fmla="*/ 196215 h 333375"/>
                <a:gd name="connsiteX16" fmla="*/ 1905 w 247650"/>
                <a:gd name="connsiteY16" fmla="*/ 198120 h 333375"/>
                <a:gd name="connsiteX17" fmla="*/ 18097 w 247650"/>
                <a:gd name="connsiteY17" fmla="*/ 195263 h 333375"/>
                <a:gd name="connsiteX18" fmla="*/ 21907 w 247650"/>
                <a:gd name="connsiteY18" fmla="*/ 192405 h 333375"/>
                <a:gd name="connsiteX19" fmla="*/ 34290 w 247650"/>
                <a:gd name="connsiteY19" fmla="*/ 183832 h 333375"/>
                <a:gd name="connsiteX20" fmla="*/ 39052 w 247650"/>
                <a:gd name="connsiteY20" fmla="*/ 182880 h 333375"/>
                <a:gd name="connsiteX21" fmla="*/ 50482 w 247650"/>
                <a:gd name="connsiteY21" fmla="*/ 182880 h 333375"/>
                <a:gd name="connsiteX22" fmla="*/ 56197 w 247650"/>
                <a:gd name="connsiteY22" fmla="*/ 182880 h 333375"/>
                <a:gd name="connsiteX23" fmla="*/ 60007 w 247650"/>
                <a:gd name="connsiteY23" fmla="*/ 180023 h 333375"/>
                <a:gd name="connsiteX24" fmla="*/ 67627 w 247650"/>
                <a:gd name="connsiteY24" fmla="*/ 177165 h 333375"/>
                <a:gd name="connsiteX25" fmla="*/ 94297 w 247650"/>
                <a:gd name="connsiteY25" fmla="*/ 177165 h 333375"/>
                <a:gd name="connsiteX26" fmla="*/ 105727 w 247650"/>
                <a:gd name="connsiteY26" fmla="*/ 172403 h 333375"/>
                <a:gd name="connsiteX27" fmla="*/ 98107 w 247650"/>
                <a:gd name="connsiteY27" fmla="*/ 169545 h 333375"/>
                <a:gd name="connsiteX28" fmla="*/ 80963 w 247650"/>
                <a:gd name="connsiteY28" fmla="*/ 166688 h 333375"/>
                <a:gd name="connsiteX29" fmla="*/ 76200 w 247650"/>
                <a:gd name="connsiteY29" fmla="*/ 161925 h 333375"/>
                <a:gd name="connsiteX30" fmla="*/ 75247 w 247650"/>
                <a:gd name="connsiteY30" fmla="*/ 151448 h 333375"/>
                <a:gd name="connsiteX31" fmla="*/ 80010 w 247650"/>
                <a:gd name="connsiteY31" fmla="*/ 141923 h 333375"/>
                <a:gd name="connsiteX32" fmla="*/ 86677 w 247650"/>
                <a:gd name="connsiteY32" fmla="*/ 134303 h 333375"/>
                <a:gd name="connsiteX33" fmla="*/ 91440 w 247650"/>
                <a:gd name="connsiteY33" fmla="*/ 126682 h 333375"/>
                <a:gd name="connsiteX34" fmla="*/ 93345 w 247650"/>
                <a:gd name="connsiteY34" fmla="*/ 114300 h 333375"/>
                <a:gd name="connsiteX35" fmla="*/ 92393 w 247650"/>
                <a:gd name="connsiteY35" fmla="*/ 106680 h 333375"/>
                <a:gd name="connsiteX36" fmla="*/ 86677 w 247650"/>
                <a:gd name="connsiteY36" fmla="*/ 91440 h 333375"/>
                <a:gd name="connsiteX37" fmla="*/ 83820 w 247650"/>
                <a:gd name="connsiteY37" fmla="*/ 70485 h 333375"/>
                <a:gd name="connsiteX38" fmla="*/ 80963 w 247650"/>
                <a:gd name="connsiteY38" fmla="*/ 60007 h 333375"/>
                <a:gd name="connsiteX39" fmla="*/ 76200 w 247650"/>
                <a:gd name="connsiteY39" fmla="*/ 50482 h 333375"/>
                <a:gd name="connsiteX40" fmla="*/ 80963 w 247650"/>
                <a:gd name="connsiteY40" fmla="*/ 46673 h 333375"/>
                <a:gd name="connsiteX41" fmla="*/ 81915 w 247650"/>
                <a:gd name="connsiteY41" fmla="*/ 43815 h 333375"/>
                <a:gd name="connsiteX42" fmla="*/ 83820 w 247650"/>
                <a:gd name="connsiteY42" fmla="*/ 40005 h 333375"/>
                <a:gd name="connsiteX43" fmla="*/ 87630 w 247650"/>
                <a:gd name="connsiteY43" fmla="*/ 24765 h 333375"/>
                <a:gd name="connsiteX44" fmla="*/ 92393 w 247650"/>
                <a:gd name="connsiteY44" fmla="*/ 11430 h 333375"/>
                <a:gd name="connsiteX45" fmla="*/ 99060 w 247650"/>
                <a:gd name="connsiteY45" fmla="*/ 1905 h 333375"/>
                <a:gd name="connsiteX46" fmla="*/ 104775 w 247650"/>
                <a:gd name="connsiteY46" fmla="*/ 0 h 333375"/>
                <a:gd name="connsiteX47" fmla="*/ 110490 w 247650"/>
                <a:gd name="connsiteY47" fmla="*/ 24765 h 333375"/>
                <a:gd name="connsiteX48" fmla="*/ 129540 w 247650"/>
                <a:gd name="connsiteY48" fmla="*/ 26670 h 333375"/>
                <a:gd name="connsiteX49" fmla="*/ 160020 w 247650"/>
                <a:gd name="connsiteY49" fmla="*/ 45720 h 333375"/>
                <a:gd name="connsiteX50" fmla="*/ 167640 w 247650"/>
                <a:gd name="connsiteY50" fmla="*/ 73343 h 333375"/>
                <a:gd name="connsiteX51" fmla="*/ 126682 w 247650"/>
                <a:gd name="connsiteY51" fmla="*/ 98107 h 333375"/>
                <a:gd name="connsiteX52" fmla="*/ 133350 w 247650"/>
                <a:gd name="connsiteY52" fmla="*/ 141923 h 333375"/>
                <a:gd name="connsiteX53" fmla="*/ 178118 w 247650"/>
                <a:gd name="connsiteY53" fmla="*/ 138113 h 333375"/>
                <a:gd name="connsiteX54" fmla="*/ 200025 w 247650"/>
                <a:gd name="connsiteY54" fmla="*/ 169545 h 333375"/>
                <a:gd name="connsiteX55" fmla="*/ 180022 w 247650"/>
                <a:gd name="connsiteY55" fmla="*/ 200978 h 333375"/>
                <a:gd name="connsiteX56" fmla="*/ 188595 w 247650"/>
                <a:gd name="connsiteY56" fmla="*/ 221932 h 333375"/>
                <a:gd name="connsiteX57" fmla="*/ 209550 w 247650"/>
                <a:gd name="connsiteY57" fmla="*/ 220028 h 333375"/>
                <a:gd name="connsiteX58" fmla="*/ 214313 w 247650"/>
                <a:gd name="connsiteY58" fmla="*/ 238125 h 333375"/>
                <a:gd name="connsiteX59" fmla="*/ 228600 w 247650"/>
                <a:gd name="connsiteY59" fmla="*/ 241935 h 333375"/>
                <a:gd name="connsiteX60" fmla="*/ 248602 w 247650"/>
                <a:gd name="connsiteY60" fmla="*/ 294323 h 333375"/>
                <a:gd name="connsiteX61" fmla="*/ 253365 w 247650"/>
                <a:gd name="connsiteY61" fmla="*/ 312420 h 333375"/>
                <a:gd name="connsiteX62" fmla="*/ 218122 w 247650"/>
                <a:gd name="connsiteY62" fmla="*/ 317182 h 333375"/>
                <a:gd name="connsiteX63" fmla="*/ 208597 w 247650"/>
                <a:gd name="connsiteY63" fmla="*/ 321945 h 333375"/>
                <a:gd name="connsiteX64" fmla="*/ 207645 w 247650"/>
                <a:gd name="connsiteY64" fmla="*/ 331470 h 333375"/>
                <a:gd name="connsiteX65" fmla="*/ 188595 w 247650"/>
                <a:gd name="connsiteY65" fmla="*/ 337185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47650" h="333375">
                  <a:moveTo>
                    <a:pt x="188595" y="337185"/>
                  </a:moveTo>
                  <a:lnTo>
                    <a:pt x="183832" y="336232"/>
                  </a:lnTo>
                  <a:lnTo>
                    <a:pt x="144780" y="317182"/>
                  </a:lnTo>
                  <a:lnTo>
                    <a:pt x="137160" y="310515"/>
                  </a:lnTo>
                  <a:lnTo>
                    <a:pt x="134302" y="296228"/>
                  </a:lnTo>
                  <a:lnTo>
                    <a:pt x="131445" y="289560"/>
                  </a:lnTo>
                  <a:lnTo>
                    <a:pt x="115252" y="268605"/>
                  </a:lnTo>
                  <a:lnTo>
                    <a:pt x="109538" y="263843"/>
                  </a:lnTo>
                  <a:lnTo>
                    <a:pt x="100013" y="264795"/>
                  </a:lnTo>
                  <a:lnTo>
                    <a:pt x="88582" y="267653"/>
                  </a:lnTo>
                  <a:lnTo>
                    <a:pt x="77152" y="268605"/>
                  </a:lnTo>
                  <a:lnTo>
                    <a:pt x="67627" y="260985"/>
                  </a:lnTo>
                  <a:lnTo>
                    <a:pt x="60960" y="254318"/>
                  </a:lnTo>
                  <a:lnTo>
                    <a:pt x="3810" y="214313"/>
                  </a:lnTo>
                  <a:lnTo>
                    <a:pt x="0" y="204788"/>
                  </a:lnTo>
                  <a:lnTo>
                    <a:pt x="0" y="196215"/>
                  </a:lnTo>
                  <a:lnTo>
                    <a:pt x="1905" y="198120"/>
                  </a:lnTo>
                  <a:lnTo>
                    <a:pt x="18097" y="195263"/>
                  </a:lnTo>
                  <a:lnTo>
                    <a:pt x="21907" y="192405"/>
                  </a:lnTo>
                  <a:lnTo>
                    <a:pt x="34290" y="183832"/>
                  </a:lnTo>
                  <a:lnTo>
                    <a:pt x="39052" y="182880"/>
                  </a:lnTo>
                  <a:lnTo>
                    <a:pt x="50482" y="182880"/>
                  </a:lnTo>
                  <a:lnTo>
                    <a:pt x="56197" y="182880"/>
                  </a:lnTo>
                  <a:lnTo>
                    <a:pt x="60007" y="180023"/>
                  </a:lnTo>
                  <a:lnTo>
                    <a:pt x="67627" y="177165"/>
                  </a:lnTo>
                  <a:lnTo>
                    <a:pt x="94297" y="177165"/>
                  </a:lnTo>
                  <a:lnTo>
                    <a:pt x="105727" y="172403"/>
                  </a:lnTo>
                  <a:lnTo>
                    <a:pt x="98107" y="169545"/>
                  </a:lnTo>
                  <a:lnTo>
                    <a:pt x="80963" y="166688"/>
                  </a:lnTo>
                  <a:lnTo>
                    <a:pt x="76200" y="161925"/>
                  </a:lnTo>
                  <a:lnTo>
                    <a:pt x="75247" y="151448"/>
                  </a:lnTo>
                  <a:lnTo>
                    <a:pt x="80010" y="141923"/>
                  </a:lnTo>
                  <a:lnTo>
                    <a:pt x="86677" y="134303"/>
                  </a:lnTo>
                  <a:lnTo>
                    <a:pt x="91440" y="126682"/>
                  </a:lnTo>
                  <a:lnTo>
                    <a:pt x="93345" y="114300"/>
                  </a:lnTo>
                  <a:lnTo>
                    <a:pt x="92393" y="106680"/>
                  </a:lnTo>
                  <a:lnTo>
                    <a:pt x="86677" y="91440"/>
                  </a:lnTo>
                  <a:lnTo>
                    <a:pt x="83820" y="70485"/>
                  </a:lnTo>
                  <a:lnTo>
                    <a:pt x="80963" y="60007"/>
                  </a:lnTo>
                  <a:lnTo>
                    <a:pt x="76200" y="50482"/>
                  </a:lnTo>
                  <a:lnTo>
                    <a:pt x="80963" y="46673"/>
                  </a:lnTo>
                  <a:lnTo>
                    <a:pt x="81915" y="43815"/>
                  </a:lnTo>
                  <a:lnTo>
                    <a:pt x="83820" y="40005"/>
                  </a:lnTo>
                  <a:lnTo>
                    <a:pt x="87630" y="24765"/>
                  </a:lnTo>
                  <a:lnTo>
                    <a:pt x="92393" y="11430"/>
                  </a:lnTo>
                  <a:lnTo>
                    <a:pt x="99060" y="1905"/>
                  </a:lnTo>
                  <a:lnTo>
                    <a:pt x="104775" y="0"/>
                  </a:lnTo>
                  <a:lnTo>
                    <a:pt x="110490" y="24765"/>
                  </a:lnTo>
                  <a:lnTo>
                    <a:pt x="129540" y="26670"/>
                  </a:lnTo>
                  <a:lnTo>
                    <a:pt x="160020" y="45720"/>
                  </a:lnTo>
                  <a:lnTo>
                    <a:pt x="167640" y="73343"/>
                  </a:lnTo>
                  <a:lnTo>
                    <a:pt x="126682" y="98107"/>
                  </a:lnTo>
                  <a:lnTo>
                    <a:pt x="133350" y="141923"/>
                  </a:lnTo>
                  <a:lnTo>
                    <a:pt x="178118" y="138113"/>
                  </a:lnTo>
                  <a:lnTo>
                    <a:pt x="200025" y="169545"/>
                  </a:lnTo>
                  <a:lnTo>
                    <a:pt x="180022" y="200978"/>
                  </a:lnTo>
                  <a:lnTo>
                    <a:pt x="188595" y="221932"/>
                  </a:lnTo>
                  <a:lnTo>
                    <a:pt x="209550" y="220028"/>
                  </a:lnTo>
                  <a:lnTo>
                    <a:pt x="214313" y="238125"/>
                  </a:lnTo>
                  <a:lnTo>
                    <a:pt x="228600" y="241935"/>
                  </a:lnTo>
                  <a:lnTo>
                    <a:pt x="248602" y="294323"/>
                  </a:lnTo>
                  <a:lnTo>
                    <a:pt x="253365" y="312420"/>
                  </a:lnTo>
                  <a:lnTo>
                    <a:pt x="218122" y="317182"/>
                  </a:lnTo>
                  <a:lnTo>
                    <a:pt x="208597" y="321945"/>
                  </a:lnTo>
                  <a:lnTo>
                    <a:pt x="207645" y="331470"/>
                  </a:lnTo>
                  <a:lnTo>
                    <a:pt x="188595" y="337185"/>
                  </a:ln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  <p:sp>
          <p:nvSpPr>
            <p:cNvPr id="48" name="Полилиния: фигура 735">
              <a:extLst>
                <a:ext uri="{FF2B5EF4-FFF2-40B4-BE49-F238E27FC236}">
                  <a16:creationId xmlns:a16="http://schemas.microsoft.com/office/drawing/2014/main" id="{1E806929-77D4-FE7B-4741-9C7A4D407DF5}"/>
                </a:ext>
              </a:extLst>
            </p:cNvPr>
            <p:cNvSpPr/>
            <p:nvPr/>
          </p:nvSpPr>
          <p:spPr>
            <a:xfrm>
              <a:off x="6453188" y="3761423"/>
              <a:ext cx="19050" cy="19050"/>
            </a:xfrm>
            <a:custGeom>
              <a:avLst/>
              <a:gdLst>
                <a:gd name="connsiteX0" fmla="*/ 19050 w 19050"/>
                <a:gd name="connsiteY0" fmla="*/ 9525 h 19050"/>
                <a:gd name="connsiteX1" fmla="*/ 9525 w 19050"/>
                <a:gd name="connsiteY1" fmla="*/ 19050 h 19050"/>
                <a:gd name="connsiteX2" fmla="*/ 0 w 19050"/>
                <a:gd name="connsiteY2" fmla="*/ 9525 h 19050"/>
                <a:gd name="connsiteX3" fmla="*/ 9525 w 19050"/>
                <a:gd name="connsiteY3" fmla="*/ 0 h 19050"/>
                <a:gd name="connsiteX4" fmla="*/ 19050 w 19050"/>
                <a:gd name="connsiteY4" fmla="*/ 9525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050" y="9525"/>
                  </a:moveTo>
                  <a:cubicBezTo>
                    <a:pt x="19050" y="14785"/>
                    <a:pt x="14786" y="19050"/>
                    <a:pt x="9525" y="19050"/>
                  </a:cubicBezTo>
                  <a:cubicBezTo>
                    <a:pt x="4264" y="19050"/>
                    <a:pt x="0" y="14785"/>
                    <a:pt x="0" y="9525"/>
                  </a:cubicBezTo>
                  <a:cubicBezTo>
                    <a:pt x="0" y="4265"/>
                    <a:pt x="4264" y="0"/>
                    <a:pt x="9525" y="0"/>
                  </a:cubicBezTo>
                  <a:cubicBezTo>
                    <a:pt x="14786" y="0"/>
                    <a:pt x="19050" y="4265"/>
                    <a:pt x="19050" y="9525"/>
                  </a:cubicBezTo>
                  <a:close/>
                </a:path>
              </a:pathLst>
            </a:custGeom>
            <a:grpFill/>
            <a:ln w="635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Light" panose="00000500000000000000" pitchFamily="50" charset="-52"/>
                <a:cs typeface="Segoe UI Light" panose="020B0502040204020203" pitchFamily="34" charset="0"/>
                <a:sym typeface="Helvetica"/>
              </a:endParaRPr>
            </a:p>
          </p:txBody>
        </p:sp>
      </p:grpSp>
      <p:grpSp>
        <p:nvGrpSpPr>
          <p:cNvPr id="65" name="Групувати 64">
            <a:extLst>
              <a:ext uri="{FF2B5EF4-FFF2-40B4-BE49-F238E27FC236}">
                <a16:creationId xmlns:a16="http://schemas.microsoft.com/office/drawing/2014/main" id="{FBF9C820-E94C-2890-C9DD-D64C2B6BFC51}"/>
              </a:ext>
            </a:extLst>
          </p:cNvPr>
          <p:cNvGrpSpPr/>
          <p:nvPr/>
        </p:nvGrpSpPr>
        <p:grpSpPr>
          <a:xfrm>
            <a:off x="6008315" y="2129729"/>
            <a:ext cx="2476419" cy="1350902"/>
            <a:chOff x="-6522720" y="-347878"/>
            <a:chExt cx="4786769" cy="2536982"/>
          </a:xfrm>
        </p:grpSpPr>
        <p:sp>
          <p:nvSpPr>
            <p:cNvPr id="66" name="Прямокутник 50">
              <a:extLst>
                <a:ext uri="{FF2B5EF4-FFF2-40B4-BE49-F238E27FC236}">
                  <a16:creationId xmlns:a16="http://schemas.microsoft.com/office/drawing/2014/main" id="{13B78D54-C9F9-31B6-823C-5DB951B1FEDD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67" name="Прямокутник 50">
              <a:extLst>
                <a:ext uri="{FF2B5EF4-FFF2-40B4-BE49-F238E27FC236}">
                  <a16:creationId xmlns:a16="http://schemas.microsoft.com/office/drawing/2014/main" id="{9D1D5154-60A1-8228-0D41-10E67F567D88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F9CE43EC-08A0-82F7-05AF-22BE1F009467}"/>
              </a:ext>
            </a:extLst>
          </p:cNvPr>
          <p:cNvSpPr txBox="1"/>
          <p:nvPr/>
        </p:nvSpPr>
        <p:spPr>
          <a:xfrm>
            <a:off x="6310420" y="2272029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latin typeface="Akrobat Black" panose="00000A00000000000000" pitchFamily="50" charset="-52"/>
              </a:rPr>
              <a:t>55</a:t>
            </a:r>
            <a:r>
              <a:rPr lang="en-US" sz="4000" b="1" dirty="0">
                <a:latin typeface="Akrobat Black" panose="00000A00000000000000" pitchFamily="50" charset="-52"/>
              </a:rPr>
              <a:t> </a:t>
            </a:r>
            <a:endParaRPr lang="uk-UA" sz="4000" b="1" dirty="0">
              <a:latin typeface="Akrobat Black" panose="00000A00000000000000" pitchFamily="50" charset="-52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2D28758-6324-5E99-5A18-B991E52D8D8C}"/>
              </a:ext>
            </a:extLst>
          </p:cNvPr>
          <p:cNvSpPr txBox="1"/>
          <p:nvPr/>
        </p:nvSpPr>
        <p:spPr>
          <a:xfrm>
            <a:off x="6393655" y="2750257"/>
            <a:ext cx="191635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latin typeface="Akrobat Light" panose="00000500000000000000" pitchFamily="50" charset="-52"/>
              </a:rPr>
              <a:t>власних пекарень</a:t>
            </a:r>
          </a:p>
        </p:txBody>
      </p:sp>
      <p:grpSp>
        <p:nvGrpSpPr>
          <p:cNvPr id="80" name="Групувати 79">
            <a:extLst>
              <a:ext uri="{FF2B5EF4-FFF2-40B4-BE49-F238E27FC236}">
                <a16:creationId xmlns:a16="http://schemas.microsoft.com/office/drawing/2014/main" id="{6AC1F5E4-3B0F-B8B3-B4D8-80FA445530F2}"/>
              </a:ext>
            </a:extLst>
          </p:cNvPr>
          <p:cNvGrpSpPr/>
          <p:nvPr/>
        </p:nvGrpSpPr>
        <p:grpSpPr>
          <a:xfrm>
            <a:off x="6008315" y="4534752"/>
            <a:ext cx="2476419" cy="1350902"/>
            <a:chOff x="-6522720" y="-347878"/>
            <a:chExt cx="4786769" cy="2536982"/>
          </a:xfrm>
        </p:grpSpPr>
        <p:sp>
          <p:nvSpPr>
            <p:cNvPr id="81" name="Прямокутник 50">
              <a:extLst>
                <a:ext uri="{FF2B5EF4-FFF2-40B4-BE49-F238E27FC236}">
                  <a16:creationId xmlns:a16="http://schemas.microsoft.com/office/drawing/2014/main" id="{36310063-DF9C-5229-1299-45D9FF8F1947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82" name="Прямокутник 50">
              <a:extLst>
                <a:ext uri="{FF2B5EF4-FFF2-40B4-BE49-F238E27FC236}">
                  <a16:creationId xmlns:a16="http://schemas.microsoft.com/office/drawing/2014/main" id="{625C1B18-5CF2-E539-3541-60EDBE54A44B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B9555831-7150-173C-7539-223E8652F773}"/>
              </a:ext>
            </a:extLst>
          </p:cNvPr>
          <p:cNvSpPr txBox="1"/>
          <p:nvPr/>
        </p:nvSpPr>
        <p:spPr>
          <a:xfrm>
            <a:off x="6374406" y="4657685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latin typeface="Akrobat Black" panose="00000A00000000000000" pitchFamily="50" charset="-52"/>
              </a:rPr>
              <a:t>3 00</a:t>
            </a:r>
            <a:r>
              <a:rPr lang="en-US" sz="4000" b="1" dirty="0">
                <a:latin typeface="Akrobat Black" panose="00000A00000000000000" pitchFamily="50" charset="-52"/>
              </a:rPr>
              <a:t>0+ </a:t>
            </a:r>
            <a:endParaRPr lang="uk-UA" sz="4000" b="1" dirty="0">
              <a:latin typeface="Akrobat Black" panose="00000A00000000000000" pitchFamily="50" charset="-52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0175222-91D1-E058-B874-FCA19F936363}"/>
              </a:ext>
            </a:extLst>
          </p:cNvPr>
          <p:cNvSpPr txBox="1"/>
          <p:nvPr/>
        </p:nvSpPr>
        <p:spPr>
          <a:xfrm>
            <a:off x="6466445" y="5135913"/>
            <a:ext cx="18156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 err="1">
                <a:latin typeface="Akrobat Light" panose="00000500000000000000" pitchFamily="50" charset="-52"/>
              </a:rPr>
              <a:t>співробітників</a:t>
            </a:r>
            <a:endParaRPr lang="ru-RU" sz="2000" dirty="0">
              <a:latin typeface="Akrobat Light" panose="00000500000000000000" pitchFamily="50" charset="-52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1FDE94D-2631-3582-B599-8574278887CD}"/>
              </a:ext>
            </a:extLst>
          </p:cNvPr>
          <p:cNvSpPr txBox="1"/>
          <p:nvPr/>
        </p:nvSpPr>
        <p:spPr>
          <a:xfrm>
            <a:off x="860701" y="2272029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latin typeface="Akrobat Black" panose="00000A00000000000000" pitchFamily="50" charset="-52"/>
              </a:rPr>
              <a:t>19</a:t>
            </a:r>
            <a:r>
              <a:rPr lang="en-US" sz="4000" b="1" dirty="0">
                <a:latin typeface="Akrobat Black" panose="00000A00000000000000" pitchFamily="50" charset="-52"/>
              </a:rPr>
              <a:t>0+ </a:t>
            </a:r>
            <a:endParaRPr lang="uk-UA" sz="4000" b="1" dirty="0">
              <a:latin typeface="Akrobat Black" panose="00000A00000000000000" pitchFamily="50" charset="-52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2EA6A20-0145-DDB6-6B57-862F3C285078}"/>
              </a:ext>
            </a:extLst>
          </p:cNvPr>
          <p:cNvSpPr txBox="1"/>
          <p:nvPr/>
        </p:nvSpPr>
        <p:spPr>
          <a:xfrm>
            <a:off x="871955" y="2750257"/>
            <a:ext cx="18156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 err="1">
                <a:latin typeface="Akrobat Light" panose="00000500000000000000" pitchFamily="50" charset="-52"/>
              </a:rPr>
              <a:t>магазинів</a:t>
            </a:r>
            <a:endParaRPr lang="ru-RU" sz="2000" dirty="0">
              <a:latin typeface="Akrobat Light" panose="00000500000000000000" pitchFamily="50" charset="-52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1B2546D-EF16-7DE4-42E3-AEB24E39FB5E}"/>
              </a:ext>
            </a:extLst>
          </p:cNvPr>
          <p:cNvSpPr txBox="1"/>
          <p:nvPr/>
        </p:nvSpPr>
        <p:spPr>
          <a:xfrm>
            <a:off x="3379090" y="4553386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latin typeface="Akrobat Black" panose="00000A00000000000000" pitchFamily="50" charset="-52"/>
              </a:rPr>
              <a:t>15 00</a:t>
            </a:r>
            <a:r>
              <a:rPr lang="en-US" sz="4000" b="1" dirty="0">
                <a:latin typeface="Akrobat Black" panose="00000A00000000000000" pitchFamily="50" charset="-52"/>
              </a:rPr>
              <a:t>0+ </a:t>
            </a:r>
            <a:endParaRPr lang="uk-UA" sz="4000" b="1" dirty="0">
              <a:latin typeface="Akrobat Black" panose="00000A00000000000000" pitchFamily="50" charset="-52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10D2815-6BA9-86CC-F9CC-CCC2A49C4781}"/>
              </a:ext>
            </a:extLst>
          </p:cNvPr>
          <p:cNvSpPr txBox="1"/>
          <p:nvPr/>
        </p:nvSpPr>
        <p:spPr>
          <a:xfrm>
            <a:off x="3444133" y="5061772"/>
            <a:ext cx="22372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algn="ctr">
              <a:lnSpc>
                <a:spcPct val="90000"/>
              </a:lnSpc>
              <a:defRPr sz="2000">
                <a:latin typeface="Akrobat Light" panose="00000500000000000000" pitchFamily="50" charset="-52"/>
              </a:defRPr>
            </a:lvl1pPr>
          </a:lstStyle>
          <a:p>
            <a:r>
              <a:rPr lang="ru-RU" dirty="0" err="1"/>
              <a:t>складів</a:t>
            </a:r>
            <a:r>
              <a:rPr lang="ru-RU" dirty="0"/>
              <a:t> - </a:t>
            </a:r>
            <a:r>
              <a:rPr lang="ru-RU" dirty="0" err="1"/>
              <a:t>власний</a:t>
            </a:r>
            <a:r>
              <a:rPr lang="ru-RU" dirty="0"/>
              <a:t> </a:t>
            </a:r>
            <a:r>
              <a:rPr lang="ru-RU" dirty="0" err="1"/>
              <a:t>розподільчий</a:t>
            </a:r>
            <a:r>
              <a:rPr lang="ru-RU" dirty="0"/>
              <a:t> центр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CE864EE2-03BD-3310-031D-060FF7848EE4}"/>
              </a:ext>
            </a:extLst>
          </p:cNvPr>
          <p:cNvSpPr txBox="1"/>
          <p:nvPr/>
        </p:nvSpPr>
        <p:spPr>
          <a:xfrm>
            <a:off x="3469681" y="2272029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4000" b="1" dirty="0">
                <a:latin typeface="Akrobat Black" panose="00000A00000000000000" pitchFamily="50" charset="-52"/>
              </a:rPr>
              <a:t>40 000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CBDAF54-4410-5412-CB10-D6914A5766F3}"/>
              </a:ext>
            </a:extLst>
          </p:cNvPr>
          <p:cNvSpPr txBox="1"/>
          <p:nvPr/>
        </p:nvSpPr>
        <p:spPr>
          <a:xfrm>
            <a:off x="3726882" y="2750257"/>
            <a:ext cx="18156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dirty="0" err="1">
                <a:latin typeface="Akrobat Light" panose="00000500000000000000" pitchFamily="50" charset="-52"/>
              </a:rPr>
              <a:t>площа</a:t>
            </a:r>
            <a:r>
              <a:rPr lang="ru-RU" sz="2000" dirty="0">
                <a:latin typeface="Akrobat Light" panose="00000500000000000000" pitchFamily="50" charset="-52"/>
              </a:rPr>
              <a:t> </a:t>
            </a:r>
            <a:r>
              <a:rPr lang="ru-RU" sz="2000" dirty="0" err="1">
                <a:latin typeface="Akrobat Light" panose="00000500000000000000" pitchFamily="50" charset="-52"/>
              </a:rPr>
              <a:t>магазинів</a:t>
            </a:r>
            <a:endParaRPr lang="ru-RU" sz="2000" dirty="0">
              <a:latin typeface="Akrobat Light" panose="00000500000000000000" pitchFamily="50" charset="-52"/>
            </a:endParaRPr>
          </a:p>
        </p:txBody>
      </p:sp>
      <p:grpSp>
        <p:nvGrpSpPr>
          <p:cNvPr id="128" name="Групувати 127">
            <a:extLst>
              <a:ext uri="{FF2B5EF4-FFF2-40B4-BE49-F238E27FC236}">
                <a16:creationId xmlns:a16="http://schemas.microsoft.com/office/drawing/2014/main" id="{13A87A6A-FD01-AB20-F0AA-D50C98B16BF2}"/>
              </a:ext>
            </a:extLst>
          </p:cNvPr>
          <p:cNvGrpSpPr/>
          <p:nvPr/>
        </p:nvGrpSpPr>
        <p:grpSpPr>
          <a:xfrm>
            <a:off x="5068417" y="2412825"/>
            <a:ext cx="616202" cy="523220"/>
            <a:chOff x="-1983324" y="3926852"/>
            <a:chExt cx="616202" cy="523220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D7FD76F-C367-8DA7-41DE-E6F03DC1EC40}"/>
                </a:ext>
              </a:extLst>
            </p:cNvPr>
            <p:cNvSpPr txBox="1"/>
            <p:nvPr/>
          </p:nvSpPr>
          <p:spPr>
            <a:xfrm>
              <a:off x="-1983324" y="3926852"/>
              <a:ext cx="45436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2800" b="1" dirty="0">
                  <a:latin typeface="Akrobat Black" panose="00000A00000000000000" pitchFamily="50" charset="-52"/>
                </a:rPr>
                <a:t>м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7852AFCC-3FD0-419E-AF9D-B0E78EFA2EE9}"/>
                </a:ext>
              </a:extLst>
            </p:cNvPr>
            <p:cNvSpPr txBox="1"/>
            <p:nvPr/>
          </p:nvSpPr>
          <p:spPr>
            <a:xfrm>
              <a:off x="-1821485" y="3926852"/>
              <a:ext cx="45436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b="1" dirty="0">
                  <a:latin typeface="Akrobat Black" panose="00000A00000000000000" pitchFamily="50" charset="-52"/>
                </a:rPr>
                <a:t>2</a:t>
              </a:r>
            </a:p>
          </p:txBody>
        </p:sp>
      </p:grpSp>
      <p:grpSp>
        <p:nvGrpSpPr>
          <p:cNvPr id="129" name="Групувати 128">
            <a:extLst>
              <a:ext uri="{FF2B5EF4-FFF2-40B4-BE49-F238E27FC236}">
                <a16:creationId xmlns:a16="http://schemas.microsoft.com/office/drawing/2014/main" id="{49B85D6B-A575-FAB2-51E6-E5D7BB388794}"/>
              </a:ext>
            </a:extLst>
          </p:cNvPr>
          <p:cNvGrpSpPr/>
          <p:nvPr/>
        </p:nvGrpSpPr>
        <p:grpSpPr>
          <a:xfrm>
            <a:off x="5051141" y="4694182"/>
            <a:ext cx="616202" cy="523220"/>
            <a:chOff x="-1983324" y="3926852"/>
            <a:chExt cx="616202" cy="523220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1AFE947D-E2C2-E96F-BD05-7BDA5469C9D0}"/>
                </a:ext>
              </a:extLst>
            </p:cNvPr>
            <p:cNvSpPr txBox="1"/>
            <p:nvPr/>
          </p:nvSpPr>
          <p:spPr>
            <a:xfrm>
              <a:off x="-1983324" y="3926852"/>
              <a:ext cx="454363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sz="2800" b="1" dirty="0">
                  <a:latin typeface="Akrobat Black" panose="00000A00000000000000" pitchFamily="50" charset="-52"/>
                </a:rPr>
                <a:t>м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FA7D393D-3F0E-CCAD-620F-0825FAB6F340}"/>
                </a:ext>
              </a:extLst>
            </p:cNvPr>
            <p:cNvSpPr txBox="1"/>
            <p:nvPr/>
          </p:nvSpPr>
          <p:spPr>
            <a:xfrm>
              <a:off x="-1821485" y="3926852"/>
              <a:ext cx="45436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k-UA" b="1" dirty="0">
                  <a:latin typeface="Akrobat Black" panose="00000A00000000000000" pitchFamily="50" charset="-52"/>
                </a:rPr>
                <a:t>2</a:t>
              </a:r>
            </a:p>
          </p:txBody>
        </p:sp>
      </p:grpSp>
      <p:grpSp>
        <p:nvGrpSpPr>
          <p:cNvPr id="145" name="Google Shape;650;p20">
            <a:extLst>
              <a:ext uri="{FF2B5EF4-FFF2-40B4-BE49-F238E27FC236}">
                <a16:creationId xmlns:a16="http://schemas.microsoft.com/office/drawing/2014/main" id="{0664536B-ABEC-44D5-31BB-5A1919D63FEA}"/>
              </a:ext>
            </a:extLst>
          </p:cNvPr>
          <p:cNvGrpSpPr/>
          <p:nvPr/>
        </p:nvGrpSpPr>
        <p:grpSpPr>
          <a:xfrm>
            <a:off x="2602377" y="6498695"/>
            <a:ext cx="1145952" cy="657282"/>
            <a:chOff x="864825" y="2381600"/>
            <a:chExt cx="802825" cy="460475"/>
          </a:xfrm>
        </p:grpSpPr>
        <p:sp>
          <p:nvSpPr>
            <p:cNvPr id="146" name="Google Shape;651;p20">
              <a:extLst>
                <a:ext uri="{FF2B5EF4-FFF2-40B4-BE49-F238E27FC236}">
                  <a16:creationId xmlns:a16="http://schemas.microsoft.com/office/drawing/2014/main" id="{272EFB6F-2D11-3810-09DB-D2950B19E497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652;p20">
              <a:extLst>
                <a:ext uri="{FF2B5EF4-FFF2-40B4-BE49-F238E27FC236}">
                  <a16:creationId xmlns:a16="http://schemas.microsoft.com/office/drawing/2014/main" id="{1B8B0BC0-46E0-64F7-4562-EBDC3BFEC39E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653;p20">
              <a:extLst>
                <a:ext uri="{FF2B5EF4-FFF2-40B4-BE49-F238E27FC236}">
                  <a16:creationId xmlns:a16="http://schemas.microsoft.com/office/drawing/2014/main" id="{845CD7AD-F9B4-031B-81A7-762968BCE03E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654;p20">
              <a:extLst>
                <a:ext uri="{FF2B5EF4-FFF2-40B4-BE49-F238E27FC236}">
                  <a16:creationId xmlns:a16="http://schemas.microsoft.com/office/drawing/2014/main" id="{147AF0B3-0010-5E49-F561-E666DCA073FF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655;p20">
              <a:extLst>
                <a:ext uri="{FF2B5EF4-FFF2-40B4-BE49-F238E27FC236}">
                  <a16:creationId xmlns:a16="http://schemas.microsoft.com/office/drawing/2014/main" id="{040FB148-0E10-2E25-7B65-A60A4CD15D78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656;p20">
              <a:extLst>
                <a:ext uri="{FF2B5EF4-FFF2-40B4-BE49-F238E27FC236}">
                  <a16:creationId xmlns:a16="http://schemas.microsoft.com/office/drawing/2014/main" id="{1904CFE0-5EB4-3B38-5DC0-2B287952E066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657;p20">
              <a:extLst>
                <a:ext uri="{FF2B5EF4-FFF2-40B4-BE49-F238E27FC236}">
                  <a16:creationId xmlns:a16="http://schemas.microsoft.com/office/drawing/2014/main" id="{0AF3875D-4E2B-5AF6-F0C2-B1EDCC2AEACA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658;p20">
              <a:extLst>
                <a:ext uri="{FF2B5EF4-FFF2-40B4-BE49-F238E27FC236}">
                  <a16:creationId xmlns:a16="http://schemas.microsoft.com/office/drawing/2014/main" id="{832D7607-D7CB-8A33-970E-29F95A649506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659;p20">
              <a:extLst>
                <a:ext uri="{FF2B5EF4-FFF2-40B4-BE49-F238E27FC236}">
                  <a16:creationId xmlns:a16="http://schemas.microsoft.com/office/drawing/2014/main" id="{A60F262D-69A5-6609-F80F-9B27F7A27B78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660;p20">
              <a:extLst>
                <a:ext uri="{FF2B5EF4-FFF2-40B4-BE49-F238E27FC236}">
                  <a16:creationId xmlns:a16="http://schemas.microsoft.com/office/drawing/2014/main" id="{D5AC4D90-8F87-21A7-A0D8-6EC287B18989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661;p20">
              <a:extLst>
                <a:ext uri="{FF2B5EF4-FFF2-40B4-BE49-F238E27FC236}">
                  <a16:creationId xmlns:a16="http://schemas.microsoft.com/office/drawing/2014/main" id="{C5756665-C68F-97DB-4C7D-6CE5A2AF1B86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662;p20">
              <a:extLst>
                <a:ext uri="{FF2B5EF4-FFF2-40B4-BE49-F238E27FC236}">
                  <a16:creationId xmlns:a16="http://schemas.microsoft.com/office/drawing/2014/main" id="{F0A31B39-5872-271E-C9A6-42E96D64EC48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663;p20">
              <a:extLst>
                <a:ext uri="{FF2B5EF4-FFF2-40B4-BE49-F238E27FC236}">
                  <a16:creationId xmlns:a16="http://schemas.microsoft.com/office/drawing/2014/main" id="{70B03127-C0E4-C9F9-12B9-C3A17387D05A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664;p20">
              <a:extLst>
                <a:ext uri="{FF2B5EF4-FFF2-40B4-BE49-F238E27FC236}">
                  <a16:creationId xmlns:a16="http://schemas.microsoft.com/office/drawing/2014/main" id="{95433062-5658-4B85-3F01-9D8030F9CCEF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665;p20">
              <a:extLst>
                <a:ext uri="{FF2B5EF4-FFF2-40B4-BE49-F238E27FC236}">
                  <a16:creationId xmlns:a16="http://schemas.microsoft.com/office/drawing/2014/main" id="{509BD353-5E13-8096-82B6-A9C709AFB1D0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666;p20">
              <a:extLst>
                <a:ext uri="{FF2B5EF4-FFF2-40B4-BE49-F238E27FC236}">
                  <a16:creationId xmlns:a16="http://schemas.microsoft.com/office/drawing/2014/main" id="{FEE29E29-5415-4300-438C-8E60E3B2691B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9FE09EB8-5A50-969F-C8DD-C9431882C3CB}"/>
              </a:ext>
            </a:extLst>
          </p:cNvPr>
          <p:cNvSpPr txBox="1"/>
          <p:nvPr/>
        </p:nvSpPr>
        <p:spPr>
          <a:xfrm>
            <a:off x="9391574" y="3739330"/>
            <a:ext cx="265367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+mj-lt"/>
              </a:rPr>
              <a:t>«</a:t>
            </a:r>
            <a:r>
              <a:rPr lang="ru-RU" sz="2000" dirty="0" err="1">
                <a:latin typeface="+mj-lt"/>
              </a:rPr>
              <a:t>Файно</a:t>
            </a:r>
            <a:r>
              <a:rPr lang="ru-RU" sz="2000" dirty="0">
                <a:latin typeface="+mj-lt"/>
              </a:rPr>
              <a:t> Маркет» </a:t>
            </a:r>
            <a:r>
              <a:rPr lang="ru-RU" sz="2000" dirty="0"/>
              <a:t>— </a:t>
            </a:r>
            <a:r>
              <a:rPr lang="ru-RU" sz="2000" dirty="0" err="1"/>
              <a:t>найчисельніша</a:t>
            </a:r>
            <a:br>
              <a:rPr lang="ru-RU" sz="2000" dirty="0"/>
            </a:br>
            <a:r>
              <a:rPr lang="ru-RU" sz="2000" dirty="0"/>
              <a:t>мережа </a:t>
            </a:r>
            <a:r>
              <a:rPr lang="ru-RU" sz="2000" dirty="0" err="1"/>
              <a:t>магазинів</a:t>
            </a:r>
            <a:br>
              <a:rPr lang="ru-RU" sz="2000" dirty="0"/>
            </a:br>
            <a:r>
              <a:rPr lang="ru-RU" sz="2000" dirty="0"/>
              <a:t>у </a:t>
            </a:r>
            <a:r>
              <a:rPr lang="ru-RU" sz="2000" dirty="0" err="1"/>
              <a:t>Кіровоградській</a:t>
            </a:r>
            <a:r>
              <a:rPr lang="ru-RU" sz="2000" dirty="0"/>
              <a:t> </a:t>
            </a:r>
            <a:r>
              <a:rPr lang="ru-RU" sz="2000" dirty="0" err="1"/>
              <a:t>області</a:t>
            </a:r>
            <a:r>
              <a:rPr lang="ru-RU" sz="2000" dirty="0"/>
              <a:t>. </a:t>
            </a:r>
            <a:br>
              <a:rPr lang="ru-RU" sz="2000" dirty="0"/>
            </a:br>
            <a:r>
              <a:rPr lang="ru-RU" sz="2000" dirty="0"/>
              <a:t>Також </a:t>
            </a:r>
            <a:r>
              <a:rPr lang="ru-RU" sz="2000" dirty="0" err="1"/>
              <a:t>магазини</a:t>
            </a:r>
            <a:r>
              <a:rPr lang="ru-RU" sz="2000" dirty="0"/>
              <a:t> </a:t>
            </a:r>
            <a:r>
              <a:rPr lang="ru-RU" sz="2000" dirty="0" err="1"/>
              <a:t>представлені</a:t>
            </a:r>
            <a:r>
              <a:rPr lang="ru-RU" sz="2000" dirty="0"/>
              <a:t> </a:t>
            </a:r>
            <a:r>
              <a:rPr lang="uk-UA" sz="2000" dirty="0"/>
              <a:t>Черкаській та Одеській областях</a:t>
            </a:r>
          </a:p>
        </p:txBody>
      </p:sp>
      <p:sp>
        <p:nvSpPr>
          <p:cNvPr id="165" name="Google Shape;42;p2">
            <a:extLst>
              <a:ext uri="{FF2B5EF4-FFF2-40B4-BE49-F238E27FC236}">
                <a16:creationId xmlns:a16="http://schemas.microsoft.com/office/drawing/2014/main" id="{768F95AE-5EDA-39F9-B0E6-C1BBDD5EAA1F}"/>
              </a:ext>
            </a:extLst>
          </p:cNvPr>
          <p:cNvSpPr/>
          <p:nvPr/>
        </p:nvSpPr>
        <p:spPr>
          <a:xfrm>
            <a:off x="4801731" y="-1550292"/>
            <a:ext cx="1878269" cy="1878269"/>
          </a:xfrm>
          <a:prstGeom prst="ellipse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66" name="Google Shape;1176;p50">
            <a:extLst>
              <a:ext uri="{FF2B5EF4-FFF2-40B4-BE49-F238E27FC236}">
                <a16:creationId xmlns:a16="http://schemas.microsoft.com/office/drawing/2014/main" id="{416C2812-23F8-7482-951A-C50F09874046}"/>
              </a:ext>
            </a:extLst>
          </p:cNvPr>
          <p:cNvGrpSpPr/>
          <p:nvPr/>
        </p:nvGrpSpPr>
        <p:grpSpPr>
          <a:xfrm rot="16200000">
            <a:off x="9822910" y="-329278"/>
            <a:ext cx="1119327" cy="692597"/>
            <a:chOff x="3132025" y="2362375"/>
            <a:chExt cx="814530" cy="504000"/>
          </a:xfrm>
          <a:noFill/>
        </p:grpSpPr>
        <p:sp>
          <p:nvSpPr>
            <p:cNvPr id="167" name="Google Shape;1177;p50">
              <a:extLst>
                <a:ext uri="{FF2B5EF4-FFF2-40B4-BE49-F238E27FC236}">
                  <a16:creationId xmlns:a16="http://schemas.microsoft.com/office/drawing/2014/main" id="{2DC489D2-567F-F7A0-AD06-781936634866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1178;p50">
              <a:extLst>
                <a:ext uri="{FF2B5EF4-FFF2-40B4-BE49-F238E27FC236}">
                  <a16:creationId xmlns:a16="http://schemas.microsoft.com/office/drawing/2014/main" id="{420EEA70-4337-3C5A-1CCB-F32EDF2F3BCD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1179;p50">
              <a:extLst>
                <a:ext uri="{FF2B5EF4-FFF2-40B4-BE49-F238E27FC236}">
                  <a16:creationId xmlns:a16="http://schemas.microsoft.com/office/drawing/2014/main" id="{22DEAC47-C326-8F34-D1AA-7A13EE6658DC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" name="Групувати 60">
            <a:extLst>
              <a:ext uri="{FF2B5EF4-FFF2-40B4-BE49-F238E27FC236}">
                <a16:creationId xmlns:a16="http://schemas.microsoft.com/office/drawing/2014/main" id="{03830D08-3381-106A-7C2A-8A0B252CAE07}"/>
              </a:ext>
            </a:extLst>
          </p:cNvPr>
          <p:cNvGrpSpPr/>
          <p:nvPr/>
        </p:nvGrpSpPr>
        <p:grpSpPr>
          <a:xfrm>
            <a:off x="12453494" y="-125088"/>
            <a:ext cx="13175667" cy="7150728"/>
            <a:chOff x="-6522720" y="-347878"/>
            <a:chExt cx="4786769" cy="2536982"/>
          </a:xfrm>
        </p:grpSpPr>
        <p:sp>
          <p:nvSpPr>
            <p:cNvPr id="62" name="Прямокутник 50">
              <a:extLst>
                <a:ext uri="{FF2B5EF4-FFF2-40B4-BE49-F238E27FC236}">
                  <a16:creationId xmlns:a16="http://schemas.microsoft.com/office/drawing/2014/main" id="{F96F67A6-AD45-096D-1718-D0409CDDB7BC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A82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63" name="Прямокутник 50">
              <a:extLst>
                <a:ext uri="{FF2B5EF4-FFF2-40B4-BE49-F238E27FC236}">
                  <a16:creationId xmlns:a16="http://schemas.microsoft.com/office/drawing/2014/main" id="{5FA089E2-02A0-67D1-A483-99B349E09256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64" name="Овал 63">
            <a:extLst>
              <a:ext uri="{FF2B5EF4-FFF2-40B4-BE49-F238E27FC236}">
                <a16:creationId xmlns:a16="http://schemas.microsoft.com/office/drawing/2014/main" id="{0E66A623-2A8E-515A-2865-90076755BAA9}"/>
              </a:ext>
            </a:extLst>
          </p:cNvPr>
          <p:cNvSpPr/>
          <p:nvPr/>
        </p:nvSpPr>
        <p:spPr>
          <a:xfrm>
            <a:off x="17677298" y="450363"/>
            <a:ext cx="2728060" cy="2728060"/>
          </a:xfrm>
          <a:prstGeom prst="ellipse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3F78E11-9261-5946-DED2-5140386C34B9}"/>
              </a:ext>
            </a:extLst>
          </p:cNvPr>
          <p:cNvSpPr txBox="1"/>
          <p:nvPr/>
        </p:nvSpPr>
        <p:spPr>
          <a:xfrm>
            <a:off x="18110619" y="1014183"/>
            <a:ext cx="18614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190</a:t>
            </a:r>
            <a:endParaRPr lang="uk-UA" sz="54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9A6C39F-3FFC-7C4E-6522-6E3935425530}"/>
              </a:ext>
            </a:extLst>
          </p:cNvPr>
          <p:cNvSpPr txBox="1"/>
          <p:nvPr/>
        </p:nvSpPr>
        <p:spPr>
          <a:xfrm>
            <a:off x="15810595" y="1388360"/>
            <a:ext cx="16648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800" dirty="0">
                <a:latin typeface="Akrobat Light" panose="00000500000000000000" pitchFamily="50" charset="-52"/>
              </a:rPr>
              <a:t>За 12 років </a:t>
            </a: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831291C7-6BF8-7692-B60C-A49A292391C7}"/>
              </a:ext>
            </a:extLst>
          </p:cNvPr>
          <p:cNvSpPr/>
          <p:nvPr/>
        </p:nvSpPr>
        <p:spPr>
          <a:xfrm>
            <a:off x="14343603" y="1241321"/>
            <a:ext cx="1296880" cy="129687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DC43B5F-21BD-2494-246C-4F0C62724CC5}"/>
              </a:ext>
            </a:extLst>
          </p:cNvPr>
          <p:cNvSpPr txBox="1"/>
          <p:nvPr/>
        </p:nvSpPr>
        <p:spPr>
          <a:xfrm>
            <a:off x="14358276" y="1190496"/>
            <a:ext cx="116410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10</a:t>
            </a:r>
            <a:endParaRPr lang="uk-UA" sz="40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cxnSp>
        <p:nvCxnSpPr>
          <p:cNvPr id="74" name="Пряма зі стрілкою 73">
            <a:extLst>
              <a:ext uri="{FF2B5EF4-FFF2-40B4-BE49-F238E27FC236}">
                <a16:creationId xmlns:a16="http://schemas.microsoft.com/office/drawing/2014/main" id="{8A9C3915-409A-4311-8701-8D178C045AB8}"/>
              </a:ext>
            </a:extLst>
          </p:cNvPr>
          <p:cNvCxnSpPr>
            <a:cxnSpLocks/>
          </p:cNvCxnSpPr>
          <p:nvPr/>
        </p:nvCxnSpPr>
        <p:spPr>
          <a:xfrm>
            <a:off x="15901619" y="1885950"/>
            <a:ext cx="1487871" cy="3810"/>
          </a:xfrm>
          <a:prstGeom prst="straightConnector1">
            <a:avLst/>
          </a:prstGeom>
          <a:ln cap="rnd">
            <a:solidFill>
              <a:srgbClr val="2B6AE9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93DA60EA-B641-3181-C5B0-660DF8485768}"/>
              </a:ext>
            </a:extLst>
          </p:cNvPr>
          <p:cNvSpPr txBox="1"/>
          <p:nvPr/>
        </p:nvSpPr>
        <p:spPr>
          <a:xfrm>
            <a:off x="18329740" y="2034571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магазинів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D0A4BCD-BB7C-1581-101D-2C186293A77C}"/>
              </a:ext>
            </a:extLst>
          </p:cNvPr>
          <p:cNvSpPr txBox="1"/>
          <p:nvPr/>
        </p:nvSpPr>
        <p:spPr>
          <a:xfrm>
            <a:off x="14305392" y="1911580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магазинів</a:t>
            </a: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3B88397A-4934-D5C7-EB1C-5ADE367D7E4D}"/>
              </a:ext>
            </a:extLst>
          </p:cNvPr>
          <p:cNvSpPr/>
          <p:nvPr/>
        </p:nvSpPr>
        <p:spPr>
          <a:xfrm>
            <a:off x="16023577" y="3460453"/>
            <a:ext cx="1928338" cy="1928336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9B0D143-2099-C370-BF13-719538AF7AC3}"/>
              </a:ext>
            </a:extLst>
          </p:cNvPr>
          <p:cNvSpPr txBox="1"/>
          <p:nvPr/>
        </p:nvSpPr>
        <p:spPr>
          <a:xfrm>
            <a:off x="16057038" y="3514919"/>
            <a:ext cx="18614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8000" b="1" dirty="0">
                <a:latin typeface="Akrobat Black" panose="00000A00000000000000" pitchFamily="50" charset="-52"/>
              </a:rPr>
              <a:t>43</a:t>
            </a:r>
            <a:endParaRPr lang="uk-UA" sz="5400" dirty="0">
              <a:latin typeface="Akrobat Black" panose="00000A00000000000000" pitchFamily="50" charset="-52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1A2F2A2-1D64-231A-6567-E7DB286DA90A}"/>
              </a:ext>
            </a:extLst>
          </p:cNvPr>
          <p:cNvSpPr txBox="1"/>
          <p:nvPr/>
        </p:nvSpPr>
        <p:spPr>
          <a:xfrm>
            <a:off x="16276159" y="4564075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latin typeface="Akrobat Light" panose="00000500000000000000" pitchFamily="50" charset="-52"/>
              </a:rPr>
              <a:t>магазин</a:t>
            </a:r>
            <a:r>
              <a:rPr lang="ru-RU" sz="2000" dirty="0">
                <a:latin typeface="Akrobat Light" panose="00000500000000000000" pitchFamily="50" charset="-52"/>
              </a:rPr>
              <a:t>а</a:t>
            </a:r>
            <a:endParaRPr lang="uk-UA" sz="2000" dirty="0">
              <a:latin typeface="Akrobat Light" panose="00000500000000000000" pitchFamily="50" charset="-52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B8FD7F7-0C05-9594-5ED4-261A262DCED1}"/>
              </a:ext>
            </a:extLst>
          </p:cNvPr>
          <p:cNvSpPr txBox="1"/>
          <p:nvPr/>
        </p:nvSpPr>
        <p:spPr>
          <a:xfrm>
            <a:off x="16472684" y="4837933"/>
            <a:ext cx="10301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Akrobat Light" panose="00000500000000000000" pitchFamily="50" charset="-52"/>
              </a:rPr>
              <a:t>(</a:t>
            </a:r>
            <a:r>
              <a:rPr lang="uk-UA" sz="1600" dirty="0">
                <a:latin typeface="Akrobat Light" panose="00000500000000000000" pitchFamily="50" charset="-52"/>
              </a:rPr>
              <a:t>2022-2023</a:t>
            </a:r>
            <a:r>
              <a:rPr lang="en-US" sz="1600" dirty="0">
                <a:latin typeface="Akrobat Light" panose="00000500000000000000" pitchFamily="50" charset="-52"/>
              </a:rPr>
              <a:t>)</a:t>
            </a:r>
            <a:endParaRPr lang="uk-UA" sz="1600" dirty="0">
              <a:latin typeface="Akrobat Light" panose="00000500000000000000" pitchFamily="50" charset="-52"/>
            </a:endParaRPr>
          </a:p>
        </p:txBody>
      </p:sp>
      <p:pic>
        <p:nvPicPr>
          <p:cNvPr id="86" name="Picture 12">
            <a:extLst>
              <a:ext uri="{FF2B5EF4-FFF2-40B4-BE49-F238E27FC236}">
                <a16:creationId xmlns:a16="http://schemas.microsoft.com/office/drawing/2014/main" id="{4E15D58B-B9ED-9916-27E4-29315F5287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60198" y="4912506"/>
            <a:ext cx="2103971" cy="2103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Овал 86">
            <a:extLst>
              <a:ext uri="{FF2B5EF4-FFF2-40B4-BE49-F238E27FC236}">
                <a16:creationId xmlns:a16="http://schemas.microsoft.com/office/drawing/2014/main" id="{338E26E0-F49A-23F4-D72F-5EA2E45540BA}"/>
              </a:ext>
            </a:extLst>
          </p:cNvPr>
          <p:cNvSpPr/>
          <p:nvPr/>
        </p:nvSpPr>
        <p:spPr>
          <a:xfrm>
            <a:off x="17532122" y="305188"/>
            <a:ext cx="3018410" cy="3018410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id="{C113C1E7-CD07-7777-D93F-102C456CDE0C}"/>
              </a:ext>
            </a:extLst>
          </p:cNvPr>
          <p:cNvSpPr/>
          <p:nvPr/>
        </p:nvSpPr>
        <p:spPr>
          <a:xfrm>
            <a:off x="14241127" y="1138845"/>
            <a:ext cx="1501832" cy="1501830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74ABD033-7C74-D885-0457-F35FBC4C5674}"/>
              </a:ext>
            </a:extLst>
          </p:cNvPr>
          <p:cNvSpPr/>
          <p:nvPr/>
        </p:nvSpPr>
        <p:spPr>
          <a:xfrm>
            <a:off x="15914624" y="3351500"/>
            <a:ext cx="2146244" cy="2146242"/>
          </a:xfrm>
          <a:prstGeom prst="ellipse">
            <a:avLst/>
          </a:prstGeom>
          <a:noFill/>
          <a:ln>
            <a:solidFill>
              <a:srgbClr val="E9A8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95" name="Групувати 94">
            <a:extLst>
              <a:ext uri="{FF2B5EF4-FFF2-40B4-BE49-F238E27FC236}">
                <a16:creationId xmlns:a16="http://schemas.microsoft.com/office/drawing/2014/main" id="{6FBDBB04-8B65-8A82-5C12-96D9A5989F5E}"/>
              </a:ext>
            </a:extLst>
          </p:cNvPr>
          <p:cNvGrpSpPr/>
          <p:nvPr/>
        </p:nvGrpSpPr>
        <p:grpSpPr>
          <a:xfrm>
            <a:off x="415147" y="4534752"/>
            <a:ext cx="2476419" cy="1350902"/>
            <a:chOff x="-6522720" y="-347878"/>
            <a:chExt cx="4786769" cy="2536982"/>
          </a:xfrm>
        </p:grpSpPr>
        <p:sp>
          <p:nvSpPr>
            <p:cNvPr id="96" name="Прямокутник 50">
              <a:extLst>
                <a:ext uri="{FF2B5EF4-FFF2-40B4-BE49-F238E27FC236}">
                  <a16:creationId xmlns:a16="http://schemas.microsoft.com/office/drawing/2014/main" id="{9743BFF4-9FFC-1AFA-1C41-4295144D46A8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7" name="Прямокутник 50">
              <a:extLst>
                <a:ext uri="{FF2B5EF4-FFF2-40B4-BE49-F238E27FC236}">
                  <a16:creationId xmlns:a16="http://schemas.microsoft.com/office/drawing/2014/main" id="{CEA1B230-FAFC-14F4-9026-47B7911A468F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98" name="TextBox 97">
            <a:extLst>
              <a:ext uri="{FF2B5EF4-FFF2-40B4-BE49-F238E27FC236}">
                <a16:creationId xmlns:a16="http://schemas.microsoft.com/office/drawing/2014/main" id="{B2C4FBE0-7184-6E78-F5AD-25C9013917CB}"/>
              </a:ext>
            </a:extLst>
          </p:cNvPr>
          <p:cNvSpPr txBox="1"/>
          <p:nvPr/>
        </p:nvSpPr>
        <p:spPr>
          <a:xfrm>
            <a:off x="563793" y="4657685"/>
            <a:ext cx="19997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latin typeface="Akrobat Black" panose="00000A00000000000000" pitchFamily="50" charset="-52"/>
              </a:rPr>
              <a:t>55</a:t>
            </a:r>
            <a:endParaRPr lang="uk-UA" sz="4000" b="1" dirty="0">
              <a:latin typeface="Akrobat Black" panose="00000A00000000000000" pitchFamily="50" charset="-52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14E947E-5F09-8ACA-8C16-2D173CD54FE5}"/>
              </a:ext>
            </a:extLst>
          </p:cNvPr>
          <p:cNvSpPr txBox="1"/>
          <p:nvPr/>
        </p:nvSpPr>
        <p:spPr>
          <a:xfrm>
            <a:off x="628836" y="5166691"/>
            <a:ext cx="22372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algn="ctr">
              <a:lnSpc>
                <a:spcPct val="90000"/>
              </a:lnSpc>
              <a:defRPr sz="2000">
                <a:latin typeface="Akrobat Light" panose="00000500000000000000" pitchFamily="50" charset="-52"/>
              </a:defRPr>
            </a:lvl1pPr>
          </a:lstStyle>
          <a:p>
            <a:r>
              <a:rPr lang="ru-RU" dirty="0"/>
              <a:t>чек</a:t>
            </a:r>
            <a:r>
              <a:rPr lang="uk-UA" dirty="0" err="1"/>
              <a:t>ів</a:t>
            </a:r>
            <a:r>
              <a:rPr lang="uk-UA" dirty="0"/>
              <a:t> на рік</a:t>
            </a:r>
            <a:endParaRPr lang="ru-RU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007DAA4-C269-81F0-D486-996B3AE54FB9}"/>
              </a:ext>
            </a:extLst>
          </p:cNvPr>
          <p:cNvSpPr txBox="1"/>
          <p:nvPr/>
        </p:nvSpPr>
        <p:spPr>
          <a:xfrm>
            <a:off x="1729698" y="4842351"/>
            <a:ext cx="8282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800" b="1" dirty="0">
                <a:latin typeface="Akrobat Black" panose="00000A00000000000000" pitchFamily="50" charset="-52"/>
              </a:rPr>
              <a:t>млн</a:t>
            </a:r>
          </a:p>
        </p:txBody>
      </p:sp>
    </p:spTree>
    <p:extLst>
      <p:ext uri="{BB962C8B-B14F-4D97-AF65-F5344CB8AC3E}">
        <p14:creationId xmlns:p14="http://schemas.microsoft.com/office/powerpoint/2010/main" val="1291121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69" grpId="0"/>
      <p:bldP spid="83" grpId="0"/>
      <p:bldP spid="84" grpId="0"/>
      <p:bldP spid="117" grpId="0"/>
      <p:bldP spid="118" grpId="0"/>
      <p:bldP spid="124" grpId="0"/>
      <p:bldP spid="125" grpId="0"/>
      <p:bldP spid="77" grpId="0" animBg="1"/>
      <p:bldP spid="78" grpId="0"/>
      <p:bldP spid="79" grpId="0"/>
      <p:bldP spid="85" grpId="0"/>
      <p:bldP spid="94" grpId="0" animBg="1"/>
      <p:bldP spid="98" grpId="0"/>
      <p:bldP spid="99" grpId="0"/>
      <p:bldP spid="10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6A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!!Паралелограм 10">
            <a:extLst>
              <a:ext uri="{FF2B5EF4-FFF2-40B4-BE49-F238E27FC236}">
                <a16:creationId xmlns:a16="http://schemas.microsoft.com/office/drawing/2014/main" id="{BF2A8FE3-5F40-9FB7-C2A9-A0E1B9E626EC}"/>
              </a:ext>
            </a:extLst>
          </p:cNvPr>
          <p:cNvSpPr/>
          <p:nvPr/>
        </p:nvSpPr>
        <p:spPr>
          <a:xfrm>
            <a:off x="6859746" y="1801518"/>
            <a:ext cx="5459220" cy="5056482"/>
          </a:xfrm>
          <a:prstGeom prst="parallelogram">
            <a:avLst>
              <a:gd name="adj" fmla="val 2211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6" name="!!Овал 55">
            <a:extLst>
              <a:ext uri="{FF2B5EF4-FFF2-40B4-BE49-F238E27FC236}">
                <a16:creationId xmlns:a16="http://schemas.microsoft.com/office/drawing/2014/main" id="{79C58F18-986A-7FB0-827E-2CC9CFB38F43}"/>
              </a:ext>
            </a:extLst>
          </p:cNvPr>
          <p:cNvSpPr/>
          <p:nvPr/>
        </p:nvSpPr>
        <p:spPr>
          <a:xfrm>
            <a:off x="623888" y="4777606"/>
            <a:ext cx="450000" cy="45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5" name="!!Овал 54">
            <a:extLst>
              <a:ext uri="{FF2B5EF4-FFF2-40B4-BE49-F238E27FC236}">
                <a16:creationId xmlns:a16="http://schemas.microsoft.com/office/drawing/2014/main" id="{75297B7D-E400-76A5-2DC9-B38FC23F0F2A}"/>
              </a:ext>
            </a:extLst>
          </p:cNvPr>
          <p:cNvSpPr/>
          <p:nvPr/>
        </p:nvSpPr>
        <p:spPr>
          <a:xfrm>
            <a:off x="623888" y="4199689"/>
            <a:ext cx="450000" cy="45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5" name="!!Паралелограм 10">
            <a:extLst>
              <a:ext uri="{FF2B5EF4-FFF2-40B4-BE49-F238E27FC236}">
                <a16:creationId xmlns:a16="http://schemas.microsoft.com/office/drawing/2014/main" id="{2E472FED-FE8A-1018-DE93-33F14E695D73}"/>
              </a:ext>
            </a:extLst>
          </p:cNvPr>
          <p:cNvSpPr/>
          <p:nvPr/>
        </p:nvSpPr>
        <p:spPr>
          <a:xfrm>
            <a:off x="6537169" y="2080854"/>
            <a:ext cx="5459220" cy="5056482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A33CBA-5E50-2B84-3741-9C51AB69FF8A}"/>
              </a:ext>
            </a:extLst>
          </p:cNvPr>
          <p:cNvSpPr txBox="1"/>
          <p:nvPr/>
        </p:nvSpPr>
        <p:spPr>
          <a:xfrm>
            <a:off x="505295" y="1734313"/>
            <a:ext cx="76932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8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Дякую</a:t>
            </a:r>
            <a:r>
              <a:rPr lang="ru-RU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за </a:t>
            </a:r>
            <a:r>
              <a:rPr lang="ru-RU" sz="8000" b="1" dirty="0" err="1">
                <a:solidFill>
                  <a:schemeClr val="bg1"/>
                </a:solidFill>
                <a:latin typeface="Akrobat Black" panose="00000A00000000000000" pitchFamily="50" charset="-52"/>
              </a:rPr>
              <a:t>увагу</a:t>
            </a:r>
            <a:r>
              <a:rPr lang="ru-RU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AAD073C-55A7-230F-82BB-CC80B81A98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492"/>
          <a:stretch/>
        </p:blipFill>
        <p:spPr>
          <a:xfrm>
            <a:off x="658813" y="370785"/>
            <a:ext cx="1364297" cy="732822"/>
          </a:xfrm>
          <a:prstGeom prst="rect">
            <a:avLst/>
          </a:prstGeom>
        </p:spPr>
      </p:pic>
      <p:grpSp>
        <p:nvGrpSpPr>
          <p:cNvPr id="16" name="!!Google Shape;12;p2">
            <a:extLst>
              <a:ext uri="{FF2B5EF4-FFF2-40B4-BE49-F238E27FC236}">
                <a16:creationId xmlns:a16="http://schemas.microsoft.com/office/drawing/2014/main" id="{806E70B6-E07C-4A36-09C9-0A6552A23B2D}"/>
              </a:ext>
            </a:extLst>
          </p:cNvPr>
          <p:cNvGrpSpPr/>
          <p:nvPr/>
        </p:nvGrpSpPr>
        <p:grpSpPr>
          <a:xfrm>
            <a:off x="11258497" y="79914"/>
            <a:ext cx="1145952" cy="657282"/>
            <a:chOff x="864825" y="2381600"/>
            <a:chExt cx="802825" cy="460475"/>
          </a:xfrm>
        </p:grpSpPr>
        <p:sp>
          <p:nvSpPr>
            <p:cNvPr id="17" name="Google Shape;13;p2">
              <a:extLst>
                <a:ext uri="{FF2B5EF4-FFF2-40B4-BE49-F238E27FC236}">
                  <a16:creationId xmlns:a16="http://schemas.microsoft.com/office/drawing/2014/main" id="{82652AF7-371F-540B-C97E-903DA88B6B0A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14;p2">
              <a:extLst>
                <a:ext uri="{FF2B5EF4-FFF2-40B4-BE49-F238E27FC236}">
                  <a16:creationId xmlns:a16="http://schemas.microsoft.com/office/drawing/2014/main" id="{53B071DD-FAC1-5E38-7EC2-0FC6AE8CE9E5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15;p2">
              <a:extLst>
                <a:ext uri="{FF2B5EF4-FFF2-40B4-BE49-F238E27FC236}">
                  <a16:creationId xmlns:a16="http://schemas.microsoft.com/office/drawing/2014/main" id="{5BF99CC0-6024-403F-B73B-BB13C86BE0A4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16;p2">
              <a:extLst>
                <a:ext uri="{FF2B5EF4-FFF2-40B4-BE49-F238E27FC236}">
                  <a16:creationId xmlns:a16="http://schemas.microsoft.com/office/drawing/2014/main" id="{AF16099E-3C7D-2349-1F87-85B961D92FB9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17;p2">
              <a:extLst>
                <a:ext uri="{FF2B5EF4-FFF2-40B4-BE49-F238E27FC236}">
                  <a16:creationId xmlns:a16="http://schemas.microsoft.com/office/drawing/2014/main" id="{39F80679-D8B2-00E4-C689-D309BE74782F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18;p2">
              <a:extLst>
                <a:ext uri="{FF2B5EF4-FFF2-40B4-BE49-F238E27FC236}">
                  <a16:creationId xmlns:a16="http://schemas.microsoft.com/office/drawing/2014/main" id="{59935CD0-844D-680D-39A6-87687ED5FE97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19;p2">
              <a:extLst>
                <a:ext uri="{FF2B5EF4-FFF2-40B4-BE49-F238E27FC236}">
                  <a16:creationId xmlns:a16="http://schemas.microsoft.com/office/drawing/2014/main" id="{F00A1E03-09C7-7B97-00CB-86FD9957EAB7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0;p2">
              <a:extLst>
                <a:ext uri="{FF2B5EF4-FFF2-40B4-BE49-F238E27FC236}">
                  <a16:creationId xmlns:a16="http://schemas.microsoft.com/office/drawing/2014/main" id="{5900AEB8-1CB5-7CCE-1AFB-EBF685CD2B89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21;p2">
              <a:extLst>
                <a:ext uri="{FF2B5EF4-FFF2-40B4-BE49-F238E27FC236}">
                  <a16:creationId xmlns:a16="http://schemas.microsoft.com/office/drawing/2014/main" id="{3BBF8F3A-81AE-D4B9-1643-9129C048B23D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2;p2">
              <a:extLst>
                <a:ext uri="{FF2B5EF4-FFF2-40B4-BE49-F238E27FC236}">
                  <a16:creationId xmlns:a16="http://schemas.microsoft.com/office/drawing/2014/main" id="{88F184F2-1FC6-3F55-E023-BF340517183D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23;p2">
              <a:extLst>
                <a:ext uri="{FF2B5EF4-FFF2-40B4-BE49-F238E27FC236}">
                  <a16:creationId xmlns:a16="http://schemas.microsoft.com/office/drawing/2014/main" id="{DB58894A-5F0E-2423-5953-A5B20AA4E1A7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24;p2">
              <a:extLst>
                <a:ext uri="{FF2B5EF4-FFF2-40B4-BE49-F238E27FC236}">
                  <a16:creationId xmlns:a16="http://schemas.microsoft.com/office/drawing/2014/main" id="{3C6433B7-9581-0831-D3C2-6325B21C5453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25;p2">
              <a:extLst>
                <a:ext uri="{FF2B5EF4-FFF2-40B4-BE49-F238E27FC236}">
                  <a16:creationId xmlns:a16="http://schemas.microsoft.com/office/drawing/2014/main" id="{63847706-56F7-164E-267E-B6921DB06B96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26;p2">
              <a:extLst>
                <a:ext uri="{FF2B5EF4-FFF2-40B4-BE49-F238E27FC236}">
                  <a16:creationId xmlns:a16="http://schemas.microsoft.com/office/drawing/2014/main" id="{BE22318C-7289-1B3B-8F49-E21BC5CAEAE0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27;p2">
              <a:extLst>
                <a:ext uri="{FF2B5EF4-FFF2-40B4-BE49-F238E27FC236}">
                  <a16:creationId xmlns:a16="http://schemas.microsoft.com/office/drawing/2014/main" id="{5236DAD5-0E94-3D73-B28E-6FDD0C32EA17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28;p2">
              <a:extLst>
                <a:ext uri="{FF2B5EF4-FFF2-40B4-BE49-F238E27FC236}">
                  <a16:creationId xmlns:a16="http://schemas.microsoft.com/office/drawing/2014/main" id="{236D3A75-099A-5B58-EA11-71CB51BC6131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" name="!!Google Shape;49;p3">
            <a:extLst>
              <a:ext uri="{FF2B5EF4-FFF2-40B4-BE49-F238E27FC236}">
                <a16:creationId xmlns:a16="http://schemas.microsoft.com/office/drawing/2014/main" id="{DD7D9C5A-C03D-ADBF-6702-BF497AF35C50}"/>
              </a:ext>
            </a:extLst>
          </p:cNvPr>
          <p:cNvGrpSpPr/>
          <p:nvPr/>
        </p:nvGrpSpPr>
        <p:grpSpPr>
          <a:xfrm>
            <a:off x="658813" y="6529353"/>
            <a:ext cx="2743076" cy="657293"/>
            <a:chOff x="5227825" y="3000800"/>
            <a:chExt cx="1865150" cy="446925"/>
          </a:xfrm>
          <a:solidFill>
            <a:schemeClr val="bg1"/>
          </a:solidFill>
        </p:grpSpPr>
        <p:sp>
          <p:nvSpPr>
            <p:cNvPr id="7" name="Google Shape;50;p3">
              <a:extLst>
                <a:ext uri="{FF2B5EF4-FFF2-40B4-BE49-F238E27FC236}">
                  <a16:creationId xmlns:a16="http://schemas.microsoft.com/office/drawing/2014/main" id="{C1FB9890-CBDD-BED9-2851-D0C044C1BE2A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51;p3">
              <a:extLst>
                <a:ext uri="{FF2B5EF4-FFF2-40B4-BE49-F238E27FC236}">
                  <a16:creationId xmlns:a16="http://schemas.microsoft.com/office/drawing/2014/main" id="{38DF2548-4DC2-BA38-74BC-C3424F12BE77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52;p3">
              <a:extLst>
                <a:ext uri="{FF2B5EF4-FFF2-40B4-BE49-F238E27FC236}">
                  <a16:creationId xmlns:a16="http://schemas.microsoft.com/office/drawing/2014/main" id="{6D819CDF-50FE-0288-BBF2-382784C03F05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53;p3">
              <a:extLst>
                <a:ext uri="{FF2B5EF4-FFF2-40B4-BE49-F238E27FC236}">
                  <a16:creationId xmlns:a16="http://schemas.microsoft.com/office/drawing/2014/main" id="{44A71887-904B-32F9-DDF6-CBF74D763D3D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4;p3">
              <a:extLst>
                <a:ext uri="{FF2B5EF4-FFF2-40B4-BE49-F238E27FC236}">
                  <a16:creationId xmlns:a16="http://schemas.microsoft.com/office/drawing/2014/main" id="{A1ADF96B-8CAB-B0AA-31C2-E7D40698B71F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5;p3">
              <a:extLst>
                <a:ext uri="{FF2B5EF4-FFF2-40B4-BE49-F238E27FC236}">
                  <a16:creationId xmlns:a16="http://schemas.microsoft.com/office/drawing/2014/main" id="{426C8FBF-4BC3-0A1F-719A-AB694B1A7A2E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6;p3">
              <a:extLst>
                <a:ext uri="{FF2B5EF4-FFF2-40B4-BE49-F238E27FC236}">
                  <a16:creationId xmlns:a16="http://schemas.microsoft.com/office/drawing/2014/main" id="{0EB6A067-B147-E695-5756-B57C8F28E9BF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57;p3">
              <a:extLst>
                <a:ext uri="{FF2B5EF4-FFF2-40B4-BE49-F238E27FC236}">
                  <a16:creationId xmlns:a16="http://schemas.microsoft.com/office/drawing/2014/main" id="{1E3571C1-67F5-31FB-C113-7BF4F93686B2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58;p3">
              <a:extLst>
                <a:ext uri="{FF2B5EF4-FFF2-40B4-BE49-F238E27FC236}">
                  <a16:creationId xmlns:a16="http://schemas.microsoft.com/office/drawing/2014/main" id="{8406FE12-9E6F-8049-B674-45A8276DCC26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6" name="Google Shape;79;p3">
            <a:extLst>
              <a:ext uri="{FF2B5EF4-FFF2-40B4-BE49-F238E27FC236}">
                <a16:creationId xmlns:a16="http://schemas.microsoft.com/office/drawing/2014/main" id="{E1F84A04-28EC-5B68-7EEB-89B6F416C9E5}"/>
              </a:ext>
            </a:extLst>
          </p:cNvPr>
          <p:cNvSpPr/>
          <p:nvPr/>
        </p:nvSpPr>
        <p:spPr>
          <a:xfrm>
            <a:off x="5306812" y="396600"/>
            <a:ext cx="292800" cy="292800"/>
          </a:xfrm>
          <a:prstGeom prst="mathMultiply">
            <a:avLst>
              <a:gd name="adj1" fmla="val 23520"/>
            </a:avLst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!!Google Shape;77;p3">
            <a:extLst>
              <a:ext uri="{FF2B5EF4-FFF2-40B4-BE49-F238E27FC236}">
                <a16:creationId xmlns:a16="http://schemas.microsoft.com/office/drawing/2014/main" id="{18CC9F6C-53A4-77D5-C9B1-9780803837AA}"/>
              </a:ext>
            </a:extLst>
          </p:cNvPr>
          <p:cNvSpPr/>
          <p:nvPr/>
        </p:nvSpPr>
        <p:spPr>
          <a:xfrm>
            <a:off x="6566302" y="6219992"/>
            <a:ext cx="309361" cy="309361"/>
          </a:xfrm>
          <a:prstGeom prst="mathMultiply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C96E474-60C1-94B3-3678-5F72CEE3776C}"/>
              </a:ext>
            </a:extLst>
          </p:cNvPr>
          <p:cNvSpPr txBox="1"/>
          <p:nvPr/>
        </p:nvSpPr>
        <p:spPr>
          <a:xfrm>
            <a:off x="1073888" y="4773467"/>
            <a:ext cx="32308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ruslan.mudrak@veresen.com.ua</a:t>
            </a:r>
            <a:endParaRPr lang="uk-UA" sz="2000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AA328A7-C190-7B09-2F23-12F2A5315AE1}"/>
              </a:ext>
            </a:extLst>
          </p:cNvPr>
          <p:cNvSpPr txBox="1"/>
          <p:nvPr/>
        </p:nvSpPr>
        <p:spPr>
          <a:xfrm>
            <a:off x="1073888" y="4223780"/>
            <a:ext cx="2349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+38 (066) </a:t>
            </a:r>
            <a:r>
              <a:rPr lang="uk-UA" sz="2000" dirty="0">
                <a:solidFill>
                  <a:schemeClr val="bg1"/>
                </a:solidFill>
              </a:rPr>
              <a:t>171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uk-UA" sz="2000" dirty="0">
                <a:solidFill>
                  <a:schemeClr val="bg1"/>
                </a:solidFill>
              </a:rPr>
              <a:t>6</a:t>
            </a:r>
            <a:r>
              <a:rPr lang="en-US" sz="2000" dirty="0">
                <a:solidFill>
                  <a:schemeClr val="bg1"/>
                </a:solidFill>
              </a:rPr>
              <a:t>0</a:t>
            </a:r>
            <a:r>
              <a:rPr lang="ru-RU" sz="2000" dirty="0">
                <a:solidFill>
                  <a:schemeClr val="bg1"/>
                </a:solidFill>
              </a:rPr>
              <a:t> </a:t>
            </a:r>
            <a:r>
              <a:rPr lang="uk-UA" sz="2000" dirty="0">
                <a:solidFill>
                  <a:schemeClr val="bg1"/>
                </a:solidFill>
              </a:rPr>
              <a:t>1</a:t>
            </a:r>
            <a:r>
              <a:rPr lang="ru-RU" sz="2000" dirty="0">
                <a:solidFill>
                  <a:schemeClr val="bg1"/>
                </a:solidFill>
              </a:rPr>
              <a:t>0</a:t>
            </a:r>
            <a:endParaRPr lang="uk-UA" sz="2000" dirty="0">
              <a:solidFill>
                <a:schemeClr val="bg1"/>
              </a:solidFill>
            </a:endParaRPr>
          </a:p>
        </p:txBody>
      </p:sp>
      <p:pic>
        <p:nvPicPr>
          <p:cNvPr id="49" name="Графіка 48" descr="Speaker phone outline">
            <a:extLst>
              <a:ext uri="{FF2B5EF4-FFF2-40B4-BE49-F238E27FC236}">
                <a16:creationId xmlns:a16="http://schemas.microsoft.com/office/drawing/2014/main" id="{1A1CCDCB-7B22-73FE-2B73-F946668FB2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8888" y="4244689"/>
            <a:ext cx="360000" cy="360000"/>
          </a:xfrm>
          <a:prstGeom prst="rect">
            <a:avLst/>
          </a:prstGeom>
        </p:spPr>
      </p:pic>
      <p:pic>
        <p:nvPicPr>
          <p:cNvPr id="51" name="Графіка 50" descr="Open envelope outline">
            <a:extLst>
              <a:ext uri="{FF2B5EF4-FFF2-40B4-BE49-F238E27FC236}">
                <a16:creationId xmlns:a16="http://schemas.microsoft.com/office/drawing/2014/main" id="{CF3B0BD1-1294-F9BC-FCA1-2931956A6D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69" r="69"/>
          <a:stretch/>
        </p:blipFill>
        <p:spPr>
          <a:xfrm>
            <a:off x="671534" y="4808073"/>
            <a:ext cx="359500" cy="360000"/>
          </a:xfrm>
          <a:prstGeom prst="rect">
            <a:avLst/>
          </a:prstGeom>
        </p:spPr>
      </p:pic>
      <p:sp>
        <p:nvSpPr>
          <p:cNvPr id="57" name="!!Овал 56">
            <a:extLst>
              <a:ext uri="{FF2B5EF4-FFF2-40B4-BE49-F238E27FC236}">
                <a16:creationId xmlns:a16="http://schemas.microsoft.com/office/drawing/2014/main" id="{62359A7B-F0C4-5426-38D3-3DBCBE945B6D}"/>
              </a:ext>
            </a:extLst>
          </p:cNvPr>
          <p:cNvSpPr/>
          <p:nvPr/>
        </p:nvSpPr>
        <p:spPr>
          <a:xfrm>
            <a:off x="623888" y="5355524"/>
            <a:ext cx="450000" cy="450000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3" name="Графіка 52" descr="Internet outline">
            <a:extLst>
              <a:ext uri="{FF2B5EF4-FFF2-40B4-BE49-F238E27FC236}">
                <a16:creationId xmlns:a16="http://schemas.microsoft.com/office/drawing/2014/main" id="{23BC75F7-37A0-164A-789F-88A9C01E72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69" r="69"/>
          <a:stretch/>
        </p:blipFill>
        <p:spPr>
          <a:xfrm>
            <a:off x="669388" y="5386902"/>
            <a:ext cx="359500" cy="360000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DFF8545F-39FD-02D5-DE2E-00CDF568A28D}"/>
              </a:ext>
            </a:extLst>
          </p:cNvPr>
          <p:cNvSpPr txBox="1"/>
          <p:nvPr/>
        </p:nvSpPr>
        <p:spPr>
          <a:xfrm>
            <a:off x="1073888" y="5366847"/>
            <a:ext cx="32308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https://fayno.market/</a:t>
            </a:r>
            <a:endParaRPr lang="uk-UA" sz="2000" dirty="0">
              <a:solidFill>
                <a:schemeClr val="bg1"/>
              </a:solidFill>
            </a:endParaRPr>
          </a:p>
        </p:txBody>
      </p:sp>
      <p:pic>
        <p:nvPicPr>
          <p:cNvPr id="5" name="Рисунок 4" descr="Зображення, що містить особа, одежа, Обличчя людини, Лікоть&#10;&#10;Автоматично згенерований опис">
            <a:extLst>
              <a:ext uri="{FF2B5EF4-FFF2-40B4-BE49-F238E27FC236}">
                <a16:creationId xmlns:a16="http://schemas.microsoft.com/office/drawing/2014/main" id="{15EFDBAC-4A40-A424-F672-D1C8C393DDF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477" y="-1322428"/>
            <a:ext cx="7979352" cy="919112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6574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8" name="Picture 10" descr="Сусіди, зустрічайте новий Файно Маркет у Черкасах - Fayno Market">
            <a:extLst>
              <a:ext uri="{FF2B5EF4-FFF2-40B4-BE49-F238E27FC236}">
                <a16:creationId xmlns:a16="http://schemas.microsoft.com/office/drawing/2014/main" id="{0371CFED-9726-A38E-5210-DE5E0B31D6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13722" y="0"/>
            <a:ext cx="103124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кутник 19">
            <a:extLst>
              <a:ext uri="{FF2B5EF4-FFF2-40B4-BE49-F238E27FC236}">
                <a16:creationId xmlns:a16="http://schemas.microsoft.com/office/drawing/2014/main" id="{23FBAB0A-8D5C-D6A0-B33F-D749DB346CFC}"/>
              </a:ext>
            </a:extLst>
          </p:cNvPr>
          <p:cNvSpPr/>
          <p:nvPr/>
        </p:nvSpPr>
        <p:spPr>
          <a:xfrm>
            <a:off x="-5726801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2" name="Групувати 11">
            <a:extLst>
              <a:ext uri="{FF2B5EF4-FFF2-40B4-BE49-F238E27FC236}">
                <a16:creationId xmlns:a16="http://schemas.microsoft.com/office/drawing/2014/main" id="{68A3D8BF-9332-32EB-78D4-2C6CDC88E79F}"/>
              </a:ext>
            </a:extLst>
          </p:cNvPr>
          <p:cNvGrpSpPr/>
          <p:nvPr/>
        </p:nvGrpSpPr>
        <p:grpSpPr>
          <a:xfrm>
            <a:off x="3581325" y="-125088"/>
            <a:ext cx="13175667" cy="7150728"/>
            <a:chOff x="-6522720" y="-347878"/>
            <a:chExt cx="4786769" cy="2536982"/>
          </a:xfrm>
        </p:grpSpPr>
        <p:sp>
          <p:nvSpPr>
            <p:cNvPr id="13" name="Прямокутник 50">
              <a:extLst>
                <a:ext uri="{FF2B5EF4-FFF2-40B4-BE49-F238E27FC236}">
                  <a16:creationId xmlns:a16="http://schemas.microsoft.com/office/drawing/2014/main" id="{A43C604E-58A4-C0F7-FCCC-5D5E71CF6FD2}"/>
                </a:ext>
              </a:extLst>
            </p:cNvPr>
            <p:cNvSpPr/>
            <p:nvPr/>
          </p:nvSpPr>
          <p:spPr>
            <a:xfrm>
              <a:off x="-6522720" y="-153615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A82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к 50">
              <a:extLst>
                <a:ext uri="{FF2B5EF4-FFF2-40B4-BE49-F238E27FC236}">
                  <a16:creationId xmlns:a16="http://schemas.microsoft.com/office/drawing/2014/main" id="{C6E13342-C5E4-7F04-A7FA-02591D88025B}"/>
                </a:ext>
              </a:extLst>
            </p:cNvPr>
            <p:cNvSpPr/>
            <p:nvPr/>
          </p:nvSpPr>
          <p:spPr>
            <a:xfrm>
              <a:off x="-6399391" y="-347878"/>
              <a:ext cx="4663440" cy="2342719"/>
            </a:xfrm>
            <a:custGeom>
              <a:avLst/>
              <a:gdLst>
                <a:gd name="connsiteX0" fmla="*/ 0 w 4236720"/>
                <a:gd name="connsiteY0" fmla="*/ 0 h 2129359"/>
                <a:gd name="connsiteX1" fmla="*/ 4236720 w 4236720"/>
                <a:gd name="connsiteY1" fmla="*/ 0 h 2129359"/>
                <a:gd name="connsiteX2" fmla="*/ 4236720 w 4236720"/>
                <a:gd name="connsiteY2" fmla="*/ 2129359 h 2129359"/>
                <a:gd name="connsiteX3" fmla="*/ 0 w 4236720"/>
                <a:gd name="connsiteY3" fmla="*/ 2129359 h 2129359"/>
                <a:gd name="connsiteX4" fmla="*/ 0 w 4236720"/>
                <a:gd name="connsiteY4" fmla="*/ 0 h 212935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42672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251279"/>
                <a:gd name="connsiteX1" fmla="*/ 4663440 w 4663440"/>
                <a:gd name="connsiteY1" fmla="*/ 121920 h 2251279"/>
                <a:gd name="connsiteX2" fmla="*/ 4663440 w 4663440"/>
                <a:gd name="connsiteY2" fmla="*/ 2251279 h 2251279"/>
                <a:gd name="connsiteX3" fmla="*/ 914400 w 4663440"/>
                <a:gd name="connsiteY3" fmla="*/ 2251279 h 2251279"/>
                <a:gd name="connsiteX4" fmla="*/ 0 w 4663440"/>
                <a:gd name="connsiteY4" fmla="*/ 0 h 2251279"/>
                <a:gd name="connsiteX0" fmla="*/ 0 w 4663440"/>
                <a:gd name="connsiteY0" fmla="*/ 0 h 2342719"/>
                <a:gd name="connsiteX1" fmla="*/ 4663440 w 4663440"/>
                <a:gd name="connsiteY1" fmla="*/ 121920 h 2342719"/>
                <a:gd name="connsiteX2" fmla="*/ 4663440 w 4663440"/>
                <a:gd name="connsiteY2" fmla="*/ 2251279 h 2342719"/>
                <a:gd name="connsiteX3" fmla="*/ 426720 w 4663440"/>
                <a:gd name="connsiteY3" fmla="*/ 2342719 h 2342719"/>
                <a:gd name="connsiteX4" fmla="*/ 0 w 4663440"/>
                <a:gd name="connsiteY4" fmla="*/ 0 h 234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3440" h="2342719">
                  <a:moveTo>
                    <a:pt x="0" y="0"/>
                  </a:moveTo>
                  <a:lnTo>
                    <a:pt x="4663440" y="121920"/>
                  </a:lnTo>
                  <a:lnTo>
                    <a:pt x="4663440" y="2251279"/>
                  </a:lnTo>
                  <a:lnTo>
                    <a:pt x="426720" y="2342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6" name="Овал 5">
            <a:extLst>
              <a:ext uri="{FF2B5EF4-FFF2-40B4-BE49-F238E27FC236}">
                <a16:creationId xmlns:a16="http://schemas.microsoft.com/office/drawing/2014/main" id="{E9A295E3-3668-D2E0-FD57-EFFEF0FBB5C6}"/>
              </a:ext>
            </a:extLst>
          </p:cNvPr>
          <p:cNvSpPr/>
          <p:nvPr/>
        </p:nvSpPr>
        <p:spPr>
          <a:xfrm>
            <a:off x="8805129" y="450363"/>
            <a:ext cx="2728060" cy="2728060"/>
          </a:xfrm>
          <a:prstGeom prst="ellipse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DC6C76B-53E1-EABF-8C4B-8E772172C7CA}"/>
              </a:ext>
            </a:extLst>
          </p:cNvPr>
          <p:cNvSpPr txBox="1"/>
          <p:nvPr/>
        </p:nvSpPr>
        <p:spPr>
          <a:xfrm>
            <a:off x="9238450" y="1014183"/>
            <a:ext cx="18614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8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190</a:t>
            </a:r>
            <a:endParaRPr lang="uk-UA" sz="54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34FA74D-A710-944B-E0AC-FCC1A5C8EAE3}"/>
              </a:ext>
            </a:extLst>
          </p:cNvPr>
          <p:cNvSpPr txBox="1"/>
          <p:nvPr/>
        </p:nvSpPr>
        <p:spPr>
          <a:xfrm>
            <a:off x="6938426" y="1388360"/>
            <a:ext cx="16648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800" dirty="0">
                <a:latin typeface="Akrobat Light" panose="00000500000000000000" pitchFamily="50" charset="-52"/>
              </a:rPr>
              <a:t>За 12 років 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3B53D312-3DA9-78CA-951A-80EBFA440C1A}"/>
              </a:ext>
            </a:extLst>
          </p:cNvPr>
          <p:cNvSpPr/>
          <p:nvPr/>
        </p:nvSpPr>
        <p:spPr>
          <a:xfrm>
            <a:off x="5471434" y="1241321"/>
            <a:ext cx="1296880" cy="129687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12BB11-AB45-7917-2587-EA279745625B}"/>
              </a:ext>
            </a:extLst>
          </p:cNvPr>
          <p:cNvSpPr txBox="1"/>
          <p:nvPr/>
        </p:nvSpPr>
        <p:spPr>
          <a:xfrm>
            <a:off x="5486107" y="1190496"/>
            <a:ext cx="116410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10</a:t>
            </a:r>
            <a:endParaRPr lang="uk-UA" sz="40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cxnSp>
        <p:nvCxnSpPr>
          <p:cNvPr id="35" name="Пряма зі стрілкою 34">
            <a:extLst>
              <a:ext uri="{FF2B5EF4-FFF2-40B4-BE49-F238E27FC236}">
                <a16:creationId xmlns:a16="http://schemas.microsoft.com/office/drawing/2014/main" id="{22BBDB22-2EDC-010C-1505-16EFEBA490BC}"/>
              </a:ext>
            </a:extLst>
          </p:cNvPr>
          <p:cNvCxnSpPr>
            <a:cxnSpLocks/>
          </p:cNvCxnSpPr>
          <p:nvPr/>
        </p:nvCxnSpPr>
        <p:spPr>
          <a:xfrm>
            <a:off x="7029450" y="1885950"/>
            <a:ext cx="1487871" cy="3810"/>
          </a:xfrm>
          <a:prstGeom prst="straightConnector1">
            <a:avLst/>
          </a:prstGeom>
          <a:ln cap="rnd">
            <a:solidFill>
              <a:srgbClr val="2B6AE9"/>
            </a:solidFill>
            <a:prstDash val="sys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F8BDC0B4-2F00-E59F-D6D5-E58A7028B219}"/>
              </a:ext>
            </a:extLst>
          </p:cNvPr>
          <p:cNvSpPr txBox="1"/>
          <p:nvPr/>
        </p:nvSpPr>
        <p:spPr>
          <a:xfrm>
            <a:off x="9457571" y="2034571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магазинів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520CB55-10A3-C53E-4CB3-9B6F146BD418}"/>
              </a:ext>
            </a:extLst>
          </p:cNvPr>
          <p:cNvSpPr txBox="1"/>
          <p:nvPr/>
        </p:nvSpPr>
        <p:spPr>
          <a:xfrm>
            <a:off x="5433223" y="1911580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solidFill>
                  <a:schemeClr val="bg1"/>
                </a:solidFill>
                <a:latin typeface="Akrobat Light" panose="00000500000000000000" pitchFamily="50" charset="-52"/>
              </a:rPr>
              <a:t>магазинів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AC6FDA82-E237-8DA0-1EB7-814E0993C8D1}"/>
              </a:ext>
            </a:extLst>
          </p:cNvPr>
          <p:cNvSpPr/>
          <p:nvPr/>
        </p:nvSpPr>
        <p:spPr>
          <a:xfrm>
            <a:off x="7151408" y="3460453"/>
            <a:ext cx="1928338" cy="1928336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FACAB28-ADC4-3682-A8E0-74ED36CD72BC}"/>
              </a:ext>
            </a:extLst>
          </p:cNvPr>
          <p:cNvSpPr txBox="1"/>
          <p:nvPr/>
        </p:nvSpPr>
        <p:spPr>
          <a:xfrm>
            <a:off x="7184869" y="3514919"/>
            <a:ext cx="18614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8000" b="1" dirty="0">
                <a:latin typeface="Akrobat Black" panose="00000A00000000000000" pitchFamily="50" charset="-52"/>
              </a:rPr>
              <a:t>43</a:t>
            </a:r>
            <a:endParaRPr lang="uk-UA" sz="5400" dirty="0">
              <a:latin typeface="Akrobat Black" panose="00000A00000000000000" pitchFamily="50" charset="-52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B033199-40E0-C262-C66A-70AB42A7C779}"/>
              </a:ext>
            </a:extLst>
          </p:cNvPr>
          <p:cNvSpPr txBox="1"/>
          <p:nvPr/>
        </p:nvSpPr>
        <p:spPr>
          <a:xfrm>
            <a:off x="7403990" y="4564075"/>
            <a:ext cx="1423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2000" dirty="0">
                <a:latin typeface="Akrobat Light" panose="00000500000000000000" pitchFamily="50" charset="-52"/>
              </a:rPr>
              <a:t>магазин</a:t>
            </a:r>
            <a:r>
              <a:rPr lang="ru-RU" sz="2000" dirty="0">
                <a:latin typeface="Akrobat Light" panose="00000500000000000000" pitchFamily="50" charset="-52"/>
              </a:rPr>
              <a:t>а</a:t>
            </a:r>
            <a:endParaRPr lang="uk-UA" sz="2000" dirty="0">
              <a:latin typeface="Akrobat Light" panose="00000500000000000000" pitchFamily="50" charset="-52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C962621-5840-EEDC-9B66-6A948B2CA1EC}"/>
              </a:ext>
            </a:extLst>
          </p:cNvPr>
          <p:cNvSpPr txBox="1"/>
          <p:nvPr/>
        </p:nvSpPr>
        <p:spPr>
          <a:xfrm>
            <a:off x="7600515" y="4837933"/>
            <a:ext cx="10301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latin typeface="Akrobat Light" panose="00000500000000000000" pitchFamily="50" charset="-52"/>
              </a:rPr>
              <a:t>(</a:t>
            </a:r>
            <a:r>
              <a:rPr lang="uk-UA" sz="1600" dirty="0">
                <a:latin typeface="Akrobat Light" panose="00000500000000000000" pitchFamily="50" charset="-52"/>
              </a:rPr>
              <a:t>2022-2023</a:t>
            </a:r>
            <a:r>
              <a:rPr lang="en-US" sz="1600" dirty="0">
                <a:latin typeface="Akrobat Light" panose="00000500000000000000" pitchFamily="50" charset="-52"/>
              </a:rPr>
              <a:t>)</a:t>
            </a:r>
            <a:endParaRPr lang="uk-UA" sz="1600" dirty="0">
              <a:latin typeface="Akrobat Light" panose="00000500000000000000" pitchFamily="50" charset="-52"/>
            </a:endParaRPr>
          </a:p>
        </p:txBody>
      </p:sp>
      <p:pic>
        <p:nvPicPr>
          <p:cNvPr id="2060" name="Picture 12">
            <a:extLst>
              <a:ext uri="{FF2B5EF4-FFF2-40B4-BE49-F238E27FC236}">
                <a16:creationId xmlns:a16="http://schemas.microsoft.com/office/drawing/2014/main" id="{1758120F-0149-E5FC-1BD8-A8643600D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9211" y="3500549"/>
            <a:ext cx="2103971" cy="2103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Овал 46">
            <a:extLst>
              <a:ext uri="{FF2B5EF4-FFF2-40B4-BE49-F238E27FC236}">
                <a16:creationId xmlns:a16="http://schemas.microsoft.com/office/drawing/2014/main" id="{24FFB223-3149-0FD9-63FB-E1FA1F787C0F}"/>
              </a:ext>
            </a:extLst>
          </p:cNvPr>
          <p:cNvSpPr/>
          <p:nvPr/>
        </p:nvSpPr>
        <p:spPr>
          <a:xfrm>
            <a:off x="8659953" y="305188"/>
            <a:ext cx="3018410" cy="3018410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EF6ED99F-4E8A-D203-A74B-16E2D643E696}"/>
              </a:ext>
            </a:extLst>
          </p:cNvPr>
          <p:cNvSpPr/>
          <p:nvPr/>
        </p:nvSpPr>
        <p:spPr>
          <a:xfrm>
            <a:off x="5368958" y="1138845"/>
            <a:ext cx="1501832" cy="1501830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DBC22CFE-CEA3-B903-DD57-7511E6CF21ED}"/>
              </a:ext>
            </a:extLst>
          </p:cNvPr>
          <p:cNvSpPr/>
          <p:nvPr/>
        </p:nvSpPr>
        <p:spPr>
          <a:xfrm>
            <a:off x="7042455" y="3351500"/>
            <a:ext cx="2146244" cy="2146242"/>
          </a:xfrm>
          <a:prstGeom prst="ellipse">
            <a:avLst/>
          </a:prstGeom>
          <a:noFill/>
          <a:ln>
            <a:solidFill>
              <a:srgbClr val="E9A8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!!Freeform 2">
            <a:extLst>
              <a:ext uri="{FF2B5EF4-FFF2-40B4-BE49-F238E27FC236}">
                <a16:creationId xmlns:a16="http://schemas.microsoft.com/office/drawing/2014/main" id="{B949B00E-A276-14C2-6623-D16DED6C43AF}"/>
              </a:ext>
            </a:extLst>
          </p:cNvPr>
          <p:cNvSpPr/>
          <p:nvPr/>
        </p:nvSpPr>
        <p:spPr>
          <a:xfrm>
            <a:off x="620263" y="425876"/>
            <a:ext cx="2212693" cy="771168"/>
          </a:xfrm>
          <a:custGeom>
            <a:avLst/>
            <a:gdLst/>
            <a:ahLst/>
            <a:cxnLst/>
            <a:rect l="l" t="t" r="r" b="b"/>
            <a:pathLst>
              <a:path w="18322762" h="1281633">
                <a:moveTo>
                  <a:pt x="0" y="0"/>
                </a:moveTo>
                <a:lnTo>
                  <a:pt x="18322762" y="0"/>
                </a:lnTo>
                <a:lnTo>
                  <a:pt x="18322762" y="1281633"/>
                </a:lnTo>
                <a:lnTo>
                  <a:pt x="0" y="1281633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12433" r="-385826"/>
            </a:stretch>
          </a:blipFill>
        </p:spPr>
        <p:txBody>
          <a:bodyPr/>
          <a:lstStyle/>
          <a:p>
            <a:endParaRPr lang="uk-UA"/>
          </a:p>
        </p:txBody>
      </p:sp>
      <p:sp>
        <p:nvSpPr>
          <p:cNvPr id="4" name="Паралелограм 3078">
            <a:extLst>
              <a:ext uri="{FF2B5EF4-FFF2-40B4-BE49-F238E27FC236}">
                <a16:creationId xmlns:a16="http://schemas.microsoft.com/office/drawing/2014/main" id="{FC9A3A22-F209-F83F-3857-768D9110B152}"/>
              </a:ext>
            </a:extLst>
          </p:cNvPr>
          <p:cNvSpPr/>
          <p:nvPr/>
        </p:nvSpPr>
        <p:spPr>
          <a:xfrm>
            <a:off x="4768889" y="5846842"/>
            <a:ext cx="6764300" cy="908084"/>
          </a:xfrm>
          <a:prstGeom prst="parallelogram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78E554-87A4-8D4E-151E-C1DFA8F28518}"/>
              </a:ext>
            </a:extLst>
          </p:cNvPr>
          <p:cNvSpPr txBox="1"/>
          <p:nvPr/>
        </p:nvSpPr>
        <p:spPr>
          <a:xfrm>
            <a:off x="5117508" y="5885296"/>
            <a:ext cx="615236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+mj-lt"/>
              </a:rPr>
              <a:t>Топ-10</a:t>
            </a:r>
            <a:r>
              <a:rPr lang="ru-RU" sz="2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українських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продуктових</a:t>
            </a:r>
            <a:r>
              <a:rPr lang="ru-RU" sz="2000" b="1" dirty="0">
                <a:solidFill>
                  <a:schemeClr val="bg1"/>
                </a:solidFill>
              </a:rPr>
              <a:t> мереж за </a:t>
            </a:r>
            <a:r>
              <a:rPr lang="ru-RU" sz="2000" b="1" dirty="0" err="1">
                <a:solidFill>
                  <a:schemeClr val="bg1"/>
                </a:solidFill>
              </a:rPr>
              <a:t>кількістю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магазинів</a:t>
            </a:r>
            <a:r>
              <a:rPr lang="ru-RU" sz="2000" b="1" dirty="0">
                <a:solidFill>
                  <a:schemeClr val="bg1"/>
                </a:solidFill>
              </a:rPr>
              <a:t> і темпами </a:t>
            </a:r>
            <a:r>
              <a:rPr lang="ru-RU" sz="2000" b="1" dirty="0" err="1">
                <a:solidFill>
                  <a:schemeClr val="bg1"/>
                </a:solidFill>
              </a:rPr>
              <a:t>відкритів</a:t>
            </a:r>
            <a:r>
              <a:rPr lang="ru-RU" sz="2000" b="1" dirty="0">
                <a:solidFill>
                  <a:schemeClr val="bg1"/>
                </a:solidFill>
              </a:rPr>
              <a:t> у 2023 </a:t>
            </a:r>
            <a:r>
              <a:rPr lang="ru-RU" sz="2000" b="1" dirty="0" err="1">
                <a:solidFill>
                  <a:schemeClr val="bg1"/>
                </a:solidFill>
              </a:rPr>
              <a:t>році</a:t>
            </a:r>
            <a:r>
              <a:rPr lang="ru-RU" sz="2000" b="1" dirty="0">
                <a:solidFill>
                  <a:schemeClr val="bg1"/>
                </a:solidFill>
              </a:rPr>
              <a:t> за </a:t>
            </a:r>
            <a:r>
              <a:rPr lang="ru-RU" sz="2000" b="1" dirty="0" err="1">
                <a:solidFill>
                  <a:schemeClr val="bg1"/>
                </a:solidFill>
              </a:rPr>
              <a:t>версією</a:t>
            </a:r>
            <a:r>
              <a:rPr lang="ru-RU" sz="2000" b="1" dirty="0">
                <a:solidFill>
                  <a:schemeClr val="bg1"/>
                </a:solidFill>
              </a:rPr>
              <a:t> </a:t>
            </a:r>
            <a:r>
              <a:rPr lang="en-US" sz="2000" b="1" dirty="0">
                <a:solidFill>
                  <a:schemeClr val="bg1"/>
                </a:solidFill>
              </a:rPr>
              <a:t>RAU</a:t>
            </a:r>
            <a:endParaRPr lang="uk-UA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0462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/>
      <p:bldP spid="43" grpId="0"/>
      <p:bldP spid="45" grpId="0"/>
      <p:bldP spid="4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Зображення, що містить колесо, Екстремальний спорт, транспортний засіб, небо&#10;&#10;Автоматично згенерований опис">
            <a:extLst>
              <a:ext uri="{FF2B5EF4-FFF2-40B4-BE49-F238E27FC236}">
                <a16:creationId xmlns:a16="http://schemas.microsoft.com/office/drawing/2014/main" id="{800DAA5F-4143-5D1E-25EE-7F663FFBA8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32" r="16933" b="12033"/>
          <a:stretch/>
        </p:blipFill>
        <p:spPr>
          <a:xfrm>
            <a:off x="7" y="-1"/>
            <a:ext cx="12191993" cy="6858001"/>
          </a:xfrm>
          <a:prstGeom prst="rect">
            <a:avLst/>
          </a:prstGeom>
        </p:spPr>
      </p:pic>
      <p:sp>
        <p:nvSpPr>
          <p:cNvPr id="6" name="Прямокутник 5">
            <a:extLst>
              <a:ext uri="{FF2B5EF4-FFF2-40B4-BE49-F238E27FC236}">
                <a16:creationId xmlns:a16="http://schemas.microsoft.com/office/drawing/2014/main" id="{B2B7452D-FAB1-BA60-A084-678B9303C999}"/>
              </a:ext>
            </a:extLst>
          </p:cNvPr>
          <p:cNvSpPr/>
          <p:nvPr/>
        </p:nvSpPr>
        <p:spPr>
          <a:xfrm>
            <a:off x="-7" y="-2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6550FD-4B55-414A-BD2C-DB5A0FA20B77}"/>
              </a:ext>
            </a:extLst>
          </p:cNvPr>
          <p:cNvSpPr txBox="1"/>
          <p:nvPr/>
        </p:nvSpPr>
        <p:spPr>
          <a:xfrm>
            <a:off x="517540" y="1997839"/>
            <a:ext cx="8684239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Як </a:t>
            </a:r>
            <a:r>
              <a:rPr lang="uk-UA" sz="6000" b="1" dirty="0">
                <a:ln w="12700">
                  <a:solidFill>
                    <a:srgbClr val="E9A82A"/>
                  </a:solidFill>
                </a:ln>
                <a:noFill/>
                <a:latin typeface="Akrobat Black" panose="00000A00000000000000" pitchFamily="50" charset="-52"/>
              </a:rPr>
              <a:t>не втратити </a:t>
            </a:r>
            <a:r>
              <a:rPr lang="uk-UA" sz="60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операційну ефективність при постійному рості?</a:t>
            </a:r>
          </a:p>
        </p:txBody>
      </p:sp>
      <p:grpSp>
        <p:nvGrpSpPr>
          <p:cNvPr id="7" name="Google Shape;49;p3">
            <a:extLst>
              <a:ext uri="{FF2B5EF4-FFF2-40B4-BE49-F238E27FC236}">
                <a16:creationId xmlns:a16="http://schemas.microsoft.com/office/drawing/2014/main" id="{6BB83883-1A71-EB6D-5893-C687A1F158DE}"/>
              </a:ext>
            </a:extLst>
          </p:cNvPr>
          <p:cNvGrpSpPr/>
          <p:nvPr/>
        </p:nvGrpSpPr>
        <p:grpSpPr>
          <a:xfrm>
            <a:off x="931225" y="-296666"/>
            <a:ext cx="2743076" cy="657293"/>
            <a:chOff x="5227825" y="3000800"/>
            <a:chExt cx="1865150" cy="446925"/>
          </a:xfrm>
          <a:solidFill>
            <a:schemeClr val="bg1"/>
          </a:solidFill>
        </p:grpSpPr>
        <p:sp>
          <p:nvSpPr>
            <p:cNvPr id="8" name="Google Shape;50;p3">
              <a:extLst>
                <a:ext uri="{FF2B5EF4-FFF2-40B4-BE49-F238E27FC236}">
                  <a16:creationId xmlns:a16="http://schemas.microsoft.com/office/drawing/2014/main" id="{C0F11D45-266E-FD4D-DCD2-85DF2603BE1B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51;p3">
              <a:extLst>
                <a:ext uri="{FF2B5EF4-FFF2-40B4-BE49-F238E27FC236}">
                  <a16:creationId xmlns:a16="http://schemas.microsoft.com/office/drawing/2014/main" id="{891530CE-80C8-FD6D-9C17-083EC34D6C6D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52;p3">
              <a:extLst>
                <a:ext uri="{FF2B5EF4-FFF2-40B4-BE49-F238E27FC236}">
                  <a16:creationId xmlns:a16="http://schemas.microsoft.com/office/drawing/2014/main" id="{E9AE1A94-5C29-1E8D-8663-4AE83DDC5C17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53;p3">
              <a:extLst>
                <a:ext uri="{FF2B5EF4-FFF2-40B4-BE49-F238E27FC236}">
                  <a16:creationId xmlns:a16="http://schemas.microsoft.com/office/drawing/2014/main" id="{D8BEC3B6-EF10-EF71-4D68-52CFCED7321D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54;p3">
              <a:extLst>
                <a:ext uri="{FF2B5EF4-FFF2-40B4-BE49-F238E27FC236}">
                  <a16:creationId xmlns:a16="http://schemas.microsoft.com/office/drawing/2014/main" id="{8AA03FB0-D3BD-A534-EB6F-46591D0C8BD0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55;p3">
              <a:extLst>
                <a:ext uri="{FF2B5EF4-FFF2-40B4-BE49-F238E27FC236}">
                  <a16:creationId xmlns:a16="http://schemas.microsoft.com/office/drawing/2014/main" id="{B09414BA-5C36-BAAD-FDC2-1F5564C745EC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56;p3">
              <a:extLst>
                <a:ext uri="{FF2B5EF4-FFF2-40B4-BE49-F238E27FC236}">
                  <a16:creationId xmlns:a16="http://schemas.microsoft.com/office/drawing/2014/main" id="{BE4F39C6-4802-BAC7-E300-6948412DD799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57;p3">
              <a:extLst>
                <a:ext uri="{FF2B5EF4-FFF2-40B4-BE49-F238E27FC236}">
                  <a16:creationId xmlns:a16="http://schemas.microsoft.com/office/drawing/2014/main" id="{18EB4710-F887-673F-9406-0EDDE2767871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58;p3">
              <a:extLst>
                <a:ext uri="{FF2B5EF4-FFF2-40B4-BE49-F238E27FC236}">
                  <a16:creationId xmlns:a16="http://schemas.microsoft.com/office/drawing/2014/main" id="{953B2164-A560-F116-FBF5-72DCC5EFDDB8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7" name="Google Shape;59;p3">
            <a:extLst>
              <a:ext uri="{FF2B5EF4-FFF2-40B4-BE49-F238E27FC236}">
                <a16:creationId xmlns:a16="http://schemas.microsoft.com/office/drawing/2014/main" id="{922B553E-349C-D5FC-A7FD-A4F1EAB2A153}"/>
              </a:ext>
            </a:extLst>
          </p:cNvPr>
          <p:cNvSpPr/>
          <p:nvPr/>
        </p:nvSpPr>
        <p:spPr>
          <a:xfrm>
            <a:off x="2652927" y="6095628"/>
            <a:ext cx="1378800" cy="1378800"/>
          </a:xfrm>
          <a:prstGeom prst="ellipse">
            <a:avLst/>
          </a:prstGeom>
          <a:noFill/>
          <a:ln w="19050" cap="flat" cmpd="sng">
            <a:solidFill>
              <a:srgbClr val="E9A82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8" name="Google Shape;60;p3">
            <a:extLst>
              <a:ext uri="{FF2B5EF4-FFF2-40B4-BE49-F238E27FC236}">
                <a16:creationId xmlns:a16="http://schemas.microsoft.com/office/drawing/2014/main" id="{F155845E-0EAE-804B-C626-1B634851E7CA}"/>
              </a:ext>
            </a:extLst>
          </p:cNvPr>
          <p:cNvGrpSpPr/>
          <p:nvPr/>
        </p:nvGrpSpPr>
        <p:grpSpPr>
          <a:xfrm rot="10800000">
            <a:off x="10721113" y="6365103"/>
            <a:ext cx="1145952" cy="657282"/>
            <a:chOff x="864825" y="2381600"/>
            <a:chExt cx="802825" cy="460475"/>
          </a:xfrm>
        </p:grpSpPr>
        <p:sp>
          <p:nvSpPr>
            <p:cNvPr id="19" name="Google Shape;61;p3">
              <a:extLst>
                <a:ext uri="{FF2B5EF4-FFF2-40B4-BE49-F238E27FC236}">
                  <a16:creationId xmlns:a16="http://schemas.microsoft.com/office/drawing/2014/main" id="{95DF05CA-53DF-2A25-EB71-4640A56946B9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62;p3">
              <a:extLst>
                <a:ext uri="{FF2B5EF4-FFF2-40B4-BE49-F238E27FC236}">
                  <a16:creationId xmlns:a16="http://schemas.microsoft.com/office/drawing/2014/main" id="{AED8F9EE-DF39-FC20-71FD-383E53347FED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63;p3">
              <a:extLst>
                <a:ext uri="{FF2B5EF4-FFF2-40B4-BE49-F238E27FC236}">
                  <a16:creationId xmlns:a16="http://schemas.microsoft.com/office/drawing/2014/main" id="{F8F43E33-B9C1-A4C9-67C8-5AF9CF420436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64;p3">
              <a:extLst>
                <a:ext uri="{FF2B5EF4-FFF2-40B4-BE49-F238E27FC236}">
                  <a16:creationId xmlns:a16="http://schemas.microsoft.com/office/drawing/2014/main" id="{12D819F8-9AB4-FF35-893C-0E184DB824C6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65;p3">
              <a:extLst>
                <a:ext uri="{FF2B5EF4-FFF2-40B4-BE49-F238E27FC236}">
                  <a16:creationId xmlns:a16="http://schemas.microsoft.com/office/drawing/2014/main" id="{9188CB9D-2880-2C9C-6097-8739B0C847AC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66;p3">
              <a:extLst>
                <a:ext uri="{FF2B5EF4-FFF2-40B4-BE49-F238E27FC236}">
                  <a16:creationId xmlns:a16="http://schemas.microsoft.com/office/drawing/2014/main" id="{D45779EC-5506-0879-2A90-72CF5B92C038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67;p3">
              <a:extLst>
                <a:ext uri="{FF2B5EF4-FFF2-40B4-BE49-F238E27FC236}">
                  <a16:creationId xmlns:a16="http://schemas.microsoft.com/office/drawing/2014/main" id="{23EA18BD-ED8E-EA8C-A1C6-87B9784D2A7F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68;p3">
              <a:extLst>
                <a:ext uri="{FF2B5EF4-FFF2-40B4-BE49-F238E27FC236}">
                  <a16:creationId xmlns:a16="http://schemas.microsoft.com/office/drawing/2014/main" id="{132AB40B-2DE8-5F32-2DB9-D8CDF36626A3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69;p3">
              <a:extLst>
                <a:ext uri="{FF2B5EF4-FFF2-40B4-BE49-F238E27FC236}">
                  <a16:creationId xmlns:a16="http://schemas.microsoft.com/office/drawing/2014/main" id="{61E125B8-9002-0B47-D7AD-2CDC247033C1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0;p3">
              <a:extLst>
                <a:ext uri="{FF2B5EF4-FFF2-40B4-BE49-F238E27FC236}">
                  <a16:creationId xmlns:a16="http://schemas.microsoft.com/office/drawing/2014/main" id="{90DCCE3C-C7F7-F5BD-8A3F-86ADF8276DBA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1;p3">
              <a:extLst>
                <a:ext uri="{FF2B5EF4-FFF2-40B4-BE49-F238E27FC236}">
                  <a16:creationId xmlns:a16="http://schemas.microsoft.com/office/drawing/2014/main" id="{BE6B2828-FA2C-7699-72FB-6048CA230433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;p3">
              <a:extLst>
                <a:ext uri="{FF2B5EF4-FFF2-40B4-BE49-F238E27FC236}">
                  <a16:creationId xmlns:a16="http://schemas.microsoft.com/office/drawing/2014/main" id="{60E2676E-807F-795F-0107-9D470711DF7D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3;p3">
              <a:extLst>
                <a:ext uri="{FF2B5EF4-FFF2-40B4-BE49-F238E27FC236}">
                  <a16:creationId xmlns:a16="http://schemas.microsoft.com/office/drawing/2014/main" id="{AA916F5C-7906-975F-5BEB-E8807F5EB8BF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4;p3">
              <a:extLst>
                <a:ext uri="{FF2B5EF4-FFF2-40B4-BE49-F238E27FC236}">
                  <a16:creationId xmlns:a16="http://schemas.microsoft.com/office/drawing/2014/main" id="{DC28BD86-7EFA-144F-3E82-14ADD4A4FBF1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5;p3">
              <a:extLst>
                <a:ext uri="{FF2B5EF4-FFF2-40B4-BE49-F238E27FC236}">
                  <a16:creationId xmlns:a16="http://schemas.microsoft.com/office/drawing/2014/main" id="{83E63AB4-6DC1-F758-5EE2-0A225A2AC92F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6;p3">
              <a:extLst>
                <a:ext uri="{FF2B5EF4-FFF2-40B4-BE49-F238E27FC236}">
                  <a16:creationId xmlns:a16="http://schemas.microsoft.com/office/drawing/2014/main" id="{06686B23-9A33-85DD-2AA3-9B3CC6F32C3B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5" name="Google Shape;77;p3">
            <a:extLst>
              <a:ext uri="{FF2B5EF4-FFF2-40B4-BE49-F238E27FC236}">
                <a16:creationId xmlns:a16="http://schemas.microsoft.com/office/drawing/2014/main" id="{786EBD83-31A7-0BA1-08CC-1A5C25860E88}"/>
              </a:ext>
            </a:extLst>
          </p:cNvPr>
          <p:cNvSpPr/>
          <p:nvPr/>
        </p:nvSpPr>
        <p:spPr>
          <a:xfrm>
            <a:off x="451813" y="5600973"/>
            <a:ext cx="207000" cy="207000"/>
          </a:xfrm>
          <a:prstGeom prst="mathMultiply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" name="Google Shape;78;p3">
            <a:extLst>
              <a:ext uri="{FF2B5EF4-FFF2-40B4-BE49-F238E27FC236}">
                <a16:creationId xmlns:a16="http://schemas.microsoft.com/office/drawing/2014/main" id="{AE93ED05-0D92-BBA6-27EB-32A348ABCD82}"/>
              </a:ext>
            </a:extLst>
          </p:cNvPr>
          <p:cNvSpPr/>
          <p:nvPr/>
        </p:nvSpPr>
        <p:spPr>
          <a:xfrm>
            <a:off x="11533188" y="-680158"/>
            <a:ext cx="1047325" cy="1424275"/>
          </a:xfrm>
          <a:custGeom>
            <a:avLst/>
            <a:gdLst/>
            <a:ahLst/>
            <a:cxnLst/>
            <a:rect l="l" t="t" r="r" b="b"/>
            <a:pathLst>
              <a:path w="41893" h="56971" extrusionOk="0">
                <a:moveTo>
                  <a:pt x="1" y="1"/>
                </a:moveTo>
                <a:lnTo>
                  <a:pt x="3853" y="1"/>
                </a:lnTo>
                <a:lnTo>
                  <a:pt x="3853" y="36054"/>
                </a:lnTo>
                <a:cubicBezTo>
                  <a:pt x="3853" y="45474"/>
                  <a:pt x="11527" y="53118"/>
                  <a:pt x="20947" y="53118"/>
                </a:cubicBezTo>
                <a:cubicBezTo>
                  <a:pt x="30366" y="53118"/>
                  <a:pt x="38041" y="45474"/>
                  <a:pt x="38041" y="36054"/>
                </a:cubicBezTo>
                <a:lnTo>
                  <a:pt x="38041" y="1"/>
                </a:lnTo>
                <a:lnTo>
                  <a:pt x="41893" y="1"/>
                </a:lnTo>
                <a:lnTo>
                  <a:pt x="41893" y="36054"/>
                </a:lnTo>
                <a:cubicBezTo>
                  <a:pt x="41893" y="47581"/>
                  <a:pt x="32503" y="56970"/>
                  <a:pt x="20947" y="56970"/>
                </a:cubicBezTo>
                <a:cubicBezTo>
                  <a:pt x="9390" y="56970"/>
                  <a:pt x="1" y="47581"/>
                  <a:pt x="1" y="36054"/>
                </a:cubicBezTo>
                <a:lnTo>
                  <a:pt x="1" y="1"/>
                </a:lnTo>
                <a:close/>
              </a:path>
            </a:pathLst>
          </a:custGeom>
          <a:solidFill>
            <a:srgbClr val="E9A82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79;p3">
            <a:extLst>
              <a:ext uri="{FF2B5EF4-FFF2-40B4-BE49-F238E27FC236}">
                <a16:creationId xmlns:a16="http://schemas.microsoft.com/office/drawing/2014/main" id="{FBFD6C27-1166-B442-8E9B-CFEF10F419DD}"/>
              </a:ext>
            </a:extLst>
          </p:cNvPr>
          <p:cNvSpPr/>
          <p:nvPr/>
        </p:nvSpPr>
        <p:spPr>
          <a:xfrm>
            <a:off x="5306812" y="396600"/>
            <a:ext cx="292800" cy="292800"/>
          </a:xfrm>
          <a:prstGeom prst="mathMultiply">
            <a:avLst>
              <a:gd name="adj1" fmla="val 23520"/>
            </a:avLst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028413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аралелограм 10">
            <a:extLst>
              <a:ext uri="{FF2B5EF4-FFF2-40B4-BE49-F238E27FC236}">
                <a16:creationId xmlns:a16="http://schemas.microsoft.com/office/drawing/2014/main" id="{BDEC1149-9A92-AF59-1613-414F3A678815}"/>
              </a:ext>
            </a:extLst>
          </p:cNvPr>
          <p:cNvSpPr/>
          <p:nvPr/>
        </p:nvSpPr>
        <p:spPr>
          <a:xfrm>
            <a:off x="-15134" y="1423561"/>
            <a:ext cx="3512106" cy="5434439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" name="Паралелограм 35">
            <a:extLst>
              <a:ext uri="{FF2B5EF4-FFF2-40B4-BE49-F238E27FC236}">
                <a16:creationId xmlns:a16="http://schemas.microsoft.com/office/drawing/2014/main" id="{EE7DF7A8-4E8A-52C0-C832-EAED4ACC808C}"/>
              </a:ext>
            </a:extLst>
          </p:cNvPr>
          <p:cNvSpPr/>
          <p:nvPr/>
        </p:nvSpPr>
        <p:spPr>
          <a:xfrm>
            <a:off x="2883209" y="1423561"/>
            <a:ext cx="3512106" cy="5434439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" name="Паралелограм 36">
            <a:extLst>
              <a:ext uri="{FF2B5EF4-FFF2-40B4-BE49-F238E27FC236}">
                <a16:creationId xmlns:a16="http://schemas.microsoft.com/office/drawing/2014/main" id="{E597B558-CD91-AD27-3538-419DE06B563D}"/>
              </a:ext>
            </a:extLst>
          </p:cNvPr>
          <p:cNvSpPr/>
          <p:nvPr/>
        </p:nvSpPr>
        <p:spPr>
          <a:xfrm>
            <a:off x="5781552" y="1423561"/>
            <a:ext cx="3512106" cy="5434439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" name="Паралелограм 37">
            <a:extLst>
              <a:ext uri="{FF2B5EF4-FFF2-40B4-BE49-F238E27FC236}">
                <a16:creationId xmlns:a16="http://schemas.microsoft.com/office/drawing/2014/main" id="{189F913F-4B79-8558-F442-C0551FDFA5F7}"/>
              </a:ext>
            </a:extLst>
          </p:cNvPr>
          <p:cNvSpPr/>
          <p:nvPr/>
        </p:nvSpPr>
        <p:spPr>
          <a:xfrm>
            <a:off x="8679894" y="1423561"/>
            <a:ext cx="3512106" cy="5434439"/>
          </a:xfrm>
          <a:prstGeom prst="parallelogram">
            <a:avLst>
              <a:gd name="adj" fmla="val 22117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351E1E-916F-5DEB-06AF-9CC98226C727}"/>
              </a:ext>
            </a:extLst>
          </p:cNvPr>
          <p:cNvSpPr txBox="1"/>
          <p:nvPr/>
        </p:nvSpPr>
        <p:spPr>
          <a:xfrm>
            <a:off x="633438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Виклики, які стояли перед нами</a:t>
            </a:r>
            <a:endParaRPr lang="uk-UA" sz="4000" dirty="0"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4AE85E-8AD7-F399-42B9-DB5B6790C77B}"/>
              </a:ext>
            </a:extLst>
          </p:cNvPr>
          <p:cNvSpPr txBox="1"/>
          <p:nvPr/>
        </p:nvSpPr>
        <p:spPr>
          <a:xfrm>
            <a:off x="3491500" y="3727772"/>
            <a:ext cx="2295524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uk-UA" dirty="0">
                <a:solidFill>
                  <a:schemeClr val="tx1"/>
                </a:solidFill>
                <a:latin typeface="Akrobat SemiBold" panose="00000700000000000000" pitchFamily="50" charset="-52"/>
              </a:rPr>
              <a:t>Як реагувати</a:t>
            </a:r>
            <a:br>
              <a:rPr lang="uk-UA" dirty="0">
                <a:solidFill>
                  <a:schemeClr val="tx1"/>
                </a:solidFill>
                <a:latin typeface="Akrobat SemiBold" panose="00000700000000000000" pitchFamily="50" charset="-52"/>
              </a:rPr>
            </a:br>
            <a:r>
              <a:rPr lang="uk-UA" dirty="0">
                <a:solidFill>
                  <a:schemeClr val="tx1"/>
                </a:solidFill>
                <a:latin typeface="Akrobat SemiBold" panose="00000700000000000000" pitchFamily="50" charset="-52"/>
              </a:rPr>
              <a:t>на непередбачувані зовнішні змін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88BD96-B588-BD76-0519-9C11397D7EC5}"/>
              </a:ext>
            </a:extLst>
          </p:cNvPr>
          <p:cNvSpPr txBox="1"/>
          <p:nvPr/>
        </p:nvSpPr>
        <p:spPr>
          <a:xfrm>
            <a:off x="9205924" y="3727772"/>
            <a:ext cx="2460047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uk-UA" dirty="0">
                <a:solidFill>
                  <a:schemeClr val="tx1"/>
                </a:solidFill>
                <a:latin typeface="Akrobat SemiBold" panose="00000700000000000000" pitchFamily="50" charset="-52"/>
              </a:rPr>
              <a:t>Як працювати з постійним ростом фіксованих витра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1753C3F-9B03-01DB-73D6-7EC325D52A03}"/>
              </a:ext>
            </a:extLst>
          </p:cNvPr>
          <p:cNvSpPr txBox="1"/>
          <p:nvPr/>
        </p:nvSpPr>
        <p:spPr>
          <a:xfrm>
            <a:off x="6164808" y="3727772"/>
            <a:ext cx="2745595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uk-UA"/>
            </a:defPPr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algn="ctr"/>
            <a:r>
              <a:rPr lang="uk-UA" dirty="0">
                <a:latin typeface="Akrobat SemiBold" panose="00000700000000000000" pitchFamily="50" charset="-52"/>
              </a:rPr>
              <a:t>Як знайти баланс між задоволеністю та ефективністю співробітник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0727A5-F2AF-4D8C-01F7-5777B93BE1B4}"/>
              </a:ext>
            </a:extLst>
          </p:cNvPr>
          <p:cNvSpPr txBox="1"/>
          <p:nvPr/>
        </p:nvSpPr>
        <p:spPr>
          <a:xfrm>
            <a:off x="518258" y="3727772"/>
            <a:ext cx="244532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dirty="0">
                <a:solidFill>
                  <a:schemeClr val="bg1"/>
                </a:solidFill>
                <a:latin typeface="Akrobat SemiBold" panose="00000700000000000000" pitchFamily="50" charset="-52"/>
              </a:rPr>
              <a:t>Як з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берігати</a:t>
            </a:r>
            <a:r>
              <a:rPr lang="en-US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керованість</a:t>
            </a:r>
            <a:r>
              <a:rPr lang="en-US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системи</a:t>
            </a:r>
            <a:r>
              <a:rPr lang="en-US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при</a:t>
            </a:r>
            <a:r>
              <a:rPr lang="en-US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швидкому</a:t>
            </a:r>
            <a:r>
              <a:rPr lang="en-US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масштабуванні</a:t>
            </a:r>
            <a:endParaRPr lang="uk-UA" dirty="0">
              <a:solidFill>
                <a:schemeClr val="bg1"/>
              </a:solidFill>
              <a:latin typeface="Akrobat SemiBold" panose="00000700000000000000" pitchFamily="50" charset="-5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9690CB1-F4F4-4B74-9006-06DD086CA9C3}"/>
              </a:ext>
            </a:extLst>
          </p:cNvPr>
          <p:cNvSpPr txBox="1"/>
          <p:nvPr/>
        </p:nvSpPr>
        <p:spPr>
          <a:xfrm>
            <a:off x="-33401" y="1314736"/>
            <a:ext cx="334269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66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en-US" sz="166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01</a:t>
            </a:r>
            <a:endParaRPr lang="uk-UA" sz="88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21E443A-56CC-4F13-0C4C-D96CBF590665}"/>
              </a:ext>
            </a:extLst>
          </p:cNvPr>
          <p:cNvSpPr txBox="1"/>
          <p:nvPr/>
        </p:nvSpPr>
        <p:spPr>
          <a:xfrm>
            <a:off x="2967916" y="1314736"/>
            <a:ext cx="334269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6600" b="1" dirty="0">
                <a:latin typeface="Akrobat Black" panose="00000A00000000000000" pitchFamily="50" charset="-52"/>
              </a:rPr>
              <a:t> </a:t>
            </a:r>
            <a:r>
              <a:rPr lang="en-US" sz="16600" b="1" dirty="0">
                <a:latin typeface="Akrobat Black" panose="00000A00000000000000" pitchFamily="50" charset="-52"/>
              </a:rPr>
              <a:t>0</a:t>
            </a:r>
            <a:r>
              <a:rPr lang="ru-RU" sz="16600" b="1" dirty="0">
                <a:latin typeface="Akrobat Black" panose="00000A00000000000000" pitchFamily="50" charset="-52"/>
              </a:rPr>
              <a:t>2</a:t>
            </a:r>
            <a:endParaRPr lang="uk-UA" sz="8800" dirty="0">
              <a:latin typeface="Akrobat Black" panose="00000A00000000000000" pitchFamily="50" charset="-52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FA25D6A-7169-980F-4AF0-1E3A0D8A3BE6}"/>
              </a:ext>
            </a:extLst>
          </p:cNvPr>
          <p:cNvSpPr txBox="1"/>
          <p:nvPr/>
        </p:nvSpPr>
        <p:spPr>
          <a:xfrm>
            <a:off x="5850654" y="1314736"/>
            <a:ext cx="334269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66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en-US" sz="166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0</a:t>
            </a:r>
            <a:r>
              <a:rPr lang="ru-RU" sz="166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3</a:t>
            </a:r>
            <a:endParaRPr lang="uk-UA" sz="88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29F699-0D1F-28FF-AE7A-DF8725B99A6C}"/>
              </a:ext>
            </a:extLst>
          </p:cNvPr>
          <p:cNvSpPr txBox="1"/>
          <p:nvPr/>
        </p:nvSpPr>
        <p:spPr>
          <a:xfrm>
            <a:off x="8764601" y="1314736"/>
            <a:ext cx="334269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6600" b="1" dirty="0">
                <a:latin typeface="Akrobat Black" panose="00000A00000000000000" pitchFamily="50" charset="-52"/>
              </a:rPr>
              <a:t> </a:t>
            </a:r>
            <a:r>
              <a:rPr lang="en-US" sz="16600" b="1" dirty="0">
                <a:latin typeface="Akrobat Black" panose="00000A00000000000000" pitchFamily="50" charset="-52"/>
              </a:rPr>
              <a:t>0</a:t>
            </a:r>
            <a:r>
              <a:rPr lang="ru-RU" sz="16600" b="1" dirty="0">
                <a:latin typeface="Akrobat Black" panose="00000A00000000000000" pitchFamily="50" charset="-52"/>
              </a:rPr>
              <a:t>4</a:t>
            </a:r>
            <a:endParaRPr lang="uk-UA" sz="8800" dirty="0">
              <a:latin typeface="Akrobat Black" panose="00000A00000000000000" pitchFamily="50" charset="-52"/>
            </a:endParaRPr>
          </a:p>
        </p:txBody>
      </p:sp>
      <p:grpSp>
        <p:nvGrpSpPr>
          <p:cNvPr id="39" name="!!Google Shape;49;p3">
            <a:extLst>
              <a:ext uri="{FF2B5EF4-FFF2-40B4-BE49-F238E27FC236}">
                <a16:creationId xmlns:a16="http://schemas.microsoft.com/office/drawing/2014/main" id="{921BE022-98D0-652F-0BF5-5666B8D54D77}"/>
              </a:ext>
            </a:extLst>
          </p:cNvPr>
          <p:cNvGrpSpPr/>
          <p:nvPr/>
        </p:nvGrpSpPr>
        <p:grpSpPr>
          <a:xfrm>
            <a:off x="9077281" y="-296666"/>
            <a:ext cx="2743076" cy="657293"/>
            <a:chOff x="5227825" y="3000800"/>
            <a:chExt cx="1865150" cy="446925"/>
          </a:xfrm>
          <a:solidFill>
            <a:schemeClr val="bg1">
              <a:lumMod val="85000"/>
            </a:schemeClr>
          </a:solidFill>
        </p:grpSpPr>
        <p:sp>
          <p:nvSpPr>
            <p:cNvPr id="40" name="Google Shape;50;p3">
              <a:extLst>
                <a:ext uri="{FF2B5EF4-FFF2-40B4-BE49-F238E27FC236}">
                  <a16:creationId xmlns:a16="http://schemas.microsoft.com/office/drawing/2014/main" id="{01FABEDE-6CE5-61B8-EA97-DC075EF4B14E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51;p3">
              <a:extLst>
                <a:ext uri="{FF2B5EF4-FFF2-40B4-BE49-F238E27FC236}">
                  <a16:creationId xmlns:a16="http://schemas.microsoft.com/office/drawing/2014/main" id="{91238992-57C5-AF79-D8DB-F282973E0555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52;p3">
              <a:extLst>
                <a:ext uri="{FF2B5EF4-FFF2-40B4-BE49-F238E27FC236}">
                  <a16:creationId xmlns:a16="http://schemas.microsoft.com/office/drawing/2014/main" id="{78A94C2B-99B6-6FB9-45E3-6E51BDCED455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53;p3">
              <a:extLst>
                <a:ext uri="{FF2B5EF4-FFF2-40B4-BE49-F238E27FC236}">
                  <a16:creationId xmlns:a16="http://schemas.microsoft.com/office/drawing/2014/main" id="{4D7ED230-92CD-8250-C0C1-C15F8F093FFC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54;p3">
              <a:extLst>
                <a:ext uri="{FF2B5EF4-FFF2-40B4-BE49-F238E27FC236}">
                  <a16:creationId xmlns:a16="http://schemas.microsoft.com/office/drawing/2014/main" id="{0CE8ACC8-0EB1-C909-4AF6-9C97293A32A1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55;p3">
              <a:extLst>
                <a:ext uri="{FF2B5EF4-FFF2-40B4-BE49-F238E27FC236}">
                  <a16:creationId xmlns:a16="http://schemas.microsoft.com/office/drawing/2014/main" id="{61B3D818-7602-CB40-DBDE-2DA57CB2244C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56;p3">
              <a:extLst>
                <a:ext uri="{FF2B5EF4-FFF2-40B4-BE49-F238E27FC236}">
                  <a16:creationId xmlns:a16="http://schemas.microsoft.com/office/drawing/2014/main" id="{87BFA607-3117-30BE-D8B6-247F5E0A35A0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57;p3">
              <a:extLst>
                <a:ext uri="{FF2B5EF4-FFF2-40B4-BE49-F238E27FC236}">
                  <a16:creationId xmlns:a16="http://schemas.microsoft.com/office/drawing/2014/main" id="{6CE90B79-0A4A-8AE1-F9B1-03282A3E04D2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58;p3">
              <a:extLst>
                <a:ext uri="{FF2B5EF4-FFF2-40B4-BE49-F238E27FC236}">
                  <a16:creationId xmlns:a16="http://schemas.microsoft.com/office/drawing/2014/main" id="{5A312F17-FCD5-1FFE-A30F-D8DDA6069D19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cxnSp>
        <p:nvCxnSpPr>
          <p:cNvPr id="68" name="Пряма сполучна лінія 67">
            <a:extLst>
              <a:ext uri="{FF2B5EF4-FFF2-40B4-BE49-F238E27FC236}">
                <a16:creationId xmlns:a16="http://schemas.microsoft.com/office/drawing/2014/main" id="{742A8253-B246-545E-959A-B03B68433D90}"/>
              </a:ext>
            </a:extLst>
          </p:cNvPr>
          <p:cNvCxnSpPr>
            <a:cxnSpLocks/>
          </p:cNvCxnSpPr>
          <p:nvPr/>
        </p:nvCxnSpPr>
        <p:spPr>
          <a:xfrm>
            <a:off x="1330992" y="3674432"/>
            <a:ext cx="819855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 сполучна лінія 68">
            <a:extLst>
              <a:ext uri="{FF2B5EF4-FFF2-40B4-BE49-F238E27FC236}">
                <a16:creationId xmlns:a16="http://schemas.microsoft.com/office/drawing/2014/main" id="{0497CE8D-DB54-9313-EB0A-15537B5EA5A9}"/>
              </a:ext>
            </a:extLst>
          </p:cNvPr>
          <p:cNvCxnSpPr>
            <a:cxnSpLocks/>
          </p:cNvCxnSpPr>
          <p:nvPr/>
        </p:nvCxnSpPr>
        <p:spPr>
          <a:xfrm>
            <a:off x="4240514" y="3674432"/>
            <a:ext cx="81985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 сполучна лінія 69">
            <a:extLst>
              <a:ext uri="{FF2B5EF4-FFF2-40B4-BE49-F238E27FC236}">
                <a16:creationId xmlns:a16="http://schemas.microsoft.com/office/drawing/2014/main" id="{01472C8E-80D2-E4BD-52FC-D3B9983712F5}"/>
              </a:ext>
            </a:extLst>
          </p:cNvPr>
          <p:cNvCxnSpPr>
            <a:cxnSpLocks/>
          </p:cNvCxnSpPr>
          <p:nvPr/>
        </p:nvCxnSpPr>
        <p:spPr>
          <a:xfrm>
            <a:off x="7127677" y="3674432"/>
            <a:ext cx="819855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 сполучна лінія 70">
            <a:extLst>
              <a:ext uri="{FF2B5EF4-FFF2-40B4-BE49-F238E27FC236}">
                <a16:creationId xmlns:a16="http://schemas.microsoft.com/office/drawing/2014/main" id="{76FF8E9B-E13F-392D-E378-FDABAE381DAE}"/>
              </a:ext>
            </a:extLst>
          </p:cNvPr>
          <p:cNvCxnSpPr>
            <a:cxnSpLocks/>
          </p:cNvCxnSpPr>
          <p:nvPr/>
        </p:nvCxnSpPr>
        <p:spPr>
          <a:xfrm>
            <a:off x="10096500" y="3674432"/>
            <a:ext cx="81985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2" name="Google Shape;60;p3">
            <a:extLst>
              <a:ext uri="{FF2B5EF4-FFF2-40B4-BE49-F238E27FC236}">
                <a16:creationId xmlns:a16="http://schemas.microsoft.com/office/drawing/2014/main" id="{660F0007-F417-4249-05AD-0BF9A2579947}"/>
              </a:ext>
            </a:extLst>
          </p:cNvPr>
          <p:cNvGrpSpPr/>
          <p:nvPr/>
        </p:nvGrpSpPr>
        <p:grpSpPr>
          <a:xfrm rot="10800000">
            <a:off x="10721113" y="6365103"/>
            <a:ext cx="1145952" cy="657282"/>
            <a:chOff x="864825" y="2381600"/>
            <a:chExt cx="802825" cy="460475"/>
          </a:xfrm>
        </p:grpSpPr>
        <p:sp>
          <p:nvSpPr>
            <p:cNvPr id="73" name="Google Shape;61;p3">
              <a:extLst>
                <a:ext uri="{FF2B5EF4-FFF2-40B4-BE49-F238E27FC236}">
                  <a16:creationId xmlns:a16="http://schemas.microsoft.com/office/drawing/2014/main" id="{3EAAB9C8-8931-3B11-6D99-68C153825D6A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62;p3">
              <a:extLst>
                <a:ext uri="{FF2B5EF4-FFF2-40B4-BE49-F238E27FC236}">
                  <a16:creationId xmlns:a16="http://schemas.microsoft.com/office/drawing/2014/main" id="{16C7676C-8B3F-8AC0-F338-491126E70680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63;p3">
              <a:extLst>
                <a:ext uri="{FF2B5EF4-FFF2-40B4-BE49-F238E27FC236}">
                  <a16:creationId xmlns:a16="http://schemas.microsoft.com/office/drawing/2014/main" id="{77DE946D-ACFD-43B5-9DE7-F91587415117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64;p3">
              <a:extLst>
                <a:ext uri="{FF2B5EF4-FFF2-40B4-BE49-F238E27FC236}">
                  <a16:creationId xmlns:a16="http://schemas.microsoft.com/office/drawing/2014/main" id="{B35FCEF9-32A9-A6BD-CB8F-F3674E29267E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65;p3">
              <a:extLst>
                <a:ext uri="{FF2B5EF4-FFF2-40B4-BE49-F238E27FC236}">
                  <a16:creationId xmlns:a16="http://schemas.microsoft.com/office/drawing/2014/main" id="{F49FD88F-85ED-7071-A433-2385D95B5096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66;p3">
              <a:extLst>
                <a:ext uri="{FF2B5EF4-FFF2-40B4-BE49-F238E27FC236}">
                  <a16:creationId xmlns:a16="http://schemas.microsoft.com/office/drawing/2014/main" id="{9A606B4F-DC77-496F-E629-06AC2372F887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67;p3">
              <a:extLst>
                <a:ext uri="{FF2B5EF4-FFF2-40B4-BE49-F238E27FC236}">
                  <a16:creationId xmlns:a16="http://schemas.microsoft.com/office/drawing/2014/main" id="{0D9C9EC6-D7DB-AC89-E2DD-03152C17177F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68;p3">
              <a:extLst>
                <a:ext uri="{FF2B5EF4-FFF2-40B4-BE49-F238E27FC236}">
                  <a16:creationId xmlns:a16="http://schemas.microsoft.com/office/drawing/2014/main" id="{5B7092BF-4F8D-40DB-7724-E94358D109C6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69;p3">
              <a:extLst>
                <a:ext uri="{FF2B5EF4-FFF2-40B4-BE49-F238E27FC236}">
                  <a16:creationId xmlns:a16="http://schemas.microsoft.com/office/drawing/2014/main" id="{A291863B-486B-BFAE-A40E-634E94B85004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70;p3">
              <a:extLst>
                <a:ext uri="{FF2B5EF4-FFF2-40B4-BE49-F238E27FC236}">
                  <a16:creationId xmlns:a16="http://schemas.microsoft.com/office/drawing/2014/main" id="{883F95DA-5E13-B062-B7BC-36A9B0666A8E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71;p3">
              <a:extLst>
                <a:ext uri="{FF2B5EF4-FFF2-40B4-BE49-F238E27FC236}">
                  <a16:creationId xmlns:a16="http://schemas.microsoft.com/office/drawing/2014/main" id="{4927E59D-EF76-85A8-2652-149DC82F22A9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72;p3">
              <a:extLst>
                <a:ext uri="{FF2B5EF4-FFF2-40B4-BE49-F238E27FC236}">
                  <a16:creationId xmlns:a16="http://schemas.microsoft.com/office/drawing/2014/main" id="{F358564F-985C-B9A0-BBE8-4EC83329181E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73;p3">
              <a:extLst>
                <a:ext uri="{FF2B5EF4-FFF2-40B4-BE49-F238E27FC236}">
                  <a16:creationId xmlns:a16="http://schemas.microsoft.com/office/drawing/2014/main" id="{D0300C05-35BB-996B-3278-9DAFBFC1F827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74;p3">
              <a:extLst>
                <a:ext uri="{FF2B5EF4-FFF2-40B4-BE49-F238E27FC236}">
                  <a16:creationId xmlns:a16="http://schemas.microsoft.com/office/drawing/2014/main" id="{9A72C455-8A01-E138-7F35-37636676ACAB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75;p3">
              <a:extLst>
                <a:ext uri="{FF2B5EF4-FFF2-40B4-BE49-F238E27FC236}">
                  <a16:creationId xmlns:a16="http://schemas.microsoft.com/office/drawing/2014/main" id="{ABD242A2-F388-9E74-EC4F-953CE6ACB76F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76;p3">
              <a:extLst>
                <a:ext uri="{FF2B5EF4-FFF2-40B4-BE49-F238E27FC236}">
                  <a16:creationId xmlns:a16="http://schemas.microsoft.com/office/drawing/2014/main" id="{BACFC75A-5C94-9D2F-0F53-E625ED333A8C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solidFill>
              <a:schemeClr val="lt1"/>
            </a:solidFill>
            <a:ln w="1905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492551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A8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Зображення, що містить покришка, колесо, транспортний засіб, мотоцикл&#10;&#10;Автоматично згенерований опис">
            <a:extLst>
              <a:ext uri="{FF2B5EF4-FFF2-40B4-BE49-F238E27FC236}">
                <a16:creationId xmlns:a16="http://schemas.microsoft.com/office/drawing/2014/main" id="{C6E9BF84-F2AE-0D1D-17AE-7BE700B07E5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2013" y="0"/>
            <a:ext cx="10287000" cy="6858000"/>
          </a:xfrm>
          <a:prstGeom prst="rect">
            <a:avLst/>
          </a:prstGeom>
        </p:spPr>
      </p:pic>
      <p:sp>
        <p:nvSpPr>
          <p:cNvPr id="12" name="Прямокутник 50">
            <a:extLst>
              <a:ext uri="{FF2B5EF4-FFF2-40B4-BE49-F238E27FC236}">
                <a16:creationId xmlns:a16="http://schemas.microsoft.com/office/drawing/2014/main" id="{F9F62989-9109-2901-F501-A48F87357A16}"/>
              </a:ext>
            </a:extLst>
          </p:cNvPr>
          <p:cNvSpPr/>
          <p:nvPr/>
        </p:nvSpPr>
        <p:spPr>
          <a:xfrm flipH="1">
            <a:off x="-7922723" y="-274320"/>
            <a:ext cx="12836202" cy="7376160"/>
          </a:xfrm>
          <a:custGeom>
            <a:avLst/>
            <a:gdLst>
              <a:gd name="connsiteX0" fmla="*/ 0 w 4236720"/>
              <a:gd name="connsiteY0" fmla="*/ 0 h 2129359"/>
              <a:gd name="connsiteX1" fmla="*/ 4236720 w 4236720"/>
              <a:gd name="connsiteY1" fmla="*/ 0 h 2129359"/>
              <a:gd name="connsiteX2" fmla="*/ 4236720 w 4236720"/>
              <a:gd name="connsiteY2" fmla="*/ 2129359 h 2129359"/>
              <a:gd name="connsiteX3" fmla="*/ 0 w 4236720"/>
              <a:gd name="connsiteY3" fmla="*/ 2129359 h 2129359"/>
              <a:gd name="connsiteX4" fmla="*/ 0 w 4236720"/>
              <a:gd name="connsiteY4" fmla="*/ 0 h 212935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42672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251279"/>
              <a:gd name="connsiteX1" fmla="*/ 4663440 w 4663440"/>
              <a:gd name="connsiteY1" fmla="*/ 121920 h 2251279"/>
              <a:gd name="connsiteX2" fmla="*/ 4663440 w 4663440"/>
              <a:gd name="connsiteY2" fmla="*/ 2251279 h 2251279"/>
              <a:gd name="connsiteX3" fmla="*/ 914400 w 4663440"/>
              <a:gd name="connsiteY3" fmla="*/ 2251279 h 2251279"/>
              <a:gd name="connsiteX4" fmla="*/ 0 w 4663440"/>
              <a:gd name="connsiteY4" fmla="*/ 0 h 2251279"/>
              <a:gd name="connsiteX0" fmla="*/ 0 w 4663440"/>
              <a:gd name="connsiteY0" fmla="*/ 0 h 2342719"/>
              <a:gd name="connsiteX1" fmla="*/ 4663440 w 4663440"/>
              <a:gd name="connsiteY1" fmla="*/ 121920 h 2342719"/>
              <a:gd name="connsiteX2" fmla="*/ 4663440 w 4663440"/>
              <a:gd name="connsiteY2" fmla="*/ 2251279 h 2342719"/>
              <a:gd name="connsiteX3" fmla="*/ 426720 w 4663440"/>
              <a:gd name="connsiteY3" fmla="*/ 2342719 h 2342719"/>
              <a:gd name="connsiteX4" fmla="*/ 0 w 4663440"/>
              <a:gd name="connsiteY4" fmla="*/ 0 h 2342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3440" h="2342719">
                <a:moveTo>
                  <a:pt x="0" y="0"/>
                </a:moveTo>
                <a:lnTo>
                  <a:pt x="4663440" y="121920"/>
                </a:lnTo>
                <a:lnTo>
                  <a:pt x="4663440" y="2251279"/>
                </a:lnTo>
                <a:lnTo>
                  <a:pt x="426720" y="234271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3" name="Паралелограм 22">
            <a:extLst>
              <a:ext uri="{FF2B5EF4-FFF2-40B4-BE49-F238E27FC236}">
                <a16:creationId xmlns:a16="http://schemas.microsoft.com/office/drawing/2014/main" id="{11E67215-8EE6-242F-2E71-DCFAAAAD8085}"/>
              </a:ext>
            </a:extLst>
          </p:cNvPr>
          <p:cNvSpPr/>
          <p:nvPr/>
        </p:nvSpPr>
        <p:spPr>
          <a:xfrm>
            <a:off x="-1996151" y="-341719"/>
            <a:ext cx="6764300" cy="9478228"/>
          </a:xfrm>
          <a:prstGeom prst="parallelogram">
            <a:avLst>
              <a:gd name="adj" fmla="val 22117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8FA467-5A5E-749D-A262-F7A1FD7B1A9E}"/>
              </a:ext>
            </a:extLst>
          </p:cNvPr>
          <p:cNvSpPr txBox="1"/>
          <p:nvPr/>
        </p:nvSpPr>
        <p:spPr>
          <a:xfrm>
            <a:off x="-181496" y="873947"/>
            <a:ext cx="3342692" cy="37702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39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 </a:t>
            </a:r>
            <a:r>
              <a:rPr lang="en-US" sz="23900" b="1" dirty="0">
                <a:solidFill>
                  <a:schemeClr val="bg1"/>
                </a:solidFill>
                <a:latin typeface="Akrobat Black" panose="00000A00000000000000" pitchFamily="50" charset="-52"/>
              </a:rPr>
              <a:t>01</a:t>
            </a:r>
            <a:endParaRPr lang="uk-UA" sz="11500" dirty="0">
              <a:solidFill>
                <a:schemeClr val="bg1"/>
              </a:solidFill>
              <a:latin typeface="Akrobat Black" panose="00000A00000000000000" pitchFamily="50" charset="-52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C5BE89-914F-5A3D-D555-10D4C0D775E6}"/>
              </a:ext>
            </a:extLst>
          </p:cNvPr>
          <p:cNvSpPr txBox="1"/>
          <p:nvPr/>
        </p:nvSpPr>
        <p:spPr>
          <a:xfrm>
            <a:off x="6618280" y="2459504"/>
            <a:ext cx="423461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dirty="0">
                <a:solidFill>
                  <a:schemeClr val="bg1"/>
                </a:solidFill>
                <a:latin typeface="+mj-lt"/>
              </a:rPr>
              <a:t>ЕФЕКТИВНЕ</a:t>
            </a:r>
            <a:br>
              <a:rPr lang="uk-UA" sz="6000" dirty="0">
                <a:solidFill>
                  <a:schemeClr val="bg1"/>
                </a:solidFill>
                <a:latin typeface="+mj-lt"/>
              </a:rPr>
            </a:br>
            <a:r>
              <a:rPr lang="uk-UA" sz="6000" dirty="0">
                <a:solidFill>
                  <a:schemeClr val="bg1"/>
                </a:solidFill>
                <a:latin typeface="+mj-lt"/>
              </a:rPr>
              <a:t>УПРАВЛІННЯ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2F1D7E-6AA8-8CD5-7224-BD1C639D60DE}"/>
              </a:ext>
            </a:extLst>
          </p:cNvPr>
          <p:cNvSpPr txBox="1"/>
          <p:nvPr/>
        </p:nvSpPr>
        <p:spPr>
          <a:xfrm>
            <a:off x="557238" y="4241000"/>
            <a:ext cx="33868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Як з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берігати</a:t>
            </a:r>
            <a:r>
              <a:rPr lang="en-US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керованість</a:t>
            </a:r>
            <a:r>
              <a:rPr lang="en-US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системи</a:t>
            </a:r>
            <a:r>
              <a:rPr lang="en-US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при</a:t>
            </a:r>
            <a:r>
              <a:rPr lang="en-US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швидкому</a:t>
            </a:r>
            <a:r>
              <a:rPr lang="en-US" sz="2400" dirty="0">
                <a:solidFill>
                  <a:schemeClr val="bg1"/>
                </a:solidFill>
                <a:latin typeface="Akrobat SemiBold" panose="00000700000000000000" pitchFamily="50" charset="-52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krobat SemiBold" panose="00000700000000000000" pitchFamily="50" charset="-52"/>
              </a:rPr>
              <a:t>масштабуванні</a:t>
            </a:r>
            <a:endParaRPr lang="uk-UA" sz="2400" dirty="0">
              <a:solidFill>
                <a:schemeClr val="bg1"/>
              </a:solidFill>
              <a:latin typeface="Akrobat SemiBold" panose="00000700000000000000" pitchFamily="50" charset="-52"/>
            </a:endParaRPr>
          </a:p>
        </p:txBody>
      </p:sp>
      <p:cxnSp>
        <p:nvCxnSpPr>
          <p:cNvPr id="25" name="Пряма сполучна лінія 24">
            <a:extLst>
              <a:ext uri="{FF2B5EF4-FFF2-40B4-BE49-F238E27FC236}">
                <a16:creationId xmlns:a16="http://schemas.microsoft.com/office/drawing/2014/main" id="{DC1C3B52-0DE6-B5E5-A475-61BBDC8332FD}"/>
              </a:ext>
            </a:extLst>
          </p:cNvPr>
          <p:cNvCxnSpPr>
            <a:cxnSpLocks/>
          </p:cNvCxnSpPr>
          <p:nvPr/>
        </p:nvCxnSpPr>
        <p:spPr>
          <a:xfrm>
            <a:off x="658813" y="4212112"/>
            <a:ext cx="146554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Овал 42">
            <a:extLst>
              <a:ext uri="{FF2B5EF4-FFF2-40B4-BE49-F238E27FC236}">
                <a16:creationId xmlns:a16="http://schemas.microsoft.com/office/drawing/2014/main" id="{F652B222-1379-9AD7-B774-28E749DE7156}"/>
              </a:ext>
            </a:extLst>
          </p:cNvPr>
          <p:cNvSpPr/>
          <p:nvPr/>
        </p:nvSpPr>
        <p:spPr>
          <a:xfrm>
            <a:off x="14170204" y="1984998"/>
            <a:ext cx="2728060" cy="2728060"/>
          </a:xfrm>
          <a:prstGeom prst="ellipse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AE776B8-C56F-746E-D313-B818DE043DE9}"/>
              </a:ext>
            </a:extLst>
          </p:cNvPr>
          <p:cNvSpPr txBox="1"/>
          <p:nvPr/>
        </p:nvSpPr>
        <p:spPr>
          <a:xfrm>
            <a:off x="15706366" y="3228200"/>
            <a:ext cx="3369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400" dirty="0">
                <a:solidFill>
                  <a:schemeClr val="bg1"/>
                </a:solidFill>
                <a:latin typeface="+mj-lt"/>
              </a:rPr>
              <a:t>%</a:t>
            </a:r>
            <a:endParaRPr lang="uk-UA" sz="2400" dirty="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F631B15-1701-5926-AD61-C77FF1E09BB2}"/>
              </a:ext>
            </a:extLst>
          </p:cNvPr>
          <p:cNvSpPr txBox="1"/>
          <p:nvPr/>
        </p:nvSpPr>
        <p:spPr>
          <a:xfrm>
            <a:off x="15179215" y="2548041"/>
            <a:ext cx="62074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80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6C37C0F-9FD6-9A4A-1136-7B42FA773D43}"/>
              </a:ext>
            </a:extLst>
          </p:cNvPr>
          <p:cNvSpPr txBox="1"/>
          <p:nvPr/>
        </p:nvSpPr>
        <p:spPr>
          <a:xfrm>
            <a:off x="14748872" y="2567326"/>
            <a:ext cx="5962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+mj-lt"/>
              </a:rPr>
              <a:t>&gt;</a:t>
            </a:r>
            <a:endParaRPr lang="uk-UA" sz="7200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CBF5F46-F484-8C38-07A6-6C54533A5BED}"/>
              </a:ext>
            </a:extLst>
          </p:cNvPr>
          <p:cNvSpPr txBox="1"/>
          <p:nvPr/>
        </p:nvSpPr>
        <p:spPr>
          <a:xfrm>
            <a:off x="14413560" y="3532704"/>
            <a:ext cx="23306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персоналу – відповідає за управління компанією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48" name="Google Shape;794;p23">
            <a:extLst>
              <a:ext uri="{FF2B5EF4-FFF2-40B4-BE49-F238E27FC236}">
                <a16:creationId xmlns:a16="http://schemas.microsoft.com/office/drawing/2014/main" id="{A8018302-267C-A4AB-66EB-6F437F5DF04E}"/>
              </a:ext>
            </a:extLst>
          </p:cNvPr>
          <p:cNvSpPr/>
          <p:nvPr/>
        </p:nvSpPr>
        <p:spPr>
          <a:xfrm>
            <a:off x="14142854" y="2117602"/>
            <a:ext cx="193200" cy="193200"/>
          </a:xfrm>
          <a:prstGeom prst="ellipse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49" name="Графіка 48" descr="Group of men outline">
            <a:extLst>
              <a:ext uri="{FF2B5EF4-FFF2-40B4-BE49-F238E27FC236}">
                <a16:creationId xmlns:a16="http://schemas.microsoft.com/office/drawing/2014/main" id="{C03117D0-3562-803A-7B3E-D923B717CD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67623" y="2278041"/>
            <a:ext cx="540000" cy="540000"/>
          </a:xfrm>
          <a:prstGeom prst="rect">
            <a:avLst/>
          </a:prstGeom>
        </p:spPr>
      </p:pic>
      <p:pic>
        <p:nvPicPr>
          <p:cNvPr id="50" name="Графіка 49" descr="Group of men outline">
            <a:extLst>
              <a:ext uri="{FF2B5EF4-FFF2-40B4-BE49-F238E27FC236}">
                <a16:creationId xmlns:a16="http://schemas.microsoft.com/office/drawing/2014/main" id="{2A49A86F-B8A6-F2C9-4D33-11596F75DE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708876" y="2278041"/>
            <a:ext cx="540000" cy="540000"/>
          </a:xfrm>
          <a:prstGeom prst="rect">
            <a:avLst/>
          </a:prstGeom>
        </p:spPr>
      </p:pic>
      <p:pic>
        <p:nvPicPr>
          <p:cNvPr id="51" name="Графіка 50" descr="Group of men outline">
            <a:extLst>
              <a:ext uri="{FF2B5EF4-FFF2-40B4-BE49-F238E27FC236}">
                <a16:creationId xmlns:a16="http://schemas.microsoft.com/office/drawing/2014/main" id="{A0A3B7AB-2E93-B562-9E12-351BE9BFC9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826369" y="2278041"/>
            <a:ext cx="540000" cy="540000"/>
          </a:xfrm>
          <a:prstGeom prst="rect">
            <a:avLst/>
          </a:prstGeom>
        </p:spPr>
      </p:pic>
      <p:grpSp>
        <p:nvGrpSpPr>
          <p:cNvPr id="52" name="Google Shape;1176;p50">
            <a:extLst>
              <a:ext uri="{FF2B5EF4-FFF2-40B4-BE49-F238E27FC236}">
                <a16:creationId xmlns:a16="http://schemas.microsoft.com/office/drawing/2014/main" id="{127540FB-6CC1-2A31-EB5C-7F2688FADF32}"/>
              </a:ext>
            </a:extLst>
          </p:cNvPr>
          <p:cNvGrpSpPr/>
          <p:nvPr/>
        </p:nvGrpSpPr>
        <p:grpSpPr>
          <a:xfrm>
            <a:off x="12863001" y="3093333"/>
            <a:ext cx="1119327" cy="692597"/>
            <a:chOff x="3132025" y="2362375"/>
            <a:chExt cx="814530" cy="504000"/>
          </a:xfrm>
          <a:noFill/>
        </p:grpSpPr>
        <p:sp>
          <p:nvSpPr>
            <p:cNvPr id="53" name="Google Shape;1177;p50">
              <a:extLst>
                <a:ext uri="{FF2B5EF4-FFF2-40B4-BE49-F238E27FC236}">
                  <a16:creationId xmlns:a16="http://schemas.microsoft.com/office/drawing/2014/main" id="{90C091C0-6E1C-F1D9-5FEF-76E9C53B93D9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178;p50">
              <a:extLst>
                <a:ext uri="{FF2B5EF4-FFF2-40B4-BE49-F238E27FC236}">
                  <a16:creationId xmlns:a16="http://schemas.microsoft.com/office/drawing/2014/main" id="{9D750DFF-34E1-E9F0-BE11-C50339358C44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179;p50">
              <a:extLst>
                <a:ext uri="{FF2B5EF4-FFF2-40B4-BE49-F238E27FC236}">
                  <a16:creationId xmlns:a16="http://schemas.microsoft.com/office/drawing/2014/main" id="{84E50D26-20FC-70C9-DE59-D9D50CCB1AEB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89" name="Picture 613" descr="A clipboard with a white sheet of paper&#10;&#10;Description automatically generated">
            <a:extLst>
              <a:ext uri="{FF2B5EF4-FFF2-40B4-BE49-F238E27FC236}">
                <a16:creationId xmlns:a16="http://schemas.microsoft.com/office/drawing/2014/main" id="{1EB77ACD-6454-0706-2165-81B704471F1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60" t="8752" r="17784" b="44770"/>
          <a:stretch/>
        </p:blipFill>
        <p:spPr>
          <a:xfrm>
            <a:off x="579119" y="7376160"/>
            <a:ext cx="6948598" cy="5484820"/>
          </a:xfrm>
          <a:prstGeom prst="rect">
            <a:avLst/>
          </a:prstGeom>
        </p:spPr>
      </p:pic>
      <p:sp>
        <p:nvSpPr>
          <p:cNvPr id="90" name="Овал 89">
            <a:extLst>
              <a:ext uri="{FF2B5EF4-FFF2-40B4-BE49-F238E27FC236}">
                <a16:creationId xmlns:a16="http://schemas.microsoft.com/office/drawing/2014/main" id="{ABF983A0-F9D1-B2C0-BAD6-6F20859781AB}"/>
              </a:ext>
            </a:extLst>
          </p:cNvPr>
          <p:cNvSpPr/>
          <p:nvPr/>
        </p:nvSpPr>
        <p:spPr>
          <a:xfrm>
            <a:off x="1038790" y="8763496"/>
            <a:ext cx="400857" cy="400857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D159A340-725B-7DF7-56C9-233F9880C810}"/>
              </a:ext>
            </a:extLst>
          </p:cNvPr>
          <p:cNvSpPr txBox="1"/>
          <p:nvPr/>
        </p:nvSpPr>
        <p:spPr>
          <a:xfrm>
            <a:off x="1405023" y="9111857"/>
            <a:ext cx="197952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dirty="0"/>
              <a:t>асортиментом</a:t>
            </a:r>
          </a:p>
          <a:p>
            <a:r>
              <a:rPr lang="uk-UA" dirty="0"/>
              <a:t>ціноутворенням</a:t>
            </a:r>
          </a:p>
          <a:p>
            <a:r>
              <a:rPr lang="uk-UA" dirty="0"/>
              <a:t>товарними запасами</a:t>
            </a:r>
          </a:p>
        </p:txBody>
      </p:sp>
      <p:pic>
        <p:nvPicPr>
          <p:cNvPr id="92" name="Графіка 91" descr="Hierarchy outline">
            <a:extLst>
              <a:ext uri="{FF2B5EF4-FFF2-40B4-BE49-F238E27FC236}">
                <a16:creationId xmlns:a16="http://schemas.microsoft.com/office/drawing/2014/main" id="{DB732BF2-66FD-1C0A-9EE1-04CC45AB7A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0025" y="8774427"/>
            <a:ext cx="349998" cy="349998"/>
          </a:xfrm>
          <a:prstGeom prst="rect">
            <a:avLst/>
          </a:prstGeom>
        </p:spPr>
      </p:pic>
      <p:pic>
        <p:nvPicPr>
          <p:cNvPr id="93" name="Графіка 92" descr="Badge Tick1 outline">
            <a:extLst>
              <a:ext uri="{FF2B5EF4-FFF2-40B4-BE49-F238E27FC236}">
                <a16:creationId xmlns:a16="http://schemas.microsoft.com/office/drawing/2014/main" id="{91501926-08BC-11C1-2EB4-0F7983C3E2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9210194"/>
            <a:ext cx="222913" cy="222913"/>
          </a:xfrm>
          <a:prstGeom prst="rect">
            <a:avLst/>
          </a:prstGeom>
        </p:spPr>
      </p:pic>
      <p:pic>
        <p:nvPicPr>
          <p:cNvPr id="94" name="Графіка 93" descr="Badge Tick1 outline">
            <a:extLst>
              <a:ext uri="{FF2B5EF4-FFF2-40B4-BE49-F238E27FC236}">
                <a16:creationId xmlns:a16="http://schemas.microsoft.com/office/drawing/2014/main" id="{F0564D7F-8841-10BB-7AB2-B95AC343C21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9473035"/>
            <a:ext cx="222913" cy="222913"/>
          </a:xfrm>
          <a:prstGeom prst="rect">
            <a:avLst/>
          </a:prstGeom>
        </p:spPr>
      </p:pic>
      <p:pic>
        <p:nvPicPr>
          <p:cNvPr id="95" name="Графіка 94" descr="Badge Tick1 outline">
            <a:extLst>
              <a:ext uri="{FF2B5EF4-FFF2-40B4-BE49-F238E27FC236}">
                <a16:creationId xmlns:a16="http://schemas.microsoft.com/office/drawing/2014/main" id="{77EDF808-96E1-E65F-9CF0-75E48964E6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9752820"/>
            <a:ext cx="222913" cy="222913"/>
          </a:xfrm>
          <a:prstGeom prst="rect">
            <a:avLst/>
          </a:prstGeom>
        </p:spPr>
      </p:pic>
      <p:sp>
        <p:nvSpPr>
          <p:cNvPr id="96" name="Овал 95">
            <a:extLst>
              <a:ext uri="{FF2B5EF4-FFF2-40B4-BE49-F238E27FC236}">
                <a16:creationId xmlns:a16="http://schemas.microsoft.com/office/drawing/2014/main" id="{550E60B2-00CF-B242-509F-9C39165A9CE0}"/>
              </a:ext>
            </a:extLst>
          </p:cNvPr>
          <p:cNvSpPr/>
          <p:nvPr/>
        </p:nvSpPr>
        <p:spPr>
          <a:xfrm>
            <a:off x="1038790" y="10064369"/>
            <a:ext cx="400857" cy="400857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98" name="Графіка 97">
            <a:extLst>
              <a:ext uri="{FF2B5EF4-FFF2-40B4-BE49-F238E27FC236}">
                <a16:creationId xmlns:a16="http://schemas.microsoft.com/office/drawing/2014/main" id="{70A7E049-88DF-C730-709C-B2E2833053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69" r="69"/>
          <a:stretch/>
        </p:blipFill>
        <p:spPr>
          <a:xfrm>
            <a:off x="1084469" y="10111096"/>
            <a:ext cx="306976" cy="307402"/>
          </a:xfrm>
          <a:prstGeom prst="rect">
            <a:avLst/>
          </a:prstGeom>
        </p:spPr>
      </p:pic>
      <p:pic>
        <p:nvPicPr>
          <p:cNvPr id="99" name="Графіка 98" descr="Badge Tick1 outline">
            <a:extLst>
              <a:ext uri="{FF2B5EF4-FFF2-40B4-BE49-F238E27FC236}">
                <a16:creationId xmlns:a16="http://schemas.microsoft.com/office/drawing/2014/main" id="{12462262-4952-EE93-6C63-3EDB3F72CC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10507182"/>
            <a:ext cx="222913" cy="222913"/>
          </a:xfrm>
          <a:prstGeom prst="rect">
            <a:avLst/>
          </a:prstGeom>
        </p:spPr>
      </p:pic>
      <p:pic>
        <p:nvPicPr>
          <p:cNvPr id="100" name="Графіка 99" descr="Badge Tick1 outline">
            <a:extLst>
              <a:ext uri="{FF2B5EF4-FFF2-40B4-BE49-F238E27FC236}">
                <a16:creationId xmlns:a16="http://schemas.microsoft.com/office/drawing/2014/main" id="{7DDC89C3-F7FD-C70B-D71E-194ED3958A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10777308"/>
            <a:ext cx="222913" cy="222913"/>
          </a:xfrm>
          <a:prstGeom prst="rect">
            <a:avLst/>
          </a:prstGeom>
        </p:spPr>
      </p:pic>
      <p:pic>
        <p:nvPicPr>
          <p:cNvPr id="101" name="Графіка 100" descr="Badge Tick1 outline">
            <a:extLst>
              <a:ext uri="{FF2B5EF4-FFF2-40B4-BE49-F238E27FC236}">
                <a16:creationId xmlns:a16="http://schemas.microsoft.com/office/drawing/2014/main" id="{7ACF820F-F0FD-FAFE-3CAD-A4FD5C538A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11047435"/>
            <a:ext cx="222913" cy="222913"/>
          </a:xfrm>
          <a:prstGeom prst="rect">
            <a:avLst/>
          </a:prstGeom>
        </p:spPr>
      </p:pic>
      <p:pic>
        <p:nvPicPr>
          <p:cNvPr id="102" name="Графіка 101" descr="Badge Tick1 outline">
            <a:extLst>
              <a:ext uri="{FF2B5EF4-FFF2-40B4-BE49-F238E27FC236}">
                <a16:creationId xmlns:a16="http://schemas.microsoft.com/office/drawing/2014/main" id="{933C6F62-1CE9-A598-2C7F-2C6537F3E3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11337464"/>
            <a:ext cx="222913" cy="222913"/>
          </a:xfrm>
          <a:prstGeom prst="rect">
            <a:avLst/>
          </a:prstGeom>
        </p:spPr>
      </p:pic>
      <p:pic>
        <p:nvPicPr>
          <p:cNvPr id="103" name="Графіка 102" descr="Badge Tick1 outline">
            <a:extLst>
              <a:ext uri="{FF2B5EF4-FFF2-40B4-BE49-F238E27FC236}">
                <a16:creationId xmlns:a16="http://schemas.microsoft.com/office/drawing/2014/main" id="{3EBF7506-5844-EB5E-C34C-E61819FB71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3568" y="11608080"/>
            <a:ext cx="222913" cy="222913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3B4E27B1-87A6-1C02-1C03-3EB63CF86CE0}"/>
              </a:ext>
            </a:extLst>
          </p:cNvPr>
          <p:cNvSpPr txBox="1"/>
          <p:nvPr/>
        </p:nvSpPr>
        <p:spPr>
          <a:xfrm>
            <a:off x="1391445" y="10077562"/>
            <a:ext cx="17772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err="1">
                <a:latin typeface="+mj-lt"/>
              </a:rPr>
              <a:t>Централізац</a:t>
            </a:r>
            <a:r>
              <a:rPr lang="uk-UA" sz="2000" dirty="0" err="1">
                <a:latin typeface="+mj-lt"/>
              </a:rPr>
              <a:t>ія</a:t>
            </a:r>
            <a:endParaRPr lang="uk-UA" sz="2000" dirty="0"/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D8FBD330-EE98-C28C-3D92-97DAB23B473D}"/>
              </a:ext>
            </a:extLst>
          </p:cNvPr>
          <p:cNvSpPr txBox="1"/>
          <p:nvPr/>
        </p:nvSpPr>
        <p:spPr>
          <a:xfrm>
            <a:off x="1398945" y="8779258"/>
            <a:ext cx="64452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+mj-lt"/>
              </a:rPr>
              <a:t>У</a:t>
            </a:r>
            <a:r>
              <a:rPr lang="uk-UA" sz="2000" dirty="0">
                <a:latin typeface="+mj-lt"/>
              </a:rPr>
              <a:t>правління</a:t>
            </a:r>
            <a:endParaRPr lang="uk-UA" sz="2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6DED8C-2E0D-A5C6-4E36-1FB52827D776}"/>
              </a:ext>
            </a:extLst>
          </p:cNvPr>
          <p:cNvSpPr txBox="1"/>
          <p:nvPr/>
        </p:nvSpPr>
        <p:spPr>
          <a:xfrm>
            <a:off x="1405021" y="10465226"/>
            <a:ext cx="507832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dirty="0"/>
              <a:t>логістики </a:t>
            </a:r>
            <a:r>
              <a:rPr lang="uk-UA" sz="1600" dirty="0"/>
              <a:t>(95-97% товарів постачаються через власні РЦ)</a:t>
            </a:r>
          </a:p>
          <a:p>
            <a:r>
              <a:rPr lang="uk-UA" dirty="0"/>
              <a:t>обслуговування та забезпечення магазинів</a:t>
            </a:r>
            <a:endParaRPr lang="en-US" dirty="0"/>
          </a:p>
          <a:p>
            <a:r>
              <a:rPr lang="uk-UA" dirty="0"/>
              <a:t>бухгалтерського обліку</a:t>
            </a:r>
            <a:endParaRPr lang="en-US" dirty="0"/>
          </a:p>
          <a:p>
            <a:r>
              <a:rPr lang="uk-UA" dirty="0"/>
              <a:t>роботи з персоналом</a:t>
            </a:r>
            <a:r>
              <a:rPr lang="en-US" dirty="0"/>
              <a:t> </a:t>
            </a:r>
            <a:r>
              <a:rPr lang="ru-RU" dirty="0"/>
              <a:t>та </a:t>
            </a:r>
            <a:r>
              <a:rPr lang="uk-UA" dirty="0"/>
              <a:t>прийняттям</a:t>
            </a:r>
            <a:r>
              <a:rPr lang="ru-RU" dirty="0"/>
              <a:t> р</a:t>
            </a:r>
            <a:r>
              <a:rPr lang="uk-UA" dirty="0" err="1"/>
              <a:t>ішень</a:t>
            </a:r>
            <a:endParaRPr lang="en-US" dirty="0"/>
          </a:p>
          <a:p>
            <a:r>
              <a:rPr lang="uk-UA" dirty="0"/>
              <a:t>стандартів та процесі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28527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613" descr="A clipboard with a white sheet of paper&#10;&#10;Description automatically generated">
            <a:extLst>
              <a:ext uri="{FF2B5EF4-FFF2-40B4-BE49-F238E27FC236}">
                <a16:creationId xmlns:a16="http://schemas.microsoft.com/office/drawing/2014/main" id="{0861E0C7-821E-7440-33F2-427624C857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60" t="8752" r="17784" b="44770"/>
          <a:stretch/>
        </p:blipFill>
        <p:spPr>
          <a:xfrm>
            <a:off x="596875" y="1428751"/>
            <a:ext cx="6948598" cy="5484820"/>
          </a:xfrm>
          <a:prstGeom prst="rect">
            <a:avLst/>
          </a:prstGeom>
        </p:spPr>
      </p:pic>
      <p:sp>
        <p:nvSpPr>
          <p:cNvPr id="88" name="Овал 87">
            <a:extLst>
              <a:ext uri="{FF2B5EF4-FFF2-40B4-BE49-F238E27FC236}">
                <a16:creationId xmlns:a16="http://schemas.microsoft.com/office/drawing/2014/main" id="{5F7300D3-97CB-ED73-FDC7-35EFACC28A64}"/>
              </a:ext>
            </a:extLst>
          </p:cNvPr>
          <p:cNvSpPr/>
          <p:nvPr/>
        </p:nvSpPr>
        <p:spPr>
          <a:xfrm>
            <a:off x="1038790" y="2816087"/>
            <a:ext cx="400857" cy="400857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0743AC74-C005-A7F2-252F-8B3CE6C1C2E9}"/>
              </a:ext>
            </a:extLst>
          </p:cNvPr>
          <p:cNvSpPr/>
          <p:nvPr/>
        </p:nvSpPr>
        <p:spPr>
          <a:xfrm>
            <a:off x="8837749" y="1984998"/>
            <a:ext cx="2728060" cy="2728060"/>
          </a:xfrm>
          <a:prstGeom prst="ellipse">
            <a:avLst/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27AC93-07BF-8573-A2DD-47C3F45ADFB9}"/>
              </a:ext>
            </a:extLst>
          </p:cNvPr>
          <p:cNvSpPr txBox="1"/>
          <p:nvPr/>
        </p:nvSpPr>
        <p:spPr>
          <a:xfrm>
            <a:off x="462456" y="299073"/>
            <a:ext cx="105222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1. </a:t>
            </a:r>
            <a:r>
              <a:rPr lang="ru-RU" sz="6000" b="1" dirty="0">
                <a:latin typeface="+mj-lt"/>
              </a:rPr>
              <a:t>Централ</a:t>
            </a:r>
            <a:r>
              <a:rPr lang="uk-UA" sz="6000" b="1" dirty="0" err="1">
                <a:latin typeface="+mj-lt"/>
              </a:rPr>
              <a:t>ізоване</a:t>
            </a:r>
            <a:r>
              <a:rPr lang="uk-UA" sz="6000" b="1" dirty="0">
                <a:latin typeface="+mj-lt"/>
              </a:rPr>
              <a:t> управлінн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2C39AD-614B-A87E-A5F5-0E5917A543C9}"/>
              </a:ext>
            </a:extLst>
          </p:cNvPr>
          <p:cNvSpPr txBox="1"/>
          <p:nvPr/>
        </p:nvSpPr>
        <p:spPr>
          <a:xfrm>
            <a:off x="10394137" y="3228200"/>
            <a:ext cx="33694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2400" dirty="0">
                <a:solidFill>
                  <a:schemeClr val="bg1"/>
                </a:solidFill>
                <a:latin typeface="+mj-lt"/>
              </a:rPr>
              <a:t>%</a:t>
            </a:r>
            <a:endParaRPr lang="uk-UA" sz="24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2B0E1A-6159-0596-6050-4ACC02B2726B}"/>
              </a:ext>
            </a:extLst>
          </p:cNvPr>
          <p:cNvSpPr txBox="1"/>
          <p:nvPr/>
        </p:nvSpPr>
        <p:spPr>
          <a:xfrm>
            <a:off x="9866986" y="2548041"/>
            <a:ext cx="62074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80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5531CB-F3FC-04CB-598B-4D5ADE28C293}"/>
              </a:ext>
            </a:extLst>
          </p:cNvPr>
          <p:cNvSpPr txBox="1"/>
          <p:nvPr/>
        </p:nvSpPr>
        <p:spPr>
          <a:xfrm>
            <a:off x="9436643" y="2567326"/>
            <a:ext cx="59624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  <a:latin typeface="+mj-lt"/>
              </a:rPr>
              <a:t>&gt;</a:t>
            </a:r>
            <a:endParaRPr lang="uk-UA" sz="72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B94F33-04A9-E9D3-E25E-81FA74758F66}"/>
              </a:ext>
            </a:extLst>
          </p:cNvPr>
          <p:cNvSpPr txBox="1"/>
          <p:nvPr/>
        </p:nvSpPr>
        <p:spPr>
          <a:xfrm>
            <a:off x="9101331" y="3532704"/>
            <a:ext cx="23306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800" dirty="0">
                <a:solidFill>
                  <a:schemeClr val="bg1"/>
                </a:solidFill>
              </a:rPr>
              <a:t>персоналу – відповідає за управління компанією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DF10472-2D39-ED44-ABC2-2975F51E37AD}"/>
              </a:ext>
            </a:extLst>
          </p:cNvPr>
          <p:cNvSpPr txBox="1"/>
          <p:nvPr/>
        </p:nvSpPr>
        <p:spPr>
          <a:xfrm>
            <a:off x="1405023" y="3164448"/>
            <a:ext cx="197952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dirty="0"/>
              <a:t>асортиментом</a:t>
            </a:r>
          </a:p>
          <a:p>
            <a:r>
              <a:rPr lang="uk-UA" dirty="0"/>
              <a:t>ціноутворенням</a:t>
            </a:r>
          </a:p>
          <a:p>
            <a:r>
              <a:rPr lang="uk-UA" dirty="0"/>
              <a:t>товарними запасами</a:t>
            </a:r>
          </a:p>
        </p:txBody>
      </p:sp>
      <p:grpSp>
        <p:nvGrpSpPr>
          <p:cNvPr id="17" name="Google Shape;758;p23">
            <a:extLst>
              <a:ext uri="{FF2B5EF4-FFF2-40B4-BE49-F238E27FC236}">
                <a16:creationId xmlns:a16="http://schemas.microsoft.com/office/drawing/2014/main" id="{056E42E3-83D7-6260-A175-CF7D0E7190AA}"/>
              </a:ext>
            </a:extLst>
          </p:cNvPr>
          <p:cNvGrpSpPr/>
          <p:nvPr/>
        </p:nvGrpSpPr>
        <p:grpSpPr>
          <a:xfrm>
            <a:off x="10387236" y="-130432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18" name="Google Shape;759;p23">
              <a:extLst>
                <a:ext uri="{FF2B5EF4-FFF2-40B4-BE49-F238E27FC236}">
                  <a16:creationId xmlns:a16="http://schemas.microsoft.com/office/drawing/2014/main" id="{BC90EBF9-7E1D-6F27-E733-DC845EAB75B3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760;p23">
              <a:extLst>
                <a:ext uri="{FF2B5EF4-FFF2-40B4-BE49-F238E27FC236}">
                  <a16:creationId xmlns:a16="http://schemas.microsoft.com/office/drawing/2014/main" id="{E2A4D30B-C9CE-126D-1467-58E65CAFD8FB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761;p23">
              <a:extLst>
                <a:ext uri="{FF2B5EF4-FFF2-40B4-BE49-F238E27FC236}">
                  <a16:creationId xmlns:a16="http://schemas.microsoft.com/office/drawing/2014/main" id="{02663846-7D8A-B0F9-0755-2B86A7FA519B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762;p23">
              <a:extLst>
                <a:ext uri="{FF2B5EF4-FFF2-40B4-BE49-F238E27FC236}">
                  <a16:creationId xmlns:a16="http://schemas.microsoft.com/office/drawing/2014/main" id="{32C23F92-E957-1F8C-3CF8-F9D566200A4A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763;p23">
              <a:extLst>
                <a:ext uri="{FF2B5EF4-FFF2-40B4-BE49-F238E27FC236}">
                  <a16:creationId xmlns:a16="http://schemas.microsoft.com/office/drawing/2014/main" id="{32702D6E-92A1-8F17-44DD-1E9E69E59499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764;p23">
              <a:extLst>
                <a:ext uri="{FF2B5EF4-FFF2-40B4-BE49-F238E27FC236}">
                  <a16:creationId xmlns:a16="http://schemas.microsoft.com/office/drawing/2014/main" id="{9C1B58C2-A09A-1309-14BF-C94918936ED9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765;p23">
              <a:extLst>
                <a:ext uri="{FF2B5EF4-FFF2-40B4-BE49-F238E27FC236}">
                  <a16:creationId xmlns:a16="http://schemas.microsoft.com/office/drawing/2014/main" id="{D4DC1257-9F64-3C7A-D91E-B33D1DAE842E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766;p23">
              <a:extLst>
                <a:ext uri="{FF2B5EF4-FFF2-40B4-BE49-F238E27FC236}">
                  <a16:creationId xmlns:a16="http://schemas.microsoft.com/office/drawing/2014/main" id="{328AEC64-3853-9332-755D-F62513F603D6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767;p23">
              <a:extLst>
                <a:ext uri="{FF2B5EF4-FFF2-40B4-BE49-F238E27FC236}">
                  <a16:creationId xmlns:a16="http://schemas.microsoft.com/office/drawing/2014/main" id="{85243239-F8E6-9040-255B-6CF90040A579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68;p23">
              <a:extLst>
                <a:ext uri="{FF2B5EF4-FFF2-40B4-BE49-F238E27FC236}">
                  <a16:creationId xmlns:a16="http://schemas.microsoft.com/office/drawing/2014/main" id="{C08D230C-3E19-890E-3824-057F0B81216A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69;p23">
              <a:extLst>
                <a:ext uri="{FF2B5EF4-FFF2-40B4-BE49-F238E27FC236}">
                  <a16:creationId xmlns:a16="http://schemas.microsoft.com/office/drawing/2014/main" id="{49990D26-0DC1-25D9-AF8C-C1CEF9F7876A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70;p23">
              <a:extLst>
                <a:ext uri="{FF2B5EF4-FFF2-40B4-BE49-F238E27FC236}">
                  <a16:creationId xmlns:a16="http://schemas.microsoft.com/office/drawing/2014/main" id="{4A059427-D60C-C7EF-8D6E-4B814E08D4CF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71;p23">
              <a:extLst>
                <a:ext uri="{FF2B5EF4-FFF2-40B4-BE49-F238E27FC236}">
                  <a16:creationId xmlns:a16="http://schemas.microsoft.com/office/drawing/2014/main" id="{CBD0B523-22C4-D47F-1DAD-EA80457039E3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72;p23">
              <a:extLst>
                <a:ext uri="{FF2B5EF4-FFF2-40B4-BE49-F238E27FC236}">
                  <a16:creationId xmlns:a16="http://schemas.microsoft.com/office/drawing/2014/main" id="{CF7486E1-9F08-C1D9-D3B2-95E6C1A7C3A9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73;p23">
              <a:extLst>
                <a:ext uri="{FF2B5EF4-FFF2-40B4-BE49-F238E27FC236}">
                  <a16:creationId xmlns:a16="http://schemas.microsoft.com/office/drawing/2014/main" id="{956A0795-48CC-9C7F-1D98-60526536C75E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74;p23">
              <a:extLst>
                <a:ext uri="{FF2B5EF4-FFF2-40B4-BE49-F238E27FC236}">
                  <a16:creationId xmlns:a16="http://schemas.microsoft.com/office/drawing/2014/main" id="{9CF53064-0101-1E9D-D250-C4AFF7D18DF1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4" name="Google Shape;775;p23">
            <a:extLst>
              <a:ext uri="{FF2B5EF4-FFF2-40B4-BE49-F238E27FC236}">
                <a16:creationId xmlns:a16="http://schemas.microsoft.com/office/drawing/2014/main" id="{B86399F7-2915-E5DA-E6A0-A3FB9C03D94C}"/>
              </a:ext>
            </a:extLst>
          </p:cNvPr>
          <p:cNvGrpSpPr/>
          <p:nvPr/>
        </p:nvGrpSpPr>
        <p:grpSpPr>
          <a:xfrm rot="5400000">
            <a:off x="-347058" y="5872134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35" name="Google Shape;776;p23">
              <a:extLst>
                <a:ext uri="{FF2B5EF4-FFF2-40B4-BE49-F238E27FC236}">
                  <a16:creationId xmlns:a16="http://schemas.microsoft.com/office/drawing/2014/main" id="{01F25CD2-3387-81C8-EDB2-1631B7E16415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77;p23">
              <a:extLst>
                <a:ext uri="{FF2B5EF4-FFF2-40B4-BE49-F238E27FC236}">
                  <a16:creationId xmlns:a16="http://schemas.microsoft.com/office/drawing/2014/main" id="{822E5DA5-9907-E2A9-29D7-4669AACE7B3A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78;p23">
              <a:extLst>
                <a:ext uri="{FF2B5EF4-FFF2-40B4-BE49-F238E27FC236}">
                  <a16:creationId xmlns:a16="http://schemas.microsoft.com/office/drawing/2014/main" id="{2AB9E1A0-9431-BD36-6D92-09984CF3FCCD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79;p23">
              <a:extLst>
                <a:ext uri="{FF2B5EF4-FFF2-40B4-BE49-F238E27FC236}">
                  <a16:creationId xmlns:a16="http://schemas.microsoft.com/office/drawing/2014/main" id="{9459160B-2098-0171-F85F-93E3324BB779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80;p23">
              <a:extLst>
                <a:ext uri="{FF2B5EF4-FFF2-40B4-BE49-F238E27FC236}">
                  <a16:creationId xmlns:a16="http://schemas.microsoft.com/office/drawing/2014/main" id="{6330BAC2-21EF-2F13-8C94-249EF65D829E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81;p23">
              <a:extLst>
                <a:ext uri="{FF2B5EF4-FFF2-40B4-BE49-F238E27FC236}">
                  <a16:creationId xmlns:a16="http://schemas.microsoft.com/office/drawing/2014/main" id="{4778D439-2885-1E47-6CFD-C3E9D7391EFD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82;p23">
              <a:extLst>
                <a:ext uri="{FF2B5EF4-FFF2-40B4-BE49-F238E27FC236}">
                  <a16:creationId xmlns:a16="http://schemas.microsoft.com/office/drawing/2014/main" id="{D2709B21-5B59-F81B-1E52-1028D61C3350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83;p23">
              <a:extLst>
                <a:ext uri="{FF2B5EF4-FFF2-40B4-BE49-F238E27FC236}">
                  <a16:creationId xmlns:a16="http://schemas.microsoft.com/office/drawing/2014/main" id="{449FC885-3579-4CD8-0516-0C4849DD33FD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84;p23">
              <a:extLst>
                <a:ext uri="{FF2B5EF4-FFF2-40B4-BE49-F238E27FC236}">
                  <a16:creationId xmlns:a16="http://schemas.microsoft.com/office/drawing/2014/main" id="{AF7432ED-EBF6-6168-D6AC-1C2D53922166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85;p23">
              <a:extLst>
                <a:ext uri="{FF2B5EF4-FFF2-40B4-BE49-F238E27FC236}">
                  <a16:creationId xmlns:a16="http://schemas.microsoft.com/office/drawing/2014/main" id="{C7C2DBD7-5B47-24AC-52AB-A2A205A26095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86;p23">
              <a:extLst>
                <a:ext uri="{FF2B5EF4-FFF2-40B4-BE49-F238E27FC236}">
                  <a16:creationId xmlns:a16="http://schemas.microsoft.com/office/drawing/2014/main" id="{E0BC8096-CE1E-1D7A-F4D1-12FA718ABD60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787;p23">
              <a:extLst>
                <a:ext uri="{FF2B5EF4-FFF2-40B4-BE49-F238E27FC236}">
                  <a16:creationId xmlns:a16="http://schemas.microsoft.com/office/drawing/2014/main" id="{DD830327-7EEC-FF42-5351-B0E2E933BC1A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788;p23">
              <a:extLst>
                <a:ext uri="{FF2B5EF4-FFF2-40B4-BE49-F238E27FC236}">
                  <a16:creationId xmlns:a16="http://schemas.microsoft.com/office/drawing/2014/main" id="{3EB21721-783A-870A-30E9-BE302C232ADC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789;p23">
              <a:extLst>
                <a:ext uri="{FF2B5EF4-FFF2-40B4-BE49-F238E27FC236}">
                  <a16:creationId xmlns:a16="http://schemas.microsoft.com/office/drawing/2014/main" id="{7787A887-83BE-0715-8251-4D0786672022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790;p23">
              <a:extLst>
                <a:ext uri="{FF2B5EF4-FFF2-40B4-BE49-F238E27FC236}">
                  <a16:creationId xmlns:a16="http://schemas.microsoft.com/office/drawing/2014/main" id="{882E0C7D-9256-75CE-5455-9891BC13C6B7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791;p23">
              <a:extLst>
                <a:ext uri="{FF2B5EF4-FFF2-40B4-BE49-F238E27FC236}">
                  <a16:creationId xmlns:a16="http://schemas.microsoft.com/office/drawing/2014/main" id="{80FA23FF-6595-5A67-4BB3-792C1120437E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1" name="Google Shape;792;p23">
            <a:extLst>
              <a:ext uri="{FF2B5EF4-FFF2-40B4-BE49-F238E27FC236}">
                <a16:creationId xmlns:a16="http://schemas.microsoft.com/office/drawing/2014/main" id="{D5F3E54D-CF9F-BC5B-FFF2-C1A2AE09AA3A}"/>
              </a:ext>
            </a:extLst>
          </p:cNvPr>
          <p:cNvSpPr/>
          <p:nvPr/>
        </p:nvSpPr>
        <p:spPr>
          <a:xfrm>
            <a:off x="-689400" y="-757495"/>
            <a:ext cx="1378800" cy="1378800"/>
          </a:xfrm>
          <a:prstGeom prst="ellipse">
            <a:avLst/>
          </a:prstGeom>
          <a:noFill/>
          <a:ln w="19050" cap="flat" cmpd="sng">
            <a:solidFill>
              <a:srgbClr val="E9A82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" name="Google Shape;794;p23">
            <a:extLst>
              <a:ext uri="{FF2B5EF4-FFF2-40B4-BE49-F238E27FC236}">
                <a16:creationId xmlns:a16="http://schemas.microsoft.com/office/drawing/2014/main" id="{E2451DC6-27DB-D3E8-2739-F95DD1E18E67}"/>
              </a:ext>
            </a:extLst>
          </p:cNvPr>
          <p:cNvSpPr/>
          <p:nvPr/>
        </p:nvSpPr>
        <p:spPr>
          <a:xfrm>
            <a:off x="8830625" y="2117602"/>
            <a:ext cx="193200" cy="193200"/>
          </a:xfrm>
          <a:prstGeom prst="ellipse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55" name="Графіка 54" descr="Group of men outline">
            <a:extLst>
              <a:ext uri="{FF2B5EF4-FFF2-40B4-BE49-F238E27FC236}">
                <a16:creationId xmlns:a16="http://schemas.microsoft.com/office/drawing/2014/main" id="{0E1CD640-F15E-FDF9-F32C-369AAF0C37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5394" y="2278041"/>
            <a:ext cx="540000" cy="540000"/>
          </a:xfrm>
          <a:prstGeom prst="rect">
            <a:avLst/>
          </a:prstGeom>
        </p:spPr>
      </p:pic>
      <p:pic>
        <p:nvPicPr>
          <p:cNvPr id="56" name="Графіка 55" descr="Group of men outline">
            <a:extLst>
              <a:ext uri="{FF2B5EF4-FFF2-40B4-BE49-F238E27FC236}">
                <a16:creationId xmlns:a16="http://schemas.microsoft.com/office/drawing/2014/main" id="{D1C0E8B9-DD7D-8ECB-8773-71FDC9ABB4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96647" y="2278041"/>
            <a:ext cx="540000" cy="540000"/>
          </a:xfrm>
          <a:prstGeom prst="rect">
            <a:avLst/>
          </a:prstGeom>
        </p:spPr>
      </p:pic>
      <p:pic>
        <p:nvPicPr>
          <p:cNvPr id="57" name="Графіка 56" descr="Group of men outline">
            <a:extLst>
              <a:ext uri="{FF2B5EF4-FFF2-40B4-BE49-F238E27FC236}">
                <a16:creationId xmlns:a16="http://schemas.microsoft.com/office/drawing/2014/main" id="{AFFC39AF-B102-61AA-6053-80427BFC4F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14140" y="2278041"/>
            <a:ext cx="540000" cy="540000"/>
          </a:xfrm>
          <a:prstGeom prst="rect">
            <a:avLst/>
          </a:prstGeom>
        </p:spPr>
      </p:pic>
      <p:grpSp>
        <p:nvGrpSpPr>
          <p:cNvPr id="59" name="Google Shape;1176;p50">
            <a:extLst>
              <a:ext uri="{FF2B5EF4-FFF2-40B4-BE49-F238E27FC236}">
                <a16:creationId xmlns:a16="http://schemas.microsoft.com/office/drawing/2014/main" id="{8B4D88C1-EA0A-1F9F-37D4-D0A6BD01638C}"/>
              </a:ext>
            </a:extLst>
          </p:cNvPr>
          <p:cNvGrpSpPr/>
          <p:nvPr/>
        </p:nvGrpSpPr>
        <p:grpSpPr>
          <a:xfrm>
            <a:off x="7550772" y="3093333"/>
            <a:ext cx="1119327" cy="692597"/>
            <a:chOff x="3132025" y="2362375"/>
            <a:chExt cx="814530" cy="504000"/>
          </a:xfrm>
          <a:noFill/>
        </p:grpSpPr>
        <p:sp>
          <p:nvSpPr>
            <p:cNvPr id="60" name="Google Shape;1177;p50">
              <a:extLst>
                <a:ext uri="{FF2B5EF4-FFF2-40B4-BE49-F238E27FC236}">
                  <a16:creationId xmlns:a16="http://schemas.microsoft.com/office/drawing/2014/main" id="{B54EB1FD-5C35-888D-2AFA-3F8F99502AE4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178;p50">
              <a:extLst>
                <a:ext uri="{FF2B5EF4-FFF2-40B4-BE49-F238E27FC236}">
                  <a16:creationId xmlns:a16="http://schemas.microsoft.com/office/drawing/2014/main" id="{DA88FA68-3F59-A99F-C71F-AE8A76C78495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179;p50">
              <a:extLst>
                <a:ext uri="{FF2B5EF4-FFF2-40B4-BE49-F238E27FC236}">
                  <a16:creationId xmlns:a16="http://schemas.microsoft.com/office/drawing/2014/main" id="{7807FE29-54C8-CD01-F602-F7735D1651CF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3" name="Google Shape;49;p3">
            <a:extLst>
              <a:ext uri="{FF2B5EF4-FFF2-40B4-BE49-F238E27FC236}">
                <a16:creationId xmlns:a16="http://schemas.microsoft.com/office/drawing/2014/main" id="{429C33E2-1063-A538-A155-8033C48F5280}"/>
              </a:ext>
            </a:extLst>
          </p:cNvPr>
          <p:cNvGrpSpPr/>
          <p:nvPr/>
        </p:nvGrpSpPr>
        <p:grpSpPr>
          <a:xfrm>
            <a:off x="9077281" y="6529353"/>
            <a:ext cx="2743076" cy="657293"/>
            <a:chOff x="5227825" y="3000800"/>
            <a:chExt cx="1865150" cy="446925"/>
          </a:xfrm>
          <a:solidFill>
            <a:srgbClr val="E9A82A"/>
          </a:solidFill>
        </p:grpSpPr>
        <p:sp>
          <p:nvSpPr>
            <p:cNvPr id="64" name="Google Shape;50;p3">
              <a:extLst>
                <a:ext uri="{FF2B5EF4-FFF2-40B4-BE49-F238E27FC236}">
                  <a16:creationId xmlns:a16="http://schemas.microsoft.com/office/drawing/2014/main" id="{F55211CE-5B31-1C44-0550-3B026E2C518F}"/>
                </a:ext>
              </a:extLst>
            </p:cNvPr>
            <p:cNvSpPr/>
            <p:nvPr/>
          </p:nvSpPr>
          <p:spPr>
            <a:xfrm>
              <a:off x="686725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51;p3">
              <a:extLst>
                <a:ext uri="{FF2B5EF4-FFF2-40B4-BE49-F238E27FC236}">
                  <a16:creationId xmlns:a16="http://schemas.microsoft.com/office/drawing/2014/main" id="{E57669F1-415C-BC88-9765-91AB502C943C}"/>
                </a:ext>
              </a:extLst>
            </p:cNvPr>
            <p:cNvSpPr/>
            <p:nvPr/>
          </p:nvSpPr>
          <p:spPr>
            <a:xfrm>
              <a:off x="66626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9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52;p3">
              <a:extLst>
                <a:ext uri="{FF2B5EF4-FFF2-40B4-BE49-F238E27FC236}">
                  <a16:creationId xmlns:a16="http://schemas.microsoft.com/office/drawing/2014/main" id="{27BA483E-0538-2D74-4D7D-4D1171E972B2}"/>
                </a:ext>
              </a:extLst>
            </p:cNvPr>
            <p:cNvSpPr/>
            <p:nvPr/>
          </p:nvSpPr>
          <p:spPr>
            <a:xfrm>
              <a:off x="6457200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53;p3">
              <a:extLst>
                <a:ext uri="{FF2B5EF4-FFF2-40B4-BE49-F238E27FC236}">
                  <a16:creationId xmlns:a16="http://schemas.microsoft.com/office/drawing/2014/main" id="{213E0D35-8EAE-20DD-95BB-0A6C619BE6DC}"/>
                </a:ext>
              </a:extLst>
            </p:cNvPr>
            <p:cNvSpPr/>
            <p:nvPr/>
          </p:nvSpPr>
          <p:spPr>
            <a:xfrm>
              <a:off x="6252550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5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54;p3">
              <a:extLst>
                <a:ext uri="{FF2B5EF4-FFF2-40B4-BE49-F238E27FC236}">
                  <a16:creationId xmlns:a16="http://schemas.microsoft.com/office/drawing/2014/main" id="{09840D3E-E9F2-CBE5-0AD4-90013DAAF779}"/>
                </a:ext>
              </a:extLst>
            </p:cNvPr>
            <p:cNvSpPr/>
            <p:nvPr/>
          </p:nvSpPr>
          <p:spPr>
            <a:xfrm>
              <a:off x="6047150" y="3000800"/>
              <a:ext cx="226500" cy="446925"/>
            </a:xfrm>
            <a:custGeom>
              <a:avLst/>
              <a:gdLst/>
              <a:ahLst/>
              <a:cxnLst/>
              <a:rect l="l" t="t" r="r" b="b"/>
              <a:pathLst>
                <a:path w="906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55;p3">
              <a:extLst>
                <a:ext uri="{FF2B5EF4-FFF2-40B4-BE49-F238E27FC236}">
                  <a16:creationId xmlns:a16="http://schemas.microsoft.com/office/drawing/2014/main" id="{F1F6E26F-35EB-9448-3950-22DD3B2D5735}"/>
                </a:ext>
              </a:extLst>
            </p:cNvPr>
            <p:cNvSpPr/>
            <p:nvPr/>
          </p:nvSpPr>
          <p:spPr>
            <a:xfrm>
              <a:off x="584252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80" y="17877"/>
                  </a:moveTo>
                  <a:lnTo>
                    <a:pt x="0" y="17877"/>
                  </a:lnTo>
                  <a:lnTo>
                    <a:pt x="5778" y="8939"/>
                  </a:lnTo>
                  <a:lnTo>
                    <a:pt x="0" y="1"/>
                  </a:lnTo>
                  <a:lnTo>
                    <a:pt x="3280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56;p3">
              <a:extLst>
                <a:ext uri="{FF2B5EF4-FFF2-40B4-BE49-F238E27FC236}">
                  <a16:creationId xmlns:a16="http://schemas.microsoft.com/office/drawing/2014/main" id="{41A9487A-4156-24ED-337C-857268913D5E}"/>
                </a:ext>
              </a:extLst>
            </p:cNvPr>
            <p:cNvSpPr/>
            <p:nvPr/>
          </p:nvSpPr>
          <p:spPr>
            <a:xfrm>
              <a:off x="5637875" y="3000800"/>
              <a:ext cx="225725" cy="446925"/>
            </a:xfrm>
            <a:custGeom>
              <a:avLst/>
              <a:gdLst/>
              <a:ahLst/>
              <a:cxnLst/>
              <a:rect l="l" t="t" r="r" b="b"/>
              <a:pathLst>
                <a:path w="9029" h="17877" extrusionOk="0">
                  <a:moveTo>
                    <a:pt x="3251" y="17877"/>
                  </a:moveTo>
                  <a:lnTo>
                    <a:pt x="0" y="17877"/>
                  </a:lnTo>
                  <a:lnTo>
                    <a:pt x="5748" y="8939"/>
                  </a:lnTo>
                  <a:lnTo>
                    <a:pt x="0" y="1"/>
                  </a:lnTo>
                  <a:lnTo>
                    <a:pt x="325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57;p3">
              <a:extLst>
                <a:ext uri="{FF2B5EF4-FFF2-40B4-BE49-F238E27FC236}">
                  <a16:creationId xmlns:a16="http://schemas.microsoft.com/office/drawing/2014/main" id="{4BF6A19F-03FF-4A00-715A-DC75E0A64EDB}"/>
                </a:ext>
              </a:extLst>
            </p:cNvPr>
            <p:cNvSpPr/>
            <p:nvPr/>
          </p:nvSpPr>
          <p:spPr>
            <a:xfrm>
              <a:off x="5432475" y="3000800"/>
              <a:ext cx="226475" cy="446925"/>
            </a:xfrm>
            <a:custGeom>
              <a:avLst/>
              <a:gdLst/>
              <a:ahLst/>
              <a:cxnLst/>
              <a:rect l="l" t="t" r="r" b="b"/>
              <a:pathLst>
                <a:path w="9059" h="17877" extrusionOk="0">
                  <a:moveTo>
                    <a:pt x="3281" y="17877"/>
                  </a:moveTo>
                  <a:lnTo>
                    <a:pt x="0" y="17877"/>
                  </a:lnTo>
                  <a:lnTo>
                    <a:pt x="5779" y="8939"/>
                  </a:lnTo>
                  <a:lnTo>
                    <a:pt x="0" y="1"/>
                  </a:lnTo>
                  <a:lnTo>
                    <a:pt x="3281" y="1"/>
                  </a:lnTo>
                  <a:lnTo>
                    <a:pt x="905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58;p3">
              <a:extLst>
                <a:ext uri="{FF2B5EF4-FFF2-40B4-BE49-F238E27FC236}">
                  <a16:creationId xmlns:a16="http://schemas.microsoft.com/office/drawing/2014/main" id="{BCF19730-732B-1024-5D40-A552C8BA7EAB}"/>
                </a:ext>
              </a:extLst>
            </p:cNvPr>
            <p:cNvSpPr/>
            <p:nvPr/>
          </p:nvSpPr>
          <p:spPr>
            <a:xfrm>
              <a:off x="5227825" y="3000800"/>
              <a:ext cx="225750" cy="446925"/>
            </a:xfrm>
            <a:custGeom>
              <a:avLst/>
              <a:gdLst/>
              <a:ahLst/>
              <a:cxnLst/>
              <a:rect l="l" t="t" r="r" b="b"/>
              <a:pathLst>
                <a:path w="9030" h="17877" extrusionOk="0">
                  <a:moveTo>
                    <a:pt x="3281" y="17877"/>
                  </a:moveTo>
                  <a:lnTo>
                    <a:pt x="1" y="17877"/>
                  </a:lnTo>
                  <a:lnTo>
                    <a:pt x="5779" y="8939"/>
                  </a:lnTo>
                  <a:lnTo>
                    <a:pt x="1" y="1"/>
                  </a:lnTo>
                  <a:lnTo>
                    <a:pt x="3281" y="1"/>
                  </a:lnTo>
                  <a:lnTo>
                    <a:pt x="9029" y="89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81" name="Графіка 80" descr="Hierarchy outline">
            <a:extLst>
              <a:ext uri="{FF2B5EF4-FFF2-40B4-BE49-F238E27FC236}">
                <a16:creationId xmlns:a16="http://schemas.microsoft.com/office/drawing/2014/main" id="{0C3E2EB0-32F4-D003-4CE5-DAEC0C4647C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0025" y="2827018"/>
            <a:ext cx="349998" cy="349998"/>
          </a:xfrm>
          <a:prstGeom prst="rect">
            <a:avLst/>
          </a:prstGeom>
        </p:spPr>
      </p:pic>
      <p:pic>
        <p:nvPicPr>
          <p:cNvPr id="90" name="Графіка 89" descr="Badge Tick1 outline">
            <a:extLst>
              <a:ext uri="{FF2B5EF4-FFF2-40B4-BE49-F238E27FC236}">
                <a16:creationId xmlns:a16="http://schemas.microsoft.com/office/drawing/2014/main" id="{D3CCF228-C6BA-AA28-2697-03850DD484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3262785"/>
            <a:ext cx="222913" cy="222913"/>
          </a:xfrm>
          <a:prstGeom prst="rect">
            <a:avLst/>
          </a:prstGeom>
        </p:spPr>
      </p:pic>
      <p:pic>
        <p:nvPicPr>
          <p:cNvPr id="91" name="Графіка 90" descr="Badge Tick1 outline">
            <a:extLst>
              <a:ext uri="{FF2B5EF4-FFF2-40B4-BE49-F238E27FC236}">
                <a16:creationId xmlns:a16="http://schemas.microsoft.com/office/drawing/2014/main" id="{C77542AC-EC7B-3165-7EC0-3585143F5E7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3525626"/>
            <a:ext cx="222913" cy="222913"/>
          </a:xfrm>
          <a:prstGeom prst="rect">
            <a:avLst/>
          </a:prstGeom>
        </p:spPr>
      </p:pic>
      <p:pic>
        <p:nvPicPr>
          <p:cNvPr id="92" name="Графіка 91" descr="Badge Tick1 outline">
            <a:extLst>
              <a:ext uri="{FF2B5EF4-FFF2-40B4-BE49-F238E27FC236}">
                <a16:creationId xmlns:a16="http://schemas.microsoft.com/office/drawing/2014/main" id="{CCB5FC23-4997-8EBF-59B6-83FA27EDA9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3805411"/>
            <a:ext cx="222913" cy="222913"/>
          </a:xfrm>
          <a:prstGeom prst="rect">
            <a:avLst/>
          </a:prstGeom>
        </p:spPr>
      </p:pic>
      <p:sp>
        <p:nvSpPr>
          <p:cNvPr id="93" name="Овал 92">
            <a:extLst>
              <a:ext uri="{FF2B5EF4-FFF2-40B4-BE49-F238E27FC236}">
                <a16:creationId xmlns:a16="http://schemas.microsoft.com/office/drawing/2014/main" id="{9CE2E9A7-919C-23B2-9985-2006B7FBABFD}"/>
              </a:ext>
            </a:extLst>
          </p:cNvPr>
          <p:cNvSpPr/>
          <p:nvPr/>
        </p:nvSpPr>
        <p:spPr>
          <a:xfrm>
            <a:off x="1038790" y="4116960"/>
            <a:ext cx="400857" cy="400857"/>
          </a:xfrm>
          <a:prstGeom prst="ellipse">
            <a:avLst/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EA6BDA8-4E2D-3AC2-BE5B-F1CD34B2A969}"/>
              </a:ext>
            </a:extLst>
          </p:cNvPr>
          <p:cNvSpPr txBox="1"/>
          <p:nvPr/>
        </p:nvSpPr>
        <p:spPr>
          <a:xfrm>
            <a:off x="1405021" y="4460517"/>
            <a:ext cx="507832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dirty="0"/>
              <a:t>логістики </a:t>
            </a:r>
            <a:r>
              <a:rPr lang="uk-UA" sz="1600" dirty="0"/>
              <a:t>(95-97% товарів постачаються через власні РЦ)</a:t>
            </a:r>
          </a:p>
          <a:p>
            <a:r>
              <a:rPr lang="uk-UA" dirty="0"/>
              <a:t>обслуговування та забезпечення магазинів</a:t>
            </a:r>
            <a:endParaRPr lang="en-US" dirty="0"/>
          </a:p>
          <a:p>
            <a:r>
              <a:rPr lang="uk-UA" dirty="0"/>
              <a:t>бухгалтерського обліку</a:t>
            </a:r>
            <a:endParaRPr lang="en-US" dirty="0"/>
          </a:p>
          <a:p>
            <a:r>
              <a:rPr lang="uk-UA" dirty="0"/>
              <a:t>роботи з персоналом</a:t>
            </a:r>
          </a:p>
          <a:p>
            <a:r>
              <a:rPr lang="uk-UA" dirty="0"/>
              <a:t>стандартів та процесів</a:t>
            </a:r>
          </a:p>
        </p:txBody>
      </p:sp>
      <p:pic>
        <p:nvPicPr>
          <p:cNvPr id="95" name="Графіка 94">
            <a:extLst>
              <a:ext uri="{FF2B5EF4-FFF2-40B4-BE49-F238E27FC236}">
                <a16:creationId xmlns:a16="http://schemas.microsoft.com/office/drawing/2014/main" id="{22EF4E83-3DC6-80AE-CE27-8C64244DBF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69" r="69"/>
          <a:stretch/>
        </p:blipFill>
        <p:spPr>
          <a:xfrm>
            <a:off x="1084469" y="4163687"/>
            <a:ext cx="306976" cy="307402"/>
          </a:xfrm>
          <a:prstGeom prst="rect">
            <a:avLst/>
          </a:prstGeom>
        </p:spPr>
      </p:pic>
      <p:pic>
        <p:nvPicPr>
          <p:cNvPr id="102" name="Графіка 101" descr="Badge Tick1 outline">
            <a:extLst>
              <a:ext uri="{FF2B5EF4-FFF2-40B4-BE49-F238E27FC236}">
                <a16:creationId xmlns:a16="http://schemas.microsoft.com/office/drawing/2014/main" id="{5C171592-EC3C-1F75-D9DE-288A25CBE6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4559773"/>
            <a:ext cx="222913" cy="222913"/>
          </a:xfrm>
          <a:prstGeom prst="rect">
            <a:avLst/>
          </a:prstGeom>
        </p:spPr>
      </p:pic>
      <p:pic>
        <p:nvPicPr>
          <p:cNvPr id="103" name="Графіка 102" descr="Badge Tick1 outline">
            <a:extLst>
              <a:ext uri="{FF2B5EF4-FFF2-40B4-BE49-F238E27FC236}">
                <a16:creationId xmlns:a16="http://schemas.microsoft.com/office/drawing/2014/main" id="{2EE0FB04-9303-1840-2AD2-300A84279A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4829899"/>
            <a:ext cx="222913" cy="222913"/>
          </a:xfrm>
          <a:prstGeom prst="rect">
            <a:avLst/>
          </a:prstGeom>
        </p:spPr>
      </p:pic>
      <p:pic>
        <p:nvPicPr>
          <p:cNvPr id="104" name="Графіка 103" descr="Badge Tick1 outline">
            <a:extLst>
              <a:ext uri="{FF2B5EF4-FFF2-40B4-BE49-F238E27FC236}">
                <a16:creationId xmlns:a16="http://schemas.microsoft.com/office/drawing/2014/main" id="{F3ECF6CD-29C3-E3A8-5E15-4E76F844F1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5100026"/>
            <a:ext cx="222913" cy="222913"/>
          </a:xfrm>
          <a:prstGeom prst="rect">
            <a:avLst/>
          </a:prstGeom>
        </p:spPr>
      </p:pic>
      <p:pic>
        <p:nvPicPr>
          <p:cNvPr id="105" name="Графіка 104" descr="Badge Tick1 outline">
            <a:extLst>
              <a:ext uri="{FF2B5EF4-FFF2-40B4-BE49-F238E27FC236}">
                <a16:creationId xmlns:a16="http://schemas.microsoft.com/office/drawing/2014/main" id="{91276DE3-63AE-8F6E-9386-4090F40AE4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5390055"/>
            <a:ext cx="222913" cy="222913"/>
          </a:xfrm>
          <a:prstGeom prst="rect">
            <a:avLst/>
          </a:prstGeom>
        </p:spPr>
      </p:pic>
      <p:pic>
        <p:nvPicPr>
          <p:cNvPr id="107" name="Графіка 106" descr="Badge Tick1 outline">
            <a:extLst>
              <a:ext uri="{FF2B5EF4-FFF2-40B4-BE49-F238E27FC236}">
                <a16:creationId xmlns:a16="http://schemas.microsoft.com/office/drawing/2014/main" id="{DAC92A8B-4D6B-1CDD-5835-60040A84E4C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3568" y="5660671"/>
            <a:ext cx="222913" cy="222913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B1B5519A-3F57-FC84-1D79-48DCF405B42F}"/>
              </a:ext>
            </a:extLst>
          </p:cNvPr>
          <p:cNvSpPr txBox="1"/>
          <p:nvPr/>
        </p:nvSpPr>
        <p:spPr>
          <a:xfrm>
            <a:off x="1391445" y="4130153"/>
            <a:ext cx="177720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err="1">
                <a:latin typeface="+mj-lt"/>
              </a:rPr>
              <a:t>Централізац</a:t>
            </a:r>
            <a:r>
              <a:rPr lang="uk-UA" sz="2000" dirty="0" err="1">
                <a:latin typeface="+mj-lt"/>
              </a:rPr>
              <a:t>ія</a:t>
            </a:r>
            <a:endParaRPr lang="uk-UA" sz="2000" dirty="0"/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77836D6-435C-458E-8F83-12F1FF6D9287}"/>
              </a:ext>
            </a:extLst>
          </p:cNvPr>
          <p:cNvSpPr txBox="1"/>
          <p:nvPr/>
        </p:nvSpPr>
        <p:spPr>
          <a:xfrm>
            <a:off x="1398945" y="2831849"/>
            <a:ext cx="64452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latin typeface="+mj-lt"/>
              </a:rPr>
              <a:t>У</a:t>
            </a:r>
            <a:r>
              <a:rPr lang="uk-UA" sz="2000" dirty="0">
                <a:latin typeface="+mj-lt"/>
              </a:rPr>
              <a:t>правління</a:t>
            </a:r>
            <a:endParaRPr lang="uk-UA" sz="2000" dirty="0"/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9D05BCA9-44C8-341C-E171-F32FD2AB6708}"/>
              </a:ext>
            </a:extLst>
          </p:cNvPr>
          <p:cNvSpPr/>
          <p:nvPr/>
        </p:nvSpPr>
        <p:spPr>
          <a:xfrm>
            <a:off x="8763048" y="1910298"/>
            <a:ext cx="2877462" cy="2877460"/>
          </a:xfrm>
          <a:prstGeom prst="ellipse">
            <a:avLst/>
          </a:prstGeom>
          <a:noFill/>
          <a:ln>
            <a:solidFill>
              <a:srgbClr val="2B6AE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endParaRPr lang="uk-UA" dirty="0"/>
          </a:p>
        </p:txBody>
      </p:sp>
      <p:sp>
        <p:nvSpPr>
          <p:cNvPr id="4" name="Google Shape;792;p23">
            <a:extLst>
              <a:ext uri="{FF2B5EF4-FFF2-40B4-BE49-F238E27FC236}">
                <a16:creationId xmlns:a16="http://schemas.microsoft.com/office/drawing/2014/main" id="{9761512F-A92C-23D6-B0E1-3FAF0E2D9421}"/>
              </a:ext>
            </a:extLst>
          </p:cNvPr>
          <p:cNvSpPr/>
          <p:nvPr/>
        </p:nvSpPr>
        <p:spPr>
          <a:xfrm>
            <a:off x="-689400" y="-757495"/>
            <a:ext cx="1378800" cy="1378800"/>
          </a:xfrm>
          <a:prstGeom prst="ellipse">
            <a:avLst/>
          </a:prstGeom>
          <a:noFill/>
          <a:ln w="19050" cap="flat" cmpd="sng">
            <a:solidFill>
              <a:srgbClr val="E9A82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" name="Паралелограм 4">
            <a:extLst>
              <a:ext uri="{FF2B5EF4-FFF2-40B4-BE49-F238E27FC236}">
                <a16:creationId xmlns:a16="http://schemas.microsoft.com/office/drawing/2014/main" id="{3E6EBCB4-9E7A-94AA-4291-FBA47D869D23}"/>
              </a:ext>
            </a:extLst>
          </p:cNvPr>
          <p:cNvSpPr/>
          <p:nvPr/>
        </p:nvSpPr>
        <p:spPr>
          <a:xfrm>
            <a:off x="-7373201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6" name="Picture 8" descr="Возможно, это изображение 1 человек и текст">
            <a:extLst>
              <a:ext uri="{FF2B5EF4-FFF2-40B4-BE49-F238E27FC236}">
                <a16:creationId xmlns:a16="http://schemas.microsoft.com/office/drawing/2014/main" id="{F1A38DFC-B9FA-D344-35DC-35BE1F7FCA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83405" y="1484313"/>
            <a:ext cx="10290175" cy="6858000"/>
          </a:xfrm>
          <a:prstGeom prst="parallelogram">
            <a:avLst>
              <a:gd name="adj" fmla="val 1388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ABBF40F-8CB7-CCB2-C3E6-7CA8E8073A25}"/>
              </a:ext>
            </a:extLst>
          </p:cNvPr>
          <p:cNvSpPr txBox="1"/>
          <p:nvPr/>
        </p:nvSpPr>
        <p:spPr>
          <a:xfrm>
            <a:off x="-8720983" y="299073"/>
            <a:ext cx="100674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2. Ефективна комунікація </a:t>
            </a:r>
          </a:p>
        </p:txBody>
      </p:sp>
    </p:spTree>
    <p:extLst>
      <p:ext uri="{BB962C8B-B14F-4D97-AF65-F5344CB8AC3E}">
        <p14:creationId xmlns:p14="http://schemas.microsoft.com/office/powerpoint/2010/main" val="1222828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елограм 6">
            <a:extLst>
              <a:ext uri="{FF2B5EF4-FFF2-40B4-BE49-F238E27FC236}">
                <a16:creationId xmlns:a16="http://schemas.microsoft.com/office/drawing/2014/main" id="{A1088883-55CF-B313-9C02-7C7A92E39DBF}"/>
              </a:ext>
            </a:extLst>
          </p:cNvPr>
          <p:cNvSpPr/>
          <p:nvPr/>
        </p:nvSpPr>
        <p:spPr>
          <a:xfrm>
            <a:off x="560388" y="-341719"/>
            <a:ext cx="6764300" cy="9478228"/>
          </a:xfrm>
          <a:prstGeom prst="parallelogram">
            <a:avLst>
              <a:gd name="adj" fmla="val 19676"/>
            </a:avLst>
          </a:prstGeom>
          <a:solidFill>
            <a:srgbClr val="E9A8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BD4F3D-800C-8984-E4C1-01EFDCC08A85}"/>
              </a:ext>
            </a:extLst>
          </p:cNvPr>
          <p:cNvSpPr txBox="1"/>
          <p:nvPr/>
        </p:nvSpPr>
        <p:spPr>
          <a:xfrm>
            <a:off x="462457" y="299073"/>
            <a:ext cx="100674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6000" b="1" dirty="0">
                <a:latin typeface="+mj-lt"/>
              </a:rPr>
              <a:t>2. Ефективна комунікація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64C945-7E1A-F8F1-F691-37D0186ADA57}"/>
              </a:ext>
            </a:extLst>
          </p:cNvPr>
          <p:cNvSpPr txBox="1"/>
          <p:nvPr/>
        </p:nvSpPr>
        <p:spPr>
          <a:xfrm>
            <a:off x="7756031" y="2363300"/>
            <a:ext cx="4375681" cy="1810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ru-RU" sz="2000" dirty="0"/>
              <a:t>1. </a:t>
            </a:r>
            <a:r>
              <a:rPr lang="ru-RU" sz="2000" dirty="0" err="1"/>
              <a:t>Зайві</a:t>
            </a:r>
            <a:r>
              <a:rPr lang="ru-RU" sz="2000" dirty="0"/>
              <a:t> канали </a:t>
            </a:r>
            <a:r>
              <a:rPr lang="ru-RU" sz="2000" dirty="0" err="1"/>
              <a:t>комунікації</a:t>
            </a:r>
            <a:br>
              <a:rPr lang="ru-RU" sz="2000" dirty="0"/>
            </a:br>
            <a:r>
              <a:rPr lang="ru-RU" sz="2000" dirty="0"/>
              <a:t>2. </a:t>
            </a:r>
            <a:r>
              <a:rPr lang="ru-RU" sz="2000" dirty="0" err="1"/>
              <a:t>Комунікація</a:t>
            </a:r>
            <a:r>
              <a:rPr lang="ru-RU" sz="2000" dirty="0"/>
              <a:t> </a:t>
            </a:r>
            <a:r>
              <a:rPr lang="ru-RU" sz="2000" dirty="0">
                <a:latin typeface="+mj-lt"/>
              </a:rPr>
              <a:t>«</a:t>
            </a:r>
            <a:r>
              <a:rPr lang="ru-RU" sz="2000" dirty="0" err="1">
                <a:latin typeface="+mj-lt"/>
              </a:rPr>
              <a:t>Офіс</a:t>
            </a:r>
            <a:r>
              <a:rPr lang="ru-RU" sz="2000" dirty="0">
                <a:latin typeface="+mj-lt"/>
              </a:rPr>
              <a:t>-магазин»</a:t>
            </a:r>
            <a:br>
              <a:rPr lang="ru-RU" sz="2000" dirty="0"/>
            </a:br>
            <a:r>
              <a:rPr lang="ru-RU" sz="2000" dirty="0"/>
              <a:t>3. </a:t>
            </a:r>
            <a:r>
              <a:rPr lang="ru-RU" sz="2000" dirty="0" err="1"/>
              <a:t>Комунікація</a:t>
            </a:r>
            <a:r>
              <a:rPr lang="ru-RU" sz="2000" dirty="0"/>
              <a:t> </a:t>
            </a:r>
            <a:r>
              <a:rPr lang="ru-RU" sz="2000" dirty="0">
                <a:latin typeface="+mj-lt"/>
              </a:rPr>
              <a:t>«Магазин-</a:t>
            </a:r>
            <a:r>
              <a:rPr lang="ru-RU" sz="2000" dirty="0" err="1">
                <a:latin typeface="+mj-lt"/>
              </a:rPr>
              <a:t>офіс</a:t>
            </a:r>
            <a:r>
              <a:rPr lang="ru-RU" sz="2000" dirty="0">
                <a:latin typeface="+mj-lt"/>
              </a:rPr>
              <a:t>» </a:t>
            </a:r>
          </a:p>
          <a:p>
            <a:pPr>
              <a:lnSpc>
                <a:spcPct val="114000"/>
              </a:lnSpc>
            </a:pPr>
            <a:r>
              <a:rPr lang="ru-RU" sz="2000" dirty="0"/>
              <a:t>4. </a:t>
            </a:r>
            <a:r>
              <a:rPr lang="ru-RU" sz="2000" dirty="0" err="1"/>
              <a:t>Граничні</a:t>
            </a:r>
            <a:r>
              <a:rPr lang="ru-RU" sz="2000" dirty="0"/>
              <a:t> </a:t>
            </a:r>
            <a:r>
              <a:rPr lang="ru-RU" sz="2000" dirty="0" err="1"/>
              <a:t>терміни</a:t>
            </a:r>
            <a:r>
              <a:rPr lang="ru-RU" sz="2000" dirty="0"/>
              <a:t> </a:t>
            </a:r>
            <a:r>
              <a:rPr lang="ru-RU" sz="2000" dirty="0" err="1"/>
              <a:t>реагування</a:t>
            </a:r>
            <a:endParaRPr lang="ru-RU" sz="2000" dirty="0"/>
          </a:p>
          <a:p>
            <a:pPr>
              <a:lnSpc>
                <a:spcPct val="114000"/>
              </a:lnSpc>
            </a:pPr>
            <a:r>
              <a:rPr lang="ru-RU" sz="2000" dirty="0"/>
              <a:t>5. </a:t>
            </a:r>
            <a:r>
              <a:rPr lang="uk-UA" sz="2000" dirty="0"/>
              <a:t>Інформування про порушення термінів </a:t>
            </a:r>
          </a:p>
        </p:txBody>
      </p:sp>
      <p:pic>
        <p:nvPicPr>
          <p:cNvPr id="12296" name="Picture 8" descr="Возможно, это изображение 1 человек и текст">
            <a:extLst>
              <a:ext uri="{FF2B5EF4-FFF2-40B4-BE49-F238E27FC236}">
                <a16:creationId xmlns:a16="http://schemas.microsoft.com/office/drawing/2014/main" id="{534F158D-0895-DB08-C28A-BA3228829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49816" y="1484313"/>
            <a:ext cx="10290175" cy="6858000"/>
          </a:xfrm>
          <a:prstGeom prst="parallelogram">
            <a:avLst>
              <a:gd name="adj" fmla="val 1388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!!Google Shape;1176;p50">
            <a:extLst>
              <a:ext uri="{FF2B5EF4-FFF2-40B4-BE49-F238E27FC236}">
                <a16:creationId xmlns:a16="http://schemas.microsoft.com/office/drawing/2014/main" id="{A9B3262A-AF50-DA73-4E36-45E9DAA6FB23}"/>
              </a:ext>
            </a:extLst>
          </p:cNvPr>
          <p:cNvGrpSpPr/>
          <p:nvPr/>
        </p:nvGrpSpPr>
        <p:grpSpPr>
          <a:xfrm>
            <a:off x="11169879" y="460605"/>
            <a:ext cx="1119327" cy="692597"/>
            <a:chOff x="3132025" y="2362375"/>
            <a:chExt cx="814530" cy="504000"/>
          </a:xfrm>
          <a:noFill/>
        </p:grpSpPr>
        <p:sp>
          <p:nvSpPr>
            <p:cNvPr id="30" name="Google Shape;1177;p50">
              <a:extLst>
                <a:ext uri="{FF2B5EF4-FFF2-40B4-BE49-F238E27FC236}">
                  <a16:creationId xmlns:a16="http://schemas.microsoft.com/office/drawing/2014/main" id="{68696C55-AC86-6D50-01A4-BB67472542B8}"/>
                </a:ext>
              </a:extLst>
            </p:cNvPr>
            <p:cNvSpPr/>
            <p:nvPr/>
          </p:nvSpPr>
          <p:spPr>
            <a:xfrm rot="-5400000">
              <a:off x="309797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1178;p50">
              <a:extLst>
                <a:ext uri="{FF2B5EF4-FFF2-40B4-BE49-F238E27FC236}">
                  <a16:creationId xmlns:a16="http://schemas.microsoft.com/office/drawing/2014/main" id="{4F47F7AD-9B9C-B09C-859B-F7BB77EBB74B}"/>
                </a:ext>
              </a:extLst>
            </p:cNvPr>
            <p:cNvSpPr/>
            <p:nvPr/>
          </p:nvSpPr>
          <p:spPr>
            <a:xfrm rot="-5400000">
              <a:off x="3287290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1179;p50">
              <a:extLst>
                <a:ext uri="{FF2B5EF4-FFF2-40B4-BE49-F238E27FC236}">
                  <a16:creationId xmlns:a16="http://schemas.microsoft.com/office/drawing/2014/main" id="{8A3B4A89-9ACB-508E-520D-7F36F95DE2F1}"/>
                </a:ext>
              </a:extLst>
            </p:cNvPr>
            <p:cNvSpPr/>
            <p:nvPr/>
          </p:nvSpPr>
          <p:spPr>
            <a:xfrm rot="-5400000">
              <a:off x="3476605" y="2396425"/>
              <a:ext cx="504000" cy="435900"/>
            </a:xfrm>
            <a:prstGeom prst="triangle">
              <a:avLst>
                <a:gd name="adj" fmla="val 50000"/>
              </a:avLst>
            </a:prstGeom>
            <a:grpFill/>
            <a:ln w="19050" cap="flat" cmpd="sng">
              <a:solidFill>
                <a:srgbClr val="E9A82A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33" name="!!Google Shape;758;p23">
            <a:extLst>
              <a:ext uri="{FF2B5EF4-FFF2-40B4-BE49-F238E27FC236}">
                <a16:creationId xmlns:a16="http://schemas.microsoft.com/office/drawing/2014/main" id="{07A96503-59DD-0895-5149-09D93C63F359}"/>
              </a:ext>
            </a:extLst>
          </p:cNvPr>
          <p:cNvGrpSpPr/>
          <p:nvPr/>
        </p:nvGrpSpPr>
        <p:grpSpPr>
          <a:xfrm>
            <a:off x="10916138" y="6296923"/>
            <a:ext cx="1145952" cy="657282"/>
            <a:chOff x="864825" y="2381600"/>
            <a:chExt cx="802825" cy="460475"/>
          </a:xfrm>
          <a:solidFill>
            <a:schemeClr val="bg1">
              <a:lumMod val="85000"/>
            </a:schemeClr>
          </a:solidFill>
        </p:grpSpPr>
        <p:sp>
          <p:nvSpPr>
            <p:cNvPr id="34" name="Google Shape;759;p23">
              <a:extLst>
                <a:ext uri="{FF2B5EF4-FFF2-40B4-BE49-F238E27FC236}">
                  <a16:creationId xmlns:a16="http://schemas.microsoft.com/office/drawing/2014/main" id="{0E6B2C92-F7FD-EEF6-D498-238C39D2222C}"/>
                </a:ext>
              </a:extLst>
            </p:cNvPr>
            <p:cNvSpPr/>
            <p:nvPr/>
          </p:nvSpPr>
          <p:spPr>
            <a:xfrm>
              <a:off x="1645050" y="2819475"/>
              <a:ext cx="22600" cy="22600"/>
            </a:xfrm>
            <a:custGeom>
              <a:avLst/>
              <a:gdLst/>
              <a:ahLst/>
              <a:cxnLst/>
              <a:rect l="l" t="t" r="r" b="b"/>
              <a:pathLst>
                <a:path w="90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03" y="693"/>
                    <a:pt x="903" y="452"/>
                  </a:cubicBezTo>
                  <a:cubicBezTo>
                    <a:pt x="90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60;p23">
              <a:extLst>
                <a:ext uri="{FF2B5EF4-FFF2-40B4-BE49-F238E27FC236}">
                  <a16:creationId xmlns:a16="http://schemas.microsoft.com/office/drawing/2014/main" id="{86A52547-5738-E30B-2D64-3FB90CF4DB92}"/>
                </a:ext>
              </a:extLst>
            </p:cNvPr>
            <p:cNvSpPr/>
            <p:nvPr/>
          </p:nvSpPr>
          <p:spPr>
            <a:xfrm>
              <a:off x="13847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1" y="1"/>
                    <a:pt x="0" y="181"/>
                    <a:pt x="0" y="452"/>
                  </a:cubicBezTo>
                  <a:cubicBezTo>
                    <a:pt x="0" y="693"/>
                    <a:pt x="211" y="904"/>
                    <a:pt x="452" y="904"/>
                  </a:cubicBezTo>
                  <a:cubicBezTo>
                    <a:pt x="723" y="904"/>
                    <a:pt x="933" y="693"/>
                    <a:pt x="933" y="452"/>
                  </a:cubicBezTo>
                  <a:cubicBezTo>
                    <a:pt x="933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61;p23">
              <a:extLst>
                <a:ext uri="{FF2B5EF4-FFF2-40B4-BE49-F238E27FC236}">
                  <a16:creationId xmlns:a16="http://schemas.microsoft.com/office/drawing/2014/main" id="{27457237-48EA-26A3-8507-74FA495342DC}"/>
                </a:ext>
              </a:extLst>
            </p:cNvPr>
            <p:cNvSpPr/>
            <p:nvPr/>
          </p:nvSpPr>
          <p:spPr>
            <a:xfrm>
              <a:off x="1124400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82" y="1"/>
                  </a:moveTo>
                  <a:cubicBezTo>
                    <a:pt x="211" y="1"/>
                    <a:pt x="1" y="181"/>
                    <a:pt x="1" y="452"/>
                  </a:cubicBezTo>
                  <a:cubicBezTo>
                    <a:pt x="1" y="693"/>
                    <a:pt x="211" y="904"/>
                    <a:pt x="48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62;p23">
              <a:extLst>
                <a:ext uri="{FF2B5EF4-FFF2-40B4-BE49-F238E27FC236}">
                  <a16:creationId xmlns:a16="http://schemas.microsoft.com/office/drawing/2014/main" id="{A853C4D4-65EF-AF3E-EB5B-CAFF8EEEE904}"/>
                </a:ext>
              </a:extLst>
            </p:cNvPr>
            <p:cNvSpPr/>
            <p:nvPr/>
          </p:nvSpPr>
          <p:spPr>
            <a:xfrm>
              <a:off x="864825" y="2819475"/>
              <a:ext cx="23350" cy="22600"/>
            </a:xfrm>
            <a:custGeom>
              <a:avLst/>
              <a:gdLst/>
              <a:ahLst/>
              <a:cxnLst/>
              <a:rect l="l" t="t" r="r" b="b"/>
              <a:pathLst>
                <a:path w="934" h="904" extrusionOk="0">
                  <a:moveTo>
                    <a:pt x="452" y="1"/>
                  </a:moveTo>
                  <a:cubicBezTo>
                    <a:pt x="212" y="1"/>
                    <a:pt x="1" y="181"/>
                    <a:pt x="1" y="452"/>
                  </a:cubicBezTo>
                  <a:cubicBezTo>
                    <a:pt x="1" y="693"/>
                    <a:pt x="212" y="904"/>
                    <a:pt x="452" y="904"/>
                  </a:cubicBezTo>
                  <a:cubicBezTo>
                    <a:pt x="723" y="904"/>
                    <a:pt x="934" y="693"/>
                    <a:pt x="934" y="452"/>
                  </a:cubicBezTo>
                  <a:cubicBezTo>
                    <a:pt x="934" y="18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63;p23">
              <a:extLst>
                <a:ext uri="{FF2B5EF4-FFF2-40B4-BE49-F238E27FC236}">
                  <a16:creationId xmlns:a16="http://schemas.microsoft.com/office/drawing/2014/main" id="{FF8C17F0-2346-AC2A-AEAF-9D196DECB630}"/>
                </a:ext>
              </a:extLst>
            </p:cNvPr>
            <p:cNvSpPr/>
            <p:nvPr/>
          </p:nvSpPr>
          <p:spPr>
            <a:xfrm>
              <a:off x="1645050" y="2673525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03" y="723"/>
                    <a:pt x="903" y="452"/>
                  </a:cubicBezTo>
                  <a:cubicBezTo>
                    <a:pt x="90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64;p23">
              <a:extLst>
                <a:ext uri="{FF2B5EF4-FFF2-40B4-BE49-F238E27FC236}">
                  <a16:creationId xmlns:a16="http://schemas.microsoft.com/office/drawing/2014/main" id="{216CC603-4EAB-37A2-9BB7-0709E6967BB1}"/>
                </a:ext>
              </a:extLst>
            </p:cNvPr>
            <p:cNvSpPr/>
            <p:nvPr/>
          </p:nvSpPr>
          <p:spPr>
            <a:xfrm>
              <a:off x="13847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1" y="0"/>
                    <a:pt x="0" y="211"/>
                    <a:pt x="0" y="452"/>
                  </a:cubicBezTo>
                  <a:cubicBezTo>
                    <a:pt x="0" y="723"/>
                    <a:pt x="211" y="933"/>
                    <a:pt x="452" y="933"/>
                  </a:cubicBezTo>
                  <a:cubicBezTo>
                    <a:pt x="723" y="933"/>
                    <a:pt x="933" y="723"/>
                    <a:pt x="933" y="452"/>
                  </a:cubicBezTo>
                  <a:cubicBezTo>
                    <a:pt x="933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65;p23">
              <a:extLst>
                <a:ext uri="{FF2B5EF4-FFF2-40B4-BE49-F238E27FC236}">
                  <a16:creationId xmlns:a16="http://schemas.microsoft.com/office/drawing/2014/main" id="{43CB7270-400E-5400-2159-AA80F5601A5F}"/>
                </a:ext>
              </a:extLst>
            </p:cNvPr>
            <p:cNvSpPr/>
            <p:nvPr/>
          </p:nvSpPr>
          <p:spPr>
            <a:xfrm>
              <a:off x="1124400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0"/>
                  </a:moveTo>
                  <a:cubicBezTo>
                    <a:pt x="211" y="0"/>
                    <a:pt x="1" y="211"/>
                    <a:pt x="1" y="452"/>
                  </a:cubicBezTo>
                  <a:cubicBezTo>
                    <a:pt x="1" y="723"/>
                    <a:pt x="211" y="933"/>
                    <a:pt x="48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8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66;p23">
              <a:extLst>
                <a:ext uri="{FF2B5EF4-FFF2-40B4-BE49-F238E27FC236}">
                  <a16:creationId xmlns:a16="http://schemas.microsoft.com/office/drawing/2014/main" id="{D7444AB4-47A4-50A6-CDC4-15F98CBE5984}"/>
                </a:ext>
              </a:extLst>
            </p:cNvPr>
            <p:cNvSpPr/>
            <p:nvPr/>
          </p:nvSpPr>
          <p:spPr>
            <a:xfrm>
              <a:off x="864825" y="2673525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0"/>
                  </a:moveTo>
                  <a:cubicBezTo>
                    <a:pt x="212" y="0"/>
                    <a:pt x="1" y="211"/>
                    <a:pt x="1" y="452"/>
                  </a:cubicBezTo>
                  <a:cubicBezTo>
                    <a:pt x="1" y="723"/>
                    <a:pt x="212" y="933"/>
                    <a:pt x="452" y="933"/>
                  </a:cubicBezTo>
                  <a:cubicBezTo>
                    <a:pt x="723" y="933"/>
                    <a:pt x="934" y="723"/>
                    <a:pt x="934" y="452"/>
                  </a:cubicBezTo>
                  <a:cubicBezTo>
                    <a:pt x="934" y="211"/>
                    <a:pt x="723" y="0"/>
                    <a:pt x="452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67;p23">
              <a:extLst>
                <a:ext uri="{FF2B5EF4-FFF2-40B4-BE49-F238E27FC236}">
                  <a16:creationId xmlns:a16="http://schemas.microsoft.com/office/drawing/2014/main" id="{33939F4C-78DA-E3DF-F9E1-8EFED4364960}"/>
                </a:ext>
              </a:extLst>
            </p:cNvPr>
            <p:cNvSpPr/>
            <p:nvPr/>
          </p:nvSpPr>
          <p:spPr>
            <a:xfrm>
              <a:off x="1645050" y="252755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68;p23">
              <a:extLst>
                <a:ext uri="{FF2B5EF4-FFF2-40B4-BE49-F238E27FC236}">
                  <a16:creationId xmlns:a16="http://schemas.microsoft.com/office/drawing/2014/main" id="{1992427F-7224-1166-B1DB-9FC1A7F42655}"/>
                </a:ext>
              </a:extLst>
            </p:cNvPr>
            <p:cNvSpPr/>
            <p:nvPr/>
          </p:nvSpPr>
          <p:spPr>
            <a:xfrm>
              <a:off x="13847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2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769;p23">
              <a:extLst>
                <a:ext uri="{FF2B5EF4-FFF2-40B4-BE49-F238E27FC236}">
                  <a16:creationId xmlns:a16="http://schemas.microsoft.com/office/drawing/2014/main" id="{F012669B-0140-677D-A2CC-CAFE5A67D35E}"/>
                </a:ext>
              </a:extLst>
            </p:cNvPr>
            <p:cNvSpPr/>
            <p:nvPr/>
          </p:nvSpPr>
          <p:spPr>
            <a:xfrm>
              <a:off x="1124400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2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70;p23">
              <a:extLst>
                <a:ext uri="{FF2B5EF4-FFF2-40B4-BE49-F238E27FC236}">
                  <a16:creationId xmlns:a16="http://schemas.microsoft.com/office/drawing/2014/main" id="{B0FAD50A-82DB-B695-DBC5-158A3FEB2B71}"/>
                </a:ext>
              </a:extLst>
            </p:cNvPr>
            <p:cNvSpPr/>
            <p:nvPr/>
          </p:nvSpPr>
          <p:spPr>
            <a:xfrm>
              <a:off x="864825" y="252755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2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2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771;p23">
              <a:extLst>
                <a:ext uri="{FF2B5EF4-FFF2-40B4-BE49-F238E27FC236}">
                  <a16:creationId xmlns:a16="http://schemas.microsoft.com/office/drawing/2014/main" id="{2938E292-C8DD-F61B-AB1B-95BDDD30F5EB}"/>
                </a:ext>
              </a:extLst>
            </p:cNvPr>
            <p:cNvSpPr/>
            <p:nvPr/>
          </p:nvSpPr>
          <p:spPr>
            <a:xfrm>
              <a:off x="1645050" y="2381600"/>
              <a:ext cx="22600" cy="23350"/>
            </a:xfrm>
            <a:custGeom>
              <a:avLst/>
              <a:gdLst/>
              <a:ahLst/>
              <a:cxnLst/>
              <a:rect l="l" t="t" r="r" b="b"/>
              <a:pathLst>
                <a:path w="90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03" y="723"/>
                    <a:pt x="903" y="452"/>
                  </a:cubicBezTo>
                  <a:cubicBezTo>
                    <a:pt x="90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772;p23">
              <a:extLst>
                <a:ext uri="{FF2B5EF4-FFF2-40B4-BE49-F238E27FC236}">
                  <a16:creationId xmlns:a16="http://schemas.microsoft.com/office/drawing/2014/main" id="{D2B4E259-7B83-929A-2524-2BAB34393FF1}"/>
                </a:ext>
              </a:extLst>
            </p:cNvPr>
            <p:cNvSpPr/>
            <p:nvPr/>
          </p:nvSpPr>
          <p:spPr>
            <a:xfrm>
              <a:off x="13847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1" y="1"/>
                    <a:pt x="0" y="211"/>
                    <a:pt x="0" y="452"/>
                  </a:cubicBezTo>
                  <a:cubicBezTo>
                    <a:pt x="0" y="723"/>
                    <a:pt x="211" y="934"/>
                    <a:pt x="452" y="934"/>
                  </a:cubicBezTo>
                  <a:cubicBezTo>
                    <a:pt x="723" y="934"/>
                    <a:pt x="933" y="723"/>
                    <a:pt x="933" y="452"/>
                  </a:cubicBezTo>
                  <a:cubicBezTo>
                    <a:pt x="933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773;p23">
              <a:extLst>
                <a:ext uri="{FF2B5EF4-FFF2-40B4-BE49-F238E27FC236}">
                  <a16:creationId xmlns:a16="http://schemas.microsoft.com/office/drawing/2014/main" id="{AAA43079-759D-D6B6-4751-003C37669B30}"/>
                </a:ext>
              </a:extLst>
            </p:cNvPr>
            <p:cNvSpPr/>
            <p:nvPr/>
          </p:nvSpPr>
          <p:spPr>
            <a:xfrm>
              <a:off x="1124400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82" y="1"/>
                  </a:moveTo>
                  <a:cubicBezTo>
                    <a:pt x="211" y="1"/>
                    <a:pt x="1" y="211"/>
                    <a:pt x="1" y="452"/>
                  </a:cubicBezTo>
                  <a:cubicBezTo>
                    <a:pt x="1" y="723"/>
                    <a:pt x="211" y="934"/>
                    <a:pt x="48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8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774;p23">
              <a:extLst>
                <a:ext uri="{FF2B5EF4-FFF2-40B4-BE49-F238E27FC236}">
                  <a16:creationId xmlns:a16="http://schemas.microsoft.com/office/drawing/2014/main" id="{D51A975A-CA45-F51D-4AA4-F95F5BE2FDE5}"/>
                </a:ext>
              </a:extLst>
            </p:cNvPr>
            <p:cNvSpPr/>
            <p:nvPr/>
          </p:nvSpPr>
          <p:spPr>
            <a:xfrm>
              <a:off x="864825" y="2381600"/>
              <a:ext cx="23350" cy="23350"/>
            </a:xfrm>
            <a:custGeom>
              <a:avLst/>
              <a:gdLst/>
              <a:ahLst/>
              <a:cxnLst/>
              <a:rect l="l" t="t" r="r" b="b"/>
              <a:pathLst>
                <a:path w="934" h="934" extrusionOk="0">
                  <a:moveTo>
                    <a:pt x="452" y="1"/>
                  </a:moveTo>
                  <a:cubicBezTo>
                    <a:pt x="212" y="1"/>
                    <a:pt x="1" y="211"/>
                    <a:pt x="1" y="452"/>
                  </a:cubicBezTo>
                  <a:cubicBezTo>
                    <a:pt x="1" y="723"/>
                    <a:pt x="212" y="934"/>
                    <a:pt x="452" y="934"/>
                  </a:cubicBezTo>
                  <a:cubicBezTo>
                    <a:pt x="723" y="934"/>
                    <a:pt x="934" y="723"/>
                    <a:pt x="934" y="452"/>
                  </a:cubicBezTo>
                  <a:cubicBezTo>
                    <a:pt x="934" y="211"/>
                    <a:pt x="723" y="1"/>
                    <a:pt x="452" y="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" name="Паралелограм 49">
            <a:extLst>
              <a:ext uri="{FF2B5EF4-FFF2-40B4-BE49-F238E27FC236}">
                <a16:creationId xmlns:a16="http://schemas.microsoft.com/office/drawing/2014/main" id="{2E143B40-2F6B-FCCA-3F82-304635484657}"/>
              </a:ext>
            </a:extLst>
          </p:cNvPr>
          <p:cNvSpPr/>
          <p:nvPr/>
        </p:nvSpPr>
        <p:spPr>
          <a:xfrm>
            <a:off x="-1" y="8944021"/>
            <a:ext cx="12192001" cy="2540000"/>
          </a:xfrm>
          <a:prstGeom prst="parallelogram">
            <a:avLst>
              <a:gd name="adj" fmla="val 0"/>
            </a:avLst>
          </a:prstGeom>
          <a:solidFill>
            <a:srgbClr val="2B6AE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1" name="Рисунок 50" descr="Зображення, що містить текст, знімок екрана, ігровий автомат, дизайн&#10;&#10;Автоматично згенерований опис">
            <a:extLst>
              <a:ext uri="{FF2B5EF4-FFF2-40B4-BE49-F238E27FC236}">
                <a16:creationId xmlns:a16="http://schemas.microsoft.com/office/drawing/2014/main" id="{5868706D-4508-9087-0F02-3F7FDA56B7C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" r="47972"/>
          <a:stretch/>
        </p:blipFill>
        <p:spPr>
          <a:xfrm>
            <a:off x="694453" y="7216821"/>
            <a:ext cx="3545509" cy="4559300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pic>
        <p:nvPicPr>
          <p:cNvPr id="52" name="Рисунок 51" descr="Зображення, що містить текст, знімок екрана&#10;&#10;Автоматично згенерований опис">
            <a:extLst>
              <a:ext uri="{FF2B5EF4-FFF2-40B4-BE49-F238E27FC236}">
                <a16:creationId xmlns:a16="http://schemas.microsoft.com/office/drawing/2014/main" id="{E375DF52-15CC-3A33-6BC3-1407E17FBE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" r="46217"/>
          <a:stretch/>
        </p:blipFill>
        <p:spPr>
          <a:xfrm>
            <a:off x="4518998" y="7216821"/>
            <a:ext cx="3390925" cy="4559300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  <p:pic>
        <p:nvPicPr>
          <p:cNvPr id="53" name="Рисунок 52" descr="Зображення, що містить текст, знімок екрана&#10;&#10;Автоматично згенерований опис">
            <a:extLst>
              <a:ext uri="{FF2B5EF4-FFF2-40B4-BE49-F238E27FC236}">
                <a16:creationId xmlns:a16="http://schemas.microsoft.com/office/drawing/2014/main" id="{D9DCDD00-0FAD-15E9-6904-B637D949E03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729"/>
          <a:stretch/>
        </p:blipFill>
        <p:spPr>
          <a:xfrm>
            <a:off x="8188959" y="7216821"/>
            <a:ext cx="3379154" cy="4559300"/>
          </a:xfrm>
          <a:prstGeom prst="rect">
            <a:avLst/>
          </a:prstGeom>
          <a:solidFill>
            <a:srgbClr val="404040"/>
          </a:solidFill>
          <a:ln w="38100">
            <a:solidFill>
              <a:srgbClr val="404040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418488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Другая 1">
      <a:majorFont>
        <a:latin typeface="Akrobat Black"/>
        <a:ea typeface=""/>
        <a:cs typeface=""/>
      </a:majorFont>
      <a:minorFont>
        <a:latin typeface="Akrobat Light"/>
        <a:ea typeface=""/>
        <a:cs typeface="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904</TotalTime>
  <Words>1973</Words>
  <Application>Microsoft Office PowerPoint</Application>
  <PresentationFormat>Широкоэкранный</PresentationFormat>
  <Paragraphs>366</Paragraphs>
  <Slides>30</Slides>
  <Notes>13</Notes>
  <HiddenSlides>0</HiddenSlides>
  <MMClips>1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7" baseType="lpstr">
      <vt:lpstr>Wingdings</vt:lpstr>
      <vt:lpstr>Akrobat Light</vt:lpstr>
      <vt:lpstr>Arial</vt:lpstr>
      <vt:lpstr>Courier New</vt:lpstr>
      <vt:lpstr>Akrobat Black</vt:lpstr>
      <vt:lpstr>Akrobat SemiBold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Alexandr Kucheruk</dc:creator>
  <cp:lastModifiedBy>Мудрак Руслан</cp:lastModifiedBy>
  <cp:revision>67</cp:revision>
  <dcterms:created xsi:type="dcterms:W3CDTF">2024-05-17T13:45:40Z</dcterms:created>
  <dcterms:modified xsi:type="dcterms:W3CDTF">2024-10-28T13:59:10Z</dcterms:modified>
</cp:coreProperties>
</file>